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9.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0.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1.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2.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3.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5.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6.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7.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8.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tags/tag180.xml" ContentType="application/vnd.openxmlformats-officedocument.presentationml.tags+xml"/>
  <Override PartName="/ppt/tags/tag181.xml" ContentType="application/vnd.openxmlformats-officedocument.presentationml.tags+xml"/>
  <Override PartName="/ppt/notesSlides/notesSlide9.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0.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11.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16.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3" r:id="rId3"/>
    <p:sldMasterId id="2147483697" r:id="rId4"/>
    <p:sldMasterId id="2147483709" r:id="rId5"/>
    <p:sldMasterId id="2147483720" r:id="rId6"/>
    <p:sldMasterId id="2147483743" r:id="rId7"/>
    <p:sldMasterId id="2147483781" r:id="rId8"/>
    <p:sldMasterId id="2147483815" r:id="rId9"/>
    <p:sldMasterId id="2147483824" r:id="rId10"/>
    <p:sldMasterId id="2147483833" r:id="rId11"/>
    <p:sldMasterId id="2147483839" r:id="rId12"/>
    <p:sldMasterId id="2147483847" r:id="rId13"/>
    <p:sldMasterId id="2147483870" r:id="rId14"/>
    <p:sldMasterId id="2147483882" r:id="rId15"/>
    <p:sldMasterId id="2147483895" r:id="rId16"/>
    <p:sldMasterId id="2147483907" r:id="rId17"/>
    <p:sldMasterId id="2147483920" r:id="rId18"/>
  </p:sldMasterIdLst>
  <p:notesMasterIdLst>
    <p:notesMasterId r:id="rId66"/>
  </p:notesMasterIdLst>
  <p:sldIdLst>
    <p:sldId id="267" r:id="rId19"/>
    <p:sldId id="320" r:id="rId20"/>
    <p:sldId id="381" r:id="rId21"/>
    <p:sldId id="382" r:id="rId22"/>
    <p:sldId id="383" r:id="rId23"/>
    <p:sldId id="384" r:id="rId24"/>
    <p:sldId id="385" r:id="rId25"/>
    <p:sldId id="386" r:id="rId26"/>
    <p:sldId id="387" r:id="rId27"/>
    <p:sldId id="388" r:id="rId28"/>
    <p:sldId id="389" r:id="rId29"/>
    <p:sldId id="390" r:id="rId30"/>
    <p:sldId id="391" r:id="rId31"/>
    <p:sldId id="392" r:id="rId32"/>
    <p:sldId id="393" r:id="rId33"/>
    <p:sldId id="394" r:id="rId34"/>
    <p:sldId id="395" r:id="rId35"/>
    <p:sldId id="396" r:id="rId36"/>
    <p:sldId id="397" r:id="rId37"/>
    <p:sldId id="398" r:id="rId38"/>
    <p:sldId id="399" r:id="rId39"/>
    <p:sldId id="400" r:id="rId40"/>
    <p:sldId id="401" r:id="rId41"/>
    <p:sldId id="402" r:id="rId42"/>
    <p:sldId id="403" r:id="rId43"/>
    <p:sldId id="404" r:id="rId44"/>
    <p:sldId id="405" r:id="rId45"/>
    <p:sldId id="406" r:id="rId46"/>
    <p:sldId id="407" r:id="rId47"/>
    <p:sldId id="408" r:id="rId48"/>
    <p:sldId id="367" r:id="rId49"/>
    <p:sldId id="413" r:id="rId50"/>
    <p:sldId id="414" r:id="rId51"/>
    <p:sldId id="415" r:id="rId52"/>
    <p:sldId id="416" r:id="rId53"/>
    <p:sldId id="438" r:id="rId54"/>
    <p:sldId id="439" r:id="rId55"/>
    <p:sldId id="440" r:id="rId56"/>
    <p:sldId id="441" r:id="rId57"/>
    <p:sldId id="442" r:id="rId58"/>
    <p:sldId id="443" r:id="rId59"/>
    <p:sldId id="418" r:id="rId60"/>
    <p:sldId id="425" r:id="rId61"/>
    <p:sldId id="426" r:id="rId62"/>
    <p:sldId id="427" r:id="rId63"/>
    <p:sldId id="432" r:id="rId64"/>
    <p:sldId id="435" r:id="rId65"/>
  </p:sldIdLst>
  <p:sldSz cx="9144000" cy="5143500" type="screen16x9"/>
  <p:notesSz cx="6797675" cy="99282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900"/>
    <a:srgbClr val="50BE87"/>
    <a:srgbClr val="000000"/>
    <a:srgbClr val="F8F8F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86299" autoAdjust="0"/>
  </p:normalViewPr>
  <p:slideViewPr>
    <p:cSldViewPr>
      <p:cViewPr varScale="1">
        <p:scale>
          <a:sx n="96" d="100"/>
          <a:sy n="96" d="100"/>
        </p:scale>
        <p:origin x="636" y="7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slide" Target="slides/slide45.xml"/><Relationship Id="rId68"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61" Type="http://schemas.openxmlformats.org/officeDocument/2006/relationships/slide" Target="slides/slide43.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presProps" Target="presProp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16054158607351E-2"/>
          <c:y val="2.4367385192127462E-2"/>
          <c:w val="0.95976789168278531"/>
          <c:h val="0.95126522961574511"/>
        </c:manualLayout>
      </c:layout>
      <c:scatterChart>
        <c:scatterStyle val="lineMarker"/>
        <c:varyColors val="0"/>
        <c:ser>
          <c:idx val="0"/>
          <c:order val="0"/>
          <c:spPr>
            <a:ln w="19050" algn="ctr">
              <a:solidFill>
                <a:srgbClr val="FB04D6"/>
              </a:solidFill>
              <a:prstDash val="solid"/>
            </a:ln>
          </c:spPr>
          <c:marker>
            <c:symbol val="none"/>
          </c:marker>
          <c:xVal>
            <c:numRef>
              <c:f>Sheet1!$A$1:$S$1</c:f>
              <c:numCache>
                <c:formatCode>General</c:formatCode>
                <c:ptCount val="19"/>
                <c:pt idx="0">
                  <c:v>13878</c:v>
                </c:pt>
                <c:pt idx="1">
                  <c:v>14244</c:v>
                </c:pt>
                <c:pt idx="2">
                  <c:v>14609</c:v>
                </c:pt>
                <c:pt idx="3">
                  <c:v>14974</c:v>
                </c:pt>
                <c:pt idx="4">
                  <c:v>15339</c:v>
                </c:pt>
                <c:pt idx="5">
                  <c:v>15705</c:v>
                </c:pt>
                <c:pt idx="6">
                  <c:v>16070</c:v>
                </c:pt>
                <c:pt idx="7">
                  <c:v>16435</c:v>
                </c:pt>
                <c:pt idx="8">
                  <c:v>16800</c:v>
                </c:pt>
                <c:pt idx="9">
                  <c:v>17166</c:v>
                </c:pt>
                <c:pt idx="10">
                  <c:v>17531</c:v>
                </c:pt>
                <c:pt idx="11">
                  <c:v>17563</c:v>
                </c:pt>
                <c:pt idx="12">
                  <c:v>17896</c:v>
                </c:pt>
                <c:pt idx="13">
                  <c:v>17928</c:v>
                </c:pt>
                <c:pt idx="14">
                  <c:v>17956</c:v>
                </c:pt>
                <c:pt idx="15">
                  <c:v>17987</c:v>
                </c:pt>
                <c:pt idx="16">
                  <c:v>18078</c:v>
                </c:pt>
                <c:pt idx="17">
                  <c:v>18109</c:v>
                </c:pt>
                <c:pt idx="18">
                  <c:v>18140</c:v>
                </c:pt>
              </c:numCache>
            </c:numRef>
          </c:xVal>
          <c:yVal>
            <c:numRef>
              <c:f>Sheet1!$A$2:$S$2</c:f>
              <c:numCache>
                <c:formatCode>General</c:formatCode>
                <c:ptCount val="19"/>
                <c:pt idx="0">
                  <c:v>64000</c:v>
                </c:pt>
                <c:pt idx="1">
                  <c:v>80000</c:v>
                </c:pt>
                <c:pt idx="2">
                  <c:v>107000</c:v>
                </c:pt>
                <c:pt idx="3">
                  <c:v>168000</c:v>
                </c:pt>
                <c:pt idx="4">
                  <c:v>217000</c:v>
                </c:pt>
                <c:pt idx="5">
                  <c:v>270000</c:v>
                </c:pt>
                <c:pt idx="6">
                  <c:v>350000</c:v>
                </c:pt>
                <c:pt idx="7">
                  <c:v>609000</c:v>
                </c:pt>
                <c:pt idx="8">
                  <c:v>755000</c:v>
                </c:pt>
                <c:pt idx="9">
                  <c:v>975000</c:v>
                </c:pt>
                <c:pt idx="10">
                  <c:v>1300000</c:v>
                </c:pt>
                <c:pt idx="11">
                  <c:v>1505000</c:v>
                </c:pt>
                <c:pt idx="12">
                  <c:v>1710000</c:v>
                </c:pt>
                <c:pt idx="13">
                  <c:v>1755000</c:v>
                </c:pt>
                <c:pt idx="14">
                  <c:v>1800000</c:v>
                </c:pt>
                <c:pt idx="15">
                  <c:v>1850000</c:v>
                </c:pt>
                <c:pt idx="16">
                  <c:v>1887500</c:v>
                </c:pt>
                <c:pt idx="17">
                  <c:v>1915625</c:v>
                </c:pt>
                <c:pt idx="18">
                  <c:v>2000000</c:v>
                </c:pt>
              </c:numCache>
            </c:numRef>
          </c:yVal>
          <c:smooth val="0"/>
          <c:extLst>
            <c:ext xmlns:c16="http://schemas.microsoft.com/office/drawing/2014/chart" uri="{C3380CC4-5D6E-409C-BE32-E72D297353CC}">
              <c16:uniqueId val="{00000000-BD9D-4CDA-BC67-3C57A2923C03}"/>
            </c:ext>
          </c:extLst>
        </c:ser>
        <c:ser>
          <c:idx val="1"/>
          <c:order val="1"/>
          <c:spPr>
            <a:ln w="19050" algn="ctr">
              <a:solidFill>
                <a:schemeClr val="accent2"/>
              </a:solidFill>
              <a:prstDash val="solid"/>
            </a:ln>
          </c:spPr>
          <c:marker>
            <c:symbol val="none"/>
          </c:marker>
          <c:xVal>
            <c:numRef>
              <c:f>Sheet1!$A$1:$S$1</c:f>
              <c:numCache>
                <c:formatCode>General</c:formatCode>
                <c:ptCount val="19"/>
                <c:pt idx="0">
                  <c:v>13878</c:v>
                </c:pt>
                <c:pt idx="1">
                  <c:v>14244</c:v>
                </c:pt>
                <c:pt idx="2">
                  <c:v>14609</c:v>
                </c:pt>
                <c:pt idx="3">
                  <c:v>14974</c:v>
                </c:pt>
                <c:pt idx="4">
                  <c:v>15339</c:v>
                </c:pt>
                <c:pt idx="5">
                  <c:v>15705</c:v>
                </c:pt>
                <c:pt idx="6">
                  <c:v>16070</c:v>
                </c:pt>
                <c:pt idx="7">
                  <c:v>16435</c:v>
                </c:pt>
                <c:pt idx="8">
                  <c:v>16800</c:v>
                </c:pt>
                <c:pt idx="9">
                  <c:v>17166</c:v>
                </c:pt>
                <c:pt idx="10">
                  <c:v>17531</c:v>
                </c:pt>
                <c:pt idx="11">
                  <c:v>17563</c:v>
                </c:pt>
                <c:pt idx="12">
                  <c:v>17896</c:v>
                </c:pt>
                <c:pt idx="13">
                  <c:v>17928</c:v>
                </c:pt>
                <c:pt idx="14">
                  <c:v>17956</c:v>
                </c:pt>
                <c:pt idx="15">
                  <c:v>17987</c:v>
                </c:pt>
                <c:pt idx="16">
                  <c:v>18078</c:v>
                </c:pt>
                <c:pt idx="17">
                  <c:v>18109</c:v>
                </c:pt>
                <c:pt idx="18">
                  <c:v>18140</c:v>
                </c:pt>
              </c:numCache>
            </c:numRef>
          </c:xVal>
          <c:yVal>
            <c:numRef>
              <c:f>Sheet1!$A$3:$S$3</c:f>
              <c:numCache>
                <c:formatCode>General</c:formatCode>
                <c:ptCount val="19"/>
                <c:pt idx="6">
                  <c:v>13000</c:v>
                </c:pt>
                <c:pt idx="7">
                  <c:v>101000</c:v>
                </c:pt>
                <c:pt idx="8">
                  <c:v>237000</c:v>
                </c:pt>
                <c:pt idx="9">
                  <c:v>284000</c:v>
                </c:pt>
                <c:pt idx="10">
                  <c:v>350000</c:v>
                </c:pt>
                <c:pt idx="11">
                  <c:v>375000</c:v>
                </c:pt>
                <c:pt idx="12">
                  <c:v>400000</c:v>
                </c:pt>
                <c:pt idx="13">
                  <c:v>424000</c:v>
                </c:pt>
                <c:pt idx="14">
                  <c:v>448000</c:v>
                </c:pt>
                <c:pt idx="15">
                  <c:v>465333.33333333331</c:v>
                </c:pt>
                <c:pt idx="16">
                  <c:v>482666.66666666663</c:v>
                </c:pt>
                <c:pt idx="17">
                  <c:v>500000</c:v>
                </c:pt>
              </c:numCache>
            </c:numRef>
          </c:yVal>
          <c:smooth val="0"/>
          <c:extLst>
            <c:ext xmlns:c16="http://schemas.microsoft.com/office/drawing/2014/chart" uri="{C3380CC4-5D6E-409C-BE32-E72D297353CC}">
              <c16:uniqueId val="{00000001-BD9D-4CDA-BC67-3C57A2923C03}"/>
            </c:ext>
          </c:extLst>
        </c:ser>
        <c:ser>
          <c:idx val="2"/>
          <c:order val="2"/>
          <c:spPr>
            <a:ln w="19050" algn="ctr">
              <a:solidFill>
                <a:srgbClr val="F8C701"/>
              </a:solidFill>
              <a:prstDash val="solid"/>
            </a:ln>
          </c:spPr>
          <c:marker>
            <c:symbol val="none"/>
          </c:marker>
          <c:xVal>
            <c:numRef>
              <c:f>Sheet1!$A$1:$S$1</c:f>
              <c:numCache>
                <c:formatCode>General</c:formatCode>
                <c:ptCount val="19"/>
                <c:pt idx="0">
                  <c:v>13878</c:v>
                </c:pt>
                <c:pt idx="1">
                  <c:v>14244</c:v>
                </c:pt>
                <c:pt idx="2">
                  <c:v>14609</c:v>
                </c:pt>
                <c:pt idx="3">
                  <c:v>14974</c:v>
                </c:pt>
                <c:pt idx="4">
                  <c:v>15339</c:v>
                </c:pt>
                <c:pt idx="5">
                  <c:v>15705</c:v>
                </c:pt>
                <c:pt idx="6">
                  <c:v>16070</c:v>
                </c:pt>
                <c:pt idx="7">
                  <c:v>16435</c:v>
                </c:pt>
                <c:pt idx="8">
                  <c:v>16800</c:v>
                </c:pt>
                <c:pt idx="9">
                  <c:v>17166</c:v>
                </c:pt>
                <c:pt idx="10">
                  <c:v>17531</c:v>
                </c:pt>
                <c:pt idx="11">
                  <c:v>17563</c:v>
                </c:pt>
                <c:pt idx="12">
                  <c:v>17896</c:v>
                </c:pt>
                <c:pt idx="13">
                  <c:v>17928</c:v>
                </c:pt>
                <c:pt idx="14">
                  <c:v>17956</c:v>
                </c:pt>
                <c:pt idx="15">
                  <c:v>17987</c:v>
                </c:pt>
                <c:pt idx="16">
                  <c:v>18078</c:v>
                </c:pt>
                <c:pt idx="17">
                  <c:v>18109</c:v>
                </c:pt>
                <c:pt idx="18">
                  <c:v>18140</c:v>
                </c:pt>
              </c:numCache>
            </c:numRef>
          </c:xVal>
          <c:yVal>
            <c:numRef>
              <c:f>Sheet1!$A$4:$S$4</c:f>
              <c:numCache>
                <c:formatCode>General</c:formatCode>
                <c:ptCount val="19"/>
                <c:pt idx="8">
                  <c:v>200000</c:v>
                </c:pt>
                <c:pt idx="9">
                  <c:v>500000</c:v>
                </c:pt>
                <c:pt idx="10">
                  <c:v>700000</c:v>
                </c:pt>
                <c:pt idx="11">
                  <c:v>850000</c:v>
                </c:pt>
                <c:pt idx="12">
                  <c:v>1000000</c:v>
                </c:pt>
                <c:pt idx="13">
                  <c:v>1200000</c:v>
                </c:pt>
                <c:pt idx="14">
                  <c:v>1228000</c:v>
                </c:pt>
                <c:pt idx="15">
                  <c:v>1264000</c:v>
                </c:pt>
                <c:pt idx="16">
                  <c:v>1300000</c:v>
                </c:pt>
                <c:pt idx="17">
                  <c:v>1360000</c:v>
                </c:pt>
              </c:numCache>
            </c:numRef>
          </c:yVal>
          <c:smooth val="0"/>
          <c:extLst>
            <c:ext xmlns:c16="http://schemas.microsoft.com/office/drawing/2014/chart" uri="{C3380CC4-5D6E-409C-BE32-E72D297353CC}">
              <c16:uniqueId val="{00000002-BD9D-4CDA-BC67-3C57A2923C03}"/>
            </c:ext>
          </c:extLst>
        </c:ser>
        <c:ser>
          <c:idx val="3"/>
          <c:order val="3"/>
          <c:spPr>
            <a:ln w="19050" algn="ctr">
              <a:solidFill>
                <a:srgbClr val="A45200"/>
              </a:solidFill>
              <a:prstDash val="solid"/>
            </a:ln>
          </c:spPr>
          <c:marker>
            <c:symbol val="none"/>
          </c:marker>
          <c:xVal>
            <c:numRef>
              <c:f>Sheet1!$A$1:$S$1</c:f>
              <c:numCache>
                <c:formatCode>General</c:formatCode>
                <c:ptCount val="19"/>
                <c:pt idx="0">
                  <c:v>13878</c:v>
                </c:pt>
                <c:pt idx="1">
                  <c:v>14244</c:v>
                </c:pt>
                <c:pt idx="2">
                  <c:v>14609</c:v>
                </c:pt>
                <c:pt idx="3">
                  <c:v>14974</c:v>
                </c:pt>
                <c:pt idx="4">
                  <c:v>15339</c:v>
                </c:pt>
                <c:pt idx="5">
                  <c:v>15705</c:v>
                </c:pt>
                <c:pt idx="6">
                  <c:v>16070</c:v>
                </c:pt>
                <c:pt idx="7">
                  <c:v>16435</c:v>
                </c:pt>
                <c:pt idx="8">
                  <c:v>16800</c:v>
                </c:pt>
                <c:pt idx="9">
                  <c:v>17166</c:v>
                </c:pt>
                <c:pt idx="10">
                  <c:v>17531</c:v>
                </c:pt>
                <c:pt idx="11">
                  <c:v>17563</c:v>
                </c:pt>
                <c:pt idx="12">
                  <c:v>17896</c:v>
                </c:pt>
                <c:pt idx="13">
                  <c:v>17928</c:v>
                </c:pt>
                <c:pt idx="14">
                  <c:v>17956</c:v>
                </c:pt>
                <c:pt idx="15">
                  <c:v>17987</c:v>
                </c:pt>
                <c:pt idx="16">
                  <c:v>18078</c:v>
                </c:pt>
                <c:pt idx="17">
                  <c:v>18109</c:v>
                </c:pt>
                <c:pt idx="18">
                  <c:v>18140</c:v>
                </c:pt>
              </c:numCache>
            </c:numRef>
          </c:xVal>
          <c:yVal>
            <c:numRef>
              <c:f>Sheet1!$A$5:$S$5</c:f>
              <c:numCache>
                <c:formatCode>General</c:formatCode>
                <c:ptCount val="19"/>
                <c:pt idx="8">
                  <c:v>120000</c:v>
                </c:pt>
                <c:pt idx="9">
                  <c:v>135000</c:v>
                </c:pt>
                <c:pt idx="10">
                  <c:v>165000</c:v>
                </c:pt>
                <c:pt idx="11">
                  <c:v>190000</c:v>
                </c:pt>
                <c:pt idx="12">
                  <c:v>215000</c:v>
                </c:pt>
                <c:pt idx="13">
                  <c:v>218750</c:v>
                </c:pt>
                <c:pt idx="14">
                  <c:v>222500</c:v>
                </c:pt>
                <c:pt idx="15">
                  <c:v>226250</c:v>
                </c:pt>
                <c:pt idx="16">
                  <c:v>230000</c:v>
                </c:pt>
              </c:numCache>
            </c:numRef>
          </c:yVal>
          <c:smooth val="0"/>
          <c:extLst>
            <c:ext xmlns:c16="http://schemas.microsoft.com/office/drawing/2014/chart" uri="{C3380CC4-5D6E-409C-BE32-E72D297353CC}">
              <c16:uniqueId val="{00000003-BD9D-4CDA-BC67-3C57A2923C03}"/>
            </c:ext>
          </c:extLst>
        </c:ser>
        <c:ser>
          <c:idx val="4"/>
          <c:order val="4"/>
          <c:spPr>
            <a:ln w="19050" algn="ctr">
              <a:solidFill>
                <a:srgbClr val="308BCC"/>
              </a:solidFill>
              <a:prstDash val="solid"/>
            </a:ln>
          </c:spPr>
          <c:marker>
            <c:symbol val="none"/>
          </c:marker>
          <c:xVal>
            <c:numRef>
              <c:f>Sheet1!$A$1:$S$1</c:f>
              <c:numCache>
                <c:formatCode>General</c:formatCode>
                <c:ptCount val="19"/>
                <c:pt idx="0">
                  <c:v>13878</c:v>
                </c:pt>
                <c:pt idx="1">
                  <c:v>14244</c:v>
                </c:pt>
                <c:pt idx="2">
                  <c:v>14609</c:v>
                </c:pt>
                <c:pt idx="3">
                  <c:v>14974</c:v>
                </c:pt>
                <c:pt idx="4">
                  <c:v>15339</c:v>
                </c:pt>
                <c:pt idx="5">
                  <c:v>15705</c:v>
                </c:pt>
                <c:pt idx="6">
                  <c:v>16070</c:v>
                </c:pt>
                <c:pt idx="7">
                  <c:v>16435</c:v>
                </c:pt>
                <c:pt idx="8">
                  <c:v>16800</c:v>
                </c:pt>
                <c:pt idx="9">
                  <c:v>17166</c:v>
                </c:pt>
                <c:pt idx="10">
                  <c:v>17531</c:v>
                </c:pt>
                <c:pt idx="11">
                  <c:v>17563</c:v>
                </c:pt>
                <c:pt idx="12">
                  <c:v>17896</c:v>
                </c:pt>
                <c:pt idx="13">
                  <c:v>17928</c:v>
                </c:pt>
                <c:pt idx="14">
                  <c:v>17956</c:v>
                </c:pt>
                <c:pt idx="15">
                  <c:v>17987</c:v>
                </c:pt>
                <c:pt idx="16">
                  <c:v>18078</c:v>
                </c:pt>
                <c:pt idx="17">
                  <c:v>18109</c:v>
                </c:pt>
                <c:pt idx="18">
                  <c:v>18140</c:v>
                </c:pt>
              </c:numCache>
            </c:numRef>
          </c:xVal>
          <c:yVal>
            <c:numRef>
              <c:f>Sheet1!$A$6:$S$6</c:f>
              <c:numCache>
                <c:formatCode>General</c:formatCode>
                <c:ptCount val="19"/>
                <c:pt idx="10">
                  <c:v>220000</c:v>
                </c:pt>
                <c:pt idx="11">
                  <c:v>310000</c:v>
                </c:pt>
                <c:pt idx="12">
                  <c:v>400000</c:v>
                </c:pt>
                <c:pt idx="13">
                  <c:v>550000</c:v>
                </c:pt>
                <c:pt idx="14">
                  <c:v>555000</c:v>
                </c:pt>
                <c:pt idx="15">
                  <c:v>560000</c:v>
                </c:pt>
                <c:pt idx="16">
                  <c:v>650000</c:v>
                </c:pt>
              </c:numCache>
            </c:numRef>
          </c:yVal>
          <c:smooth val="0"/>
          <c:extLst>
            <c:ext xmlns:c16="http://schemas.microsoft.com/office/drawing/2014/chart" uri="{C3380CC4-5D6E-409C-BE32-E72D297353CC}">
              <c16:uniqueId val="{00000004-BD9D-4CDA-BC67-3C57A2923C03}"/>
            </c:ext>
          </c:extLst>
        </c:ser>
        <c:ser>
          <c:idx val="5"/>
          <c:order val="5"/>
          <c:spPr>
            <a:ln w="19050" algn="ctr">
              <a:solidFill>
                <a:srgbClr val="4E7720"/>
              </a:solidFill>
              <a:prstDash val="solid"/>
            </a:ln>
          </c:spPr>
          <c:marker>
            <c:symbol val="none"/>
          </c:marker>
          <c:xVal>
            <c:numRef>
              <c:f>Sheet1!$A$1:$S$1</c:f>
              <c:numCache>
                <c:formatCode>General</c:formatCode>
                <c:ptCount val="19"/>
                <c:pt idx="0">
                  <c:v>13878</c:v>
                </c:pt>
                <c:pt idx="1">
                  <c:v>14244</c:v>
                </c:pt>
                <c:pt idx="2">
                  <c:v>14609</c:v>
                </c:pt>
                <c:pt idx="3">
                  <c:v>14974</c:v>
                </c:pt>
                <c:pt idx="4">
                  <c:v>15339</c:v>
                </c:pt>
                <c:pt idx="5">
                  <c:v>15705</c:v>
                </c:pt>
                <c:pt idx="6">
                  <c:v>16070</c:v>
                </c:pt>
                <c:pt idx="7">
                  <c:v>16435</c:v>
                </c:pt>
                <c:pt idx="8">
                  <c:v>16800</c:v>
                </c:pt>
                <c:pt idx="9">
                  <c:v>17166</c:v>
                </c:pt>
                <c:pt idx="10">
                  <c:v>17531</c:v>
                </c:pt>
                <c:pt idx="11">
                  <c:v>17563</c:v>
                </c:pt>
                <c:pt idx="12">
                  <c:v>17896</c:v>
                </c:pt>
                <c:pt idx="13">
                  <c:v>17928</c:v>
                </c:pt>
                <c:pt idx="14">
                  <c:v>17956</c:v>
                </c:pt>
                <c:pt idx="15">
                  <c:v>17987</c:v>
                </c:pt>
                <c:pt idx="16">
                  <c:v>18078</c:v>
                </c:pt>
                <c:pt idx="17">
                  <c:v>18109</c:v>
                </c:pt>
                <c:pt idx="18">
                  <c:v>18140</c:v>
                </c:pt>
              </c:numCache>
            </c:numRef>
          </c:xVal>
          <c:yVal>
            <c:numRef>
              <c:f>Sheet1!$A$7:$S$7</c:f>
              <c:numCache>
                <c:formatCode>General</c:formatCode>
                <c:ptCount val="19"/>
                <c:pt idx="10">
                  <c:v>100000</c:v>
                </c:pt>
                <c:pt idx="11">
                  <c:v>300000</c:v>
                </c:pt>
                <c:pt idx="12">
                  <c:v>500000</c:v>
                </c:pt>
                <c:pt idx="13">
                  <c:v>600000</c:v>
                </c:pt>
                <c:pt idx="14">
                  <c:v>650000</c:v>
                </c:pt>
                <c:pt idx="15">
                  <c:v>700000</c:v>
                </c:pt>
                <c:pt idx="16">
                  <c:v>900000</c:v>
                </c:pt>
              </c:numCache>
            </c:numRef>
          </c:yVal>
          <c:smooth val="0"/>
          <c:extLst>
            <c:ext xmlns:c16="http://schemas.microsoft.com/office/drawing/2014/chart" uri="{C3380CC4-5D6E-409C-BE32-E72D297353CC}">
              <c16:uniqueId val="{00000005-BD9D-4CDA-BC67-3C57A2923C03}"/>
            </c:ext>
          </c:extLst>
        </c:ser>
        <c:ser>
          <c:idx val="6"/>
          <c:order val="6"/>
          <c:spPr>
            <a:ln w="28575" algn="ctr">
              <a:solidFill>
                <a:schemeClr val="accent1"/>
              </a:solidFill>
              <a:prstDash val="solid"/>
            </a:ln>
          </c:spPr>
          <c:marker>
            <c:symbol val="none"/>
          </c:marker>
          <c:xVal>
            <c:numRef>
              <c:f>Sheet1!$A$1:$S$1</c:f>
              <c:numCache>
                <c:formatCode>General</c:formatCode>
                <c:ptCount val="19"/>
                <c:pt idx="0">
                  <c:v>13878</c:v>
                </c:pt>
                <c:pt idx="1">
                  <c:v>14244</c:v>
                </c:pt>
                <c:pt idx="2">
                  <c:v>14609</c:v>
                </c:pt>
                <c:pt idx="3">
                  <c:v>14974</c:v>
                </c:pt>
                <c:pt idx="4">
                  <c:v>15339</c:v>
                </c:pt>
                <c:pt idx="5">
                  <c:v>15705</c:v>
                </c:pt>
                <c:pt idx="6">
                  <c:v>16070</c:v>
                </c:pt>
                <c:pt idx="7">
                  <c:v>16435</c:v>
                </c:pt>
                <c:pt idx="8">
                  <c:v>16800</c:v>
                </c:pt>
                <c:pt idx="9">
                  <c:v>17166</c:v>
                </c:pt>
                <c:pt idx="10">
                  <c:v>17531</c:v>
                </c:pt>
                <c:pt idx="11">
                  <c:v>17563</c:v>
                </c:pt>
                <c:pt idx="12">
                  <c:v>17896</c:v>
                </c:pt>
                <c:pt idx="13">
                  <c:v>17928</c:v>
                </c:pt>
                <c:pt idx="14">
                  <c:v>17956</c:v>
                </c:pt>
                <c:pt idx="15">
                  <c:v>17987</c:v>
                </c:pt>
                <c:pt idx="16">
                  <c:v>18078</c:v>
                </c:pt>
                <c:pt idx="17">
                  <c:v>18109</c:v>
                </c:pt>
                <c:pt idx="18">
                  <c:v>18140</c:v>
                </c:pt>
              </c:numCache>
            </c:numRef>
          </c:xVal>
          <c:yVal>
            <c:numRef>
              <c:f>Sheet1!$A$8:$S$8</c:f>
              <c:numCache>
                <c:formatCode>General</c:formatCode>
                <c:ptCount val="19"/>
                <c:pt idx="10">
                  <c:v>50000</c:v>
                </c:pt>
                <c:pt idx="11">
                  <c:v>100000</c:v>
                </c:pt>
                <c:pt idx="12">
                  <c:v>200000</c:v>
                </c:pt>
                <c:pt idx="13">
                  <c:v>248000</c:v>
                </c:pt>
                <c:pt idx="14">
                  <c:v>274000</c:v>
                </c:pt>
                <c:pt idx="15">
                  <c:v>300000</c:v>
                </c:pt>
                <c:pt idx="16">
                  <c:v>320000</c:v>
                </c:pt>
              </c:numCache>
            </c:numRef>
          </c:yVal>
          <c:smooth val="0"/>
          <c:extLst>
            <c:ext xmlns:c16="http://schemas.microsoft.com/office/drawing/2014/chart" uri="{C3380CC4-5D6E-409C-BE32-E72D297353CC}">
              <c16:uniqueId val="{00000006-BD9D-4CDA-BC67-3C57A2923C03}"/>
            </c:ext>
          </c:extLst>
        </c:ser>
        <c:dLbls>
          <c:showLegendKey val="0"/>
          <c:showVal val="0"/>
          <c:showCatName val="0"/>
          <c:showSerName val="0"/>
          <c:showPercent val="0"/>
          <c:showBubbleSize val="0"/>
        </c:dLbls>
        <c:axId val="252658816"/>
        <c:axId val="252660352"/>
      </c:scatterChart>
      <c:valAx>
        <c:axId val="252658816"/>
        <c:scaling>
          <c:orientation val="minMax"/>
          <c:max val="18262"/>
          <c:min val="13149"/>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252660352"/>
        <c:crosses val="min"/>
        <c:crossBetween val="midCat"/>
      </c:valAx>
      <c:valAx>
        <c:axId val="252660352"/>
        <c:scaling>
          <c:orientation val="minMax"/>
          <c:max val="20000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52658816"/>
        <c:crosses val="min"/>
        <c:crossBetween val="midCat"/>
        <c:majorUnit val="50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969353764157228E-2"/>
          <c:y val="2.1978021978021976E-2"/>
          <c:w val="0.90806129247168554"/>
          <c:h val="0.90278951817413355"/>
        </c:manualLayout>
      </c:layout>
      <c:scatterChart>
        <c:scatterStyle val="lineMarker"/>
        <c:varyColors val="0"/>
        <c:ser>
          <c:idx val="0"/>
          <c:order val="0"/>
          <c:spPr>
            <a:ln w="19050" algn="ctr">
              <a:solidFill>
                <a:schemeClr val="accent2"/>
              </a:solidFill>
              <a:prstDash val="solid"/>
            </a:ln>
          </c:spPr>
          <c:marker>
            <c:symbol val="none"/>
          </c:marker>
          <c:xVal>
            <c:numRef>
              <c:f>Sheet1!$A$1:$J$1</c:f>
              <c:numCache>
                <c:formatCode>General</c:formatCode>
                <c:ptCount val="10"/>
                <c:pt idx="0">
                  <c:v>0</c:v>
                </c:pt>
                <c:pt idx="1">
                  <c:v>1</c:v>
                </c:pt>
                <c:pt idx="2">
                  <c:v>1.5</c:v>
                </c:pt>
                <c:pt idx="3">
                  <c:v>2</c:v>
                </c:pt>
                <c:pt idx="4">
                  <c:v>2.5</c:v>
                </c:pt>
                <c:pt idx="5">
                  <c:v>3</c:v>
                </c:pt>
                <c:pt idx="6">
                  <c:v>4</c:v>
                </c:pt>
                <c:pt idx="7">
                  <c:v>4.5</c:v>
                </c:pt>
                <c:pt idx="8">
                  <c:v>5</c:v>
                </c:pt>
                <c:pt idx="9">
                  <c:v>6</c:v>
                </c:pt>
              </c:numCache>
            </c:numRef>
          </c:xVal>
          <c:yVal>
            <c:numRef>
              <c:f>Sheet1!$A$2:$J$2</c:f>
              <c:numCache>
                <c:formatCode>General</c:formatCode>
                <c:ptCount val="10"/>
                <c:pt idx="0">
                  <c:v>0</c:v>
                </c:pt>
                <c:pt idx="1">
                  <c:v>101000</c:v>
                </c:pt>
                <c:pt idx="2">
                  <c:v>169000</c:v>
                </c:pt>
                <c:pt idx="3">
                  <c:v>237000</c:v>
                </c:pt>
                <c:pt idx="4">
                  <c:v>260500</c:v>
                </c:pt>
                <c:pt idx="5">
                  <c:v>284000</c:v>
                </c:pt>
                <c:pt idx="6">
                  <c:v>350000</c:v>
                </c:pt>
                <c:pt idx="7">
                  <c:v>385000</c:v>
                </c:pt>
                <c:pt idx="8">
                  <c:v>420000</c:v>
                </c:pt>
                <c:pt idx="9">
                  <c:v>500000</c:v>
                </c:pt>
              </c:numCache>
            </c:numRef>
          </c:yVal>
          <c:smooth val="0"/>
          <c:extLst>
            <c:ext xmlns:c16="http://schemas.microsoft.com/office/drawing/2014/chart" uri="{C3380CC4-5D6E-409C-BE32-E72D297353CC}">
              <c16:uniqueId val="{00000000-C75B-43BF-BCE9-343DB5228ED5}"/>
            </c:ext>
          </c:extLst>
        </c:ser>
        <c:ser>
          <c:idx val="1"/>
          <c:order val="1"/>
          <c:spPr>
            <a:ln w="19050" algn="ctr">
              <a:solidFill>
                <a:srgbClr val="F8C701"/>
              </a:solidFill>
              <a:prstDash val="solid"/>
            </a:ln>
          </c:spPr>
          <c:marker>
            <c:symbol val="none"/>
          </c:marker>
          <c:xVal>
            <c:numRef>
              <c:f>Sheet1!$A$1:$J$1</c:f>
              <c:numCache>
                <c:formatCode>General</c:formatCode>
                <c:ptCount val="10"/>
                <c:pt idx="0">
                  <c:v>0</c:v>
                </c:pt>
                <c:pt idx="1">
                  <c:v>1</c:v>
                </c:pt>
                <c:pt idx="2">
                  <c:v>1.5</c:v>
                </c:pt>
                <c:pt idx="3">
                  <c:v>2</c:v>
                </c:pt>
                <c:pt idx="4">
                  <c:v>2.5</c:v>
                </c:pt>
                <c:pt idx="5">
                  <c:v>3</c:v>
                </c:pt>
                <c:pt idx="6">
                  <c:v>4</c:v>
                </c:pt>
                <c:pt idx="7">
                  <c:v>4.5</c:v>
                </c:pt>
                <c:pt idx="8">
                  <c:v>5</c:v>
                </c:pt>
                <c:pt idx="9">
                  <c:v>6</c:v>
                </c:pt>
              </c:numCache>
            </c:numRef>
          </c:xVal>
          <c:yVal>
            <c:numRef>
              <c:f>Sheet1!$A$3:$J$3</c:f>
              <c:numCache>
                <c:formatCode>General</c:formatCode>
                <c:ptCount val="10"/>
                <c:pt idx="0">
                  <c:v>0</c:v>
                </c:pt>
                <c:pt idx="1">
                  <c:v>200000</c:v>
                </c:pt>
                <c:pt idx="2">
                  <c:v>350000</c:v>
                </c:pt>
                <c:pt idx="3">
                  <c:v>500000</c:v>
                </c:pt>
                <c:pt idx="4">
                  <c:v>600000</c:v>
                </c:pt>
                <c:pt idx="5">
                  <c:v>700000</c:v>
                </c:pt>
                <c:pt idx="6">
                  <c:v>1000000</c:v>
                </c:pt>
                <c:pt idx="7">
                  <c:v>1180000</c:v>
                </c:pt>
                <c:pt idx="8">
                  <c:v>1360000</c:v>
                </c:pt>
              </c:numCache>
            </c:numRef>
          </c:yVal>
          <c:smooth val="0"/>
          <c:extLst>
            <c:ext xmlns:c16="http://schemas.microsoft.com/office/drawing/2014/chart" uri="{C3380CC4-5D6E-409C-BE32-E72D297353CC}">
              <c16:uniqueId val="{00000001-C75B-43BF-BCE9-343DB5228ED5}"/>
            </c:ext>
          </c:extLst>
        </c:ser>
        <c:ser>
          <c:idx val="2"/>
          <c:order val="2"/>
          <c:spPr>
            <a:ln w="19050" algn="ctr">
              <a:solidFill>
                <a:srgbClr val="A45200"/>
              </a:solidFill>
              <a:prstDash val="solid"/>
            </a:ln>
          </c:spPr>
          <c:marker>
            <c:symbol val="none"/>
          </c:marker>
          <c:xVal>
            <c:numRef>
              <c:f>Sheet1!$A$1:$J$1</c:f>
              <c:numCache>
                <c:formatCode>General</c:formatCode>
                <c:ptCount val="10"/>
                <c:pt idx="0">
                  <c:v>0</c:v>
                </c:pt>
                <c:pt idx="1">
                  <c:v>1</c:v>
                </c:pt>
                <c:pt idx="2">
                  <c:v>1.5</c:v>
                </c:pt>
                <c:pt idx="3">
                  <c:v>2</c:v>
                </c:pt>
                <c:pt idx="4">
                  <c:v>2.5</c:v>
                </c:pt>
                <c:pt idx="5">
                  <c:v>3</c:v>
                </c:pt>
                <c:pt idx="6">
                  <c:v>4</c:v>
                </c:pt>
                <c:pt idx="7">
                  <c:v>4.5</c:v>
                </c:pt>
                <c:pt idx="8">
                  <c:v>5</c:v>
                </c:pt>
                <c:pt idx="9">
                  <c:v>6</c:v>
                </c:pt>
              </c:numCache>
            </c:numRef>
          </c:xVal>
          <c:yVal>
            <c:numRef>
              <c:f>Sheet1!$A$4:$J$4</c:f>
              <c:numCache>
                <c:formatCode>General</c:formatCode>
                <c:ptCount val="10"/>
                <c:pt idx="0">
                  <c:v>0</c:v>
                </c:pt>
                <c:pt idx="1">
                  <c:v>120000</c:v>
                </c:pt>
                <c:pt idx="2">
                  <c:v>127500</c:v>
                </c:pt>
                <c:pt idx="3">
                  <c:v>135000</c:v>
                </c:pt>
                <c:pt idx="4">
                  <c:v>150000</c:v>
                </c:pt>
                <c:pt idx="5">
                  <c:v>165000</c:v>
                </c:pt>
                <c:pt idx="6">
                  <c:v>215000</c:v>
                </c:pt>
                <c:pt idx="7">
                  <c:v>230000</c:v>
                </c:pt>
              </c:numCache>
            </c:numRef>
          </c:yVal>
          <c:smooth val="0"/>
          <c:extLst>
            <c:ext xmlns:c16="http://schemas.microsoft.com/office/drawing/2014/chart" uri="{C3380CC4-5D6E-409C-BE32-E72D297353CC}">
              <c16:uniqueId val="{00000002-C75B-43BF-BCE9-343DB5228ED5}"/>
            </c:ext>
          </c:extLst>
        </c:ser>
        <c:ser>
          <c:idx val="3"/>
          <c:order val="3"/>
          <c:spPr>
            <a:ln w="19050" algn="ctr">
              <a:solidFill>
                <a:srgbClr val="0070C0"/>
              </a:solidFill>
              <a:prstDash val="solid"/>
            </a:ln>
          </c:spPr>
          <c:marker>
            <c:symbol val="none"/>
          </c:marker>
          <c:xVal>
            <c:numRef>
              <c:f>Sheet1!$A$1:$J$1</c:f>
              <c:numCache>
                <c:formatCode>General</c:formatCode>
                <c:ptCount val="10"/>
                <c:pt idx="0">
                  <c:v>0</c:v>
                </c:pt>
                <c:pt idx="1">
                  <c:v>1</c:v>
                </c:pt>
                <c:pt idx="2">
                  <c:v>1.5</c:v>
                </c:pt>
                <c:pt idx="3">
                  <c:v>2</c:v>
                </c:pt>
                <c:pt idx="4">
                  <c:v>2.5</c:v>
                </c:pt>
                <c:pt idx="5">
                  <c:v>3</c:v>
                </c:pt>
                <c:pt idx="6">
                  <c:v>4</c:v>
                </c:pt>
                <c:pt idx="7">
                  <c:v>4.5</c:v>
                </c:pt>
                <c:pt idx="8">
                  <c:v>5</c:v>
                </c:pt>
                <c:pt idx="9">
                  <c:v>6</c:v>
                </c:pt>
              </c:numCache>
            </c:numRef>
          </c:xVal>
          <c:yVal>
            <c:numRef>
              <c:f>Sheet1!$A$5:$J$5</c:f>
              <c:numCache>
                <c:formatCode>General</c:formatCode>
                <c:ptCount val="10"/>
                <c:pt idx="0">
                  <c:v>0</c:v>
                </c:pt>
                <c:pt idx="1">
                  <c:v>220000</c:v>
                </c:pt>
                <c:pt idx="2">
                  <c:v>310000</c:v>
                </c:pt>
                <c:pt idx="3">
                  <c:v>400000</c:v>
                </c:pt>
                <c:pt idx="4">
                  <c:v>525000</c:v>
                </c:pt>
                <c:pt idx="5">
                  <c:v>650000</c:v>
                </c:pt>
              </c:numCache>
            </c:numRef>
          </c:yVal>
          <c:smooth val="0"/>
          <c:extLst>
            <c:ext xmlns:c16="http://schemas.microsoft.com/office/drawing/2014/chart" uri="{C3380CC4-5D6E-409C-BE32-E72D297353CC}">
              <c16:uniqueId val="{00000003-C75B-43BF-BCE9-343DB5228ED5}"/>
            </c:ext>
          </c:extLst>
        </c:ser>
        <c:ser>
          <c:idx val="4"/>
          <c:order val="4"/>
          <c:spPr>
            <a:ln w="19050" algn="ctr">
              <a:solidFill>
                <a:srgbClr val="4E7720"/>
              </a:solidFill>
              <a:prstDash val="solid"/>
            </a:ln>
          </c:spPr>
          <c:marker>
            <c:symbol val="none"/>
          </c:marker>
          <c:xVal>
            <c:numRef>
              <c:f>Sheet1!$A$1:$J$1</c:f>
              <c:numCache>
                <c:formatCode>General</c:formatCode>
                <c:ptCount val="10"/>
                <c:pt idx="0">
                  <c:v>0</c:v>
                </c:pt>
                <c:pt idx="1">
                  <c:v>1</c:v>
                </c:pt>
                <c:pt idx="2">
                  <c:v>1.5</c:v>
                </c:pt>
                <c:pt idx="3">
                  <c:v>2</c:v>
                </c:pt>
                <c:pt idx="4">
                  <c:v>2.5</c:v>
                </c:pt>
                <c:pt idx="5">
                  <c:v>3</c:v>
                </c:pt>
                <c:pt idx="6">
                  <c:v>4</c:v>
                </c:pt>
                <c:pt idx="7">
                  <c:v>4.5</c:v>
                </c:pt>
                <c:pt idx="8">
                  <c:v>5</c:v>
                </c:pt>
                <c:pt idx="9">
                  <c:v>6</c:v>
                </c:pt>
              </c:numCache>
            </c:numRef>
          </c:xVal>
          <c:yVal>
            <c:numRef>
              <c:f>Sheet1!$A$6:$J$6</c:f>
              <c:numCache>
                <c:formatCode>General</c:formatCode>
                <c:ptCount val="10"/>
                <c:pt idx="0">
                  <c:v>0</c:v>
                </c:pt>
                <c:pt idx="1">
                  <c:v>100000</c:v>
                </c:pt>
                <c:pt idx="2">
                  <c:v>300000</c:v>
                </c:pt>
                <c:pt idx="3">
                  <c:v>500000</c:v>
                </c:pt>
                <c:pt idx="4">
                  <c:v>700000</c:v>
                </c:pt>
                <c:pt idx="5">
                  <c:v>900000</c:v>
                </c:pt>
              </c:numCache>
            </c:numRef>
          </c:yVal>
          <c:smooth val="0"/>
          <c:extLst>
            <c:ext xmlns:c16="http://schemas.microsoft.com/office/drawing/2014/chart" uri="{C3380CC4-5D6E-409C-BE32-E72D297353CC}">
              <c16:uniqueId val="{00000004-C75B-43BF-BCE9-343DB5228ED5}"/>
            </c:ext>
          </c:extLst>
        </c:ser>
        <c:ser>
          <c:idx val="5"/>
          <c:order val="5"/>
          <c:spPr>
            <a:ln w="38100" algn="ctr">
              <a:solidFill>
                <a:schemeClr val="accent1"/>
              </a:solidFill>
              <a:prstDash val="solid"/>
            </a:ln>
          </c:spPr>
          <c:marker>
            <c:symbol val="none"/>
          </c:marker>
          <c:xVal>
            <c:numRef>
              <c:f>Sheet1!$A$1:$J$1</c:f>
              <c:numCache>
                <c:formatCode>General</c:formatCode>
                <c:ptCount val="10"/>
                <c:pt idx="0">
                  <c:v>0</c:v>
                </c:pt>
                <c:pt idx="1">
                  <c:v>1</c:v>
                </c:pt>
                <c:pt idx="2">
                  <c:v>1.5</c:v>
                </c:pt>
                <c:pt idx="3">
                  <c:v>2</c:v>
                </c:pt>
                <c:pt idx="4">
                  <c:v>2.5</c:v>
                </c:pt>
                <c:pt idx="5">
                  <c:v>3</c:v>
                </c:pt>
                <c:pt idx="6">
                  <c:v>4</c:v>
                </c:pt>
                <c:pt idx="7">
                  <c:v>4.5</c:v>
                </c:pt>
                <c:pt idx="8">
                  <c:v>5</c:v>
                </c:pt>
                <c:pt idx="9">
                  <c:v>6</c:v>
                </c:pt>
              </c:numCache>
            </c:numRef>
          </c:xVal>
          <c:yVal>
            <c:numRef>
              <c:f>Sheet1!$A$7:$J$7</c:f>
              <c:numCache>
                <c:formatCode>General</c:formatCode>
                <c:ptCount val="10"/>
                <c:pt idx="0">
                  <c:v>0</c:v>
                </c:pt>
                <c:pt idx="1">
                  <c:v>200000</c:v>
                </c:pt>
                <c:pt idx="2">
                  <c:v>248000</c:v>
                </c:pt>
                <c:pt idx="3">
                  <c:v>320000</c:v>
                </c:pt>
              </c:numCache>
            </c:numRef>
          </c:yVal>
          <c:smooth val="0"/>
          <c:extLst>
            <c:ext xmlns:c16="http://schemas.microsoft.com/office/drawing/2014/chart" uri="{C3380CC4-5D6E-409C-BE32-E72D297353CC}">
              <c16:uniqueId val="{00000005-C75B-43BF-BCE9-343DB5228ED5}"/>
            </c:ext>
          </c:extLst>
        </c:ser>
        <c:ser>
          <c:idx val="6"/>
          <c:order val="6"/>
          <c:spPr>
            <a:ln w="19050" algn="ctr">
              <a:solidFill>
                <a:srgbClr val="FB04D6"/>
              </a:solidFill>
              <a:prstDash val="solid"/>
            </a:ln>
          </c:spPr>
          <c:marker>
            <c:symbol val="none"/>
          </c:marker>
          <c:xVal>
            <c:numRef>
              <c:f>Sheet1!$A$1:$J$1</c:f>
              <c:numCache>
                <c:formatCode>General</c:formatCode>
                <c:ptCount val="10"/>
                <c:pt idx="0">
                  <c:v>0</c:v>
                </c:pt>
                <c:pt idx="1">
                  <c:v>1</c:v>
                </c:pt>
                <c:pt idx="2">
                  <c:v>1.5</c:v>
                </c:pt>
                <c:pt idx="3">
                  <c:v>2</c:v>
                </c:pt>
                <c:pt idx="4">
                  <c:v>2.5</c:v>
                </c:pt>
                <c:pt idx="5">
                  <c:v>3</c:v>
                </c:pt>
                <c:pt idx="6">
                  <c:v>4</c:v>
                </c:pt>
                <c:pt idx="7">
                  <c:v>4.5</c:v>
                </c:pt>
                <c:pt idx="8">
                  <c:v>5</c:v>
                </c:pt>
                <c:pt idx="9">
                  <c:v>6</c:v>
                </c:pt>
              </c:numCache>
            </c:numRef>
          </c:xVal>
          <c:yVal>
            <c:numRef>
              <c:f>Sheet1!$A$8:$J$8</c:f>
              <c:numCache>
                <c:formatCode>General</c:formatCode>
                <c:ptCount val="10"/>
                <c:pt idx="0">
                  <c:v>0</c:v>
                </c:pt>
                <c:pt idx="1">
                  <c:v>64000</c:v>
                </c:pt>
                <c:pt idx="2">
                  <c:v>80000</c:v>
                </c:pt>
                <c:pt idx="3">
                  <c:v>107000</c:v>
                </c:pt>
                <c:pt idx="4">
                  <c:v>168000</c:v>
                </c:pt>
                <c:pt idx="5">
                  <c:v>217000</c:v>
                </c:pt>
                <c:pt idx="6">
                  <c:v>270000</c:v>
                </c:pt>
                <c:pt idx="7">
                  <c:v>310000</c:v>
                </c:pt>
                <c:pt idx="8">
                  <c:v>350000</c:v>
                </c:pt>
                <c:pt idx="9">
                  <c:v>609000</c:v>
                </c:pt>
              </c:numCache>
            </c:numRef>
          </c:yVal>
          <c:smooth val="0"/>
          <c:extLst>
            <c:ext xmlns:c16="http://schemas.microsoft.com/office/drawing/2014/chart" uri="{C3380CC4-5D6E-409C-BE32-E72D297353CC}">
              <c16:uniqueId val="{00000006-C75B-43BF-BCE9-343DB5228ED5}"/>
            </c:ext>
          </c:extLst>
        </c:ser>
        <c:dLbls>
          <c:showLegendKey val="0"/>
          <c:showVal val="0"/>
          <c:showCatName val="0"/>
          <c:showSerName val="0"/>
          <c:showPercent val="0"/>
          <c:showBubbleSize val="0"/>
        </c:dLbls>
        <c:axId val="304105344"/>
        <c:axId val="304107904"/>
      </c:scatterChart>
      <c:valAx>
        <c:axId val="304105344"/>
        <c:scaling>
          <c:orientation val="minMax"/>
          <c:max val="6"/>
          <c:min val="0"/>
        </c:scaling>
        <c:delete val="0"/>
        <c:axPos val="b"/>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Helvetica 65 Medium"/>
                <a:ea typeface="ＭＳ Ｐゴシック"/>
                <a:cs typeface="+mn-cs"/>
                <a:sym typeface="Helvetica 65 Medium"/>
              </a:defRPr>
            </a:pPr>
            <a:endParaRPr lang="fr-FR"/>
          </a:p>
        </c:txPr>
        <c:crossAx val="304107904"/>
        <c:crosses val="min"/>
        <c:crossBetween val="midCat"/>
        <c:majorUnit val="0.5"/>
      </c:valAx>
      <c:valAx>
        <c:axId val="304107904"/>
        <c:scaling>
          <c:orientation val="minMax"/>
          <c:max val="14000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304105344"/>
        <c:crosses val="min"/>
        <c:crossBetween val="midCat"/>
        <c:majorUnit val="1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720969089390141E-2"/>
          <c:y val="0.11962931760741365"/>
          <c:w val="0.95655806182121972"/>
          <c:h val="0.83656276326874468"/>
        </c:manualLayout>
      </c:layout>
      <c:barChart>
        <c:barDir val="col"/>
        <c:grouping val="stacked"/>
        <c:varyColors val="0"/>
        <c:ser>
          <c:idx val="0"/>
          <c:order val="0"/>
          <c:spPr>
            <a:solidFill>
              <a:schemeClr val="bg2"/>
            </a:solidFill>
            <a:ln>
              <a:noFill/>
            </a:ln>
          </c:spPr>
          <c:invertIfNegative val="0"/>
          <c:dPt>
            <c:idx val="6"/>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01-7D6F-435F-8110-19BD2749E0FC}"/>
              </c:ext>
            </c:extLst>
          </c:dPt>
          <c:dLbls>
            <c:dLbl>
              <c:idx val="0"/>
              <c:layout>
                <c:manualLayout>
                  <c:x val="0"/>
                  <c:y val="-0.16933445661331087"/>
                </c:manualLayout>
              </c:layout>
              <c:numFmt formatCode="#,##0;&quot;-&quot;#,##0" sourceLinked="0"/>
              <c:spPr>
                <a:noFill/>
                <a:ln>
                  <a:noFill/>
                </a:ln>
              </c:spPr>
              <c:txPr>
                <a:bodyPr wrap="none"/>
                <a:lstStyle/>
                <a:p>
                  <a:pPr>
                    <a:defRPr sz="1200">
                      <a:solidFill>
                        <a:schemeClr val="tx1"/>
                      </a:solidFill>
                      <a:latin typeface="Helvetica 65 Medium"/>
                      <a:ea typeface="Helvetica 65 Medium"/>
                      <a:cs typeface="Helvetica 65 Medium"/>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D6F-435F-8110-19BD2749E0FC}"/>
                </c:ext>
              </c:extLst>
            </c:dLbl>
            <c:dLbl>
              <c:idx val="1"/>
              <c:layout>
                <c:manualLayout>
                  <c:x val="0"/>
                  <c:y val="-0.16680707666385847"/>
                </c:manualLayout>
              </c:layout>
              <c:numFmt formatCode="#,##0;&quot;-&quot;#,##0" sourceLinked="0"/>
              <c:spPr>
                <a:noFill/>
                <a:ln>
                  <a:noFill/>
                </a:ln>
              </c:spPr>
              <c:txPr>
                <a:bodyPr wrap="none"/>
                <a:lstStyle/>
                <a:p>
                  <a:pPr>
                    <a:defRPr sz="1200">
                      <a:solidFill>
                        <a:schemeClr val="tx1"/>
                      </a:solidFill>
                      <a:latin typeface="Helvetica 65 Medium"/>
                      <a:ea typeface="Helvetica 65 Medium"/>
                      <a:cs typeface="Helvetica 65 Medium"/>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D6F-435F-8110-19BD2749E0FC}"/>
                </c:ext>
              </c:extLst>
            </c:dLbl>
            <c:dLbl>
              <c:idx val="2"/>
              <c:layout>
                <c:manualLayout>
                  <c:x val="0"/>
                  <c:y val="-0.21229991575400167"/>
                </c:manualLayout>
              </c:layout>
              <c:numFmt formatCode="#,##0;&quot;-&quot;#,##0" sourceLinked="0"/>
              <c:spPr>
                <a:noFill/>
                <a:ln>
                  <a:noFill/>
                </a:ln>
              </c:spPr>
              <c:txPr>
                <a:bodyPr wrap="none"/>
                <a:lstStyle/>
                <a:p>
                  <a:pPr>
                    <a:defRPr sz="1200">
                      <a:solidFill>
                        <a:schemeClr val="tx1"/>
                      </a:solidFill>
                      <a:latin typeface="Helvetica 65 Medium"/>
                      <a:ea typeface="ＭＳ Ｐゴシック"/>
                      <a:cs typeface="+mn-cs"/>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D6F-435F-8110-19BD2749E0FC}"/>
                </c:ext>
              </c:extLst>
            </c:dLbl>
            <c:dLbl>
              <c:idx val="3"/>
              <c:layout>
                <c:manualLayout>
                  <c:x val="0"/>
                  <c:y val="-0.25442291491154168"/>
                </c:manualLayout>
              </c:layout>
              <c:numFmt formatCode="#,##0;&quot;-&quot;#,##0" sourceLinked="0"/>
              <c:spPr>
                <a:noFill/>
                <a:ln>
                  <a:noFill/>
                </a:ln>
              </c:spPr>
              <c:txPr>
                <a:bodyPr wrap="none"/>
                <a:lstStyle/>
                <a:p>
                  <a:pPr>
                    <a:defRPr sz="1200">
                      <a:solidFill>
                        <a:schemeClr val="tx1"/>
                      </a:solidFill>
                      <a:latin typeface="Helvetica 65 Medium"/>
                      <a:ea typeface="Helvetica 65 Medium"/>
                      <a:cs typeface="Helvetica 65 Medium"/>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D6F-435F-8110-19BD2749E0FC}"/>
                </c:ext>
              </c:extLst>
            </c:dLbl>
            <c:dLbl>
              <c:idx val="4"/>
              <c:layout>
                <c:manualLayout>
                  <c:x val="0"/>
                  <c:y val="-0.41954507160909854"/>
                </c:manualLayout>
              </c:layout>
              <c:numFmt formatCode="#,##0;&quot;-&quot;#,##0" sourceLinked="0"/>
              <c:spPr>
                <a:noFill/>
                <a:ln>
                  <a:noFill/>
                </a:ln>
              </c:spPr>
              <c:txPr>
                <a:bodyPr wrap="none"/>
                <a:lstStyle/>
                <a:p>
                  <a:pPr>
                    <a:defRPr sz="1200">
                      <a:solidFill>
                        <a:schemeClr val="tx1"/>
                      </a:solidFill>
                      <a:latin typeface="Helvetica 65 Medium"/>
                      <a:ea typeface="ＭＳ Ｐゴシック"/>
                      <a:cs typeface="+mn-cs"/>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D6F-435F-8110-19BD2749E0FC}"/>
                </c:ext>
              </c:extLst>
            </c:dLbl>
            <c:dLbl>
              <c:idx val="5"/>
              <c:layout>
                <c:manualLayout>
                  <c:x val="0"/>
                  <c:y val="-0.47767481044650378"/>
                </c:manualLayout>
              </c:layout>
              <c:numFmt formatCode="#,##0;&quot;-&quot;#,##0" sourceLinked="0"/>
              <c:spPr>
                <a:noFill/>
                <a:ln>
                  <a:noFill/>
                </a:ln>
              </c:spPr>
              <c:txPr>
                <a:bodyPr wrap="none"/>
                <a:lstStyle/>
                <a:p>
                  <a:pPr>
                    <a:defRPr sz="1200">
                      <a:solidFill>
                        <a:schemeClr val="tx1"/>
                      </a:solidFill>
                      <a:latin typeface="Helvetica 65 Medium"/>
                      <a:ea typeface="ＭＳ Ｐゴシック"/>
                      <a:cs typeface="+mn-cs"/>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D6F-435F-8110-19BD2749E0FC}"/>
                </c:ext>
              </c:extLst>
            </c:dLbl>
            <c:dLbl>
              <c:idx val="6"/>
              <c:layout>
                <c:manualLayout>
                  <c:x val="0"/>
                  <c:y val="-0.45998315080033697"/>
                </c:manualLayout>
              </c:layout>
              <c:numFmt formatCode="#,##0;&quot;-&quot;#,##0" sourceLinked="0"/>
              <c:spPr>
                <a:noFill/>
                <a:ln>
                  <a:noFill/>
                </a:ln>
              </c:spPr>
              <c:txPr>
                <a:bodyPr wrap="none"/>
                <a:lstStyle/>
                <a:p>
                  <a:pPr>
                    <a:defRPr sz="1200">
                      <a:solidFill>
                        <a:schemeClr val="tx1"/>
                      </a:solidFill>
                      <a:latin typeface="Helvetica 65 Medium"/>
                      <a:ea typeface="Helvetica 65 Medium"/>
                      <a:cs typeface="Helvetica 65 Medium"/>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D6F-435F-8110-19BD2749E0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9</c:v>
                </c:pt>
                <c:pt idx="1">
                  <c:v>57</c:v>
                </c:pt>
                <c:pt idx="2">
                  <c:v>135</c:v>
                </c:pt>
                <c:pt idx="3">
                  <c:v>172</c:v>
                </c:pt>
                <c:pt idx="4">
                  <c:v>318</c:v>
                </c:pt>
                <c:pt idx="5">
                  <c:v>370</c:v>
                </c:pt>
                <c:pt idx="6">
                  <c:v>354</c:v>
                </c:pt>
              </c:numCache>
            </c:numRef>
          </c:val>
          <c:extLst>
            <c:ext xmlns:c16="http://schemas.microsoft.com/office/drawing/2014/chart" uri="{C3380CC4-5D6E-409C-BE32-E72D297353CC}">
              <c16:uniqueId val="{00000008-7D6F-435F-8110-19BD2749E0FC}"/>
            </c:ext>
          </c:extLst>
        </c:ser>
        <c:dLbls>
          <c:showLegendKey val="0"/>
          <c:showVal val="0"/>
          <c:showCatName val="0"/>
          <c:showSerName val="0"/>
          <c:showPercent val="0"/>
          <c:showBubbleSize val="0"/>
        </c:dLbls>
        <c:gapWidth val="80"/>
        <c:overlap val="100"/>
        <c:axId val="376368128"/>
        <c:axId val="376865920"/>
      </c:barChart>
      <c:lineChart>
        <c:grouping val="standard"/>
        <c:varyColors val="0"/>
        <c:ser>
          <c:idx val="1"/>
          <c:order val="1"/>
          <c:spPr>
            <a:ln w="19050" algn="ctr">
              <a:solidFill>
                <a:srgbClr val="4BB4E6"/>
              </a:solidFill>
              <a:prstDash val="solid"/>
            </a:ln>
          </c:spPr>
          <c:marker>
            <c:symbol val="none"/>
          </c:marker>
          <c:dLbls>
            <c:dLbl>
              <c:idx val="0"/>
              <c:layout>
                <c:manualLayout>
                  <c:x val="0"/>
                  <c:y val="-7.5821398483572028E-2"/>
                </c:manualLayout>
              </c:layout>
              <c:numFmt formatCode="#,##0;&quot;-&quot;#,##0" sourceLinked="0"/>
              <c:spPr>
                <a:noFill/>
                <a:ln>
                  <a:noFill/>
                </a:ln>
              </c:spPr>
              <c:txPr>
                <a:bodyPr wrap="none"/>
                <a:lstStyle/>
                <a:p>
                  <a:pPr>
                    <a:defRPr sz="1200">
                      <a:solidFill>
                        <a:srgbClr val="4BB4E6"/>
                      </a:solidFill>
                      <a:latin typeface="Helvetica 65 Medium"/>
                      <a:ea typeface="ＭＳ Ｐゴシック"/>
                      <a:cs typeface="+mn-cs"/>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D6F-435F-8110-19BD2749E0FC}"/>
                </c:ext>
              </c:extLst>
            </c:dLbl>
            <c:dLbl>
              <c:idx val="2"/>
              <c:layout>
                <c:manualLayout>
                  <c:x val="0"/>
                  <c:y val="-7.5821398483572028E-2"/>
                </c:manualLayout>
              </c:layout>
              <c:numFmt formatCode="#,##0;&quot;-&quot;#,##0" sourceLinked="0"/>
              <c:spPr>
                <a:noFill/>
                <a:ln>
                  <a:noFill/>
                </a:ln>
              </c:spPr>
              <c:txPr>
                <a:bodyPr wrap="none"/>
                <a:lstStyle/>
                <a:p>
                  <a:pPr>
                    <a:defRPr sz="1200">
                      <a:solidFill>
                        <a:srgbClr val="4BB4E6"/>
                      </a:solidFill>
                      <a:latin typeface="Helvetica 65 Medium"/>
                      <a:ea typeface="ＭＳ Ｐゴシック"/>
                      <a:cs typeface="+mn-cs"/>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D6F-435F-8110-19BD2749E0FC}"/>
                </c:ext>
              </c:extLst>
            </c:dLbl>
            <c:dLbl>
              <c:idx val="3"/>
              <c:layout>
                <c:manualLayout>
                  <c:x val="0"/>
                  <c:y val="-7.5821398483572028E-2"/>
                </c:manualLayout>
              </c:layout>
              <c:numFmt formatCode="#,##0;&quot;-&quot;#,##0" sourceLinked="0"/>
              <c:spPr>
                <a:noFill/>
                <a:ln>
                  <a:noFill/>
                </a:ln>
              </c:spPr>
              <c:txPr>
                <a:bodyPr wrap="none"/>
                <a:lstStyle/>
                <a:p>
                  <a:pPr>
                    <a:defRPr sz="1200">
                      <a:solidFill>
                        <a:srgbClr val="4BB4E6"/>
                      </a:solidFill>
                      <a:latin typeface="Helvetica 65 Medium"/>
                      <a:ea typeface="ＭＳ Ｐゴシック"/>
                      <a:cs typeface="+mn-cs"/>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D6F-435F-8110-19BD2749E0FC}"/>
                </c:ext>
              </c:extLst>
            </c:dLbl>
            <c:dLbl>
              <c:idx val="4"/>
              <c:layout>
                <c:manualLayout>
                  <c:x val="0"/>
                  <c:y val="-7.5821398483572028E-2"/>
                </c:manualLayout>
              </c:layout>
              <c:numFmt formatCode="#,##0;&quot;-&quot;#,##0" sourceLinked="0"/>
              <c:spPr>
                <a:noFill/>
                <a:ln>
                  <a:noFill/>
                </a:ln>
              </c:spPr>
              <c:txPr>
                <a:bodyPr wrap="none"/>
                <a:lstStyle/>
                <a:p>
                  <a:pPr>
                    <a:defRPr sz="1200">
                      <a:solidFill>
                        <a:srgbClr val="4BB4E6"/>
                      </a:solidFill>
                      <a:latin typeface="Helvetica 65 Medium"/>
                      <a:ea typeface="ＭＳ Ｐゴシック"/>
                      <a:cs typeface="+mn-cs"/>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D6F-435F-8110-19BD2749E0FC}"/>
                </c:ext>
              </c:extLst>
            </c:dLbl>
            <c:dLbl>
              <c:idx val="5"/>
              <c:layout>
                <c:manualLayout>
                  <c:x val="0"/>
                  <c:y val="-7.5821398483572028E-2"/>
                </c:manualLayout>
              </c:layout>
              <c:numFmt formatCode="#,##0;&quot;-&quot;#,##0" sourceLinked="0"/>
              <c:spPr>
                <a:noFill/>
                <a:ln>
                  <a:noFill/>
                </a:ln>
              </c:spPr>
              <c:txPr>
                <a:bodyPr wrap="none"/>
                <a:lstStyle/>
                <a:p>
                  <a:pPr>
                    <a:defRPr sz="1200">
                      <a:solidFill>
                        <a:srgbClr val="4BB4E6"/>
                      </a:solidFill>
                      <a:latin typeface="Helvetica 65 Medium"/>
                      <a:ea typeface="ＭＳ Ｐゴシック"/>
                      <a:cs typeface="+mn-cs"/>
                      <a:sym typeface="Helvetica 65 Medium"/>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D6F-435F-8110-19BD2749E0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7</c:v>
                </c:pt>
                <c:pt idx="1">
                  <c:v>30</c:v>
                </c:pt>
                <c:pt idx="2">
                  <c:v>37</c:v>
                </c:pt>
                <c:pt idx="3">
                  <c:v>63</c:v>
                </c:pt>
                <c:pt idx="4">
                  <c:v>61</c:v>
                </c:pt>
                <c:pt idx="5">
                  <c:v>74</c:v>
                </c:pt>
                <c:pt idx="6">
                  <c:v>39</c:v>
                </c:pt>
              </c:numCache>
            </c:numRef>
          </c:val>
          <c:smooth val="0"/>
          <c:extLst>
            <c:ext xmlns:c16="http://schemas.microsoft.com/office/drawing/2014/chart" uri="{C3380CC4-5D6E-409C-BE32-E72D297353CC}">
              <c16:uniqueId val="{0000000E-7D6F-435F-8110-19BD2749E0FC}"/>
            </c:ext>
          </c:extLst>
        </c:ser>
        <c:dLbls>
          <c:showLegendKey val="0"/>
          <c:showVal val="0"/>
          <c:showCatName val="0"/>
          <c:showSerName val="0"/>
          <c:showPercent val="0"/>
          <c:showBubbleSize val="0"/>
        </c:dLbls>
        <c:marker val="1"/>
        <c:smooth val="0"/>
        <c:axId val="376368128"/>
        <c:axId val="376865920"/>
      </c:lineChart>
      <c:catAx>
        <c:axId val="3763681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376865920"/>
        <c:crosses val="min"/>
        <c:auto val="0"/>
        <c:lblAlgn val="ctr"/>
        <c:lblOffset val="100"/>
        <c:noMultiLvlLbl val="0"/>
      </c:catAx>
      <c:valAx>
        <c:axId val="376865920"/>
        <c:scaling>
          <c:orientation val="minMax"/>
          <c:max val="370"/>
          <c:min val="0"/>
        </c:scaling>
        <c:delete val="1"/>
        <c:axPos val="l"/>
        <c:numFmt formatCode="General" sourceLinked="1"/>
        <c:majorTickMark val="out"/>
        <c:minorTickMark val="none"/>
        <c:tickLblPos val="nextTo"/>
        <c:crossAx val="37636812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3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3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3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3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44.png"/></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5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53.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3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3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3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8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46BAF39F-6F12-46C1-8AEF-E9935C85B55A}" type="datetimeFigureOut">
              <a:rPr lang="fr-FR" smtClean="0"/>
              <a:t>12/02/2020</a:t>
            </a:fld>
            <a:endParaRPr lang="fr-FR"/>
          </a:p>
        </p:txBody>
      </p:sp>
      <p:sp>
        <p:nvSpPr>
          <p:cNvPr id="4" name="Espace réservé de l'image des diapositives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78CE1ABA-692C-406C-83AF-EB7A82589D1D}" type="slidenum">
              <a:rPr lang="fr-FR" smtClean="0"/>
              <a:t>‹N°›</a:t>
            </a:fld>
            <a:endParaRPr lang="fr-FR"/>
          </a:p>
        </p:txBody>
      </p:sp>
    </p:spTree>
    <p:extLst>
      <p:ext uri="{BB962C8B-B14F-4D97-AF65-F5344CB8AC3E}">
        <p14:creationId xmlns:p14="http://schemas.microsoft.com/office/powerpoint/2010/main" val="36552283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latribune.fr/technos-medias/innovation-et-start-up/205-millions-d-euros-meero-reussit-la-troisieme-plus-grande-levee-de-l-histoire-de-la-french-tech-820890.html" TargetMode="External"/><Relationship Id="rId7" Type="http://schemas.openxmlformats.org/officeDocument/2006/relationships/hyperlink" Target="https://www.latribune.fr/technos-medias/innovation-et-start-up/mega-levee-de-100-millions-d-euros-pour-la-startup-francaise-hr-path-813090.html"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www.latribune.fr/technos-medias/innovation-et-start-up/le-francais-ynsect-leve-125-millions-de-dollars-pour-nourrir-la-planete-avec-des-proteines-alternatives-808283.html" TargetMode="External"/><Relationship Id="rId5" Type="http://schemas.openxmlformats.org/officeDocument/2006/relationships/hyperlink" Target="https://www.latribune.fr/technos-medias/innovation-et-start-up/manomano-leve-110-millions-pour-convaincre-bricoleurs-et-pros-du-batiment-de-lacher-amazon-812802.html" TargetMode="External"/><Relationship Id="rId4" Type="http://schemas.openxmlformats.org/officeDocument/2006/relationships/hyperlink" Target="https://www.latribune.fr/technos-medias/innovation-et-start-up/doctolib-leve-150-millions-d-euros-et-devient-la-5e-licorne-francaise-811316.html"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a:xfrm>
            <a:off x="3850445" y="9430092"/>
            <a:ext cx="2945659" cy="496411"/>
          </a:xfrm>
          <a:prstGeom prst="rect">
            <a:avLst/>
          </a:prstGeom>
        </p:spPr>
        <p:txBody>
          <a:bodyPr/>
          <a:lstStyle/>
          <a:p>
            <a:fld id="{885932DF-9606-4758-A2B5-AF1153FB1ABB}" type="slidenum">
              <a:rPr lang="en-GB" smtClean="0"/>
              <a:pPr/>
              <a:t>1</a:t>
            </a:fld>
            <a:endParaRPr lang="en-GB" dirty="0"/>
          </a:p>
        </p:txBody>
      </p:sp>
    </p:spTree>
    <p:extLst>
      <p:ext uri="{BB962C8B-B14F-4D97-AF65-F5344CB8AC3E}">
        <p14:creationId xmlns:p14="http://schemas.microsoft.com/office/powerpoint/2010/main" val="3135240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baseline="0" dirty="0"/>
          </a:p>
        </p:txBody>
      </p:sp>
      <p:sp>
        <p:nvSpPr>
          <p:cNvPr id="4" name="Espace réservé du numéro de diapositive 3"/>
          <p:cNvSpPr>
            <a:spLocks noGrp="1"/>
          </p:cNvSpPr>
          <p:nvPr>
            <p:ph type="sldNum" sz="quarter" idx="10"/>
          </p:nvPr>
        </p:nvSpPr>
        <p:spPr/>
        <p:txBody>
          <a:bodyPr/>
          <a:lstStyle/>
          <a:p>
            <a:fld id="{78CE1ABA-692C-406C-83AF-EB7A82589D1D}" type="slidenum">
              <a:rPr lang="fr-FR" smtClean="0"/>
              <a:t>36</a:t>
            </a:fld>
            <a:endParaRPr lang="fr-FR"/>
          </a:p>
        </p:txBody>
      </p:sp>
    </p:spTree>
    <p:extLst>
      <p:ext uri="{BB962C8B-B14F-4D97-AF65-F5344CB8AC3E}">
        <p14:creationId xmlns:p14="http://schemas.microsoft.com/office/powerpoint/2010/main" val="3319759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78CE1ABA-692C-406C-83AF-EB7A82589D1D}" type="slidenum">
              <a:rPr lang="fr-FR" smtClean="0">
                <a:solidFill>
                  <a:prstClr val="black"/>
                </a:solidFill>
              </a:rPr>
              <a:pPr/>
              <a:t>37</a:t>
            </a:fld>
            <a:endParaRPr lang="fr-FR">
              <a:solidFill>
                <a:prstClr val="black"/>
              </a:solidFill>
            </a:endParaRPr>
          </a:p>
        </p:txBody>
      </p:sp>
    </p:spTree>
    <p:extLst>
      <p:ext uri="{BB962C8B-B14F-4D97-AF65-F5344CB8AC3E}">
        <p14:creationId xmlns:p14="http://schemas.microsoft.com/office/powerpoint/2010/main" val="3225905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78CE1ABA-692C-406C-83AF-EB7A82589D1D}" type="slidenum">
              <a:rPr lang="fr-FR" smtClean="0">
                <a:solidFill>
                  <a:prstClr val="black"/>
                </a:solidFill>
              </a:rPr>
              <a:pPr/>
              <a:t>39</a:t>
            </a:fld>
            <a:endParaRPr lang="fr-FR">
              <a:solidFill>
                <a:prstClr val="black"/>
              </a:solidFill>
            </a:endParaRPr>
          </a:p>
        </p:txBody>
      </p:sp>
    </p:spTree>
    <p:extLst>
      <p:ext uri="{BB962C8B-B14F-4D97-AF65-F5344CB8AC3E}">
        <p14:creationId xmlns:p14="http://schemas.microsoft.com/office/powerpoint/2010/main" val="3225905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Pour</a:t>
            </a:r>
            <a:r>
              <a:rPr lang="fr-FR" baseline="0" dirty="0"/>
              <a:t> l’instant 3000€</a:t>
            </a:r>
          </a:p>
          <a:p>
            <a:r>
              <a:rPr lang="fr-FR" baseline="0" dirty="0"/>
              <a:t>Mais il y a la volonté de baisser rapidement à 500€ (R2)</a:t>
            </a:r>
            <a:endParaRPr lang="fr-FR" dirty="0"/>
          </a:p>
        </p:txBody>
      </p:sp>
      <p:sp>
        <p:nvSpPr>
          <p:cNvPr id="4" name="Espace réservé du numéro de diapositive 3"/>
          <p:cNvSpPr>
            <a:spLocks noGrp="1"/>
          </p:cNvSpPr>
          <p:nvPr>
            <p:ph type="sldNum" sz="quarter" idx="10"/>
          </p:nvPr>
        </p:nvSpPr>
        <p:spPr/>
        <p:txBody>
          <a:bodyPr/>
          <a:lstStyle/>
          <a:p>
            <a:fld id="{78CE1ABA-692C-406C-83AF-EB7A82589D1D}" type="slidenum">
              <a:rPr lang="fr-FR" smtClean="0">
                <a:solidFill>
                  <a:prstClr val="black"/>
                </a:solidFill>
              </a:rPr>
              <a:pPr/>
              <a:t>40</a:t>
            </a:fld>
            <a:endParaRPr lang="fr-FR">
              <a:solidFill>
                <a:prstClr val="black"/>
              </a:solidFill>
            </a:endParaRPr>
          </a:p>
        </p:txBody>
      </p:sp>
    </p:spTree>
    <p:extLst>
      <p:ext uri="{BB962C8B-B14F-4D97-AF65-F5344CB8AC3E}">
        <p14:creationId xmlns:p14="http://schemas.microsoft.com/office/powerpoint/2010/main" val="1727749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Pour</a:t>
            </a:r>
            <a:r>
              <a:rPr lang="fr-FR" baseline="0" dirty="0"/>
              <a:t> l’instant 3000€</a:t>
            </a:r>
          </a:p>
          <a:p>
            <a:r>
              <a:rPr lang="fr-FR" baseline="0" dirty="0"/>
              <a:t>Mais il y a la volonté de baisser rapidement à 500€ (R2)</a:t>
            </a:r>
            <a:endParaRPr lang="fr-FR" dirty="0"/>
          </a:p>
        </p:txBody>
      </p:sp>
      <p:sp>
        <p:nvSpPr>
          <p:cNvPr id="4" name="Espace réservé du numéro de diapositive 3"/>
          <p:cNvSpPr>
            <a:spLocks noGrp="1"/>
          </p:cNvSpPr>
          <p:nvPr>
            <p:ph type="sldNum" sz="quarter" idx="10"/>
          </p:nvPr>
        </p:nvSpPr>
        <p:spPr/>
        <p:txBody>
          <a:bodyPr/>
          <a:lstStyle/>
          <a:p>
            <a:fld id="{78CE1ABA-692C-406C-83AF-EB7A82589D1D}" type="slidenum">
              <a:rPr lang="fr-FR" smtClean="0">
                <a:solidFill>
                  <a:prstClr val="black"/>
                </a:solidFill>
              </a:rPr>
              <a:pPr/>
              <a:t>41</a:t>
            </a:fld>
            <a:endParaRPr lang="fr-FR">
              <a:solidFill>
                <a:prstClr val="black"/>
              </a:solidFill>
            </a:endParaRPr>
          </a:p>
        </p:txBody>
      </p:sp>
    </p:spTree>
    <p:extLst>
      <p:ext uri="{BB962C8B-B14F-4D97-AF65-F5344CB8AC3E}">
        <p14:creationId xmlns:p14="http://schemas.microsoft.com/office/powerpoint/2010/main" val="17277491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Ma tirelire : économiser</a:t>
            </a:r>
            <a:r>
              <a:rPr lang="fr-FR" baseline="0" dirty="0"/>
              <a:t> sans y penser</a:t>
            </a:r>
            <a:endParaRPr lang="fr-FR" dirty="0"/>
          </a:p>
          <a:p>
            <a:endParaRPr lang="fr-FR" dirty="0"/>
          </a:p>
        </p:txBody>
      </p:sp>
      <p:sp>
        <p:nvSpPr>
          <p:cNvPr id="4" name="Espace réservé du pied de page 3"/>
          <p:cNvSpPr>
            <a:spLocks noGrp="1"/>
          </p:cNvSpPr>
          <p:nvPr>
            <p:ph type="ftr" sz="quarter" idx="10"/>
          </p:nvPr>
        </p:nvSpPr>
        <p:spPr/>
        <p:txBody>
          <a:bodyPr/>
          <a:lstStyle/>
          <a:p>
            <a:r>
              <a:rPr lang="fr-FR"/>
              <a:t>Confidentiel</a:t>
            </a:r>
          </a:p>
        </p:txBody>
      </p:sp>
      <p:sp>
        <p:nvSpPr>
          <p:cNvPr id="5" name="Espace réservé du numéro de diapositive 4"/>
          <p:cNvSpPr>
            <a:spLocks noGrp="1"/>
          </p:cNvSpPr>
          <p:nvPr>
            <p:ph type="sldNum" sz="quarter" idx="11"/>
          </p:nvPr>
        </p:nvSpPr>
        <p:spPr/>
        <p:txBody>
          <a:bodyPr/>
          <a:lstStyle/>
          <a:p>
            <a:fld id="{5524D1EB-58EC-48AD-BEFE-126B761899CD}" type="slidenum">
              <a:rPr lang="fr-FR" smtClean="0"/>
              <a:t>44</a:t>
            </a:fld>
            <a:endParaRPr lang="fr-FR"/>
          </a:p>
        </p:txBody>
      </p:sp>
    </p:spTree>
    <p:extLst>
      <p:ext uri="{BB962C8B-B14F-4D97-AF65-F5344CB8AC3E}">
        <p14:creationId xmlns:p14="http://schemas.microsoft.com/office/powerpoint/2010/main" val="24437697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524D1EB-58EC-48AD-BEFE-126B761899CD}" type="slidenum">
              <a:rPr lang="fr-FR" smtClean="0"/>
              <a:t>46</a:t>
            </a:fld>
            <a:endParaRPr lang="fr-FR"/>
          </a:p>
        </p:txBody>
      </p:sp>
      <p:sp>
        <p:nvSpPr>
          <p:cNvPr id="5" name="Espace réservé du pied de page 4"/>
          <p:cNvSpPr>
            <a:spLocks noGrp="1"/>
          </p:cNvSpPr>
          <p:nvPr>
            <p:ph type="ftr" sz="quarter" idx="11"/>
          </p:nvPr>
        </p:nvSpPr>
        <p:spPr/>
        <p:txBody>
          <a:bodyPr/>
          <a:lstStyle/>
          <a:p>
            <a:r>
              <a:rPr lang="fr-FR"/>
              <a:t>Confidentiel</a:t>
            </a:r>
          </a:p>
        </p:txBody>
      </p:sp>
    </p:spTree>
    <p:extLst>
      <p:ext uri="{BB962C8B-B14F-4D97-AF65-F5344CB8AC3E}">
        <p14:creationId xmlns:p14="http://schemas.microsoft.com/office/powerpoint/2010/main" val="823414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10"/>
          </p:nvPr>
        </p:nvSpPr>
        <p:spPr/>
        <p:txBody>
          <a:bodyPr/>
          <a:lstStyle/>
          <a:p>
            <a:r>
              <a:rPr lang="fr-FR"/>
              <a:t>Confidentiel</a:t>
            </a:r>
          </a:p>
        </p:txBody>
      </p:sp>
      <p:sp>
        <p:nvSpPr>
          <p:cNvPr id="5" name="Espace réservé du numéro de diapositive 4"/>
          <p:cNvSpPr>
            <a:spLocks noGrp="1"/>
          </p:cNvSpPr>
          <p:nvPr>
            <p:ph type="sldNum" sz="quarter" idx="11"/>
          </p:nvPr>
        </p:nvSpPr>
        <p:spPr/>
        <p:txBody>
          <a:bodyPr/>
          <a:lstStyle/>
          <a:p>
            <a:fld id="{5524D1EB-58EC-48AD-BEFE-126B761899CD}" type="slidenum">
              <a:rPr lang="fr-FR" smtClean="0"/>
              <a:t>47</a:t>
            </a:fld>
            <a:endParaRPr lang="fr-FR"/>
          </a:p>
        </p:txBody>
      </p:sp>
    </p:spTree>
    <p:extLst>
      <p:ext uri="{BB962C8B-B14F-4D97-AF65-F5344CB8AC3E}">
        <p14:creationId xmlns:p14="http://schemas.microsoft.com/office/powerpoint/2010/main" val="1827557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rtl="0"/>
            <a:endParaRPr lang="fr-FR" sz="1200" b="0" i="0" u="none" strike="noStrike" kern="1200" baseline="0" dirty="0">
              <a:solidFill>
                <a:schemeClr val="tx1"/>
              </a:solidFill>
              <a:latin typeface="+mn-lt"/>
              <a:ea typeface="+mn-ea"/>
              <a:cs typeface="+mn-cs"/>
            </a:endParaRPr>
          </a:p>
          <a:p>
            <a:pPr rtl="0"/>
            <a:endParaRPr lang="fr-FR" dirty="0"/>
          </a:p>
        </p:txBody>
      </p:sp>
      <p:sp>
        <p:nvSpPr>
          <p:cNvPr id="4" name="Espace réservé du numéro de diapositive 3"/>
          <p:cNvSpPr>
            <a:spLocks noGrp="1"/>
          </p:cNvSpPr>
          <p:nvPr>
            <p:ph type="sldNum" sz="quarter" idx="10"/>
          </p:nvPr>
        </p:nvSpPr>
        <p:spPr/>
        <p:txBody>
          <a:bodyPr/>
          <a:lstStyle/>
          <a:p>
            <a:fld id="{78CE1ABA-692C-406C-83AF-EB7A82589D1D}" type="slidenum">
              <a:rPr lang="fr-FR" smtClean="0"/>
              <a:t>2</a:t>
            </a:fld>
            <a:endParaRPr lang="fr-FR"/>
          </a:p>
        </p:txBody>
      </p:sp>
    </p:spTree>
    <p:extLst>
      <p:ext uri="{BB962C8B-B14F-4D97-AF65-F5344CB8AC3E}">
        <p14:creationId xmlns:p14="http://schemas.microsoft.com/office/powerpoint/2010/main" val="37364756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B79E50B-6E17-C044-8A3E-95B454FD883B}" type="slidenum">
              <a:rPr lang="fr-FR" smtClean="0"/>
              <a:t>3</a:t>
            </a:fld>
            <a:endParaRPr lang="fr-FR"/>
          </a:p>
        </p:txBody>
      </p:sp>
    </p:spTree>
    <p:extLst>
      <p:ext uri="{BB962C8B-B14F-4D97-AF65-F5344CB8AC3E}">
        <p14:creationId xmlns:p14="http://schemas.microsoft.com/office/powerpoint/2010/main" val="200774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B79E50B-6E17-C044-8A3E-95B454FD883B}" type="slidenum">
              <a:rPr lang="fr-FR" smtClean="0"/>
              <a:t>7</a:t>
            </a:fld>
            <a:endParaRPr lang="fr-FR"/>
          </a:p>
        </p:txBody>
      </p:sp>
    </p:spTree>
    <p:extLst>
      <p:ext uri="{BB962C8B-B14F-4D97-AF65-F5344CB8AC3E}">
        <p14:creationId xmlns:p14="http://schemas.microsoft.com/office/powerpoint/2010/main" val="1276309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rtl="0"/>
            <a:endParaRPr lang="fr-FR" sz="1200" b="0" i="0" u="none" strike="noStrike" kern="1200" baseline="0" dirty="0">
              <a:solidFill>
                <a:schemeClr val="tx1"/>
              </a:solidFill>
              <a:latin typeface="+mn-lt"/>
              <a:ea typeface="+mn-ea"/>
              <a:cs typeface="+mn-cs"/>
            </a:endParaRPr>
          </a:p>
          <a:p>
            <a:pPr rtl="0"/>
            <a:endParaRPr lang="fr-FR" dirty="0"/>
          </a:p>
        </p:txBody>
      </p:sp>
      <p:sp>
        <p:nvSpPr>
          <p:cNvPr id="4" name="Espace réservé du numéro de diapositive 3"/>
          <p:cNvSpPr>
            <a:spLocks noGrp="1"/>
          </p:cNvSpPr>
          <p:nvPr>
            <p:ph type="sldNum" sz="quarter" idx="10"/>
          </p:nvPr>
        </p:nvSpPr>
        <p:spPr/>
        <p:txBody>
          <a:bodyPr/>
          <a:lstStyle/>
          <a:p>
            <a:fld id="{78CE1ABA-692C-406C-83AF-EB7A82589D1D}" type="slidenum">
              <a:rPr lang="fr-FR" smtClean="0"/>
              <a:t>31</a:t>
            </a:fld>
            <a:endParaRPr lang="fr-FR"/>
          </a:p>
        </p:txBody>
      </p:sp>
    </p:spTree>
    <p:extLst>
      <p:ext uri="{BB962C8B-B14F-4D97-AF65-F5344CB8AC3E}">
        <p14:creationId xmlns:p14="http://schemas.microsoft.com/office/powerpoint/2010/main" val="3736475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8 millions de clients des </a:t>
            </a:r>
            <a:r>
              <a:rPr lang="fr-FR" dirty="0" err="1"/>
              <a:t>néobanques</a:t>
            </a:r>
            <a:r>
              <a:rPr lang="fr-FR" baseline="0" dirty="0"/>
              <a:t> en France, c’est le nb de clients particuliers de la SG en France, et un peu plus que le nb de clients </a:t>
            </a:r>
            <a:r>
              <a:rPr lang="fr-FR" baseline="0" dirty="0" err="1"/>
              <a:t>Révolut</a:t>
            </a:r>
            <a:r>
              <a:rPr lang="fr-FR" baseline="0" dirty="0"/>
              <a:t> dans le monde (7 millions atteints le 02 sep 2019)</a:t>
            </a:r>
          </a:p>
          <a:p>
            <a:endParaRPr lang="fr-FR" baseline="0" dirty="0"/>
          </a:p>
          <a:p>
            <a:r>
              <a:rPr lang="fr-FR" baseline="0" dirty="0"/>
              <a:t>N26 entre </a:t>
            </a:r>
            <a:r>
              <a:rPr lang="fr-FR" baseline="0" dirty="0" err="1"/>
              <a:t>fév</a:t>
            </a:r>
            <a:r>
              <a:rPr lang="fr-FR" baseline="0" dirty="0"/>
              <a:t> et juillet, 5 mois a acquis + 300 000 clients</a:t>
            </a:r>
          </a:p>
          <a:p>
            <a:r>
              <a:rPr lang="fr-FR" baseline="0" dirty="0" err="1"/>
              <a:t>Revolut</a:t>
            </a:r>
            <a:r>
              <a:rPr lang="fr-FR" baseline="0" dirty="0"/>
              <a:t>  + 200 000</a:t>
            </a:r>
          </a:p>
          <a:p>
            <a:r>
              <a:rPr lang="fr-FR" baseline="0" dirty="0"/>
              <a:t>Nickel + 100 000</a:t>
            </a:r>
            <a:endParaRPr lang="fr-FR" dirty="0"/>
          </a:p>
        </p:txBody>
      </p:sp>
      <p:sp>
        <p:nvSpPr>
          <p:cNvPr id="4" name="Espace réservé du numéro de diapositive 3"/>
          <p:cNvSpPr>
            <a:spLocks noGrp="1"/>
          </p:cNvSpPr>
          <p:nvPr>
            <p:ph type="sldNum" sz="quarter" idx="10"/>
          </p:nvPr>
        </p:nvSpPr>
        <p:spPr/>
        <p:txBody>
          <a:bodyPr/>
          <a:lstStyle/>
          <a:p>
            <a:fld id="{5524D1EB-58EC-48AD-BEFE-126B761899CD}" type="slidenum">
              <a:rPr lang="fr-FR" smtClean="0">
                <a:solidFill>
                  <a:prstClr val="black"/>
                </a:solidFill>
              </a:rPr>
              <a:pPr/>
              <a:t>32</a:t>
            </a:fld>
            <a:endParaRPr lang="fr-FR">
              <a:solidFill>
                <a:prstClr val="black"/>
              </a:solidFill>
            </a:endParaRPr>
          </a:p>
        </p:txBody>
      </p:sp>
      <p:sp>
        <p:nvSpPr>
          <p:cNvPr id="5" name="Espace réservé du pied de page 4"/>
          <p:cNvSpPr>
            <a:spLocks noGrp="1"/>
          </p:cNvSpPr>
          <p:nvPr>
            <p:ph type="ftr" sz="quarter" idx="11"/>
          </p:nvPr>
        </p:nvSpPr>
        <p:spPr/>
        <p:txBody>
          <a:bodyPr/>
          <a:lstStyle/>
          <a:p>
            <a:r>
              <a:rPr lang="fr-FR">
                <a:solidFill>
                  <a:prstClr val="black"/>
                </a:solidFill>
              </a:rPr>
              <a:t>Confidentiel</a:t>
            </a:r>
          </a:p>
        </p:txBody>
      </p:sp>
    </p:spTree>
    <p:extLst>
      <p:ext uri="{BB962C8B-B14F-4D97-AF65-F5344CB8AC3E}">
        <p14:creationId xmlns:p14="http://schemas.microsoft.com/office/powerpoint/2010/main" val="2395402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524D1EB-58EC-48AD-BEFE-126B761899CD}" type="slidenum">
              <a:rPr lang="fr-FR" smtClean="0"/>
              <a:t>33</a:t>
            </a:fld>
            <a:endParaRPr lang="fr-FR"/>
          </a:p>
        </p:txBody>
      </p:sp>
      <p:sp>
        <p:nvSpPr>
          <p:cNvPr id="5" name="Espace réservé du pied de page 4"/>
          <p:cNvSpPr>
            <a:spLocks noGrp="1"/>
          </p:cNvSpPr>
          <p:nvPr>
            <p:ph type="ftr" sz="quarter" idx="11"/>
          </p:nvPr>
        </p:nvSpPr>
        <p:spPr/>
        <p:txBody>
          <a:bodyPr/>
          <a:lstStyle/>
          <a:p>
            <a:r>
              <a:rPr lang="fr-FR"/>
              <a:t>Confidentiel</a:t>
            </a:r>
          </a:p>
        </p:txBody>
      </p:sp>
    </p:spTree>
    <p:extLst>
      <p:ext uri="{BB962C8B-B14F-4D97-AF65-F5344CB8AC3E}">
        <p14:creationId xmlns:p14="http://schemas.microsoft.com/office/powerpoint/2010/main" val="23954029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b="1" dirty="0"/>
              <a:t>Forte progression des levées de fond des Fintech </a:t>
            </a:r>
            <a:r>
              <a:rPr lang="fr-FR" dirty="0"/>
              <a:t>: elles ont levé au premier semestre presque autant que sur l’année 2018</a:t>
            </a:r>
          </a:p>
          <a:p>
            <a:r>
              <a:rPr lang="fr-FR" dirty="0"/>
              <a:t>Un ticket moyen de 9 millions</a:t>
            </a:r>
          </a:p>
          <a:p>
            <a:r>
              <a:rPr lang="fr-FR" b="1" dirty="0"/>
              <a:t>N26 </a:t>
            </a:r>
            <a:r>
              <a:rPr lang="fr-FR" dirty="0"/>
              <a:t>: volonté de conquérir le monde, expansion géographique</a:t>
            </a:r>
          </a:p>
          <a:p>
            <a:r>
              <a:rPr lang="fr-FR" b="1" dirty="0" err="1"/>
              <a:t>Starling</a:t>
            </a:r>
            <a:r>
              <a:rPr lang="fr-FR" b="1" dirty="0"/>
              <a:t> : </a:t>
            </a:r>
            <a:r>
              <a:rPr lang="fr-FR" dirty="0"/>
              <a:t>ambition de se lancer en France, Irlande et Allemagne cette année</a:t>
            </a:r>
          </a:p>
          <a:p>
            <a:endParaRPr lang="fr-FR" b="1" dirty="0"/>
          </a:p>
          <a:p>
            <a:r>
              <a:rPr lang="fr-FR" b="1" dirty="0"/>
              <a:t>La Tribune</a:t>
            </a:r>
            <a:endParaRPr lang="fr-FR" dirty="0"/>
          </a:p>
          <a:p>
            <a:r>
              <a:rPr lang="fr-FR" dirty="0"/>
              <a:t>Avec </a:t>
            </a:r>
            <a:r>
              <a:rPr lang="fr-FR" b="1" dirty="0"/>
              <a:t>2,8 milliards d'euros de fonds levés par ses startups au premier semestre (+43% en valeur)</a:t>
            </a:r>
            <a:r>
              <a:rPr lang="fr-FR" dirty="0"/>
              <a:t>, la French Tech a connu un début d'année 2019 exceptionnel</a:t>
            </a:r>
          </a:p>
          <a:p>
            <a:r>
              <a:rPr lang="fr-FR" dirty="0"/>
              <a:t>La France confirme son basculement </a:t>
            </a:r>
            <a:r>
              <a:rPr lang="fr-FR" b="1" dirty="0"/>
              <a:t>de "startup nation" à "</a:t>
            </a:r>
            <a:r>
              <a:rPr lang="fr-FR" b="1" dirty="0" err="1"/>
              <a:t>scale</a:t>
            </a:r>
            <a:r>
              <a:rPr lang="fr-FR" b="1" dirty="0"/>
              <a:t>-up nation"</a:t>
            </a:r>
            <a:r>
              <a:rPr lang="fr-FR" dirty="0"/>
              <a:t>, et commence à retirer les fruits de son écosystème dynamique de startups, porté à bout de bras par </a:t>
            </a:r>
            <a:r>
              <a:rPr lang="fr-FR" dirty="0" err="1"/>
              <a:t>Bpifrance</a:t>
            </a:r>
            <a:r>
              <a:rPr lang="fr-FR" dirty="0"/>
              <a:t> pendant des années avant que le privé soit désormais capable de le faire grandir et grossir.</a:t>
            </a:r>
          </a:p>
          <a:p>
            <a:r>
              <a:rPr lang="fr-FR" dirty="0"/>
              <a:t>L'Hexagone semble donc désormais s'imposer comme un solide numéro deux en Europe. Son écosystème est plus profond : le nombre global d'opérations </a:t>
            </a:r>
            <a:r>
              <a:rPr lang="fr-FR" b="1" dirty="0"/>
              <a:t>-387 opérations en France (+18%)</a:t>
            </a:r>
            <a:r>
              <a:rPr lang="fr-FR" dirty="0"/>
              <a:t> contre 214 en Allemagne (-20%) en atteste. De plus, la French Tech commence à réaliser des méga-levées de plus de 100 millions d'euros à un rythme plus soutenu. Il y en a eu cinq ce semestre, le même nombre qu'en Allemagne : </a:t>
            </a:r>
            <a:r>
              <a:rPr lang="fr-FR" b="1" dirty="0"/>
              <a:t>les </a:t>
            </a:r>
            <a:r>
              <a:rPr lang="fr-FR" b="1" dirty="0">
                <a:hlinkClick r:id="rId3"/>
              </a:rPr>
              <a:t>205 millions de </a:t>
            </a:r>
            <a:r>
              <a:rPr lang="fr-FR" b="1" dirty="0" err="1">
                <a:hlinkClick r:id="rId3"/>
              </a:rPr>
              <a:t>Meero</a:t>
            </a:r>
            <a:r>
              <a:rPr lang="fr-FR" b="1" dirty="0"/>
              <a:t>, les </a:t>
            </a:r>
            <a:r>
              <a:rPr lang="fr-FR" b="1" dirty="0">
                <a:hlinkClick r:id="rId4"/>
              </a:rPr>
              <a:t>150 millions de </a:t>
            </a:r>
            <a:r>
              <a:rPr lang="fr-FR" b="1" dirty="0" err="1">
                <a:hlinkClick r:id="rId4"/>
              </a:rPr>
              <a:t>Doctolib</a:t>
            </a:r>
            <a:r>
              <a:rPr lang="fr-FR" b="1" dirty="0"/>
              <a:t>, les </a:t>
            </a:r>
            <a:r>
              <a:rPr lang="fr-FR" b="1" dirty="0">
                <a:hlinkClick r:id="rId5"/>
              </a:rPr>
              <a:t>110 millions de </a:t>
            </a:r>
            <a:r>
              <a:rPr lang="fr-FR" b="1" dirty="0" err="1">
                <a:hlinkClick r:id="rId5"/>
              </a:rPr>
              <a:t>ManoMano</a:t>
            </a:r>
            <a:r>
              <a:rPr lang="fr-FR" b="1" dirty="0"/>
              <a:t> et </a:t>
            </a:r>
            <a:r>
              <a:rPr lang="fr-FR" b="1" dirty="0">
                <a:hlinkClick r:id="rId6"/>
              </a:rPr>
              <a:t>de </a:t>
            </a:r>
            <a:r>
              <a:rPr lang="fr-FR" b="1" dirty="0" err="1">
                <a:hlinkClick r:id="rId6"/>
              </a:rPr>
              <a:t>Ynsect</a:t>
            </a:r>
            <a:r>
              <a:rPr lang="fr-FR" b="1" dirty="0"/>
              <a:t>, et les </a:t>
            </a:r>
            <a:r>
              <a:rPr lang="fr-FR" b="1" dirty="0">
                <a:hlinkClick r:id="rId7"/>
              </a:rPr>
              <a:t>100 millions de HR Path</a:t>
            </a:r>
            <a:r>
              <a:rPr lang="fr-FR" dirty="0"/>
              <a:t>.</a:t>
            </a:r>
          </a:p>
          <a:p>
            <a:r>
              <a:rPr lang="fr-FR" dirty="0"/>
              <a:t>En revanche, aucune des méga-levées françaises n'accroche le top 10 européen.</a:t>
            </a:r>
          </a:p>
          <a:p>
            <a:r>
              <a:rPr lang="fr-FR" b="1" dirty="0"/>
              <a:t>Effectivement, avec 5,29 milliards d'euros levés en six mois, le Royaume-Uni pèse à lui seul la moitié des investissements européens du semestre,</a:t>
            </a:r>
            <a:r>
              <a:rPr lang="fr-FR" dirty="0"/>
              <a:t> qui atteignent le montant record de 10,55 milliards d'euros. La croissance du marché anglais sur les deux indicateurs clés (montants levés et nombre d'opérations) reste largement supérieure à la France.</a:t>
            </a:r>
          </a:p>
          <a:p>
            <a:endParaRPr lang="en-US" dirty="0"/>
          </a:p>
        </p:txBody>
      </p:sp>
      <p:sp>
        <p:nvSpPr>
          <p:cNvPr id="4" name="Espace réservé du pied de page 3"/>
          <p:cNvSpPr>
            <a:spLocks noGrp="1"/>
          </p:cNvSpPr>
          <p:nvPr>
            <p:ph type="ftr" sz="quarter" idx="10"/>
          </p:nvPr>
        </p:nvSpPr>
        <p:spPr/>
        <p:txBody>
          <a:bodyPr/>
          <a:lstStyle/>
          <a:p>
            <a:r>
              <a:rPr lang="fr-FR"/>
              <a:t>Confidentiel</a:t>
            </a:r>
          </a:p>
        </p:txBody>
      </p:sp>
    </p:spTree>
    <p:extLst>
      <p:ext uri="{BB962C8B-B14F-4D97-AF65-F5344CB8AC3E}">
        <p14:creationId xmlns:p14="http://schemas.microsoft.com/office/powerpoint/2010/main" val="3645637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06993">
              <a:defRPr/>
            </a:pPr>
            <a:r>
              <a:rPr lang="fr-FR" b="1" dirty="0" err="1"/>
              <a:t>Curve</a:t>
            </a:r>
            <a:r>
              <a:rPr lang="fr-FR" b="1" dirty="0"/>
              <a:t> – </a:t>
            </a:r>
          </a:p>
          <a:p>
            <a:pPr defTabSz="906993">
              <a:defRPr/>
            </a:pPr>
            <a:r>
              <a:rPr lang="fr-FR" dirty="0"/>
              <a:t>Lancé en béta test en juillet 2017 au UK sur le marché des pros – n’a pas de licence bancaire</a:t>
            </a:r>
          </a:p>
          <a:p>
            <a:pPr defTabSz="906993">
              <a:defRPr/>
            </a:pPr>
            <a:r>
              <a:rPr lang="fr-FR" dirty="0"/>
              <a:t>unique carte regroupant l'ensemble des cartes de paiement d'un utilisateur. Faciliter la gestion au quotidien de toutes ses cartes</a:t>
            </a:r>
          </a:p>
          <a:p>
            <a:pPr defTabSz="906993">
              <a:defRPr/>
            </a:pPr>
            <a:r>
              <a:rPr lang="fr-FR" dirty="0"/>
              <a:t>Objectif : faciliter le jonglage entre plusieurs cartes – ne nécessite aucun justificatif pour s’inscrire puis que ce n’est pas un compte bancaire</a:t>
            </a:r>
          </a:p>
          <a:p>
            <a:pPr defTabSz="906993">
              <a:defRPr/>
            </a:pPr>
            <a:r>
              <a:rPr lang="fr-FR" dirty="0"/>
              <a:t>la start-up cible les clients multi-bancarisés, disposant d'un compte d'entreprise, compte personnel, commun, ou en ligne… Elle propose ainsi un « agrégateur de cartes » couplé à une application permettant de choisir le compte à débiter au moment du paiement, ou même plus tard.</a:t>
            </a:r>
          </a:p>
          <a:p>
            <a:pPr defTabSz="906993">
              <a:defRPr/>
            </a:pPr>
            <a:r>
              <a:rPr lang="fr-FR" dirty="0" err="1"/>
              <a:t>Curve</a:t>
            </a:r>
            <a:r>
              <a:rPr lang="fr-FR" dirty="0"/>
              <a:t> qui vise le million de clients d'ici fin 2019. « </a:t>
            </a:r>
            <a:r>
              <a:rPr lang="fr-FR" i="1" dirty="0"/>
              <a:t>Le panier moyen de flux chez </a:t>
            </a:r>
            <a:r>
              <a:rPr lang="fr-FR" i="1" dirty="0" err="1"/>
              <a:t>Curve</a:t>
            </a:r>
            <a:r>
              <a:rPr lang="fr-FR" i="1" dirty="0"/>
              <a:t> est de 1.900 euros par mois, contre 250 euros pour une néo-banque</a:t>
            </a:r>
            <a:r>
              <a:rPr lang="fr-FR" dirty="0"/>
              <a:t> », explique Ben </a:t>
            </a:r>
            <a:r>
              <a:rPr lang="fr-FR" dirty="0" err="1"/>
              <a:t>Marrel</a:t>
            </a:r>
            <a:r>
              <a:rPr lang="fr-FR" dirty="0"/>
              <a:t>.</a:t>
            </a:r>
          </a:p>
          <a:p>
            <a:pPr defTabSz="906993">
              <a:defRPr/>
            </a:pPr>
            <a:r>
              <a:rPr lang="fr-FR" dirty="0"/>
              <a:t>La start-up lancera une campagne de communication pour se faire connaître en France à la fin de l'année.</a:t>
            </a:r>
          </a:p>
          <a:p>
            <a:pPr defTabSz="906993">
              <a:defRPr/>
            </a:pPr>
            <a:r>
              <a:rPr lang="fr-FR" dirty="0"/>
              <a:t>Une des fonctions les plus intéressantes de </a:t>
            </a:r>
            <a:r>
              <a:rPr lang="fr-FR" dirty="0" err="1"/>
              <a:t>Curve</a:t>
            </a:r>
            <a:r>
              <a:rPr lang="fr-FR" dirty="0"/>
              <a:t> est la possibilité de transférer une transaction déjà réalisée d'une carte à une autre. C'est le service </a:t>
            </a:r>
            <a:r>
              <a:rPr lang="fr-FR" b="1" dirty="0"/>
              <a:t>"Back In Time", </a:t>
            </a:r>
            <a:r>
              <a:rPr lang="fr-FR" dirty="0"/>
              <a:t>disponible pour chaque paiement dans les 14 jours suivant la transaction (qui ne doit pas dépasser les 1 000 £, environ 1 114 €)</a:t>
            </a:r>
          </a:p>
          <a:p>
            <a:pPr defTabSz="906993">
              <a:defRPr/>
            </a:pPr>
            <a:endParaRPr lang="fr-FR" dirty="0"/>
          </a:p>
          <a:p>
            <a:endParaRPr lang="fr-FR" b="1" dirty="0"/>
          </a:p>
          <a:p>
            <a:r>
              <a:rPr lang="fr-FR" b="1" dirty="0" err="1"/>
              <a:t>Margobank</a:t>
            </a:r>
            <a:endParaRPr lang="fr-FR" dirty="0"/>
          </a:p>
          <a:p>
            <a:r>
              <a:rPr lang="fr-FR" dirty="0"/>
              <a:t>1. Redonner au métier de banquier ses lettres de noblesse </a:t>
            </a:r>
          </a:p>
          <a:p>
            <a:r>
              <a:rPr lang="fr-FR" dirty="0"/>
              <a:t>Nous souhaitons rendre aux banquiers le rôle de conseil qu’ils devraient avoir. Nous sommes convaincus que la banque est d’abord une activité de confiance avant d’être une activité de vente et qu’à ce titre, un banquier disponible, pertinent et autonome peut devenir le héros financier que beaucoup d’entreprises attendent.</a:t>
            </a:r>
          </a:p>
          <a:p>
            <a:r>
              <a:rPr lang="fr-FR" dirty="0"/>
              <a:t>2. Mettre la technologie partout et au service de tous</a:t>
            </a:r>
          </a:p>
          <a:p>
            <a:r>
              <a:rPr lang="fr-FR" dirty="0"/>
              <a:t>Nous rêvons d’un monde où la technologie serait utilisée partout, où les tâches répétitives seraient automatisées et où chacun pourrait se concentrer sur des missions à forte valeur ajoutée. Afin de rendre cette idée possible dans la banque, nous avons décidé de construire l’ensemble de notre infrastructure technique en partant de zéro. Fort d’une infrastructure saine et solide, nous espérons ainsi concevoir les meilleures solutions technologiques du marché.</a:t>
            </a:r>
          </a:p>
          <a:p>
            <a:r>
              <a:rPr lang="fr-FR" dirty="0"/>
              <a:t>3. Être transparent dans tout ce que nous faisons </a:t>
            </a:r>
          </a:p>
          <a:p>
            <a:r>
              <a:rPr lang="fr-FR" dirty="0"/>
              <a:t>Qui a accès à mon compte ? Pourquoi dois-je parfois payer des frais ? Comment mes fonds sont‑ils utilisés ? Comment mon argent est‑il stocké techniquement ? Mes accès sont‑ils bien sécurisés ? Nous pensons qu’une banque moderne doit pouvoir fournir une réponse claire à chacune de ces questions et apporter la plus grande transparence sur ses prix, sa gestion de l’argent, sa sécurité informatique…</a:t>
            </a:r>
          </a:p>
          <a:p>
            <a:r>
              <a:rPr lang="fr-FR" b="1" dirty="0" err="1"/>
              <a:t>Starling</a:t>
            </a:r>
            <a:r>
              <a:rPr lang="fr-FR" b="1" dirty="0"/>
              <a:t> Bank</a:t>
            </a:r>
            <a:endParaRPr lang="fr-FR" dirty="0"/>
          </a:p>
          <a:p>
            <a:r>
              <a:rPr lang="fr-FR" dirty="0"/>
              <a:t>La banque mobile, uniquement présente au Royaume-Uni pour le moment, compte 480.000 clients particuliers. Elle vient de boucler un deuxième tour de table de 75 millions de livres afin de se lancer en Irlande, en France et en Allemagne dès cette année.</a:t>
            </a:r>
          </a:p>
          <a:p>
            <a:pPr lvl="0"/>
            <a:r>
              <a:rPr lang="en-US" dirty="0"/>
              <a:t>Earn interest</a:t>
            </a:r>
            <a:endParaRPr lang="fr-FR" dirty="0"/>
          </a:p>
          <a:p>
            <a:r>
              <a:rPr lang="en-US" dirty="0"/>
              <a:t>Less is more, but definitely not when it comes to money. That’s why we pay competitive interest rates on current account balances. 0.5% AER up to £2,000 and 0.25% up to £85,000, to be precise.</a:t>
            </a:r>
            <a:endParaRPr lang="fr-FR" dirty="0"/>
          </a:p>
          <a:p>
            <a:pPr lvl="0"/>
            <a:r>
              <a:rPr lang="en-US" dirty="0"/>
              <a:t>Spend flexibly</a:t>
            </a:r>
            <a:endParaRPr lang="fr-FR" dirty="0"/>
          </a:p>
          <a:p>
            <a:r>
              <a:rPr lang="en-US" dirty="0"/>
              <a:t>Need a bit of extra support? No worries, just apply in-app for an overdraft. You’ll only pay interest on the amount you borrow, charged at 15% EAR, with no hidden fees or unfair unarranged charges. That's what makes our overdraft so competitive.</a:t>
            </a:r>
            <a:endParaRPr lang="fr-FR" dirty="0"/>
          </a:p>
          <a:p>
            <a:pPr lvl="0"/>
            <a:r>
              <a:rPr lang="en-US" dirty="0" err="1"/>
              <a:t>Personalised</a:t>
            </a:r>
            <a:r>
              <a:rPr lang="en-US" dirty="0"/>
              <a:t> data</a:t>
            </a:r>
            <a:endParaRPr lang="fr-FR" dirty="0"/>
          </a:p>
          <a:p>
            <a:r>
              <a:rPr lang="en-US" dirty="0"/>
              <a:t>See where, when and how you’re spending – and how you could budget more effectively.</a:t>
            </a:r>
            <a:endParaRPr lang="fr-FR" dirty="0"/>
          </a:p>
          <a:p>
            <a:r>
              <a:rPr lang="en-US" b="1" dirty="0"/>
              <a:t> </a:t>
            </a:r>
            <a:endParaRPr lang="fr-FR" dirty="0"/>
          </a:p>
          <a:p>
            <a:r>
              <a:rPr lang="fr-FR" b="1" dirty="0" err="1"/>
              <a:t>Prismea</a:t>
            </a:r>
            <a:endParaRPr lang="fr-FR" b="1" dirty="0"/>
          </a:p>
          <a:p>
            <a:r>
              <a:rPr lang="fr-FR" dirty="0"/>
              <a:t>Issu du concours </a:t>
            </a:r>
            <a:r>
              <a:rPr lang="fr-FR" dirty="0" err="1"/>
              <a:t>entrepreunariat</a:t>
            </a:r>
            <a:r>
              <a:rPr lang="fr-FR" dirty="0"/>
              <a:t> SG et rachetée par cette dernière en septembre 2018</a:t>
            </a:r>
          </a:p>
          <a:p>
            <a:pPr lvl="0"/>
            <a:r>
              <a:rPr lang="fr-FR" dirty="0"/>
              <a:t>Les alliés de votre entreprise</a:t>
            </a:r>
          </a:p>
          <a:p>
            <a:r>
              <a:rPr lang="fr-FR" dirty="0"/>
              <a:t>La seule </a:t>
            </a:r>
            <a:r>
              <a:rPr lang="fr-FR" dirty="0" err="1"/>
              <a:t>Néobanque</a:t>
            </a:r>
            <a:r>
              <a:rPr lang="fr-FR" dirty="0"/>
              <a:t> qui s’adapte aux exigences de votre vie professionnelle, anticipe vos besoins en trésorerie et vous aide dans votre facturation. </a:t>
            </a:r>
          </a:p>
          <a:p>
            <a:pPr lvl="0"/>
            <a:r>
              <a:rPr lang="fr-FR" dirty="0"/>
              <a:t>Un compte qui s'adapte à vos situations professionnelles</a:t>
            </a:r>
          </a:p>
          <a:p>
            <a:r>
              <a:rPr lang="fr-FR" dirty="0"/>
              <a:t>Une vision consolidée de l’ensemble de vos comptes et des outils analytiques pour mieux comprendre vos entrées / sorties d'argent. </a:t>
            </a:r>
          </a:p>
          <a:p>
            <a:pPr lvl="0"/>
            <a:r>
              <a:rPr lang="fr-FR" dirty="0"/>
              <a:t>Des cartes paramétrables pour vous et vos collaborateurs</a:t>
            </a:r>
          </a:p>
          <a:p>
            <a:r>
              <a:rPr lang="fr-FR" dirty="0"/>
              <a:t>Activez ou désactivez vos options en temps réel : retrait distributeur, paiement en ligne, sans contact, à l’international. </a:t>
            </a:r>
          </a:p>
          <a:p>
            <a:pPr lvl="0"/>
            <a:r>
              <a:rPr lang="fr-FR" dirty="0"/>
              <a:t>Pilotez votre trésorerie en temps réel</a:t>
            </a:r>
          </a:p>
          <a:p>
            <a:r>
              <a:rPr lang="fr-FR" dirty="0"/>
              <a:t>Anticipez une éventuelle rupture de liquidité grâce à nos alertes. </a:t>
            </a:r>
          </a:p>
          <a:p>
            <a:r>
              <a:rPr lang="fr-FR" dirty="0"/>
              <a:t> </a:t>
            </a:r>
          </a:p>
          <a:p>
            <a:endParaRPr lang="fr-FR" dirty="0"/>
          </a:p>
        </p:txBody>
      </p:sp>
      <p:sp>
        <p:nvSpPr>
          <p:cNvPr id="4" name="Espace réservé du pied de page 3"/>
          <p:cNvSpPr>
            <a:spLocks noGrp="1"/>
          </p:cNvSpPr>
          <p:nvPr>
            <p:ph type="ftr" sz="quarter" idx="10"/>
          </p:nvPr>
        </p:nvSpPr>
        <p:spPr/>
        <p:txBody>
          <a:bodyPr/>
          <a:lstStyle/>
          <a:p>
            <a:r>
              <a:rPr lang="fr-FR"/>
              <a:t>Confidentiel</a:t>
            </a:r>
          </a:p>
        </p:txBody>
      </p:sp>
      <p:sp>
        <p:nvSpPr>
          <p:cNvPr id="5" name="Espace réservé du numéro de diapositive 4"/>
          <p:cNvSpPr>
            <a:spLocks noGrp="1"/>
          </p:cNvSpPr>
          <p:nvPr>
            <p:ph type="sldNum" sz="quarter" idx="11"/>
          </p:nvPr>
        </p:nvSpPr>
        <p:spPr/>
        <p:txBody>
          <a:bodyPr/>
          <a:lstStyle/>
          <a:p>
            <a:fld id="{5524D1EB-58EC-48AD-BEFE-126B761899CD}" type="slidenum">
              <a:rPr lang="fr-FR" smtClean="0"/>
              <a:t>35</a:t>
            </a:fld>
            <a:endParaRPr lang="fr-FR"/>
          </a:p>
        </p:txBody>
      </p:sp>
    </p:spTree>
    <p:extLst>
      <p:ext uri="{BB962C8B-B14F-4D97-AF65-F5344CB8AC3E}">
        <p14:creationId xmlns:p14="http://schemas.microsoft.com/office/powerpoint/2010/main" val="18723222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5.emf"/><Relationship Id="rId4" Type="http://schemas.openxmlformats.org/officeDocument/2006/relationships/oleObject" Target="../embeddings/oleObject44.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oleObject" Target="../embeddings/oleObject47.bin"/><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oleObject" Target="../embeddings/oleObject49.bin"/><Relationship Id="rId2" Type="http://schemas.openxmlformats.org/officeDocument/2006/relationships/tags" Target="../tags/tag48.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xml"/><Relationship Id="rId1" Type="http://schemas.openxmlformats.org/officeDocument/2006/relationships/vmlDrawing" Target="../drawings/vmlDrawing47.vml"/><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1.xml"/><Relationship Id="rId1" Type="http://schemas.openxmlformats.org/officeDocument/2006/relationships/vmlDrawing" Target="../drawings/vmlDrawing48.vml"/><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2.xml"/><Relationship Id="rId1" Type="http://schemas.openxmlformats.org/officeDocument/2006/relationships/vmlDrawing" Target="../drawings/vmlDrawing49.vml"/><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3.xml"/><Relationship Id="rId1" Type="http://schemas.openxmlformats.org/officeDocument/2006/relationships/vmlDrawing" Target="../drawings/vmlDrawing50.vml"/><Relationship Id="rId5" Type="http://schemas.openxmlformats.org/officeDocument/2006/relationships/image" Target="../media/image5.emf"/><Relationship Id="rId4" Type="http://schemas.openxmlformats.org/officeDocument/2006/relationships/oleObject" Target="../embeddings/oleObject53.bin"/></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5.xml"/><Relationship Id="rId7" Type="http://schemas.openxmlformats.org/officeDocument/2006/relationships/oleObject" Target="../embeddings/oleObject55.bin"/><Relationship Id="rId2" Type="http://schemas.openxmlformats.org/officeDocument/2006/relationships/tags" Target="../tags/tag54.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7.xml"/><Relationship Id="rId7" Type="http://schemas.openxmlformats.org/officeDocument/2006/relationships/oleObject" Target="../embeddings/oleObject57.bin"/><Relationship Id="rId2" Type="http://schemas.openxmlformats.org/officeDocument/2006/relationships/tags" Target="../tags/tag56.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9.xml"/><Relationship Id="rId7" Type="http://schemas.openxmlformats.org/officeDocument/2006/relationships/oleObject" Target="../embeddings/oleObject59.bin"/><Relationship Id="rId2" Type="http://schemas.openxmlformats.org/officeDocument/2006/relationships/tags" Target="../tags/tag58.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1.xml"/><Relationship Id="rId1" Type="http://schemas.openxmlformats.org/officeDocument/2006/relationships/vmlDrawing" Target="../drawings/vmlDrawing55.vml"/><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2.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3.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59.v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6.xml"/><Relationship Id="rId1" Type="http://schemas.openxmlformats.org/officeDocument/2006/relationships/vmlDrawing" Target="../drawings/vmlDrawing60.vml"/><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7.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64.vml"/><Relationship Id="rId5" Type="http://schemas.openxmlformats.org/officeDocument/2006/relationships/image" Target="../media/image2.emf"/><Relationship Id="rId4" Type="http://schemas.openxmlformats.org/officeDocument/2006/relationships/oleObject" Target="../embeddings/oleObject70.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1.xml"/><Relationship Id="rId1" Type="http://schemas.openxmlformats.org/officeDocument/2006/relationships/vmlDrawing" Target="../drawings/vmlDrawing65.vml"/><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2.xml"/><Relationship Id="rId1" Type="http://schemas.openxmlformats.org/officeDocument/2006/relationships/vmlDrawing" Target="../drawings/vmlDrawing66.vml"/><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68.vml"/><Relationship Id="rId5" Type="http://schemas.openxmlformats.org/officeDocument/2006/relationships/image" Target="../media/image2.emf"/><Relationship Id="rId4" Type="http://schemas.openxmlformats.org/officeDocument/2006/relationships/oleObject" Target="../embeddings/oleObject74.bin"/></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69.vml"/><Relationship Id="rId5" Type="http://schemas.openxmlformats.org/officeDocument/2006/relationships/image" Target="../media/image2.emf"/><Relationship Id="rId4" Type="http://schemas.openxmlformats.org/officeDocument/2006/relationships/oleObject" Target="../embeddings/oleObject75.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6.xml"/><Relationship Id="rId1" Type="http://schemas.openxmlformats.org/officeDocument/2006/relationships/vmlDrawing" Target="../drawings/vmlDrawing70.vml"/><Relationship Id="rId5" Type="http://schemas.openxmlformats.org/officeDocument/2006/relationships/image" Target="../media/image2.emf"/><Relationship Id="rId4" Type="http://schemas.openxmlformats.org/officeDocument/2006/relationships/oleObject" Target="../embeddings/oleObject76.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7.xml"/><Relationship Id="rId1" Type="http://schemas.openxmlformats.org/officeDocument/2006/relationships/vmlDrawing" Target="../drawings/vmlDrawing71.vml"/><Relationship Id="rId5" Type="http://schemas.openxmlformats.org/officeDocument/2006/relationships/image" Target="../media/image2.emf"/><Relationship Id="rId4" Type="http://schemas.openxmlformats.org/officeDocument/2006/relationships/oleObject" Target="../embeddings/oleObject77.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3.vml"/><Relationship Id="rId5" Type="http://schemas.openxmlformats.org/officeDocument/2006/relationships/image" Target="../media/image2.emf"/><Relationship Id="rId4" Type="http://schemas.openxmlformats.org/officeDocument/2006/relationships/oleObject" Target="../embeddings/oleObject79.bin"/></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74.vml"/><Relationship Id="rId5" Type="http://schemas.openxmlformats.org/officeDocument/2006/relationships/image" Target="../media/image2.emf"/><Relationship Id="rId4" Type="http://schemas.openxmlformats.org/officeDocument/2006/relationships/oleObject" Target="../embeddings/oleObject80.bin"/></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1.xml"/><Relationship Id="rId1" Type="http://schemas.openxmlformats.org/officeDocument/2006/relationships/vmlDrawing" Target="../drawings/vmlDrawing75.vml"/><Relationship Id="rId5" Type="http://schemas.openxmlformats.org/officeDocument/2006/relationships/image" Target="../media/image2.emf"/><Relationship Id="rId4" Type="http://schemas.openxmlformats.org/officeDocument/2006/relationships/oleObject" Target="../embeddings/oleObject81.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2.xml"/><Relationship Id="rId1" Type="http://schemas.openxmlformats.org/officeDocument/2006/relationships/vmlDrawing" Target="../drawings/vmlDrawing76.vml"/><Relationship Id="rId5" Type="http://schemas.openxmlformats.org/officeDocument/2006/relationships/image" Target="../media/image2.emf"/><Relationship Id="rId4" Type="http://schemas.openxmlformats.org/officeDocument/2006/relationships/oleObject" Target="../embeddings/oleObject82.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78.vml"/><Relationship Id="rId5" Type="http://schemas.openxmlformats.org/officeDocument/2006/relationships/image" Target="../media/image2.emf"/><Relationship Id="rId4" Type="http://schemas.openxmlformats.org/officeDocument/2006/relationships/oleObject" Target="../embeddings/oleObject84.bin"/></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79.vml"/><Relationship Id="rId5" Type="http://schemas.openxmlformats.org/officeDocument/2006/relationships/image" Target="../media/image2.emf"/><Relationship Id="rId4" Type="http://schemas.openxmlformats.org/officeDocument/2006/relationships/oleObject" Target="../embeddings/oleObject85.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6.xml"/><Relationship Id="rId1" Type="http://schemas.openxmlformats.org/officeDocument/2006/relationships/vmlDrawing" Target="../drawings/vmlDrawing80.vml"/><Relationship Id="rId5" Type="http://schemas.openxmlformats.org/officeDocument/2006/relationships/image" Target="../media/image2.emf"/><Relationship Id="rId4" Type="http://schemas.openxmlformats.org/officeDocument/2006/relationships/oleObject" Target="../embeddings/oleObject86.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7.xml"/><Relationship Id="rId1" Type="http://schemas.openxmlformats.org/officeDocument/2006/relationships/vmlDrawing" Target="../drawings/vmlDrawing81.vml"/><Relationship Id="rId5" Type="http://schemas.openxmlformats.org/officeDocument/2006/relationships/image" Target="../media/image2.emf"/><Relationship Id="rId4" Type="http://schemas.openxmlformats.org/officeDocument/2006/relationships/oleObject" Target="../embeddings/oleObject87.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3.vml"/><Relationship Id="rId5" Type="http://schemas.openxmlformats.org/officeDocument/2006/relationships/image" Target="../media/image2.emf"/><Relationship Id="rId4" Type="http://schemas.openxmlformats.org/officeDocument/2006/relationships/oleObject" Target="../embeddings/oleObject89.bin"/></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84.vml"/><Relationship Id="rId5" Type="http://schemas.openxmlformats.org/officeDocument/2006/relationships/image" Target="../media/image2.emf"/><Relationship Id="rId4" Type="http://schemas.openxmlformats.org/officeDocument/2006/relationships/oleObject" Target="../embeddings/oleObject90.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1.xml"/><Relationship Id="rId1" Type="http://schemas.openxmlformats.org/officeDocument/2006/relationships/vmlDrawing" Target="../drawings/vmlDrawing85.vml"/><Relationship Id="rId5" Type="http://schemas.openxmlformats.org/officeDocument/2006/relationships/image" Target="../media/image2.emf"/><Relationship Id="rId4" Type="http://schemas.openxmlformats.org/officeDocument/2006/relationships/oleObject" Target="../embeddings/oleObject91.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2.xml"/><Relationship Id="rId1" Type="http://schemas.openxmlformats.org/officeDocument/2006/relationships/vmlDrawing" Target="../drawings/vmlDrawing86.vml"/><Relationship Id="rId5" Type="http://schemas.openxmlformats.org/officeDocument/2006/relationships/image" Target="../media/image2.emf"/><Relationship Id="rId4" Type="http://schemas.openxmlformats.org/officeDocument/2006/relationships/oleObject" Target="../embeddings/oleObject92.bin"/></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94.xml"/><Relationship Id="rId7" Type="http://schemas.openxmlformats.org/officeDocument/2006/relationships/oleObject" Target="../embeddings/oleObject94.bin"/><Relationship Id="rId2" Type="http://schemas.openxmlformats.org/officeDocument/2006/relationships/tags" Target="../tags/tag93.xml"/><Relationship Id="rId1" Type="http://schemas.openxmlformats.org/officeDocument/2006/relationships/vmlDrawing" Target="../drawings/vmlDrawing87.vml"/><Relationship Id="rId6" Type="http://schemas.openxmlformats.org/officeDocument/2006/relationships/image" Target="../media/image5.emf"/><Relationship Id="rId5" Type="http://schemas.openxmlformats.org/officeDocument/2006/relationships/oleObject" Target="../embeddings/oleObject93.bin"/><Relationship Id="rId4"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9.xml"/><Relationship Id="rId7" Type="http://schemas.openxmlformats.org/officeDocument/2006/relationships/oleObject" Target="../embeddings/oleObject29.bin"/><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1597820"/>
            <a:ext cx="7772400" cy="1102519"/>
          </a:xfrm>
        </p:spPr>
        <p:txBody>
          <a:bodyPr/>
          <a:lstStyle/>
          <a:p>
            <a:r>
              <a:rPr lang="fr-FR"/>
              <a:t>Modifiez le style du titre</a:t>
            </a:r>
          </a:p>
        </p:txBody>
      </p:sp>
      <p:sp>
        <p:nvSpPr>
          <p:cNvPr id="3" name="Sous-titr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7D3AEEF0-FEAD-44CF-A18D-162E882CE67E}" type="datetimeFigureOut">
              <a:rPr lang="fr-FR" smtClean="0"/>
              <a:t>12/02/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603593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D3AEEF0-FEAD-44CF-A18D-162E882CE67E}" type="datetimeFigureOut">
              <a:rPr lang="fr-FR" smtClean="0"/>
              <a:t>12/02/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39986850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alf frame photo with title">
    <p:spTree>
      <p:nvGrpSpPr>
        <p:cNvPr id="1" name=""/>
        <p:cNvGrpSpPr/>
        <p:nvPr/>
      </p:nvGrpSpPr>
      <p:grpSpPr>
        <a:xfrm>
          <a:off x="0" y="0"/>
          <a:ext cx="0" cy="0"/>
          <a:chOff x="0" y="0"/>
          <a:chExt cx="0" cy="0"/>
        </a:xfrm>
      </p:grpSpPr>
      <p:graphicFrame>
        <p:nvGraphicFramePr>
          <p:cNvPr id="5"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Content Placeholder 13"/>
          <p:cNvSpPr>
            <a:spLocks noGrp="1"/>
          </p:cNvSpPr>
          <p:nvPr>
            <p:ph sz="quarter" idx="11"/>
          </p:nvPr>
        </p:nvSpPr>
        <p:spPr>
          <a:xfrm>
            <a:off x="4111626" y="0"/>
            <a:ext cx="5032375" cy="5143500"/>
          </a:xfrm>
          <a:prstGeom prst="rect">
            <a:avLst/>
          </a:prstGeom>
        </p:spPr>
        <p:txBody>
          <a:bodyPr>
            <a:normAutofit/>
          </a:bodyPr>
          <a:lstStyle>
            <a:lvl1pPr marL="0" indent="0">
              <a:buNone/>
              <a:defRPr>
                <a:solidFill>
                  <a:schemeClr val="bg1"/>
                </a:solidFill>
              </a:defRPr>
            </a:lvl1pPr>
          </a:lstStyle>
          <a:p>
            <a:pPr lvl="0"/>
            <a:r>
              <a:rPr lang="fr-FR"/>
              <a:t>Modifiez les styles du texte du masque</a:t>
            </a:r>
          </a:p>
        </p:txBody>
      </p:sp>
      <p:sp>
        <p:nvSpPr>
          <p:cNvPr id="6" name="Text Placeholder 4"/>
          <p:cNvSpPr>
            <a:spLocks noGrp="1"/>
          </p:cNvSpPr>
          <p:nvPr>
            <p:ph type="body" sz="quarter" idx="10"/>
          </p:nvPr>
        </p:nvSpPr>
        <p:spPr>
          <a:xfrm>
            <a:off x="455614" y="2570560"/>
            <a:ext cx="3203575" cy="1713309"/>
          </a:xfrm>
          <a:prstGeom prst="rect">
            <a:avLst/>
          </a:prstGeom>
        </p:spPr>
        <p:txBody>
          <a:bodyPr>
            <a:normAutofit/>
          </a:bodyPr>
          <a:lstStyle>
            <a:lvl1pPr marL="0" marR="0" indent="0" algn="l" defTabSz="914364" rtl="0" eaLnBrk="1" fontAlgn="base" latinLnBrk="0" hangingPunct="1">
              <a:lnSpc>
                <a:spcPct val="100000"/>
              </a:lnSpc>
              <a:spcBef>
                <a:spcPct val="0"/>
              </a:spcBef>
              <a:spcAft>
                <a:spcPts val="600"/>
              </a:spcAft>
              <a:buClr>
                <a:schemeClr val="tx1"/>
              </a:buClr>
              <a:buSzTx/>
              <a:buFont typeface="Helvetica 75" panose="020B0804020202020204" pitchFamily="34" charset="0"/>
              <a:buNone/>
              <a:tabLst/>
              <a:defRPr sz="1400" baseline="0">
                <a:solidFill>
                  <a:schemeClr val="tx1"/>
                </a:solidFill>
                <a:latin typeface="Helvetica 75" panose="020B0804020202020204" pitchFamily="34" charset="0"/>
              </a:defRPr>
            </a:lvl1pPr>
          </a:lstStyle>
          <a:p>
            <a:pPr lvl="0"/>
            <a:r>
              <a:rPr lang="ru-RU"/>
              <a:t>Образец текста</a:t>
            </a:r>
          </a:p>
        </p:txBody>
      </p:sp>
      <p:sp>
        <p:nvSpPr>
          <p:cNvPr id="2" name="Title 1"/>
          <p:cNvSpPr>
            <a:spLocks noGrp="1"/>
          </p:cNvSpPr>
          <p:nvPr>
            <p:ph type="title"/>
          </p:nvPr>
        </p:nvSpPr>
        <p:spPr>
          <a:xfrm>
            <a:off x="458789" y="511969"/>
            <a:ext cx="3200400" cy="1714500"/>
          </a:xfrm>
          <a:prstGeom prst="rect">
            <a:avLst/>
          </a:prstGeom>
        </p:spPr>
        <p:txBody>
          <a:bodyPr/>
          <a:lstStyle>
            <a:lvl1pPr algn="l">
              <a:defRPr/>
            </a:lvl1pPr>
          </a:lstStyle>
          <a:p>
            <a:r>
              <a:rPr lang="ru-RU"/>
              <a:t>Образец заголовка</a:t>
            </a:r>
            <a:endParaRPr lang="en-GB" dirty="0"/>
          </a:p>
        </p:txBody>
      </p:sp>
      <p:sp>
        <p:nvSpPr>
          <p:cNvPr id="7" name="Footer Placeholder 4">
            <a:extLst>
              <a:ext uri="{FF2B5EF4-FFF2-40B4-BE49-F238E27FC236}">
                <a16:creationId xmlns:a16="http://schemas.microsoft.com/office/drawing/2014/main" id="{D527F7BD-7F78-4873-9CAA-75B3CD51AB8B}"/>
              </a:ext>
            </a:extLst>
          </p:cNvPr>
          <p:cNvSpPr>
            <a:spLocks noGrp="1"/>
          </p:cNvSpPr>
          <p:nvPr>
            <p:ph type="ftr" sz="quarter" idx="12"/>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8" name="Slide Number Placeholder 5">
            <a:extLst>
              <a:ext uri="{FF2B5EF4-FFF2-40B4-BE49-F238E27FC236}">
                <a16:creationId xmlns:a16="http://schemas.microsoft.com/office/drawing/2014/main" id="{9872353A-FC58-4206-9A38-E469F5CCD53D}"/>
              </a:ext>
            </a:extLst>
          </p:cNvPr>
          <p:cNvSpPr>
            <a:spLocks noGrp="1"/>
          </p:cNvSpPr>
          <p:nvPr>
            <p:ph type="sldNum" sz="quarter" idx="13"/>
          </p:nvPr>
        </p:nvSpPr>
        <p:spPr/>
        <p:txBody>
          <a:bodyPr/>
          <a:lstStyle>
            <a:lvl1pPr>
              <a:defRPr/>
            </a:lvl1pPr>
          </a:lstStyle>
          <a:p>
            <a:fld id="{635871DD-C60A-4572-9F7D-535AEC3198B9}" type="slidenum">
              <a:rPr lang="fr-FR" altLang="fr-FR"/>
              <a:pPr/>
              <a:t>‹N°›</a:t>
            </a:fld>
            <a:endParaRPr lang="fr-FR" altLang="fr-FR"/>
          </a:p>
        </p:txBody>
      </p:sp>
    </p:spTree>
    <p:extLst>
      <p:ext uri="{BB962C8B-B14F-4D97-AF65-F5344CB8AC3E}">
        <p14:creationId xmlns:p14="http://schemas.microsoft.com/office/powerpoint/2010/main" val="278421343"/>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ull frame photo with title">
    <p:spTree>
      <p:nvGrpSpPr>
        <p:cNvPr id="1" name=""/>
        <p:cNvGrpSpPr/>
        <p:nvPr/>
      </p:nvGrpSpPr>
      <p:grpSpPr>
        <a:xfrm>
          <a:off x="0" y="0"/>
          <a:ext cx="0" cy="0"/>
          <a:chOff x="0" y="0"/>
          <a:chExt cx="0" cy="0"/>
        </a:xfrm>
      </p:grpSpPr>
      <p:graphicFrame>
        <p:nvGraphicFramePr>
          <p:cNvPr id="5"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ontent Placeholder 13"/>
          <p:cNvSpPr>
            <a:spLocks noGrp="1"/>
          </p:cNvSpPr>
          <p:nvPr>
            <p:ph sz="quarter" idx="11"/>
          </p:nvPr>
        </p:nvSpPr>
        <p:spPr>
          <a:xfrm>
            <a:off x="0" y="0"/>
            <a:ext cx="9144000" cy="5143500"/>
          </a:xfrm>
          <a:prstGeom prst="rect">
            <a:avLst/>
          </a:prstGeom>
        </p:spPr>
        <p:txBody>
          <a:bodyPr>
            <a:normAutofit/>
          </a:bodyPr>
          <a:lstStyle>
            <a:lvl1pPr marL="0" indent="0">
              <a:buNone/>
              <a:defRPr>
                <a:solidFill>
                  <a:schemeClr val="bg1"/>
                </a:solidFill>
              </a:defRPr>
            </a:lvl1pPr>
          </a:lstStyle>
          <a:p>
            <a:pPr lvl="0"/>
            <a:r>
              <a:rPr lang="fr-FR"/>
              <a:t>Modifiez les styles du texte du masque</a:t>
            </a:r>
          </a:p>
        </p:txBody>
      </p:sp>
      <p:sp>
        <p:nvSpPr>
          <p:cNvPr id="6" name="Title 1"/>
          <p:cNvSpPr>
            <a:spLocks noGrp="1"/>
          </p:cNvSpPr>
          <p:nvPr>
            <p:ph type="title"/>
          </p:nvPr>
        </p:nvSpPr>
        <p:spPr>
          <a:xfrm>
            <a:off x="458789" y="511969"/>
            <a:ext cx="3200400" cy="1714500"/>
          </a:xfrm>
          <a:prstGeom prst="rect">
            <a:avLst/>
          </a:prstGeom>
        </p:spPr>
        <p:txBody>
          <a:bodyPr/>
          <a:lstStyle>
            <a:lvl1pPr algn="l">
              <a:defRPr/>
            </a:lvl1pPr>
          </a:lstStyle>
          <a:p>
            <a:r>
              <a:rPr lang="ru-RU"/>
              <a:t>Образец заголовка</a:t>
            </a:r>
            <a:endParaRPr lang="en-GB" dirty="0"/>
          </a:p>
        </p:txBody>
      </p:sp>
      <p:sp>
        <p:nvSpPr>
          <p:cNvPr id="7" name="Text Placeholder 4"/>
          <p:cNvSpPr>
            <a:spLocks noGrp="1"/>
          </p:cNvSpPr>
          <p:nvPr>
            <p:ph type="body" sz="quarter" idx="10"/>
          </p:nvPr>
        </p:nvSpPr>
        <p:spPr>
          <a:xfrm>
            <a:off x="455614" y="2570560"/>
            <a:ext cx="3203575" cy="1713309"/>
          </a:xfrm>
          <a:prstGeom prst="rect">
            <a:avLst/>
          </a:prstGeom>
        </p:spPr>
        <p:txBody>
          <a:bodyPr>
            <a:normAutofit/>
          </a:bodyPr>
          <a:lstStyle>
            <a:lvl1pPr marL="0" marR="0" indent="0" algn="l" defTabSz="914364" rtl="0" eaLnBrk="1" fontAlgn="base" latinLnBrk="0" hangingPunct="1">
              <a:lnSpc>
                <a:spcPct val="100000"/>
              </a:lnSpc>
              <a:spcBef>
                <a:spcPct val="0"/>
              </a:spcBef>
              <a:spcAft>
                <a:spcPts val="600"/>
              </a:spcAft>
              <a:buClr>
                <a:schemeClr val="tx1"/>
              </a:buClr>
              <a:buSzTx/>
              <a:buFont typeface="Helvetica 75" panose="020B0804020202020204" pitchFamily="34" charset="0"/>
              <a:buNone/>
              <a:tabLst/>
              <a:defRPr sz="1400" baseline="0">
                <a:solidFill>
                  <a:schemeClr val="tx1"/>
                </a:solidFill>
                <a:latin typeface="Helvetica 75" panose="020B0804020202020204" pitchFamily="34" charset="0"/>
              </a:defRPr>
            </a:lvl1pPr>
          </a:lstStyle>
          <a:p>
            <a:pPr lvl="0"/>
            <a:r>
              <a:rPr lang="ru-RU"/>
              <a:t>Образец текста</a:t>
            </a:r>
          </a:p>
        </p:txBody>
      </p:sp>
    </p:spTree>
    <p:extLst>
      <p:ext uri="{BB962C8B-B14F-4D97-AF65-F5344CB8AC3E}">
        <p14:creationId xmlns:p14="http://schemas.microsoft.com/office/powerpoint/2010/main" val="1853177690"/>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2"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5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 name="Object 988"/>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5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75835545"/>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ue">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7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988"/>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7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4">
            <a:extLst>
              <a:ext uri="{FF2B5EF4-FFF2-40B4-BE49-F238E27FC236}">
                <a16:creationId xmlns:a16="http://schemas.microsoft.com/office/drawing/2014/main" id="{FA58A2D1-A937-418A-B15D-849B23818133}"/>
              </a:ext>
            </a:extLst>
          </p:cNvPr>
          <p:cNvSpPr/>
          <p:nvPr userDrawn="1"/>
        </p:nvSpPr>
        <p:spPr>
          <a:xfrm>
            <a:off x="0" y="0"/>
            <a:ext cx="9144000" cy="5143500"/>
          </a:xfrm>
          <a:prstGeom prst="rect">
            <a:avLst/>
          </a:prstGeom>
          <a:solidFill>
            <a:srgbClr val="4BB4E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defTabSz="914364" fontAlgn="base">
              <a:spcBef>
                <a:spcPct val="0"/>
              </a:spcBef>
              <a:spcAft>
                <a:spcPct val="0"/>
              </a:spcAft>
              <a:defRPr/>
            </a:pPr>
            <a:endParaRPr lang="en-GB" sz="2000">
              <a:solidFill>
                <a:prstClr val="white"/>
              </a:solidFill>
            </a:endParaRPr>
          </a:p>
        </p:txBody>
      </p:sp>
      <p:sp>
        <p:nvSpPr>
          <p:cNvPr id="10" name="Text Placeholder 4"/>
          <p:cNvSpPr>
            <a:spLocks noGrp="1"/>
          </p:cNvSpPr>
          <p:nvPr>
            <p:ph type="body" sz="quarter" idx="10"/>
          </p:nvPr>
        </p:nvSpPr>
        <p:spPr>
          <a:xfrm>
            <a:off x="455614" y="2570560"/>
            <a:ext cx="3203575" cy="1713309"/>
          </a:xfrm>
          <a:prstGeom prst="rect">
            <a:avLst/>
          </a:prstGeom>
        </p:spPr>
        <p:txBody>
          <a:bodyPr>
            <a:normAutofit/>
          </a:bodyPr>
          <a:lstStyle>
            <a:lvl1pPr marL="0" marR="0" indent="0" algn="l" defTabSz="914364" rtl="0" eaLnBrk="1" fontAlgn="base" latinLnBrk="0" hangingPunct="1">
              <a:lnSpc>
                <a:spcPct val="100000"/>
              </a:lnSpc>
              <a:spcBef>
                <a:spcPct val="0"/>
              </a:spcBef>
              <a:spcAft>
                <a:spcPts val="600"/>
              </a:spcAft>
              <a:buClr>
                <a:schemeClr val="tx1"/>
              </a:buClr>
              <a:buSzTx/>
              <a:buFont typeface="Helvetica 75" panose="020B0804020202020204" pitchFamily="34" charset="0"/>
              <a:buNone/>
              <a:tabLst/>
              <a:defRPr sz="1400" baseline="0">
                <a:solidFill>
                  <a:schemeClr val="tx1"/>
                </a:solidFill>
                <a:latin typeface="Helvetica 75" panose="020B0804020202020204" pitchFamily="34" charset="0"/>
              </a:defRPr>
            </a:lvl1pPr>
          </a:lstStyle>
          <a:p>
            <a:pPr lvl="0"/>
            <a:r>
              <a:rPr lang="ru-RU"/>
              <a:t>Образец текста</a:t>
            </a:r>
          </a:p>
        </p:txBody>
      </p:sp>
      <p:sp>
        <p:nvSpPr>
          <p:cNvPr id="6" name="Title 1"/>
          <p:cNvSpPr>
            <a:spLocks noGrp="1"/>
          </p:cNvSpPr>
          <p:nvPr>
            <p:ph type="title"/>
          </p:nvPr>
        </p:nvSpPr>
        <p:spPr>
          <a:xfrm>
            <a:off x="458789" y="511969"/>
            <a:ext cx="3200400" cy="1714500"/>
          </a:xfrm>
          <a:prstGeom prst="rect">
            <a:avLst/>
          </a:prstGeom>
        </p:spPr>
        <p:txBody>
          <a:bodyPr>
            <a:normAutofit/>
          </a:bodyPr>
          <a:lstStyle>
            <a:lvl1pPr algn="l">
              <a:lnSpc>
                <a:spcPct val="90000"/>
              </a:lnSpc>
              <a:defRPr sz="3600">
                <a:solidFill>
                  <a:schemeClr val="tx1"/>
                </a:solidFill>
              </a:defRPr>
            </a:lvl1pPr>
          </a:lstStyle>
          <a:p>
            <a:r>
              <a:rPr lang="ru-RU"/>
              <a:t>Образец заголовка</a:t>
            </a:r>
            <a:endParaRPr lang="en-GB" dirty="0"/>
          </a:p>
        </p:txBody>
      </p:sp>
    </p:spTree>
    <p:extLst>
      <p:ext uri="{BB962C8B-B14F-4D97-AF65-F5344CB8AC3E}">
        <p14:creationId xmlns:p14="http://schemas.microsoft.com/office/powerpoint/2010/main" val="3169359468"/>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green">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6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17BE7DD3-A733-4333-937F-C1FB0E39EB3D}"/>
              </a:ext>
            </a:extLst>
          </p:cNvPr>
          <p:cNvSpPr/>
          <p:nvPr userDrawn="1"/>
        </p:nvSpPr>
        <p:spPr>
          <a:xfrm>
            <a:off x="0" y="0"/>
            <a:ext cx="9144000" cy="5143500"/>
          </a:xfrm>
          <a:prstGeom prst="rect">
            <a:avLst/>
          </a:prstGeom>
          <a:solidFill>
            <a:srgbClr val="50BE9B"/>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defTabSz="914364" fontAlgn="base">
              <a:spcBef>
                <a:spcPct val="0"/>
              </a:spcBef>
              <a:spcAft>
                <a:spcPct val="0"/>
              </a:spcAft>
              <a:defRPr/>
            </a:pPr>
            <a:endParaRPr lang="en-GB" sz="2000">
              <a:solidFill>
                <a:prstClr val="white"/>
              </a:solidFill>
            </a:endParaRPr>
          </a:p>
        </p:txBody>
      </p:sp>
      <p:sp>
        <p:nvSpPr>
          <p:cNvPr id="10" name="Text Placeholder 4"/>
          <p:cNvSpPr>
            <a:spLocks noGrp="1"/>
          </p:cNvSpPr>
          <p:nvPr>
            <p:ph type="body" sz="quarter" idx="10"/>
          </p:nvPr>
        </p:nvSpPr>
        <p:spPr>
          <a:xfrm>
            <a:off x="455614" y="2570560"/>
            <a:ext cx="3203575" cy="1713309"/>
          </a:xfrm>
          <a:prstGeom prst="rect">
            <a:avLst/>
          </a:prstGeom>
        </p:spPr>
        <p:txBody>
          <a:bodyPr>
            <a:normAutofit/>
          </a:bodyPr>
          <a:lstStyle>
            <a:lvl1pPr marL="0" marR="0" indent="0" algn="l" defTabSz="914364" rtl="0" eaLnBrk="1" fontAlgn="base" latinLnBrk="0" hangingPunct="1">
              <a:lnSpc>
                <a:spcPct val="100000"/>
              </a:lnSpc>
              <a:spcBef>
                <a:spcPct val="0"/>
              </a:spcBef>
              <a:spcAft>
                <a:spcPts val="600"/>
              </a:spcAft>
              <a:buClr>
                <a:schemeClr val="tx1"/>
              </a:buClr>
              <a:buSzTx/>
              <a:buFont typeface="Helvetica 75" panose="020B0804020202020204" pitchFamily="34" charset="0"/>
              <a:buNone/>
              <a:tabLst/>
              <a:defRPr sz="1400" baseline="0">
                <a:solidFill>
                  <a:schemeClr val="tx1"/>
                </a:solidFill>
                <a:latin typeface="Helvetica 75" panose="020B0804020202020204" pitchFamily="34" charset="0"/>
              </a:defRPr>
            </a:lvl1pPr>
          </a:lstStyle>
          <a:p>
            <a:pPr lvl="0"/>
            <a:r>
              <a:rPr lang="ru-RU"/>
              <a:t>Образец текста</a:t>
            </a:r>
          </a:p>
        </p:txBody>
      </p:sp>
      <p:sp>
        <p:nvSpPr>
          <p:cNvPr id="8" name="Title 1"/>
          <p:cNvSpPr>
            <a:spLocks noGrp="1"/>
          </p:cNvSpPr>
          <p:nvPr>
            <p:ph type="title"/>
          </p:nvPr>
        </p:nvSpPr>
        <p:spPr>
          <a:xfrm>
            <a:off x="458789" y="511969"/>
            <a:ext cx="3200400" cy="1714500"/>
          </a:xfrm>
          <a:prstGeom prst="rect">
            <a:avLst/>
          </a:prstGeom>
        </p:spPr>
        <p:txBody>
          <a:bodyPr>
            <a:normAutofit/>
          </a:bodyPr>
          <a:lstStyle>
            <a:lvl1pPr algn="l">
              <a:lnSpc>
                <a:spcPct val="90000"/>
              </a:lnSpc>
              <a:defRPr sz="3600">
                <a:solidFill>
                  <a:schemeClr val="tx1"/>
                </a:solidFill>
              </a:defRPr>
            </a:lvl1pPr>
          </a:lstStyle>
          <a:p>
            <a:r>
              <a:rPr lang="ru-RU"/>
              <a:t>Образец заголовка</a:t>
            </a:r>
            <a:endParaRPr lang="en-GB" dirty="0"/>
          </a:p>
        </p:txBody>
      </p:sp>
    </p:spTree>
    <p:extLst>
      <p:ext uri="{BB962C8B-B14F-4D97-AF65-F5344CB8AC3E}">
        <p14:creationId xmlns:p14="http://schemas.microsoft.com/office/powerpoint/2010/main" val="3678669262"/>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ink">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9AE541A7-C776-4484-B644-1FEE224AF200}"/>
              </a:ext>
            </a:extLst>
          </p:cNvPr>
          <p:cNvSpPr/>
          <p:nvPr userDrawn="1"/>
        </p:nvSpPr>
        <p:spPr>
          <a:xfrm>
            <a:off x="0" y="0"/>
            <a:ext cx="9144000" cy="5143500"/>
          </a:xfrm>
          <a:prstGeom prst="rect">
            <a:avLst/>
          </a:prstGeom>
          <a:solidFill>
            <a:srgbClr val="FFB4E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defTabSz="914364" fontAlgn="base">
              <a:spcBef>
                <a:spcPct val="0"/>
              </a:spcBef>
              <a:spcAft>
                <a:spcPct val="0"/>
              </a:spcAft>
              <a:defRPr/>
            </a:pPr>
            <a:endParaRPr lang="en-GB" sz="2000">
              <a:solidFill>
                <a:prstClr val="white"/>
              </a:solidFill>
            </a:endParaRPr>
          </a:p>
        </p:txBody>
      </p:sp>
      <p:sp>
        <p:nvSpPr>
          <p:cNvPr id="12" name="Text Placeholder 4"/>
          <p:cNvSpPr>
            <a:spLocks noGrp="1"/>
          </p:cNvSpPr>
          <p:nvPr>
            <p:ph type="body" sz="quarter" idx="10"/>
          </p:nvPr>
        </p:nvSpPr>
        <p:spPr>
          <a:xfrm>
            <a:off x="455614" y="2570560"/>
            <a:ext cx="3203575" cy="1713309"/>
          </a:xfrm>
          <a:prstGeom prst="rect">
            <a:avLst/>
          </a:prstGeom>
        </p:spPr>
        <p:txBody>
          <a:bodyPr>
            <a:normAutofit/>
          </a:bodyPr>
          <a:lstStyle>
            <a:lvl1pPr marL="0" marR="0" indent="0" algn="l" defTabSz="914364" rtl="0" eaLnBrk="1" fontAlgn="base" latinLnBrk="0" hangingPunct="1">
              <a:lnSpc>
                <a:spcPct val="100000"/>
              </a:lnSpc>
              <a:spcBef>
                <a:spcPct val="0"/>
              </a:spcBef>
              <a:spcAft>
                <a:spcPts val="600"/>
              </a:spcAft>
              <a:buClr>
                <a:schemeClr val="tx1"/>
              </a:buClr>
              <a:buSzTx/>
              <a:buFont typeface="Helvetica 75" panose="020B0804020202020204" pitchFamily="34" charset="0"/>
              <a:buNone/>
              <a:tabLst/>
              <a:defRPr sz="1400" baseline="0">
                <a:solidFill>
                  <a:schemeClr val="tx1"/>
                </a:solidFill>
                <a:latin typeface="Helvetica 75" panose="020B0804020202020204" pitchFamily="34" charset="0"/>
              </a:defRPr>
            </a:lvl1pPr>
          </a:lstStyle>
          <a:p>
            <a:pPr lvl="0"/>
            <a:r>
              <a:rPr lang="ru-RU"/>
              <a:t>Образец текста</a:t>
            </a:r>
          </a:p>
        </p:txBody>
      </p:sp>
      <p:sp>
        <p:nvSpPr>
          <p:cNvPr id="9" name="Title 1"/>
          <p:cNvSpPr>
            <a:spLocks noGrp="1"/>
          </p:cNvSpPr>
          <p:nvPr>
            <p:ph type="title"/>
          </p:nvPr>
        </p:nvSpPr>
        <p:spPr>
          <a:xfrm>
            <a:off x="458789" y="511969"/>
            <a:ext cx="3200400" cy="1714500"/>
          </a:xfrm>
          <a:prstGeom prst="rect">
            <a:avLst/>
          </a:prstGeom>
        </p:spPr>
        <p:txBody>
          <a:bodyPr>
            <a:normAutofit/>
          </a:bodyPr>
          <a:lstStyle>
            <a:lvl1pPr algn="l">
              <a:lnSpc>
                <a:spcPct val="90000"/>
              </a:lnSpc>
              <a:defRPr sz="3600">
                <a:solidFill>
                  <a:schemeClr val="tx1"/>
                </a:solidFill>
              </a:defRPr>
            </a:lvl1pPr>
          </a:lstStyle>
          <a:p>
            <a:r>
              <a:rPr lang="ru-RU"/>
              <a:t>Образец заголовка</a:t>
            </a:r>
            <a:endParaRPr lang="en-GB" dirty="0"/>
          </a:p>
        </p:txBody>
      </p:sp>
    </p:spTree>
    <p:extLst>
      <p:ext uri="{BB962C8B-B14F-4D97-AF65-F5344CB8AC3E}">
        <p14:creationId xmlns:p14="http://schemas.microsoft.com/office/powerpoint/2010/main" val="668337409"/>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urple">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0D632837-1DE2-4D12-9D55-B62B078463D2}"/>
              </a:ext>
            </a:extLst>
          </p:cNvPr>
          <p:cNvSpPr/>
          <p:nvPr userDrawn="1"/>
        </p:nvSpPr>
        <p:spPr>
          <a:xfrm>
            <a:off x="0" y="0"/>
            <a:ext cx="9144000" cy="5143500"/>
          </a:xfrm>
          <a:prstGeom prst="rect">
            <a:avLst/>
          </a:prstGeom>
          <a:solidFill>
            <a:srgbClr val="9164CD"/>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defTabSz="914364" fontAlgn="base">
              <a:spcBef>
                <a:spcPct val="0"/>
              </a:spcBef>
              <a:spcAft>
                <a:spcPct val="0"/>
              </a:spcAft>
              <a:defRPr/>
            </a:pPr>
            <a:endParaRPr lang="en-GB" sz="2000">
              <a:solidFill>
                <a:prstClr val="white"/>
              </a:solidFill>
            </a:endParaRPr>
          </a:p>
        </p:txBody>
      </p:sp>
      <p:sp>
        <p:nvSpPr>
          <p:cNvPr id="12" name="Text Placeholder 4"/>
          <p:cNvSpPr>
            <a:spLocks noGrp="1"/>
          </p:cNvSpPr>
          <p:nvPr>
            <p:ph type="body" sz="quarter" idx="10"/>
          </p:nvPr>
        </p:nvSpPr>
        <p:spPr>
          <a:xfrm>
            <a:off x="455614" y="2570560"/>
            <a:ext cx="3203575" cy="1713309"/>
          </a:xfrm>
          <a:prstGeom prst="rect">
            <a:avLst/>
          </a:prstGeom>
        </p:spPr>
        <p:txBody>
          <a:bodyPr>
            <a:normAutofit/>
          </a:bodyPr>
          <a:lstStyle>
            <a:lvl1pPr marL="0" marR="0" indent="0" algn="l" defTabSz="914364" rtl="0" eaLnBrk="1" fontAlgn="base" latinLnBrk="0" hangingPunct="1">
              <a:lnSpc>
                <a:spcPct val="100000"/>
              </a:lnSpc>
              <a:spcBef>
                <a:spcPct val="0"/>
              </a:spcBef>
              <a:spcAft>
                <a:spcPts val="600"/>
              </a:spcAft>
              <a:buClr>
                <a:schemeClr val="tx1"/>
              </a:buClr>
              <a:buSzTx/>
              <a:buFont typeface="Helvetica 75" panose="020B0804020202020204" pitchFamily="34" charset="0"/>
              <a:buNone/>
              <a:tabLst/>
              <a:defRPr sz="1400" baseline="0">
                <a:solidFill>
                  <a:schemeClr val="tx1"/>
                </a:solidFill>
                <a:latin typeface="Helvetica 75" panose="020B0804020202020204" pitchFamily="34" charset="0"/>
              </a:defRPr>
            </a:lvl1pPr>
          </a:lstStyle>
          <a:p>
            <a:pPr lvl="0"/>
            <a:r>
              <a:rPr lang="ru-RU"/>
              <a:t>Образец текста</a:t>
            </a:r>
          </a:p>
        </p:txBody>
      </p:sp>
      <p:sp>
        <p:nvSpPr>
          <p:cNvPr id="9" name="Title 1"/>
          <p:cNvSpPr>
            <a:spLocks noGrp="1"/>
          </p:cNvSpPr>
          <p:nvPr>
            <p:ph type="title"/>
          </p:nvPr>
        </p:nvSpPr>
        <p:spPr>
          <a:xfrm>
            <a:off x="458789" y="511969"/>
            <a:ext cx="3200400" cy="1714500"/>
          </a:xfrm>
          <a:prstGeom prst="rect">
            <a:avLst/>
          </a:prstGeom>
        </p:spPr>
        <p:txBody>
          <a:bodyPr>
            <a:normAutofit/>
          </a:bodyPr>
          <a:lstStyle>
            <a:lvl1pPr algn="l">
              <a:lnSpc>
                <a:spcPct val="90000"/>
              </a:lnSpc>
              <a:defRPr sz="3600">
                <a:solidFill>
                  <a:schemeClr val="tx1"/>
                </a:solidFill>
              </a:defRPr>
            </a:lvl1pPr>
          </a:lstStyle>
          <a:p>
            <a:r>
              <a:rPr lang="ru-RU"/>
              <a:t>Образец заголовка</a:t>
            </a:r>
            <a:endParaRPr lang="en-GB" dirty="0"/>
          </a:p>
        </p:txBody>
      </p:sp>
    </p:spTree>
    <p:extLst>
      <p:ext uri="{BB962C8B-B14F-4D97-AF65-F5344CB8AC3E}">
        <p14:creationId xmlns:p14="http://schemas.microsoft.com/office/powerpoint/2010/main" val="2438196300"/>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yellow">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CF774274-DB71-43CD-8272-6C6FFF6BF35F}"/>
              </a:ext>
            </a:extLst>
          </p:cNvPr>
          <p:cNvSpPr/>
          <p:nvPr userDrawn="1"/>
        </p:nvSpPr>
        <p:spPr>
          <a:xfrm>
            <a:off x="0" y="0"/>
            <a:ext cx="9144000" cy="5143500"/>
          </a:xfrm>
          <a:prstGeom prst="rect">
            <a:avLst/>
          </a:prstGeom>
          <a:solidFill>
            <a:srgbClr val="FADC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defTabSz="914364" fontAlgn="base">
              <a:spcBef>
                <a:spcPct val="0"/>
              </a:spcBef>
              <a:spcAft>
                <a:spcPct val="0"/>
              </a:spcAft>
              <a:defRPr/>
            </a:pPr>
            <a:endParaRPr lang="en-GB" sz="2000">
              <a:solidFill>
                <a:prstClr val="white"/>
              </a:solidFill>
            </a:endParaRPr>
          </a:p>
        </p:txBody>
      </p:sp>
      <p:sp>
        <p:nvSpPr>
          <p:cNvPr id="12" name="Text Placeholder 4"/>
          <p:cNvSpPr>
            <a:spLocks noGrp="1"/>
          </p:cNvSpPr>
          <p:nvPr>
            <p:ph type="body" sz="quarter" idx="10"/>
          </p:nvPr>
        </p:nvSpPr>
        <p:spPr>
          <a:xfrm>
            <a:off x="455614" y="2570560"/>
            <a:ext cx="3203575" cy="1713309"/>
          </a:xfrm>
          <a:prstGeom prst="rect">
            <a:avLst/>
          </a:prstGeom>
        </p:spPr>
        <p:txBody>
          <a:bodyPr>
            <a:normAutofit/>
          </a:bodyPr>
          <a:lstStyle>
            <a:lvl1pPr marL="0" marR="0" indent="0" algn="l" defTabSz="914364" rtl="0" eaLnBrk="1" fontAlgn="base" latinLnBrk="0" hangingPunct="1">
              <a:lnSpc>
                <a:spcPct val="100000"/>
              </a:lnSpc>
              <a:spcBef>
                <a:spcPct val="0"/>
              </a:spcBef>
              <a:spcAft>
                <a:spcPts val="600"/>
              </a:spcAft>
              <a:buClr>
                <a:schemeClr val="tx1"/>
              </a:buClr>
              <a:buSzTx/>
              <a:buFont typeface="Helvetica 75" panose="020B0804020202020204" pitchFamily="34" charset="0"/>
              <a:buNone/>
              <a:tabLst/>
              <a:defRPr sz="1400" baseline="0">
                <a:solidFill>
                  <a:schemeClr val="bg1"/>
                </a:solidFill>
                <a:latin typeface="Helvetica 75" panose="020B0804020202020204" pitchFamily="34" charset="0"/>
              </a:defRPr>
            </a:lvl1pPr>
          </a:lstStyle>
          <a:p>
            <a:pPr lvl="0"/>
            <a:r>
              <a:rPr lang="ru-RU"/>
              <a:t>Образец текста</a:t>
            </a:r>
          </a:p>
        </p:txBody>
      </p:sp>
      <p:sp>
        <p:nvSpPr>
          <p:cNvPr id="9" name="Title 1"/>
          <p:cNvSpPr>
            <a:spLocks noGrp="1"/>
          </p:cNvSpPr>
          <p:nvPr>
            <p:ph type="title"/>
          </p:nvPr>
        </p:nvSpPr>
        <p:spPr>
          <a:xfrm>
            <a:off x="458789" y="511969"/>
            <a:ext cx="3200400" cy="1714500"/>
          </a:xfrm>
          <a:prstGeom prst="rect">
            <a:avLst/>
          </a:prstGeom>
        </p:spPr>
        <p:txBody>
          <a:bodyPr>
            <a:normAutofit/>
          </a:bodyPr>
          <a:lstStyle>
            <a:lvl1pPr algn="l">
              <a:lnSpc>
                <a:spcPct val="90000"/>
              </a:lnSpc>
              <a:defRPr sz="3600">
                <a:solidFill>
                  <a:schemeClr val="bg1"/>
                </a:solidFill>
              </a:defRPr>
            </a:lvl1pPr>
          </a:lstStyle>
          <a:p>
            <a:r>
              <a:rPr lang="ru-RU"/>
              <a:t>Образец заголовка</a:t>
            </a:r>
            <a:endParaRPr lang="en-GB" dirty="0"/>
          </a:p>
        </p:txBody>
      </p:sp>
    </p:spTree>
    <p:extLst>
      <p:ext uri="{BB962C8B-B14F-4D97-AF65-F5344CB8AC3E}">
        <p14:creationId xmlns:p14="http://schemas.microsoft.com/office/powerpoint/2010/main" val="3445860652"/>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re">
    <p:spTree>
      <p:nvGrpSpPr>
        <p:cNvPr id="1" name=""/>
        <p:cNvGrpSpPr/>
        <p:nvPr/>
      </p:nvGrpSpPr>
      <p:grpSpPr>
        <a:xfrm>
          <a:off x="0" y="0"/>
          <a:ext cx="0" cy="0"/>
          <a:chOff x="0" y="0"/>
          <a:chExt cx="0" cy="0"/>
        </a:xfrm>
      </p:grpSpPr>
      <p:graphicFrame>
        <p:nvGraphicFramePr>
          <p:cNvPr id="3"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9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bject 989"/>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a:xfrm>
            <a:off x="336550" y="2013744"/>
            <a:ext cx="8470900" cy="1116013"/>
          </a:xfrm>
        </p:spPr>
        <p:txBody>
          <a:bodyPr/>
          <a:lstStyle>
            <a:lvl1pPr algn="ctr">
              <a:defRPr sz="9600"/>
            </a:lvl1pPr>
          </a:lstStyle>
          <a:p>
            <a:r>
              <a:rPr lang="ru-RU"/>
              <a:t>Образец заголовка</a:t>
            </a:r>
            <a:endParaRPr lang="fr-FR" dirty="0"/>
          </a:p>
        </p:txBody>
      </p:sp>
      <p:sp>
        <p:nvSpPr>
          <p:cNvPr id="5" name="Slide Number Placeholder 5">
            <a:extLst>
              <a:ext uri="{FF2B5EF4-FFF2-40B4-BE49-F238E27FC236}">
                <a16:creationId xmlns:a16="http://schemas.microsoft.com/office/drawing/2014/main" id="{DB9E278A-B0D2-456D-97CA-34B2A95BE4FE}"/>
              </a:ext>
            </a:extLst>
          </p:cNvPr>
          <p:cNvSpPr>
            <a:spLocks noGrp="1"/>
          </p:cNvSpPr>
          <p:nvPr>
            <p:ph type="sldNum" sz="quarter" idx="10"/>
          </p:nvPr>
        </p:nvSpPr>
        <p:spPr/>
        <p:txBody>
          <a:bodyPr/>
          <a:lstStyle>
            <a:lvl1pPr>
              <a:defRPr/>
            </a:lvl1pPr>
          </a:lstStyle>
          <a:p>
            <a:fld id="{39323F4F-A801-4084-B795-118C7672359D}" type="slidenum">
              <a:rPr lang="fr-FR" altLang="fr-FR"/>
              <a:pPr/>
              <a:t>‹N°›</a:t>
            </a:fld>
            <a:endParaRPr lang="fr-FR" altLang="fr-FR"/>
          </a:p>
        </p:txBody>
      </p:sp>
    </p:spTree>
    <p:extLst>
      <p:ext uri="{BB962C8B-B14F-4D97-AF65-F5344CB8AC3E}">
        <p14:creationId xmlns:p14="http://schemas.microsoft.com/office/powerpoint/2010/main" val="3545322501"/>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merci">
    <p:spTree>
      <p:nvGrpSpPr>
        <p:cNvPr id="1" name=""/>
        <p:cNvGrpSpPr/>
        <p:nvPr/>
      </p:nvGrpSpPr>
      <p:grpSpPr>
        <a:xfrm>
          <a:off x="0" y="0"/>
          <a:ext cx="0" cy="0"/>
          <a:chOff x="0" y="0"/>
          <a:chExt cx="0" cy="0"/>
        </a:xfrm>
      </p:grpSpPr>
      <p:graphicFrame>
        <p:nvGraphicFramePr>
          <p:cNvPr id="3"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2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bject 989"/>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a:xfrm>
            <a:off x="1049129" y="1924050"/>
            <a:ext cx="7051885" cy="737100"/>
          </a:xfrm>
        </p:spPr>
        <p:txBody>
          <a:bodyPr/>
          <a:lstStyle>
            <a:lvl1pPr algn="l">
              <a:defRPr sz="6600">
                <a:latin typeface="Helvetica 35 Thin" pitchFamily="34" charset="0"/>
              </a:defRPr>
            </a:lvl1pPr>
          </a:lstStyle>
          <a:p>
            <a:r>
              <a:rPr lang="ru-RU"/>
              <a:t>Образец заголовка</a:t>
            </a:r>
            <a:endParaRPr lang="fr-FR" dirty="0"/>
          </a:p>
        </p:txBody>
      </p:sp>
    </p:spTree>
    <p:extLst>
      <p:ext uri="{BB962C8B-B14F-4D97-AF65-F5344CB8AC3E}">
        <p14:creationId xmlns:p14="http://schemas.microsoft.com/office/powerpoint/2010/main" val="916543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05979"/>
            <a:ext cx="2057400" cy="4388644"/>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457200" y="205979"/>
            <a:ext cx="6019800" cy="4388644"/>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D3AEEF0-FEAD-44CF-A18D-162E882CE67E}" type="datetimeFigureOut">
              <a:rPr lang="fr-FR" smtClean="0"/>
              <a:t>12/02/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18512377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990"/>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4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p:nvPr>
        </p:nvSpPr>
        <p:spPr/>
        <p:txBody>
          <a:bodyPr/>
          <a:lstStyle>
            <a:lvl1pPr>
              <a:defRPr/>
            </a:lvl1pPr>
          </a:lstStyle>
          <a:p>
            <a:r>
              <a:rPr lang="ru-RU"/>
              <a:t>Образец заголовка</a:t>
            </a:r>
            <a:endParaRPr lang="en-GB" dirty="0"/>
          </a:p>
        </p:txBody>
      </p:sp>
      <p:sp>
        <p:nvSpPr>
          <p:cNvPr id="6" name="Slide Number Placeholder 5">
            <a:extLst>
              <a:ext uri="{FF2B5EF4-FFF2-40B4-BE49-F238E27FC236}">
                <a16:creationId xmlns:a16="http://schemas.microsoft.com/office/drawing/2014/main" id="{AAEBBD9D-4191-4B82-9080-D83A02A74A7F}"/>
              </a:ext>
            </a:extLst>
          </p:cNvPr>
          <p:cNvSpPr>
            <a:spLocks noGrp="1"/>
          </p:cNvSpPr>
          <p:nvPr>
            <p:ph type="sldNum" sz="quarter" idx="10"/>
          </p:nvPr>
        </p:nvSpPr>
        <p:spPr/>
        <p:txBody>
          <a:bodyPr/>
          <a:lstStyle>
            <a:lvl1pPr>
              <a:defRPr/>
            </a:lvl1pPr>
          </a:lstStyle>
          <a:p>
            <a:fld id="{B1CDD083-F011-491D-B8C7-08DCDFCE2A55}" type="slidenum">
              <a:rPr lang="fr-FR" altLang="fr-FR"/>
              <a:pPr/>
              <a:t>‹N°›</a:t>
            </a:fld>
            <a:endParaRPr lang="fr-FR" altLang="fr-FR"/>
          </a:p>
        </p:txBody>
      </p:sp>
    </p:spTree>
    <p:extLst>
      <p:ext uri="{BB962C8B-B14F-4D97-AF65-F5344CB8AC3E}">
        <p14:creationId xmlns:p14="http://schemas.microsoft.com/office/powerpoint/2010/main" val="3789265277"/>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5">
            <a:extLst>
              <a:ext uri="{FF2B5EF4-FFF2-40B4-BE49-F238E27FC236}">
                <a16:creationId xmlns:a16="http://schemas.microsoft.com/office/drawing/2014/main" id="{FD3553D7-0BCB-4CA7-BED6-C734930D9DB1}"/>
              </a:ext>
            </a:extLst>
          </p:cNvPr>
          <p:cNvSpPr>
            <a:spLocks noGrp="1"/>
          </p:cNvSpPr>
          <p:nvPr>
            <p:ph type="sldNum" sz="quarter" idx="10"/>
          </p:nvPr>
        </p:nvSpPr>
        <p:spPr/>
        <p:txBody>
          <a:bodyPr/>
          <a:lstStyle>
            <a:lvl1pPr>
              <a:defRPr/>
            </a:lvl1pPr>
          </a:lstStyle>
          <a:p>
            <a:fld id="{8D7D1228-25EF-43A6-95FF-D1FB16D43ABA}" type="slidenum">
              <a:rPr lang="fr-FR" altLang="fr-FR"/>
              <a:pPr/>
              <a:t>‹N°›</a:t>
            </a:fld>
            <a:endParaRPr lang="fr-FR" altLang="fr-FR"/>
          </a:p>
        </p:txBody>
      </p:sp>
    </p:spTree>
    <p:extLst>
      <p:ext uri="{BB962C8B-B14F-4D97-AF65-F5344CB8AC3E}">
        <p14:creationId xmlns:p14="http://schemas.microsoft.com/office/powerpoint/2010/main" val="2341840587"/>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
        <p:nvSpPr>
          <p:cNvPr id="6" name="TextBox 5"/>
          <p:cNvSpPr txBox="1"/>
          <p:nvPr userDrawn="1"/>
        </p:nvSpPr>
        <p:spPr>
          <a:xfrm>
            <a:off x="619545" y="4749146"/>
            <a:ext cx="738985" cy="123111"/>
          </a:xfrm>
          <a:prstGeom prst="rect">
            <a:avLst/>
          </a:prstGeom>
          <a:noFill/>
        </p:spPr>
        <p:txBody>
          <a:bodyPr wrap="none" lIns="0" tIns="0" rIns="0" bIns="0" rtlCol="0">
            <a:spAutoFit/>
          </a:bodyPr>
          <a:lstStyle/>
          <a:p>
            <a:r>
              <a:rPr lang="fr-FR" sz="800" dirty="0">
                <a:solidFill>
                  <a:srgbClr val="FF7900"/>
                </a:solidFill>
              </a:rPr>
              <a:t>Interne Orange</a:t>
            </a:r>
          </a:p>
        </p:txBody>
      </p:sp>
    </p:spTree>
    <p:extLst>
      <p:ext uri="{BB962C8B-B14F-4D97-AF65-F5344CB8AC3E}">
        <p14:creationId xmlns:p14="http://schemas.microsoft.com/office/powerpoint/2010/main" val="419115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7" y="2704144"/>
            <a:ext cx="4831185" cy="966156"/>
          </a:xfrm>
        </p:spPr>
        <p:txBody>
          <a:bodyPr/>
          <a:lstStyle>
            <a:lvl1pPr marL="0" indent="0" algn="l">
              <a:buNone/>
              <a:defRPr baseline="0">
                <a:solidFill>
                  <a:schemeClr val="tx1"/>
                </a:solidFill>
              </a:defRPr>
            </a:lvl1pPr>
            <a:lvl2pPr marL="180975" indent="-180975" algn="l">
              <a:buClr>
                <a:schemeClr val="bg2"/>
              </a:buClr>
              <a:buSzPct val="100000"/>
              <a:buFont typeface="Wingdings" panose="05000000000000000000" pitchFamily="2" charset="2"/>
              <a:buChar char="§"/>
              <a:defRPr>
                <a:solidFill>
                  <a:schemeClr val="tx1"/>
                </a:solidFill>
              </a:defRPr>
            </a:lvl2pPr>
            <a:lvl3pPr marL="406800" indent="-19080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4000" indent="-172800" algn="l">
              <a:spcBef>
                <a:spcPts val="24"/>
              </a:spcBef>
              <a:buFont typeface="Helvetica 55 Roman" panose="020B0604020202020204" pitchFamily="34" charset="0"/>
              <a:buChar char="–"/>
              <a:defRPr>
                <a:solidFill>
                  <a:schemeClr val="tx1"/>
                </a:solidFill>
              </a:defRPr>
            </a:lvl4pPr>
            <a:lvl5pPr marL="799200" indent="-190800" algn="l">
              <a:buFont typeface="Helvetica 55 Roman" panose="020B0604020202020204" pitchFamily="34" charset="0"/>
              <a:buChar char="–"/>
              <a:defRPr>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nom du présentateur</a:t>
            </a:r>
          </a:p>
        </p:txBody>
      </p:sp>
      <p:grpSp>
        <p:nvGrpSpPr>
          <p:cNvPr id="3" name="Group 2"/>
          <p:cNvGrpSpPr/>
          <p:nvPr userDrawn="1"/>
        </p:nvGrpSpPr>
        <p:grpSpPr>
          <a:xfrm>
            <a:off x="313535" y="4233863"/>
            <a:ext cx="612775" cy="612775"/>
            <a:chOff x="313535" y="4233863"/>
            <a:chExt cx="612775" cy="612775"/>
          </a:xfrm>
        </p:grpSpPr>
        <p:sp>
          <p:nvSpPr>
            <p:cNvPr id="43"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4"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5"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6"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7"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8"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9"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0"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164018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314325" y="268287"/>
            <a:ext cx="8515349" cy="4281487"/>
          </a:xfrm>
        </p:spPr>
        <p:txBody>
          <a:bodyPr/>
          <a:lstStyle>
            <a:lvl1pPr>
              <a:spcBef>
                <a:spcPts val="0"/>
              </a:spcBef>
              <a:defRPr sz="3000"/>
            </a:lvl1pPr>
            <a:lvl2pPr marL="358775" indent="-358775">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
        <p:nvSpPr>
          <p:cNvPr id="5" name="TextBox 4"/>
          <p:cNvSpPr txBox="1"/>
          <p:nvPr userDrawn="1"/>
        </p:nvSpPr>
        <p:spPr>
          <a:xfrm>
            <a:off x="619545" y="4749146"/>
            <a:ext cx="738985" cy="123111"/>
          </a:xfrm>
          <a:prstGeom prst="rect">
            <a:avLst/>
          </a:prstGeom>
          <a:noFill/>
        </p:spPr>
        <p:txBody>
          <a:bodyPr wrap="none" lIns="0" tIns="0" rIns="0" bIns="0" rtlCol="0">
            <a:spAutoFit/>
          </a:bodyPr>
          <a:lstStyle/>
          <a:p>
            <a:r>
              <a:rPr lang="fr-FR" sz="800" dirty="0">
                <a:solidFill>
                  <a:srgbClr val="FF7900"/>
                </a:solidFill>
              </a:rPr>
              <a:t>Interne Orange</a:t>
            </a:r>
          </a:p>
        </p:txBody>
      </p:sp>
    </p:spTree>
    <p:extLst>
      <p:ext uri="{BB962C8B-B14F-4D97-AF65-F5344CB8AC3E}">
        <p14:creationId xmlns:p14="http://schemas.microsoft.com/office/powerpoint/2010/main" val="175234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69" y="268287"/>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
        <p:nvSpPr>
          <p:cNvPr id="4" name="TextBox 3"/>
          <p:cNvSpPr txBox="1"/>
          <p:nvPr userDrawn="1"/>
        </p:nvSpPr>
        <p:spPr>
          <a:xfrm>
            <a:off x="619545" y="4749146"/>
            <a:ext cx="738985" cy="123111"/>
          </a:xfrm>
          <a:prstGeom prst="rect">
            <a:avLst/>
          </a:prstGeom>
          <a:noFill/>
        </p:spPr>
        <p:txBody>
          <a:bodyPr wrap="none" lIns="0" tIns="0" rIns="0" bIns="0" rtlCol="0">
            <a:spAutoFit/>
          </a:bodyPr>
          <a:lstStyle/>
          <a:p>
            <a:r>
              <a:rPr lang="fr-FR" sz="800" dirty="0">
                <a:solidFill>
                  <a:srgbClr val="FF7900"/>
                </a:solidFill>
              </a:rPr>
              <a:t>Interne Orange</a:t>
            </a:r>
          </a:p>
        </p:txBody>
      </p:sp>
    </p:spTree>
    <p:extLst>
      <p:ext uri="{BB962C8B-B14F-4D97-AF65-F5344CB8AC3E}">
        <p14:creationId xmlns:p14="http://schemas.microsoft.com/office/powerpoint/2010/main" val="2695126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5"/>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
        <p:nvSpPr>
          <p:cNvPr id="7" name="TextBox 6"/>
          <p:cNvSpPr txBox="1"/>
          <p:nvPr userDrawn="1"/>
        </p:nvSpPr>
        <p:spPr>
          <a:xfrm>
            <a:off x="619545" y="4749146"/>
            <a:ext cx="738985" cy="123111"/>
          </a:xfrm>
          <a:prstGeom prst="rect">
            <a:avLst/>
          </a:prstGeom>
          <a:noFill/>
        </p:spPr>
        <p:txBody>
          <a:bodyPr wrap="none" lIns="0" tIns="0" rIns="0" bIns="0" rtlCol="0">
            <a:spAutoFit/>
          </a:bodyPr>
          <a:lstStyle/>
          <a:p>
            <a:r>
              <a:rPr lang="fr-FR" sz="800" dirty="0">
                <a:solidFill>
                  <a:srgbClr val="FF7900"/>
                </a:solidFill>
              </a:rPr>
              <a:t>Interne Orange</a:t>
            </a:r>
          </a:p>
        </p:txBody>
      </p:sp>
    </p:spTree>
    <p:extLst>
      <p:ext uri="{BB962C8B-B14F-4D97-AF65-F5344CB8AC3E}">
        <p14:creationId xmlns:p14="http://schemas.microsoft.com/office/powerpoint/2010/main" val="41557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
        <p:nvSpPr>
          <p:cNvPr id="5" name="TextBox 4"/>
          <p:cNvSpPr txBox="1"/>
          <p:nvPr userDrawn="1"/>
        </p:nvSpPr>
        <p:spPr>
          <a:xfrm>
            <a:off x="619545" y="4749146"/>
            <a:ext cx="738985" cy="123111"/>
          </a:xfrm>
          <a:prstGeom prst="rect">
            <a:avLst/>
          </a:prstGeom>
          <a:noFill/>
        </p:spPr>
        <p:txBody>
          <a:bodyPr wrap="none" lIns="0" tIns="0" rIns="0" bIns="0" rtlCol="0">
            <a:spAutoFit/>
          </a:bodyPr>
          <a:lstStyle/>
          <a:p>
            <a:r>
              <a:rPr lang="fr-FR" sz="800" dirty="0">
                <a:solidFill>
                  <a:srgbClr val="FF7900"/>
                </a:solidFill>
              </a:rPr>
              <a:t>Interne Orange</a:t>
            </a:r>
          </a:p>
        </p:txBody>
      </p:sp>
    </p:spTree>
    <p:extLst>
      <p:ext uri="{BB962C8B-B14F-4D97-AF65-F5344CB8AC3E}">
        <p14:creationId xmlns:p14="http://schemas.microsoft.com/office/powerpoint/2010/main" val="313534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242479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TextBox 2"/>
          <p:cNvSpPr txBox="1"/>
          <p:nvPr userDrawn="1"/>
        </p:nvSpPr>
        <p:spPr>
          <a:xfrm>
            <a:off x="619545" y="4749146"/>
            <a:ext cx="738985" cy="123111"/>
          </a:xfrm>
          <a:prstGeom prst="rect">
            <a:avLst/>
          </a:prstGeom>
          <a:noFill/>
        </p:spPr>
        <p:txBody>
          <a:bodyPr wrap="none" lIns="0" tIns="0" rIns="0" bIns="0" rtlCol="0">
            <a:spAutoFit/>
          </a:bodyPr>
          <a:lstStyle/>
          <a:p>
            <a:r>
              <a:rPr lang="fr-FR" sz="800" dirty="0">
                <a:solidFill>
                  <a:srgbClr val="FF7900"/>
                </a:solidFill>
              </a:rPr>
              <a:t>Interne Orange</a:t>
            </a:r>
          </a:p>
        </p:txBody>
      </p:sp>
    </p:spTree>
    <p:extLst>
      <p:ext uri="{BB962C8B-B14F-4D97-AF65-F5344CB8AC3E}">
        <p14:creationId xmlns:p14="http://schemas.microsoft.com/office/powerpoint/2010/main" val="416872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9" y="2704144"/>
            <a:ext cx="4831185" cy="966156"/>
          </a:xfrm>
        </p:spPr>
        <p:txBody>
          <a:bodyPr/>
          <a:lstStyle>
            <a:lvl1pPr marL="0" indent="0" algn="l">
              <a:buNone/>
              <a:defRPr baseline="0">
                <a:solidFill>
                  <a:schemeClr val="tx1"/>
                </a:solidFill>
              </a:defRPr>
            </a:lvl1pPr>
            <a:lvl2pPr marL="180966" indent="-180966" algn="l">
              <a:buClr>
                <a:schemeClr val="bg2"/>
              </a:buClr>
              <a:buSzPct val="100000"/>
              <a:buFont typeface="Wingdings" panose="05000000000000000000" pitchFamily="2" charset="2"/>
              <a:buChar char="§"/>
              <a:defRPr>
                <a:solidFill>
                  <a:schemeClr val="tx1"/>
                </a:solidFill>
              </a:defRPr>
            </a:lvl2pPr>
            <a:lvl3pPr marL="406780" indent="-19079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70" indent="-172792" algn="l">
              <a:spcBef>
                <a:spcPts val="24"/>
              </a:spcBef>
              <a:buFont typeface="Helvetica 55 Roman" panose="020B0604020202020204" pitchFamily="34" charset="0"/>
              <a:buChar char="–"/>
              <a:defRPr>
                <a:solidFill>
                  <a:schemeClr val="tx1"/>
                </a:solidFill>
              </a:defRPr>
            </a:lvl4pPr>
            <a:lvl5pPr marL="799160" indent="-190790" algn="l">
              <a:buFont typeface="Helvetica 55 Roman" panose="020B0604020202020204" pitchFamily="34" charset="0"/>
              <a:buChar char="–"/>
              <a:defRPr>
                <a:solidFill>
                  <a:schemeClr val="tx1"/>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3321861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202409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7" y="2704144"/>
            <a:ext cx="4831185" cy="966156"/>
          </a:xfrm>
        </p:spPr>
        <p:txBody>
          <a:bodyPr/>
          <a:lstStyle>
            <a:lvl1pPr marL="0" indent="0" algn="l">
              <a:buNone/>
              <a:defRPr baseline="0">
                <a:solidFill>
                  <a:schemeClr val="tx1"/>
                </a:solidFill>
              </a:defRPr>
            </a:lvl1pPr>
            <a:lvl2pPr marL="180975" indent="-180975" algn="l">
              <a:buClr>
                <a:schemeClr val="bg2"/>
              </a:buClr>
              <a:buSzPct val="100000"/>
              <a:buFont typeface="Wingdings" panose="05000000000000000000" pitchFamily="2" charset="2"/>
              <a:buChar char="§"/>
              <a:defRPr>
                <a:solidFill>
                  <a:schemeClr val="tx1"/>
                </a:solidFill>
              </a:defRPr>
            </a:lvl2pPr>
            <a:lvl3pPr marL="406800" indent="-19080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4000" indent="-172800" algn="l">
              <a:spcBef>
                <a:spcPts val="24"/>
              </a:spcBef>
              <a:buFont typeface="Helvetica 55 Roman" panose="020B0604020202020204" pitchFamily="34" charset="0"/>
              <a:buChar char="–"/>
              <a:defRPr>
                <a:solidFill>
                  <a:schemeClr val="tx1"/>
                </a:solidFill>
              </a:defRPr>
            </a:lvl4pPr>
            <a:lvl5pPr marL="799200" indent="-190800" algn="l">
              <a:buFont typeface="Helvetica 55 Roman" panose="020B0604020202020204" pitchFamily="34" charset="0"/>
              <a:buChar char="–"/>
              <a:defRPr>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29877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314325" y="268287"/>
            <a:ext cx="8515349" cy="4281487"/>
          </a:xfrm>
        </p:spPr>
        <p:txBody>
          <a:bodyPr/>
          <a:lstStyle>
            <a:lvl1pPr>
              <a:spcBef>
                <a:spcPts val="0"/>
              </a:spcBef>
              <a:defRPr sz="3000"/>
            </a:lvl1pPr>
            <a:lvl2pPr marL="358775" indent="-358775">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1770209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69" y="268287"/>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Tree>
    <p:extLst>
      <p:ext uri="{BB962C8B-B14F-4D97-AF65-F5344CB8AC3E}">
        <p14:creationId xmlns:p14="http://schemas.microsoft.com/office/powerpoint/2010/main" val="3031413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5"/>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377737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Tree>
    <p:extLst>
      <p:ext uri="{BB962C8B-B14F-4D97-AF65-F5344CB8AC3E}">
        <p14:creationId xmlns:p14="http://schemas.microsoft.com/office/powerpoint/2010/main" val="350025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130153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270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6"/>
            <a:ext cx="7772400" cy="69249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2880361"/>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12/2020</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N°›</a:t>
            </a:fld>
            <a:endParaRPr>
              <a:solidFill>
                <a:prstClr val="black">
                  <a:tint val="75000"/>
                </a:prstClr>
              </a:solidFill>
            </a:endParaRPr>
          </a:p>
        </p:txBody>
      </p:sp>
    </p:spTree>
    <p:extLst>
      <p:ext uri="{BB962C8B-B14F-4D97-AF65-F5344CB8AC3E}">
        <p14:creationId xmlns:p14="http://schemas.microsoft.com/office/powerpoint/2010/main" val="7992637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35280" y="109931"/>
            <a:ext cx="8073441" cy="307777"/>
          </a:xfrm>
        </p:spPr>
        <p:txBody>
          <a:bodyPr lIns="0" tIns="0" rIns="0" bIns="0"/>
          <a:lstStyle>
            <a:lvl1pPr>
              <a:defRPr sz="2000" b="1" i="0">
                <a:solidFill>
                  <a:srgbClr val="FF7900"/>
                </a:solidFill>
                <a:latin typeface="Helvetica Neue"/>
                <a:cs typeface="Helvetica Neue"/>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12/2020</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N°›</a:t>
            </a:fld>
            <a:endParaRPr>
              <a:solidFill>
                <a:prstClr val="black">
                  <a:tint val="75000"/>
                </a:prstClr>
              </a:solidFill>
            </a:endParaRPr>
          </a:p>
        </p:txBody>
      </p:sp>
    </p:spTree>
    <p:extLst>
      <p:ext uri="{BB962C8B-B14F-4D97-AF65-F5344CB8AC3E}">
        <p14:creationId xmlns:p14="http://schemas.microsoft.com/office/powerpoint/2010/main" val="11312251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5225190"/>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41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2"/>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5" y="1184277"/>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18948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35280" y="109931"/>
            <a:ext cx="8073441" cy="307777"/>
          </a:xfrm>
        </p:spPr>
        <p:txBody>
          <a:bodyPr lIns="0" tIns="0" rIns="0" bIns="0"/>
          <a:lstStyle>
            <a:lvl1pPr>
              <a:defRPr sz="2000" b="1" i="0">
                <a:solidFill>
                  <a:srgbClr val="FF7900"/>
                </a:solidFill>
                <a:latin typeface="Helvetica Neue"/>
                <a:cs typeface="Helvetica Neue"/>
              </a:defRPr>
            </a:lvl1pPr>
          </a:lstStyle>
          <a:p>
            <a:endParaRPr/>
          </a:p>
        </p:txBody>
      </p:sp>
      <p:sp>
        <p:nvSpPr>
          <p:cNvPr id="3" name="Holder 3"/>
          <p:cNvSpPr>
            <a:spLocks noGrp="1"/>
          </p:cNvSpPr>
          <p:nvPr>
            <p:ph sz="half" idx="2"/>
          </p:nvPr>
        </p:nvSpPr>
        <p:spPr>
          <a:xfrm>
            <a:off x="457200" y="1183006"/>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6"/>
            <a:ext cx="397764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12/2020</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N°›</a:t>
            </a:fld>
            <a:endParaRPr>
              <a:solidFill>
                <a:prstClr val="black">
                  <a:tint val="75000"/>
                </a:prstClr>
              </a:solidFill>
            </a:endParaRPr>
          </a:p>
        </p:txBody>
      </p:sp>
    </p:spTree>
    <p:extLst>
      <p:ext uri="{BB962C8B-B14F-4D97-AF65-F5344CB8AC3E}">
        <p14:creationId xmlns:p14="http://schemas.microsoft.com/office/powerpoint/2010/main" val="125550125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16" name="bk object 16"/>
          <p:cNvSpPr/>
          <p:nvPr/>
        </p:nvSpPr>
        <p:spPr>
          <a:xfrm>
            <a:off x="0" y="1"/>
            <a:ext cx="9144000" cy="5143211"/>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000000"/>
          </a:solidFill>
        </p:spPr>
        <p:txBody>
          <a:bodyPr wrap="square" lIns="0" tIns="0" rIns="0" bIns="0" rtlCol="0"/>
          <a:lstStyle/>
          <a:p>
            <a:pPr defTabSz="415837"/>
            <a:endParaRPr sz="800">
              <a:solidFill>
                <a:prstClr val="black"/>
              </a:solidFill>
            </a:endParaRPr>
          </a:p>
        </p:txBody>
      </p:sp>
      <p:sp>
        <p:nvSpPr>
          <p:cNvPr id="2" name="Holder 2"/>
          <p:cNvSpPr>
            <a:spLocks noGrp="1"/>
          </p:cNvSpPr>
          <p:nvPr>
            <p:ph type="title"/>
          </p:nvPr>
        </p:nvSpPr>
        <p:spPr>
          <a:xfrm>
            <a:off x="535280" y="109931"/>
            <a:ext cx="8073441" cy="307777"/>
          </a:xfrm>
        </p:spPr>
        <p:txBody>
          <a:bodyPr lIns="0" tIns="0" rIns="0" bIns="0"/>
          <a:lstStyle>
            <a:lvl1pPr>
              <a:defRPr sz="2000" b="1" i="0">
                <a:solidFill>
                  <a:srgbClr val="FF7900"/>
                </a:solidFill>
                <a:latin typeface="Helvetica Neue"/>
                <a:cs typeface="Helvetica Neue"/>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12/2020</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N°›</a:t>
            </a:fld>
            <a:endParaRPr>
              <a:solidFill>
                <a:prstClr val="black">
                  <a:tint val="75000"/>
                </a:prstClr>
              </a:solidFill>
            </a:endParaRPr>
          </a:p>
        </p:txBody>
      </p:sp>
    </p:spTree>
    <p:extLst>
      <p:ext uri="{BB962C8B-B14F-4D97-AF65-F5344CB8AC3E}">
        <p14:creationId xmlns:p14="http://schemas.microsoft.com/office/powerpoint/2010/main" val="121112699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2/12/2020</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N°›</a:t>
            </a:fld>
            <a:endParaRPr>
              <a:solidFill>
                <a:prstClr val="black">
                  <a:tint val="75000"/>
                </a:prstClr>
              </a:solidFill>
            </a:endParaRPr>
          </a:p>
        </p:txBody>
      </p:sp>
    </p:spTree>
    <p:extLst>
      <p:ext uri="{BB962C8B-B14F-4D97-AF65-F5344CB8AC3E}">
        <p14:creationId xmlns:p14="http://schemas.microsoft.com/office/powerpoint/2010/main" val="103028953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x">
  <p:cSld name="Titre et contenu">
    <p:spTree>
      <p:nvGrpSpPr>
        <p:cNvPr id="1" name=""/>
        <p:cNvGrpSpPr/>
        <p:nvPr/>
      </p:nvGrpSpPr>
      <p:grpSpPr>
        <a:xfrm>
          <a:off x="0" y="0"/>
          <a:ext cx="0" cy="0"/>
          <a:chOff x="0" y="0"/>
          <a:chExt cx="0" cy="0"/>
        </a:xfrm>
      </p:grpSpPr>
      <p:sp>
        <p:nvSpPr>
          <p:cNvPr id="20" name="Texte du titre"/>
          <p:cNvSpPr>
            <a:spLocks noGrp="1"/>
          </p:cNvSpPr>
          <p:nvPr>
            <p:ph type="title"/>
          </p:nvPr>
        </p:nvSpPr>
        <p:spPr>
          <a:prstGeom prst="rect">
            <a:avLst/>
          </a:prstGeom>
        </p:spPr>
        <p:txBody>
          <a:bodyPr/>
          <a:lstStyle/>
          <a:p>
            <a:r>
              <a:t>Texte du titre</a:t>
            </a:r>
          </a:p>
        </p:txBody>
      </p:sp>
      <p:sp>
        <p:nvSpPr>
          <p:cNvPr id="21"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22"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3570283231"/>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re et message clé">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39728" y="1304926"/>
            <a:ext cx="8470899" cy="3165475"/>
          </a:xfrm>
        </p:spPr>
        <p:txBody>
          <a:bodyPr/>
          <a:lstStyle>
            <a:lvl1pPr>
              <a:lnSpc>
                <a:spcPct val="85000"/>
              </a:lnSpc>
              <a:spcAft>
                <a:spcPts val="2400"/>
              </a:spcAft>
              <a:defRPr sz="3000" baseline="0">
                <a:solidFill>
                  <a:schemeClr val="tx1"/>
                </a:solidFill>
                <a:latin typeface="Helvetica 75 Bold" panose="020B0804020202020204" pitchFamily="34" charset="0"/>
              </a:defRPr>
            </a:lvl1pPr>
            <a:lvl2pPr>
              <a:lnSpc>
                <a:spcPct val="90000"/>
              </a:lnSpc>
              <a:spcAft>
                <a:spcPts val="800"/>
              </a:spcAft>
              <a:defRPr sz="1400">
                <a:solidFill>
                  <a:schemeClr val="tx1"/>
                </a:solidFill>
                <a:latin typeface="Helvetica 75 Bold" panose="020B0804020202020204" pitchFamily="34" charset="0"/>
              </a:defRPr>
            </a:lvl2pPr>
            <a:lvl3pPr>
              <a:lnSpc>
                <a:spcPct val="90000"/>
              </a:lnSpc>
              <a:spcAft>
                <a:spcPts val="800"/>
              </a:spcAft>
              <a:defRPr sz="1400">
                <a:solidFill>
                  <a:schemeClr val="tx1"/>
                </a:solidFill>
                <a:latin typeface="Helvetica 75 Bold" panose="020B0804020202020204" pitchFamily="34" charset="0"/>
              </a:defRPr>
            </a:lvl3pPr>
            <a:lvl4pPr>
              <a:lnSpc>
                <a:spcPct val="90000"/>
              </a:lnSpc>
              <a:spcAft>
                <a:spcPts val="800"/>
              </a:spcAft>
              <a:defRPr sz="1400">
                <a:solidFill>
                  <a:schemeClr val="tx1"/>
                </a:solidFill>
                <a:latin typeface="Helvetica 75 Bold" panose="020B0804020202020204" pitchFamily="34" charset="0"/>
              </a:defRPr>
            </a:lvl4pPr>
            <a:lvl5pPr>
              <a:lnSpc>
                <a:spcPct val="90000"/>
              </a:lnSpc>
              <a:spcAft>
                <a:spcPts val="800"/>
              </a:spcAft>
              <a:defRPr sz="1400">
                <a:solidFill>
                  <a:schemeClr val="tx1"/>
                </a:solidFill>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Title 1"/>
          <p:cNvSpPr>
            <a:spLocks noGrp="1"/>
          </p:cNvSpPr>
          <p:nvPr>
            <p:ph type="title" hasCustomPrompt="1"/>
          </p:nvPr>
        </p:nvSpPr>
        <p:spPr>
          <a:xfrm>
            <a:off x="339725" y="339725"/>
            <a:ext cx="8470900" cy="623889"/>
          </a:xfrm>
        </p:spPr>
        <p:txBody>
          <a:bodyPr/>
          <a:lstStyle>
            <a:lvl1pPr>
              <a:lnSpc>
                <a:spcPct val="90000"/>
              </a:lnSpc>
              <a:spcAft>
                <a:spcPts val="0"/>
              </a:spcAft>
              <a:defRPr sz="2000">
                <a:solidFill>
                  <a:srgbClr val="FF6600"/>
                </a:solidFill>
                <a:latin typeface="Helvetica 75 Bold" panose="020B0804020202020204" pitchFamily="34" charset="0"/>
              </a:defRPr>
            </a:lvl1pPr>
          </a:lstStyle>
          <a:p>
            <a:r>
              <a:rPr lang="fr-FR" dirty="0"/>
              <a:t>Modifiez le titre</a:t>
            </a:r>
            <a:endParaRPr lang="en-US" dirty="0"/>
          </a:p>
        </p:txBody>
      </p:sp>
    </p:spTree>
    <p:extLst>
      <p:ext uri="{BB962C8B-B14F-4D97-AF65-F5344CB8AC3E}">
        <p14:creationId xmlns:p14="http://schemas.microsoft.com/office/powerpoint/2010/main" val="887145352"/>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spcAft>
                <a:spcPts val="0"/>
              </a:spcAft>
              <a:defRPr>
                <a:solidFill>
                  <a:srgbClr val="FF6600"/>
                </a:solidFill>
                <a:latin typeface="Helvetica 75 Bold" panose="020B0804020202020204" pitchFamily="34" charset="0"/>
              </a:defRPr>
            </a:lvl1pPr>
          </a:lstStyle>
          <a:p>
            <a:r>
              <a:rPr lang="fr-FR" dirty="0"/>
              <a:t>Modifiez le titre</a:t>
            </a:r>
            <a:endParaRPr lang="en-US" dirty="0"/>
          </a:p>
        </p:txBody>
      </p:sp>
    </p:spTree>
    <p:extLst>
      <p:ext uri="{BB962C8B-B14F-4D97-AF65-F5344CB8AC3E}">
        <p14:creationId xmlns:p14="http://schemas.microsoft.com/office/powerpoint/2010/main" val="1977258640"/>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2179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8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6" y="1181101"/>
            <a:ext cx="8515350" cy="3370262"/>
          </a:xfrm>
        </p:spPr>
        <p:txBody>
          <a:bodyPr/>
          <a:lstStyle>
            <a:lvl1pPr>
              <a:defRPr/>
            </a:lvl1pPr>
            <a:lvl2pPr>
              <a:defRPr sz="1200">
                <a:solidFill>
                  <a:schemeClr val="tx1"/>
                </a:solidFill>
              </a:defRPr>
            </a:lvl2pPr>
            <a:lvl3pPr>
              <a:defRPr sz="1200">
                <a:solidFill>
                  <a:schemeClr val="tx1"/>
                </a:solidFill>
              </a:defRPr>
            </a:lvl3pPr>
            <a:lvl4pPr>
              <a:defRPr sz="1200">
                <a:solidFill>
                  <a:schemeClr val="tx1"/>
                </a:solidFill>
              </a:defRPr>
            </a:lvl4pPr>
            <a:lvl5pPr marL="595313" indent="-173038">
              <a:buFont typeface="Arial" panose="020B0604020202020204" pitchFamily="34" charset="0"/>
              <a:buChar char="•"/>
              <a:defRPr sz="1100">
                <a:solidFill>
                  <a:schemeClr val="tx1"/>
                </a:solidFill>
              </a:defRPr>
            </a:lvl5pPr>
            <a:lvl6pPr>
              <a:defRPr/>
            </a:lvl6pPr>
          </a:lstStyle>
          <a:p>
            <a:pPr lvl="0"/>
            <a:r>
              <a:rPr lang="en-US" dirty="0"/>
              <a:t>Click to edit text</a:t>
            </a:r>
          </a:p>
          <a:p>
            <a:pPr lvl="2"/>
            <a:r>
              <a:rPr lang="en-US" dirty="0"/>
              <a:t>Second level</a:t>
            </a:r>
          </a:p>
          <a:p>
            <a:pPr lvl="3"/>
            <a:r>
              <a:rPr lang="en-US" dirty="0"/>
              <a:t>Third level</a:t>
            </a:r>
          </a:p>
          <a:p>
            <a:pPr lvl="4"/>
            <a:r>
              <a:rPr lang="en-US" dirty="0"/>
              <a:t>Fourth level</a:t>
            </a:r>
          </a:p>
        </p:txBody>
      </p:sp>
      <p:sp>
        <p:nvSpPr>
          <p:cNvPr id="2" name="Title 1"/>
          <p:cNvSpPr>
            <a:spLocks noGrp="1"/>
          </p:cNvSpPr>
          <p:nvPr>
            <p:ph type="title" hasCustomPrompt="1"/>
          </p:nvPr>
        </p:nvSpPr>
        <p:spPr/>
        <p:txBody>
          <a:bodyPr/>
          <a:lstStyle>
            <a:lvl1pPr>
              <a:defRPr/>
            </a:lvl1pPr>
          </a:lstStyle>
          <a:p>
            <a:r>
              <a:rPr lang="en-US" dirty="0"/>
              <a:t>Click to edit title</a:t>
            </a:r>
            <a:endParaRPr lang="en-GB" dirty="0"/>
          </a:p>
        </p:txBody>
      </p:sp>
      <p:sp>
        <p:nvSpPr>
          <p:cNvPr id="4" name="TextBox 3"/>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54883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3535" y="267618"/>
            <a:ext cx="4829289" cy="2304131"/>
          </a:xfrm>
        </p:spPr>
        <p:txBody>
          <a:bodyPr>
            <a:noAutofit/>
          </a:bodyPr>
          <a:lstStyle>
            <a:lvl1pPr algn="l">
              <a:lnSpc>
                <a:spcPct val="85000"/>
              </a:lnSpc>
              <a:defRPr sz="5500" baseline="0">
                <a:solidFill>
                  <a:schemeClr val="tx1"/>
                </a:solidFill>
              </a:defRPr>
            </a:lvl1pPr>
          </a:lstStyle>
          <a:p>
            <a:r>
              <a:rPr lang="en-US" dirty="0"/>
              <a:t>Click to edit title</a:t>
            </a:r>
            <a:endParaRPr lang="en-GB" dirty="0"/>
          </a:p>
        </p:txBody>
      </p:sp>
      <p:sp>
        <p:nvSpPr>
          <p:cNvPr id="17" name="Text Placeholder 17"/>
          <p:cNvSpPr>
            <a:spLocks noGrp="1"/>
          </p:cNvSpPr>
          <p:nvPr>
            <p:ph type="body" sz="quarter" idx="16" hasCustomPrompt="1"/>
          </p:nvPr>
        </p:nvSpPr>
        <p:spPr>
          <a:xfrm>
            <a:off x="5800726" y="266701"/>
            <a:ext cx="3028950" cy="3403600"/>
          </a:xfrm>
        </p:spPr>
        <p:txBody>
          <a:bodyPr/>
          <a:lstStyle>
            <a:lvl1pPr>
              <a:defRPr/>
            </a:lvl1pPr>
          </a:lstStyle>
          <a:p>
            <a:pPr lvl="0"/>
            <a:r>
              <a:rPr lang="en-US" dirty="0"/>
              <a:t>Click to edit text</a:t>
            </a:r>
          </a:p>
          <a:p>
            <a:pPr lvl="1"/>
            <a:r>
              <a:rPr lang="en-US" dirty="0"/>
              <a:t>Second level</a:t>
            </a:r>
          </a:p>
        </p:txBody>
      </p:sp>
      <p:sp>
        <p:nvSpPr>
          <p:cNvPr id="16" name="Subtitle 2"/>
          <p:cNvSpPr>
            <a:spLocks noGrp="1"/>
          </p:cNvSpPr>
          <p:nvPr>
            <p:ph type="subTitle" idx="1" hasCustomPrompt="1"/>
          </p:nvPr>
        </p:nvSpPr>
        <p:spPr>
          <a:xfrm>
            <a:off x="314325" y="2704144"/>
            <a:ext cx="4827547" cy="966156"/>
          </a:xfrm>
        </p:spPr>
        <p:txBody>
          <a:bodyPr/>
          <a:lstStyle>
            <a:lvl1pPr marL="0" indent="0" algn="l">
              <a:buNone/>
              <a:defRPr baseline="0">
                <a:solidFill>
                  <a:schemeClr val="tx1"/>
                </a:solidFill>
              </a:defRPr>
            </a:lvl1pPr>
            <a:lvl2pPr marL="180975" indent="-180975" algn="l">
              <a:buClr>
                <a:schemeClr val="bg2"/>
              </a:buClr>
              <a:buSzPct val="100000"/>
              <a:buFont typeface="Wingdings" panose="05000000000000000000" pitchFamily="2" charset="2"/>
              <a:buChar char="§"/>
              <a:defRPr>
                <a:solidFill>
                  <a:schemeClr val="tx1"/>
                </a:solidFill>
              </a:defRPr>
            </a:lvl2pPr>
            <a:lvl3pPr marL="406800" indent="-19080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4000" indent="-172800" algn="l">
              <a:spcBef>
                <a:spcPts val="24"/>
              </a:spcBef>
              <a:buFont typeface="Helvetica 55 Roman" panose="020B0604020202020204" pitchFamily="34" charset="0"/>
              <a:buChar char="–"/>
              <a:defRPr>
                <a:solidFill>
                  <a:schemeClr val="tx1"/>
                </a:solidFill>
              </a:defRPr>
            </a:lvl4pPr>
            <a:lvl5pPr marL="799200" indent="-190800" algn="l">
              <a:buFont typeface="Helvetica 55 Roman" panose="020B0604020202020204" pitchFamily="34" charset="0"/>
              <a:buChar char="–"/>
              <a:defRPr>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presenter name</a:t>
            </a:r>
          </a:p>
        </p:txBody>
      </p:sp>
      <p:grpSp>
        <p:nvGrpSpPr>
          <p:cNvPr id="3" name="Group 2"/>
          <p:cNvGrpSpPr/>
          <p:nvPr userDrawn="1"/>
        </p:nvGrpSpPr>
        <p:grpSpPr>
          <a:xfrm>
            <a:off x="313535" y="4233863"/>
            <a:ext cx="612775" cy="612775"/>
            <a:chOff x="313535" y="4233863"/>
            <a:chExt cx="612775" cy="612775"/>
          </a:xfrm>
        </p:grpSpPr>
        <p:sp>
          <p:nvSpPr>
            <p:cNvPr id="50"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3"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4"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135209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6420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2"/>
          <p:cNvSpPr>
            <a:spLocks noGrp="1"/>
          </p:cNvSpPr>
          <p:nvPr>
            <p:ph idx="1" hasCustomPrompt="1"/>
          </p:nvPr>
        </p:nvSpPr>
        <p:spPr>
          <a:xfrm>
            <a:off x="314325" y="267494"/>
            <a:ext cx="8515349" cy="4283869"/>
          </a:xfrm>
        </p:spPr>
        <p:txBody>
          <a:bodyPr/>
          <a:lstStyle>
            <a:lvl1pPr>
              <a:spcBef>
                <a:spcPts val="0"/>
              </a:spcBef>
              <a:defRPr sz="3000"/>
            </a:lvl1pPr>
            <a:lvl2pPr marL="361950" indent="-361950">
              <a:spcBef>
                <a:spcPts val="0"/>
              </a:spcBef>
              <a:buClrTx/>
              <a:buSzPct val="100000"/>
              <a:buFont typeface="+mj-lt"/>
              <a:buAutoNum type="arabicPeriod"/>
              <a:defRPr sz="3000"/>
            </a:lvl2pPr>
            <a:lvl3pPr>
              <a:defRPr sz="1800"/>
            </a:lvl3pPr>
            <a:lvl4pPr>
              <a:defRPr sz="1800"/>
            </a:lvl4pPr>
            <a:lvl5pPr>
              <a:defRPr sz="1800"/>
            </a:lvl5pPr>
          </a:lstStyle>
          <a:p>
            <a:pPr lvl="0"/>
            <a:r>
              <a:rPr lang="en-US" dirty="0"/>
              <a:t>Click to edit contents</a:t>
            </a:r>
          </a:p>
          <a:p>
            <a:pPr lvl="1"/>
            <a:r>
              <a:rPr lang="en-US" dirty="0"/>
              <a:t>Second level</a:t>
            </a:r>
          </a:p>
        </p:txBody>
      </p:sp>
      <p:sp>
        <p:nvSpPr>
          <p:cNvPr id="4" name="TextBox 3"/>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425841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69" y="268288"/>
            <a:ext cx="6096839" cy="4283075"/>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en-US" dirty="0"/>
              <a:t>Click to edit section number</a:t>
            </a:r>
          </a:p>
          <a:p>
            <a:pPr lvl="1"/>
            <a:r>
              <a:rPr lang="en-US" dirty="0"/>
              <a:t>Second level</a:t>
            </a:r>
          </a:p>
        </p:txBody>
      </p:sp>
      <p:sp>
        <p:nvSpPr>
          <p:cNvPr id="4" name="TextBox 3"/>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383800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90"/>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9" y="2704144"/>
            <a:ext cx="4831185" cy="966156"/>
          </a:xfrm>
        </p:spPr>
        <p:txBody>
          <a:bodyPr/>
          <a:lstStyle>
            <a:lvl1pPr marL="0" indent="0" algn="l">
              <a:buNone/>
              <a:defRPr baseline="0">
                <a:solidFill>
                  <a:schemeClr val="tx1"/>
                </a:solidFill>
              </a:defRPr>
            </a:lvl1pPr>
            <a:lvl2pPr marL="180966" indent="-180966" algn="l">
              <a:buClr>
                <a:schemeClr val="bg2"/>
              </a:buClr>
              <a:buSzPct val="100000"/>
              <a:buFont typeface="Wingdings" panose="05000000000000000000" pitchFamily="2" charset="2"/>
              <a:buChar char="§"/>
              <a:defRPr>
                <a:solidFill>
                  <a:schemeClr val="tx1"/>
                </a:solidFill>
              </a:defRPr>
            </a:lvl2pPr>
            <a:lvl3pPr marL="406780" indent="-19079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70" indent="-172792" algn="l">
              <a:spcBef>
                <a:spcPts val="24"/>
              </a:spcBef>
              <a:buFont typeface="Helvetica 55 Roman" panose="020B0604020202020204" pitchFamily="34" charset="0"/>
              <a:buChar char="–"/>
              <a:defRPr>
                <a:solidFill>
                  <a:schemeClr val="tx1"/>
                </a:solidFill>
              </a:defRPr>
            </a:lvl4pPr>
            <a:lvl5pPr marL="799160" indent="-190790" algn="l">
              <a:buFont typeface="Helvetica 55 Roman" panose="020B0604020202020204" pitchFamily="34" charset="0"/>
              <a:buChar char="–"/>
              <a:defRPr>
                <a:solidFill>
                  <a:schemeClr val="tx1"/>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159891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3200" y="1181100"/>
            <a:ext cx="3968055" cy="3370262"/>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
        <p:nvSpPr>
          <p:cNvPr id="4" name="Content Placeholder 3"/>
          <p:cNvSpPr>
            <a:spLocks noGrp="1"/>
          </p:cNvSpPr>
          <p:nvPr>
            <p:ph sz="half" idx="2" hasCustomPrompt="1"/>
          </p:nvPr>
        </p:nvSpPr>
        <p:spPr>
          <a:xfrm>
            <a:off x="4864795" y="1181100"/>
            <a:ext cx="3964880" cy="3370262"/>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
        <p:nvSpPr>
          <p:cNvPr id="7" name="Title 6"/>
          <p:cNvSpPr>
            <a:spLocks noGrp="1"/>
          </p:cNvSpPr>
          <p:nvPr>
            <p:ph type="title" hasCustomPrompt="1"/>
          </p:nvPr>
        </p:nvSpPr>
        <p:spPr>
          <a:xfrm>
            <a:off x="313199" y="268288"/>
            <a:ext cx="8516475" cy="741362"/>
          </a:xfrm>
        </p:spPr>
        <p:txBody>
          <a:bodyPr/>
          <a:lstStyle>
            <a:lvl1pPr>
              <a:defRPr/>
            </a:lvl1pPr>
          </a:lstStyle>
          <a:p>
            <a:r>
              <a:rPr lang="en-US" dirty="0"/>
              <a:t>Click to edit title</a:t>
            </a:r>
            <a:endParaRPr lang="en-GB" dirty="0"/>
          </a:p>
        </p:txBody>
      </p:sp>
      <p:sp>
        <p:nvSpPr>
          <p:cNvPr id="6" name="TextBox 5"/>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1757431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88596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en-US" dirty="0"/>
              <a:t>Click to edit title</a:t>
            </a:r>
            <a:endParaRPr lang="en-GB" dirty="0"/>
          </a:p>
        </p:txBody>
      </p:sp>
      <p:sp>
        <p:nvSpPr>
          <p:cNvPr id="5" name="TextBox 4"/>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3903720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74758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23867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7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6" y="1181101"/>
            <a:ext cx="8515350" cy="3370262"/>
          </a:xfrm>
        </p:spPr>
        <p:txBody>
          <a:bodyPr/>
          <a:lstStyle>
            <a:lvl1pPr>
              <a:defRPr/>
            </a:lvl1pPr>
            <a:lvl2pPr>
              <a:defRPr sz="1200">
                <a:solidFill>
                  <a:schemeClr val="tx1"/>
                </a:solidFill>
              </a:defRPr>
            </a:lvl2pPr>
            <a:lvl3pPr>
              <a:defRPr sz="1200">
                <a:solidFill>
                  <a:schemeClr val="tx1"/>
                </a:solidFill>
              </a:defRPr>
            </a:lvl3pPr>
            <a:lvl4pPr>
              <a:defRPr sz="1200">
                <a:solidFill>
                  <a:schemeClr val="tx1"/>
                </a:solidFill>
              </a:defRPr>
            </a:lvl4pPr>
            <a:lvl5pPr marL="595313" indent="-173038">
              <a:buFont typeface="Arial" panose="020B0604020202020204" pitchFamily="34" charset="0"/>
              <a:buChar char="•"/>
              <a:defRPr sz="1100">
                <a:solidFill>
                  <a:schemeClr val="tx1"/>
                </a:solidFill>
              </a:defRPr>
            </a:lvl5pPr>
            <a:lvl6pPr>
              <a:defRPr/>
            </a:lvl6pPr>
          </a:lstStyle>
          <a:p>
            <a:pPr lvl="0"/>
            <a:r>
              <a:rPr lang="en-US" dirty="0"/>
              <a:t>Click to edit text</a:t>
            </a:r>
          </a:p>
          <a:p>
            <a:pPr lvl="2"/>
            <a:r>
              <a:rPr lang="en-US" dirty="0"/>
              <a:t>Second level</a:t>
            </a:r>
          </a:p>
          <a:p>
            <a:pPr lvl="3"/>
            <a:r>
              <a:rPr lang="en-US" dirty="0"/>
              <a:t>Third level</a:t>
            </a:r>
          </a:p>
          <a:p>
            <a:pPr lvl="4"/>
            <a:r>
              <a:rPr lang="en-US" dirty="0"/>
              <a:t>Fourth level</a:t>
            </a:r>
          </a:p>
        </p:txBody>
      </p:sp>
      <p:sp>
        <p:nvSpPr>
          <p:cNvPr id="2" name="Title 1"/>
          <p:cNvSpPr>
            <a:spLocks noGrp="1"/>
          </p:cNvSpPr>
          <p:nvPr>
            <p:ph type="title" hasCustomPrompt="1"/>
          </p:nvPr>
        </p:nvSpPr>
        <p:spPr/>
        <p:txBody>
          <a:bodyPr/>
          <a:lstStyle>
            <a:lvl1pPr>
              <a:defRPr/>
            </a:lvl1pPr>
          </a:lstStyle>
          <a:p>
            <a:r>
              <a:rPr lang="en-US" dirty="0"/>
              <a:t>Click to edit title</a:t>
            </a:r>
            <a:endParaRPr lang="en-GB" dirty="0"/>
          </a:p>
        </p:txBody>
      </p:sp>
      <p:sp>
        <p:nvSpPr>
          <p:cNvPr id="4" name="TextBox 3"/>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402249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3535" y="267618"/>
            <a:ext cx="4829289" cy="2304131"/>
          </a:xfrm>
        </p:spPr>
        <p:txBody>
          <a:bodyPr>
            <a:noAutofit/>
          </a:bodyPr>
          <a:lstStyle>
            <a:lvl1pPr algn="l">
              <a:lnSpc>
                <a:spcPct val="85000"/>
              </a:lnSpc>
              <a:defRPr sz="5500" baseline="0">
                <a:solidFill>
                  <a:schemeClr val="tx1"/>
                </a:solidFill>
              </a:defRPr>
            </a:lvl1pPr>
          </a:lstStyle>
          <a:p>
            <a:r>
              <a:rPr lang="en-US" dirty="0"/>
              <a:t>Click to edit title</a:t>
            </a:r>
            <a:endParaRPr lang="en-GB" dirty="0"/>
          </a:p>
        </p:txBody>
      </p:sp>
      <p:sp>
        <p:nvSpPr>
          <p:cNvPr id="17" name="Text Placeholder 17"/>
          <p:cNvSpPr>
            <a:spLocks noGrp="1"/>
          </p:cNvSpPr>
          <p:nvPr>
            <p:ph type="body" sz="quarter" idx="16" hasCustomPrompt="1"/>
          </p:nvPr>
        </p:nvSpPr>
        <p:spPr>
          <a:xfrm>
            <a:off x="5800726" y="266701"/>
            <a:ext cx="3028950" cy="3403600"/>
          </a:xfrm>
        </p:spPr>
        <p:txBody>
          <a:bodyPr/>
          <a:lstStyle>
            <a:lvl1pPr>
              <a:defRPr/>
            </a:lvl1pPr>
          </a:lstStyle>
          <a:p>
            <a:pPr lvl="0"/>
            <a:r>
              <a:rPr lang="en-US" dirty="0"/>
              <a:t>Click to edit text</a:t>
            </a:r>
          </a:p>
          <a:p>
            <a:pPr lvl="1"/>
            <a:r>
              <a:rPr lang="en-US" dirty="0"/>
              <a:t>Second level</a:t>
            </a:r>
          </a:p>
        </p:txBody>
      </p:sp>
      <p:sp>
        <p:nvSpPr>
          <p:cNvPr id="16" name="Subtitle 2"/>
          <p:cNvSpPr>
            <a:spLocks noGrp="1"/>
          </p:cNvSpPr>
          <p:nvPr>
            <p:ph type="subTitle" idx="1" hasCustomPrompt="1"/>
          </p:nvPr>
        </p:nvSpPr>
        <p:spPr>
          <a:xfrm>
            <a:off x="314325" y="2704144"/>
            <a:ext cx="4827547" cy="966156"/>
          </a:xfrm>
        </p:spPr>
        <p:txBody>
          <a:bodyPr/>
          <a:lstStyle>
            <a:lvl1pPr marL="0" indent="0" algn="l">
              <a:buNone/>
              <a:defRPr baseline="0">
                <a:solidFill>
                  <a:schemeClr val="tx1"/>
                </a:solidFill>
              </a:defRPr>
            </a:lvl1pPr>
            <a:lvl2pPr marL="180975" indent="-180975" algn="l">
              <a:buClr>
                <a:schemeClr val="bg2"/>
              </a:buClr>
              <a:buSzPct val="100000"/>
              <a:buFont typeface="Wingdings" panose="05000000000000000000" pitchFamily="2" charset="2"/>
              <a:buChar char="§"/>
              <a:defRPr>
                <a:solidFill>
                  <a:schemeClr val="tx1"/>
                </a:solidFill>
              </a:defRPr>
            </a:lvl2pPr>
            <a:lvl3pPr marL="406800" indent="-19080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4000" indent="-172800" algn="l">
              <a:spcBef>
                <a:spcPts val="24"/>
              </a:spcBef>
              <a:buFont typeface="Helvetica 55 Roman" panose="020B0604020202020204" pitchFamily="34" charset="0"/>
              <a:buChar char="–"/>
              <a:defRPr>
                <a:solidFill>
                  <a:schemeClr val="tx1"/>
                </a:solidFill>
              </a:defRPr>
            </a:lvl4pPr>
            <a:lvl5pPr marL="799200" indent="-190800" algn="l">
              <a:buFont typeface="Helvetica 55 Roman" panose="020B0604020202020204" pitchFamily="34" charset="0"/>
              <a:buChar char="–"/>
              <a:defRPr>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presenter name</a:t>
            </a:r>
          </a:p>
        </p:txBody>
      </p:sp>
      <p:grpSp>
        <p:nvGrpSpPr>
          <p:cNvPr id="3" name="Group 2"/>
          <p:cNvGrpSpPr/>
          <p:nvPr userDrawn="1"/>
        </p:nvGrpSpPr>
        <p:grpSpPr>
          <a:xfrm>
            <a:off x="313535" y="4233863"/>
            <a:ext cx="612775" cy="612775"/>
            <a:chOff x="313535" y="4233863"/>
            <a:chExt cx="612775" cy="612775"/>
          </a:xfrm>
        </p:grpSpPr>
        <p:sp>
          <p:nvSpPr>
            <p:cNvPr id="50"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3"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4"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1270749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05584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2"/>
          <p:cNvSpPr>
            <a:spLocks noGrp="1"/>
          </p:cNvSpPr>
          <p:nvPr>
            <p:ph idx="1" hasCustomPrompt="1"/>
          </p:nvPr>
        </p:nvSpPr>
        <p:spPr>
          <a:xfrm>
            <a:off x="314325" y="267494"/>
            <a:ext cx="8515349" cy="4283869"/>
          </a:xfrm>
        </p:spPr>
        <p:txBody>
          <a:bodyPr/>
          <a:lstStyle>
            <a:lvl1pPr>
              <a:spcBef>
                <a:spcPts val="0"/>
              </a:spcBef>
              <a:defRPr sz="3000"/>
            </a:lvl1pPr>
            <a:lvl2pPr marL="361950" indent="-361950">
              <a:spcBef>
                <a:spcPts val="0"/>
              </a:spcBef>
              <a:buClrTx/>
              <a:buSzPct val="100000"/>
              <a:buFont typeface="+mj-lt"/>
              <a:buAutoNum type="arabicPeriod"/>
              <a:defRPr sz="3000"/>
            </a:lvl2pPr>
            <a:lvl3pPr>
              <a:defRPr sz="1800"/>
            </a:lvl3pPr>
            <a:lvl4pPr>
              <a:defRPr sz="1800"/>
            </a:lvl4pPr>
            <a:lvl5pPr>
              <a:defRPr sz="1800"/>
            </a:lvl5pPr>
          </a:lstStyle>
          <a:p>
            <a:pPr lvl="0"/>
            <a:r>
              <a:rPr lang="en-US" dirty="0"/>
              <a:t>Click to edit contents</a:t>
            </a:r>
          </a:p>
          <a:p>
            <a:pPr lvl="1"/>
            <a:r>
              <a:rPr lang="en-US" dirty="0"/>
              <a:t>Second level</a:t>
            </a:r>
          </a:p>
        </p:txBody>
      </p:sp>
      <p:sp>
        <p:nvSpPr>
          <p:cNvPr id="4" name="TextBox 3"/>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85361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69" y="268288"/>
            <a:ext cx="6096839" cy="4283075"/>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en-US" dirty="0"/>
              <a:t>Click to edit section number</a:t>
            </a:r>
          </a:p>
          <a:p>
            <a:pPr lvl="1"/>
            <a:r>
              <a:rPr lang="en-US" dirty="0"/>
              <a:t>Second level</a:t>
            </a:r>
          </a:p>
        </p:txBody>
      </p:sp>
      <p:sp>
        <p:nvSpPr>
          <p:cNvPr id="4" name="TextBox 3"/>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223561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3200" y="1181100"/>
            <a:ext cx="3968055" cy="3370262"/>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
        <p:nvSpPr>
          <p:cNvPr id="4" name="Content Placeholder 3"/>
          <p:cNvSpPr>
            <a:spLocks noGrp="1"/>
          </p:cNvSpPr>
          <p:nvPr>
            <p:ph sz="half" idx="2" hasCustomPrompt="1"/>
          </p:nvPr>
        </p:nvSpPr>
        <p:spPr>
          <a:xfrm>
            <a:off x="4864795" y="1181100"/>
            <a:ext cx="3964880" cy="3370262"/>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
        <p:nvSpPr>
          <p:cNvPr id="7" name="Title 6"/>
          <p:cNvSpPr>
            <a:spLocks noGrp="1"/>
          </p:cNvSpPr>
          <p:nvPr>
            <p:ph type="title" hasCustomPrompt="1"/>
          </p:nvPr>
        </p:nvSpPr>
        <p:spPr>
          <a:xfrm>
            <a:off x="313199" y="268288"/>
            <a:ext cx="8516475" cy="741362"/>
          </a:xfrm>
        </p:spPr>
        <p:txBody>
          <a:bodyPr/>
          <a:lstStyle>
            <a:lvl1pPr>
              <a:defRPr/>
            </a:lvl1pPr>
          </a:lstStyle>
          <a:p>
            <a:r>
              <a:rPr lang="en-US" dirty="0"/>
              <a:t>Click to edit title</a:t>
            </a:r>
            <a:endParaRPr lang="en-GB" dirty="0"/>
          </a:p>
        </p:txBody>
      </p:sp>
      <p:sp>
        <p:nvSpPr>
          <p:cNvPr id="6" name="TextBox 5"/>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260069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05948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en-US" dirty="0"/>
              <a:t>Click to edit title</a:t>
            </a:r>
            <a:endParaRPr lang="en-GB" dirty="0"/>
          </a:p>
        </p:txBody>
      </p:sp>
      <p:sp>
        <p:nvSpPr>
          <p:cNvPr id="5" name="TextBox 4"/>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36548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p:cNvSpPr txBox="1"/>
          <p:nvPr userDrawn="1"/>
        </p:nvSpPr>
        <p:spPr>
          <a:xfrm>
            <a:off x="619545" y="4749146"/>
            <a:ext cx="1102866" cy="123111"/>
          </a:xfrm>
          <a:prstGeom prst="rect">
            <a:avLst/>
          </a:prstGeom>
          <a:noFill/>
        </p:spPr>
        <p:txBody>
          <a:bodyPr wrap="none" lIns="0" tIns="0" rIns="0" bIns="0" rtlCol="0">
            <a:spAutoFit/>
          </a:bodyPr>
          <a:lstStyle/>
          <a:p>
            <a:r>
              <a:rPr lang="en-GB" sz="800" dirty="0">
                <a:solidFill>
                  <a:srgbClr val="FF7900"/>
                </a:solidFill>
              </a:rPr>
              <a:t>Restricted information</a:t>
            </a:r>
          </a:p>
        </p:txBody>
      </p:sp>
    </p:spTree>
    <p:extLst>
      <p:ext uri="{BB962C8B-B14F-4D97-AF65-F5344CB8AC3E}">
        <p14:creationId xmlns:p14="http://schemas.microsoft.com/office/powerpoint/2010/main" val="236485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7949041"/>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52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2"/>
                        <a:ext cx="1587" cy="1587"/>
                      </a:xfrm>
                      <a:prstGeom prst="rect">
                        <a:avLst/>
                      </a:prstGeom>
                    </p:spPr>
                  </p:pic>
                </p:oleObj>
              </mc:Fallback>
            </mc:AlternateContent>
          </a:graphicData>
        </a:graphic>
      </p:graphicFrame>
      <p:sp>
        <p:nvSpPr>
          <p:cNvPr id="4" name="Content Placeholder 2"/>
          <p:cNvSpPr>
            <a:spLocks noGrp="1"/>
          </p:cNvSpPr>
          <p:nvPr>
            <p:ph idx="1" hasCustomPrompt="1"/>
          </p:nvPr>
        </p:nvSpPr>
        <p:spPr>
          <a:xfrm>
            <a:off x="314327" y="268291"/>
            <a:ext cx="8515349" cy="4281487"/>
          </a:xfrm>
        </p:spPr>
        <p:txBody>
          <a:bodyPr/>
          <a:lstStyle>
            <a:lvl1pPr>
              <a:spcBef>
                <a:spcPts val="0"/>
              </a:spcBef>
              <a:defRPr sz="3000"/>
            </a:lvl1pPr>
            <a:lvl2pPr marL="358757" indent="-358757">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2794799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67370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47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317373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9" y="2704144"/>
            <a:ext cx="4831185" cy="966156"/>
          </a:xfrm>
        </p:spPr>
        <p:txBody>
          <a:bodyPr/>
          <a:lstStyle>
            <a:lvl1pPr marL="0" indent="0" algn="l">
              <a:buNone/>
              <a:defRPr baseline="0">
                <a:solidFill>
                  <a:schemeClr val="tx1"/>
                </a:solidFill>
              </a:defRPr>
            </a:lvl1pPr>
            <a:lvl2pPr marL="180966" indent="-180966" algn="l">
              <a:buClr>
                <a:schemeClr val="bg2"/>
              </a:buClr>
              <a:buSzPct val="100000"/>
              <a:buFont typeface="Wingdings" panose="05000000000000000000" pitchFamily="2" charset="2"/>
              <a:buChar char="§"/>
              <a:defRPr>
                <a:solidFill>
                  <a:schemeClr val="tx1"/>
                </a:solidFill>
              </a:defRPr>
            </a:lvl2pPr>
            <a:lvl3pPr marL="406780" indent="-19079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70" indent="-172792" algn="l">
              <a:spcBef>
                <a:spcPts val="24"/>
              </a:spcBef>
              <a:buFont typeface="Helvetica 55 Roman" panose="020B0604020202020204" pitchFamily="34" charset="0"/>
              <a:buChar char="–"/>
              <a:defRPr>
                <a:solidFill>
                  <a:schemeClr val="tx1"/>
                </a:solidFill>
              </a:defRPr>
            </a:lvl4pPr>
            <a:lvl5pPr marL="799160" indent="-190790" algn="l">
              <a:buFont typeface="Helvetica 55 Roman" panose="020B0604020202020204" pitchFamily="34" charset="0"/>
              <a:buChar char="–"/>
              <a:defRPr>
                <a:solidFill>
                  <a:schemeClr val="tx1"/>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116607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9016769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57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Content Placeholder 2"/>
          <p:cNvSpPr>
            <a:spLocks noGrp="1"/>
          </p:cNvSpPr>
          <p:nvPr>
            <p:ph idx="1" hasCustomPrompt="1"/>
          </p:nvPr>
        </p:nvSpPr>
        <p:spPr>
          <a:xfrm>
            <a:off x="314327" y="268289"/>
            <a:ext cx="8515349" cy="4281487"/>
          </a:xfrm>
        </p:spPr>
        <p:txBody>
          <a:bodyPr/>
          <a:lstStyle>
            <a:lvl1pPr>
              <a:spcBef>
                <a:spcPts val="0"/>
              </a:spcBef>
              <a:defRPr sz="3000"/>
            </a:lvl1pPr>
            <a:lvl2pPr marL="358757" indent="-358757">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328261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71" y="268289"/>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Tree>
    <p:extLst>
      <p:ext uri="{BB962C8B-B14F-4D97-AF65-F5344CB8AC3E}">
        <p14:creationId xmlns:p14="http://schemas.microsoft.com/office/powerpoint/2010/main" val="639988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7"/>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33178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789936"/>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68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Tree>
    <p:extLst>
      <p:ext uri="{BB962C8B-B14F-4D97-AF65-F5344CB8AC3E}">
        <p14:creationId xmlns:p14="http://schemas.microsoft.com/office/powerpoint/2010/main" val="337680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00233711"/>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78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131940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9846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tx">
  <p:cSld name="1_Titre et contenu">
    <p:spTree>
      <p:nvGrpSpPr>
        <p:cNvPr id="1" name=""/>
        <p:cNvGrpSpPr/>
        <p:nvPr/>
      </p:nvGrpSpPr>
      <p:grpSpPr>
        <a:xfrm>
          <a:off x="0" y="0"/>
          <a:ext cx="0" cy="0"/>
          <a:chOff x="0" y="0"/>
          <a:chExt cx="0" cy="0"/>
        </a:xfrm>
      </p:grpSpPr>
      <p:sp>
        <p:nvSpPr>
          <p:cNvPr id="20" name="Texte du titre"/>
          <p:cNvSpPr>
            <a:spLocks noGrp="1"/>
          </p:cNvSpPr>
          <p:nvPr>
            <p:ph type="title"/>
          </p:nvPr>
        </p:nvSpPr>
        <p:spPr>
          <a:prstGeom prst="rect">
            <a:avLst/>
          </a:prstGeom>
        </p:spPr>
        <p:txBody>
          <a:bodyPr/>
          <a:lstStyle/>
          <a:p>
            <a:r>
              <a:t>Texte du titre</a:t>
            </a:r>
          </a:p>
        </p:txBody>
      </p:sp>
      <p:sp>
        <p:nvSpPr>
          <p:cNvPr id="21"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 name="Numéro de diapositive"/>
          <p:cNvSpPr>
            <a:spLocks noGrp="1"/>
          </p:cNvSpPr>
          <p:nvPr>
            <p:ph type="sldNum" sz="quarter" idx="10"/>
          </p:nvPr>
        </p:nvSpPr>
        <p:spPr>
          <a:xfrm>
            <a:off x="8315325" y="4800600"/>
            <a:ext cx="200025" cy="206375"/>
          </a:xfrm>
          <a:prstGeom prst="rect">
            <a:avLst/>
          </a:prstGeom>
        </p:spPr>
        <p:txBody>
          <a:bodyPr lIns="34290" tIns="17145" rIns="34290" bIns="17145"/>
          <a:lstStyle>
            <a:lvl1pPr>
              <a:defRPr>
                <a:latin typeface="Arial" charset="0"/>
              </a:defRPr>
            </a:lvl1pPr>
          </a:lstStyle>
          <a:p>
            <a:pPr defTabSz="914354">
              <a:defRPr/>
            </a:pPr>
            <a:fld id="{955603C6-9BDD-45F3-993D-6AE9198ECE5E}" type="slidenum">
              <a:rPr>
                <a:solidFill>
                  <a:srgbClr val="000000"/>
                </a:solidFill>
              </a:rPr>
              <a:pPr defTabSz="914354">
                <a:defRPr/>
              </a:pPr>
              <a:t>‹N°›</a:t>
            </a:fld>
            <a:endParaRPr>
              <a:solidFill>
                <a:srgbClr val="000000"/>
              </a:solidFill>
            </a:endParaRPr>
          </a:p>
        </p:txBody>
      </p:sp>
    </p:spTree>
    <p:extLst>
      <p:ext uri="{BB962C8B-B14F-4D97-AF65-F5344CB8AC3E}">
        <p14:creationId xmlns:p14="http://schemas.microsoft.com/office/powerpoint/2010/main" val="890678848"/>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11" name="Texte du titre"/>
          <p:cNvSpPr>
            <a:spLocks noGrp="1"/>
          </p:cNvSpPr>
          <p:nvPr>
            <p:ph type="title"/>
          </p:nvPr>
        </p:nvSpPr>
        <p:spPr>
          <a:xfrm>
            <a:off x="1143000" y="841772"/>
            <a:ext cx="6858000" cy="1790700"/>
          </a:xfrm>
          <a:prstGeom prst="rect">
            <a:avLst/>
          </a:prstGeom>
        </p:spPr>
        <p:txBody>
          <a:bodyPr anchor="b"/>
          <a:lstStyle>
            <a:lvl1pPr algn="ctr">
              <a:defRPr sz="4500"/>
            </a:lvl1pPr>
          </a:lstStyle>
          <a:p>
            <a:r>
              <a:t>Texte du titre</a:t>
            </a:r>
          </a:p>
        </p:txBody>
      </p:sp>
      <p:sp>
        <p:nvSpPr>
          <p:cNvPr id="12" name="Texte niveau 1…"/>
          <p:cNvSpPr>
            <a:spLocks noGrp="1"/>
          </p:cNvSpPr>
          <p:nvPr>
            <p:ph type="body" sz="quarter" idx="1"/>
          </p:nvPr>
        </p:nvSpPr>
        <p:spPr>
          <a:xfrm>
            <a:off x="1143000" y="2701528"/>
            <a:ext cx="6858000" cy="1241822"/>
          </a:xfrm>
          <a:prstGeom prst="rect">
            <a:avLst/>
          </a:prstGeom>
        </p:spPr>
        <p:txBody>
          <a:bodyPr/>
          <a:lstStyle>
            <a:lvl1pPr marL="0" indent="0" algn="ctr">
              <a:buSzTx/>
              <a:buFontTx/>
              <a:buNone/>
              <a:defRPr sz="1800"/>
            </a:lvl1pPr>
            <a:lvl2pPr marL="0" indent="171450" algn="ctr">
              <a:buSzTx/>
              <a:buFontTx/>
              <a:buNone/>
              <a:defRPr sz="1800"/>
            </a:lvl2pPr>
            <a:lvl3pPr marL="0" indent="342900" algn="ctr">
              <a:buSzTx/>
              <a:buFontTx/>
              <a:buNone/>
              <a:defRPr sz="1800"/>
            </a:lvl3pPr>
            <a:lvl4pPr marL="0" indent="514350" algn="ctr">
              <a:buSzTx/>
              <a:buFontTx/>
              <a:buNone/>
              <a:defRPr sz="1800"/>
            </a:lvl4pPr>
            <a:lvl5pPr marL="0" indent="685800" algn="ctr">
              <a:buSzTx/>
              <a:buFontTx/>
              <a:buNone/>
              <a:defRPr sz="180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a:spLocks noGrp="1"/>
          </p:cNvSpPr>
          <p:nvPr>
            <p:ph type="sldNum" sz="quarter" idx="2"/>
          </p:nvPr>
        </p:nvSpPr>
        <p:spPr>
          <a:xfrm>
            <a:off x="8314871" y="4800838"/>
            <a:ext cx="200479" cy="206693"/>
          </a:xfrm>
          <a:prstGeom prst="rect">
            <a:avLst/>
          </a:prstGeom>
        </p:spPr>
        <p:txBody>
          <a:bodyPr lIns="34290" tIns="17145" rIns="34290" bIns="17145"/>
          <a:lstStyle/>
          <a:p>
            <a:pPr defTabSz="914354"/>
            <a:fld id="{86CB4B4D-7CA3-9044-876B-883B54F8677D}" type="slidenum">
              <a:rPr>
                <a:solidFill>
                  <a:srgbClr val="000000"/>
                </a:solidFill>
              </a:rPr>
              <a:pPr defTabSz="914354"/>
              <a:t>‹N°›</a:t>
            </a:fld>
            <a:endParaRPr>
              <a:solidFill>
                <a:srgbClr val="000000"/>
              </a:solidFill>
            </a:endParaRPr>
          </a:p>
        </p:txBody>
      </p:sp>
    </p:spTree>
    <p:extLst>
      <p:ext uri="{BB962C8B-B14F-4D97-AF65-F5344CB8AC3E}">
        <p14:creationId xmlns:p14="http://schemas.microsoft.com/office/powerpoint/2010/main" val="1879221335"/>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71" y="268291"/>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Tree>
    <p:extLst>
      <p:ext uri="{BB962C8B-B14F-4D97-AF65-F5344CB8AC3E}">
        <p14:creationId xmlns:p14="http://schemas.microsoft.com/office/powerpoint/2010/main" val="370609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2778740"/>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98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33313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9" y="2704144"/>
            <a:ext cx="4831185" cy="966156"/>
          </a:xfrm>
        </p:spPr>
        <p:txBody>
          <a:bodyPr/>
          <a:lstStyle>
            <a:lvl1pPr marL="0" indent="0" algn="l">
              <a:buNone/>
              <a:defRPr baseline="0">
                <a:solidFill>
                  <a:schemeClr val="tx1"/>
                </a:solidFill>
              </a:defRPr>
            </a:lvl1pPr>
            <a:lvl2pPr marL="180966" indent="-180966" algn="l">
              <a:buClr>
                <a:schemeClr val="bg2"/>
              </a:buClr>
              <a:buSzPct val="100000"/>
              <a:buFont typeface="Wingdings" panose="05000000000000000000" pitchFamily="2" charset="2"/>
              <a:buChar char="§"/>
              <a:defRPr>
                <a:solidFill>
                  <a:schemeClr val="tx1"/>
                </a:solidFill>
              </a:defRPr>
            </a:lvl2pPr>
            <a:lvl3pPr marL="406780" indent="-19079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70" indent="-172792" algn="l">
              <a:spcBef>
                <a:spcPts val="24"/>
              </a:spcBef>
              <a:buFont typeface="Helvetica 55 Roman" panose="020B0604020202020204" pitchFamily="34" charset="0"/>
              <a:buChar char="–"/>
              <a:defRPr>
                <a:solidFill>
                  <a:schemeClr val="tx1"/>
                </a:solidFill>
              </a:defRPr>
            </a:lvl4pPr>
            <a:lvl5pPr marL="799160" indent="-190790" algn="l">
              <a:buFont typeface="Helvetica 55 Roman" panose="020B0604020202020204" pitchFamily="34" charset="0"/>
              <a:buChar char="–"/>
              <a:defRPr>
                <a:solidFill>
                  <a:schemeClr val="tx1"/>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361874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01180"/>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809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Content Placeholder 2"/>
          <p:cNvSpPr>
            <a:spLocks noGrp="1"/>
          </p:cNvSpPr>
          <p:nvPr>
            <p:ph idx="1" hasCustomPrompt="1"/>
          </p:nvPr>
        </p:nvSpPr>
        <p:spPr>
          <a:xfrm>
            <a:off x="314327" y="268289"/>
            <a:ext cx="8515349" cy="4281487"/>
          </a:xfrm>
        </p:spPr>
        <p:txBody>
          <a:bodyPr/>
          <a:lstStyle>
            <a:lvl1pPr>
              <a:spcBef>
                <a:spcPts val="0"/>
              </a:spcBef>
              <a:defRPr sz="3000"/>
            </a:lvl1pPr>
            <a:lvl2pPr marL="358757" indent="-358757">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138419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71" y="268289"/>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Tree>
    <p:extLst>
      <p:ext uri="{BB962C8B-B14F-4D97-AF65-F5344CB8AC3E}">
        <p14:creationId xmlns:p14="http://schemas.microsoft.com/office/powerpoint/2010/main" val="66943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7"/>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235101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8895058"/>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819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Tree>
    <p:extLst>
      <p:ext uri="{BB962C8B-B14F-4D97-AF65-F5344CB8AC3E}">
        <p14:creationId xmlns:p14="http://schemas.microsoft.com/office/powerpoint/2010/main" val="64791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2131951"/>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829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2432661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924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tx">
  <p:cSld name="1_Titre et contenu">
    <p:spTree>
      <p:nvGrpSpPr>
        <p:cNvPr id="1" name=""/>
        <p:cNvGrpSpPr/>
        <p:nvPr/>
      </p:nvGrpSpPr>
      <p:grpSpPr>
        <a:xfrm>
          <a:off x="0" y="0"/>
          <a:ext cx="0" cy="0"/>
          <a:chOff x="0" y="0"/>
          <a:chExt cx="0" cy="0"/>
        </a:xfrm>
      </p:grpSpPr>
      <p:sp>
        <p:nvSpPr>
          <p:cNvPr id="20" name="Texte du titre"/>
          <p:cNvSpPr>
            <a:spLocks noGrp="1"/>
          </p:cNvSpPr>
          <p:nvPr>
            <p:ph type="title"/>
          </p:nvPr>
        </p:nvSpPr>
        <p:spPr>
          <a:prstGeom prst="rect">
            <a:avLst/>
          </a:prstGeom>
        </p:spPr>
        <p:txBody>
          <a:bodyPr/>
          <a:lstStyle/>
          <a:p>
            <a:r>
              <a:t>Texte du titre</a:t>
            </a:r>
          </a:p>
        </p:txBody>
      </p:sp>
      <p:sp>
        <p:nvSpPr>
          <p:cNvPr id="21"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 name="Numéro de diapositive"/>
          <p:cNvSpPr>
            <a:spLocks noGrp="1"/>
          </p:cNvSpPr>
          <p:nvPr>
            <p:ph type="sldNum" sz="quarter" idx="10"/>
          </p:nvPr>
        </p:nvSpPr>
        <p:spPr>
          <a:xfrm>
            <a:off x="8315325" y="4800600"/>
            <a:ext cx="200025" cy="206375"/>
          </a:xfrm>
          <a:prstGeom prst="rect">
            <a:avLst/>
          </a:prstGeom>
        </p:spPr>
        <p:txBody>
          <a:bodyPr lIns="34290" tIns="17145" rIns="34290" bIns="17145"/>
          <a:lstStyle>
            <a:lvl1pPr>
              <a:defRPr>
                <a:latin typeface="Arial" charset="0"/>
              </a:defRPr>
            </a:lvl1pPr>
          </a:lstStyle>
          <a:p>
            <a:pPr defTabSz="914354">
              <a:defRPr/>
            </a:pPr>
            <a:fld id="{955603C6-9BDD-45F3-993D-6AE9198ECE5E}" type="slidenum">
              <a:rPr>
                <a:solidFill>
                  <a:srgbClr val="000000"/>
                </a:solidFill>
              </a:rPr>
              <a:pPr defTabSz="914354">
                <a:defRPr/>
              </a:pPr>
              <a:t>‹N°›</a:t>
            </a:fld>
            <a:endParaRPr>
              <a:solidFill>
                <a:srgbClr val="000000"/>
              </a:solidFill>
            </a:endParaRPr>
          </a:p>
        </p:txBody>
      </p:sp>
    </p:spTree>
    <p:extLst>
      <p:ext uri="{BB962C8B-B14F-4D97-AF65-F5344CB8AC3E}">
        <p14:creationId xmlns:p14="http://schemas.microsoft.com/office/powerpoint/2010/main" val="3011979556"/>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11" name="Texte du titre"/>
          <p:cNvSpPr>
            <a:spLocks noGrp="1"/>
          </p:cNvSpPr>
          <p:nvPr>
            <p:ph type="title"/>
          </p:nvPr>
        </p:nvSpPr>
        <p:spPr>
          <a:xfrm>
            <a:off x="1143000" y="841772"/>
            <a:ext cx="6858000" cy="1790700"/>
          </a:xfrm>
          <a:prstGeom prst="rect">
            <a:avLst/>
          </a:prstGeom>
        </p:spPr>
        <p:txBody>
          <a:bodyPr anchor="b"/>
          <a:lstStyle>
            <a:lvl1pPr algn="ctr">
              <a:defRPr sz="4500"/>
            </a:lvl1pPr>
          </a:lstStyle>
          <a:p>
            <a:r>
              <a:t>Texte du titre</a:t>
            </a:r>
          </a:p>
        </p:txBody>
      </p:sp>
      <p:sp>
        <p:nvSpPr>
          <p:cNvPr id="12" name="Texte niveau 1…"/>
          <p:cNvSpPr>
            <a:spLocks noGrp="1"/>
          </p:cNvSpPr>
          <p:nvPr>
            <p:ph type="body" sz="quarter" idx="1"/>
          </p:nvPr>
        </p:nvSpPr>
        <p:spPr>
          <a:xfrm>
            <a:off x="1143000" y="2701528"/>
            <a:ext cx="6858000" cy="1241822"/>
          </a:xfrm>
          <a:prstGeom prst="rect">
            <a:avLst/>
          </a:prstGeom>
        </p:spPr>
        <p:txBody>
          <a:bodyPr/>
          <a:lstStyle>
            <a:lvl1pPr marL="0" indent="0" algn="ctr">
              <a:buSzTx/>
              <a:buFontTx/>
              <a:buNone/>
              <a:defRPr sz="1800"/>
            </a:lvl1pPr>
            <a:lvl2pPr marL="0" indent="171450" algn="ctr">
              <a:buSzTx/>
              <a:buFontTx/>
              <a:buNone/>
              <a:defRPr sz="1800"/>
            </a:lvl2pPr>
            <a:lvl3pPr marL="0" indent="342900" algn="ctr">
              <a:buSzTx/>
              <a:buFontTx/>
              <a:buNone/>
              <a:defRPr sz="1800"/>
            </a:lvl3pPr>
            <a:lvl4pPr marL="0" indent="514350" algn="ctr">
              <a:buSzTx/>
              <a:buFontTx/>
              <a:buNone/>
              <a:defRPr sz="1800"/>
            </a:lvl4pPr>
            <a:lvl5pPr marL="0" indent="685800" algn="ctr">
              <a:buSzTx/>
              <a:buFontTx/>
              <a:buNone/>
              <a:defRPr sz="180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a:spLocks noGrp="1"/>
          </p:cNvSpPr>
          <p:nvPr>
            <p:ph type="sldNum" sz="quarter" idx="2"/>
          </p:nvPr>
        </p:nvSpPr>
        <p:spPr>
          <a:xfrm>
            <a:off x="8314871" y="4800838"/>
            <a:ext cx="200479" cy="206693"/>
          </a:xfrm>
          <a:prstGeom prst="rect">
            <a:avLst/>
          </a:prstGeom>
        </p:spPr>
        <p:txBody>
          <a:bodyPr lIns="34290" tIns="17145" rIns="34290" bIns="17145"/>
          <a:lstStyle/>
          <a:p>
            <a:pPr defTabSz="914354"/>
            <a:fld id="{86CB4B4D-7CA3-9044-876B-883B54F8677D}" type="slidenum">
              <a:rPr>
                <a:solidFill>
                  <a:srgbClr val="000000"/>
                </a:solidFill>
              </a:rPr>
              <a:pPr defTabSz="914354"/>
              <a:t>‹N°›</a:t>
            </a:fld>
            <a:endParaRPr>
              <a:solidFill>
                <a:srgbClr val="000000"/>
              </a:solidFill>
            </a:endParaRPr>
          </a:p>
        </p:txBody>
      </p:sp>
    </p:spTree>
    <p:extLst>
      <p:ext uri="{BB962C8B-B14F-4D97-AF65-F5344CB8AC3E}">
        <p14:creationId xmlns:p14="http://schemas.microsoft.com/office/powerpoint/2010/main" val="197181098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9"/>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9"/>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339681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Click to edit Master title style</a:t>
            </a:r>
          </a:p>
        </p:txBody>
      </p:sp>
      <p:sp>
        <p:nvSpPr>
          <p:cNvPr id="3" name="Content Placeholder 2"/>
          <p:cNvSpPr>
            <a:spLocks noGrp="1"/>
          </p:cNvSpPr>
          <p:nvPr>
            <p:ph idx="1"/>
          </p:nvPr>
        </p:nvSpPr>
        <p:spPr/>
        <p:txBody>
          <a:body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p:txBody>
      </p:sp>
      <p:sp>
        <p:nvSpPr>
          <p:cNvPr id="4" name="Espace réservé du numéro de diapositive 3"/>
          <p:cNvSpPr>
            <a:spLocks noGrp="1"/>
          </p:cNvSpPr>
          <p:nvPr>
            <p:ph type="sldNum" sz="quarter" idx="10"/>
          </p:nvPr>
        </p:nvSpPr>
        <p:spPr>
          <a:xfrm>
            <a:off x="8314730" y="4800600"/>
            <a:ext cx="200025" cy="206574"/>
          </a:xfrm>
          <a:prstGeom prst="rect">
            <a:avLst/>
          </a:prstGeom>
        </p:spPr>
        <p:txBody>
          <a:bodyPr/>
          <a:lstStyle>
            <a:lvl1pPr>
              <a:defRPr/>
            </a:lvl1pPr>
          </a:lstStyle>
          <a:p>
            <a:pPr>
              <a:defRPr/>
            </a:pPr>
            <a:fld id="{8FE715F7-F60E-43CF-B777-8E79C7370518}" type="slidenum">
              <a:rPr lang="fr-FR" altLang="fr-FR">
                <a:solidFill>
                  <a:srgbClr val="000000"/>
                </a:solidFill>
              </a:rPr>
              <a:pPr>
                <a:defRPr/>
              </a:pPr>
              <a:t>‹N°›</a:t>
            </a:fld>
            <a:endParaRPr lang="fr-FR" altLang="fr-FR">
              <a:solidFill>
                <a:srgbClr val="000000"/>
              </a:solidFill>
            </a:endParaRPr>
          </a:p>
        </p:txBody>
      </p:sp>
    </p:spTree>
    <p:extLst>
      <p:ext uri="{BB962C8B-B14F-4D97-AF65-F5344CB8AC3E}">
        <p14:creationId xmlns:p14="http://schemas.microsoft.com/office/powerpoint/2010/main" val="368279825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29423238"/>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01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191725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9" y="2704144"/>
            <a:ext cx="4831185" cy="966156"/>
          </a:xfrm>
        </p:spPr>
        <p:txBody>
          <a:bodyPr/>
          <a:lstStyle>
            <a:lvl1pPr marL="0" indent="0" algn="l">
              <a:buNone/>
              <a:defRPr baseline="0">
                <a:solidFill>
                  <a:schemeClr val="tx1"/>
                </a:solidFill>
              </a:defRPr>
            </a:lvl1pPr>
            <a:lvl2pPr marL="180966" indent="-180966" algn="l">
              <a:buClr>
                <a:schemeClr val="bg2"/>
              </a:buClr>
              <a:buSzPct val="100000"/>
              <a:buFont typeface="Wingdings" panose="05000000000000000000" pitchFamily="2" charset="2"/>
              <a:buChar char="§"/>
              <a:defRPr>
                <a:solidFill>
                  <a:schemeClr val="tx1"/>
                </a:solidFill>
              </a:defRPr>
            </a:lvl2pPr>
            <a:lvl3pPr marL="406780" indent="-19079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70" indent="-172792" algn="l">
              <a:spcBef>
                <a:spcPts val="24"/>
              </a:spcBef>
              <a:buFont typeface="Helvetica 55 Roman" panose="020B0604020202020204" pitchFamily="34" charset="0"/>
              <a:buChar char="–"/>
              <a:defRPr>
                <a:solidFill>
                  <a:schemeClr val="tx1"/>
                </a:solidFill>
              </a:defRPr>
            </a:lvl4pPr>
            <a:lvl5pPr marL="799160" indent="-190790" algn="l">
              <a:buFont typeface="Helvetica 55 Roman" panose="020B0604020202020204" pitchFamily="34" charset="0"/>
              <a:buChar char="–"/>
              <a:defRPr>
                <a:solidFill>
                  <a:schemeClr val="tx1"/>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304285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1793042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11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Content Placeholder 2"/>
          <p:cNvSpPr>
            <a:spLocks noGrp="1"/>
          </p:cNvSpPr>
          <p:nvPr>
            <p:ph idx="1" hasCustomPrompt="1"/>
          </p:nvPr>
        </p:nvSpPr>
        <p:spPr>
          <a:xfrm>
            <a:off x="314327" y="268289"/>
            <a:ext cx="8515349" cy="4281487"/>
          </a:xfrm>
        </p:spPr>
        <p:txBody>
          <a:bodyPr/>
          <a:lstStyle>
            <a:lvl1pPr>
              <a:spcBef>
                <a:spcPts val="0"/>
              </a:spcBef>
              <a:defRPr sz="3000"/>
            </a:lvl1pPr>
            <a:lvl2pPr marL="358757" indent="-358757">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228721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71" y="268289"/>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Tree>
    <p:extLst>
      <p:ext uri="{BB962C8B-B14F-4D97-AF65-F5344CB8AC3E}">
        <p14:creationId xmlns:p14="http://schemas.microsoft.com/office/powerpoint/2010/main" val="3573746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7"/>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64036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99275096"/>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21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Tree>
    <p:extLst>
      <p:ext uri="{BB962C8B-B14F-4D97-AF65-F5344CB8AC3E}">
        <p14:creationId xmlns:p14="http://schemas.microsoft.com/office/powerpoint/2010/main" val="136625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9045147"/>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32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3676700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37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tx">
  <p:cSld name="1_Titre et contenu">
    <p:spTree>
      <p:nvGrpSpPr>
        <p:cNvPr id="1" name=""/>
        <p:cNvGrpSpPr/>
        <p:nvPr/>
      </p:nvGrpSpPr>
      <p:grpSpPr>
        <a:xfrm>
          <a:off x="0" y="0"/>
          <a:ext cx="0" cy="0"/>
          <a:chOff x="0" y="0"/>
          <a:chExt cx="0" cy="0"/>
        </a:xfrm>
      </p:grpSpPr>
      <p:sp>
        <p:nvSpPr>
          <p:cNvPr id="20" name="Texte du titre"/>
          <p:cNvSpPr>
            <a:spLocks noGrp="1"/>
          </p:cNvSpPr>
          <p:nvPr>
            <p:ph type="title"/>
          </p:nvPr>
        </p:nvSpPr>
        <p:spPr>
          <a:prstGeom prst="rect">
            <a:avLst/>
          </a:prstGeom>
        </p:spPr>
        <p:txBody>
          <a:bodyPr/>
          <a:lstStyle/>
          <a:p>
            <a:r>
              <a:t>Texte du titre</a:t>
            </a:r>
          </a:p>
        </p:txBody>
      </p:sp>
      <p:sp>
        <p:nvSpPr>
          <p:cNvPr id="21"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 name="Numéro de diapositive"/>
          <p:cNvSpPr>
            <a:spLocks noGrp="1"/>
          </p:cNvSpPr>
          <p:nvPr>
            <p:ph type="sldNum" sz="quarter" idx="10"/>
          </p:nvPr>
        </p:nvSpPr>
        <p:spPr>
          <a:xfrm>
            <a:off x="8315325" y="4800600"/>
            <a:ext cx="200025" cy="206375"/>
          </a:xfrm>
          <a:prstGeom prst="rect">
            <a:avLst/>
          </a:prstGeom>
        </p:spPr>
        <p:txBody>
          <a:bodyPr lIns="34290" tIns="17145" rIns="34290" bIns="17145"/>
          <a:lstStyle>
            <a:lvl1pPr>
              <a:defRPr>
                <a:latin typeface="Arial" charset="0"/>
              </a:defRPr>
            </a:lvl1pPr>
          </a:lstStyle>
          <a:p>
            <a:pPr defTabSz="914354">
              <a:defRPr/>
            </a:pPr>
            <a:fld id="{955603C6-9BDD-45F3-993D-6AE9198ECE5E}" type="slidenum">
              <a:rPr>
                <a:solidFill>
                  <a:srgbClr val="000000"/>
                </a:solidFill>
              </a:rPr>
              <a:pPr defTabSz="914354">
                <a:defRPr/>
              </a:pPr>
              <a:t>‹N°›</a:t>
            </a:fld>
            <a:endParaRPr>
              <a:solidFill>
                <a:srgbClr val="000000"/>
              </a:solidFill>
            </a:endParaRPr>
          </a:p>
        </p:txBody>
      </p:sp>
    </p:spTree>
    <p:extLst>
      <p:ext uri="{BB962C8B-B14F-4D97-AF65-F5344CB8AC3E}">
        <p14:creationId xmlns:p14="http://schemas.microsoft.com/office/powerpoint/2010/main" val="4047557557"/>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9404517"/>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62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2"/>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Tree>
    <p:extLst>
      <p:ext uri="{BB962C8B-B14F-4D97-AF65-F5344CB8AC3E}">
        <p14:creationId xmlns:p14="http://schemas.microsoft.com/office/powerpoint/2010/main" val="168087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11" name="Texte du titre"/>
          <p:cNvSpPr>
            <a:spLocks noGrp="1"/>
          </p:cNvSpPr>
          <p:nvPr>
            <p:ph type="title"/>
          </p:nvPr>
        </p:nvSpPr>
        <p:spPr>
          <a:xfrm>
            <a:off x="1143000" y="841772"/>
            <a:ext cx="6858000" cy="1790700"/>
          </a:xfrm>
          <a:prstGeom prst="rect">
            <a:avLst/>
          </a:prstGeom>
        </p:spPr>
        <p:txBody>
          <a:bodyPr anchor="b"/>
          <a:lstStyle>
            <a:lvl1pPr algn="ctr">
              <a:defRPr sz="4500"/>
            </a:lvl1pPr>
          </a:lstStyle>
          <a:p>
            <a:r>
              <a:t>Texte du titre</a:t>
            </a:r>
          </a:p>
        </p:txBody>
      </p:sp>
      <p:sp>
        <p:nvSpPr>
          <p:cNvPr id="12" name="Texte niveau 1…"/>
          <p:cNvSpPr>
            <a:spLocks noGrp="1"/>
          </p:cNvSpPr>
          <p:nvPr>
            <p:ph type="body" sz="quarter" idx="1"/>
          </p:nvPr>
        </p:nvSpPr>
        <p:spPr>
          <a:xfrm>
            <a:off x="1143000" y="2701528"/>
            <a:ext cx="6858000" cy="1241822"/>
          </a:xfrm>
          <a:prstGeom prst="rect">
            <a:avLst/>
          </a:prstGeom>
        </p:spPr>
        <p:txBody>
          <a:bodyPr/>
          <a:lstStyle>
            <a:lvl1pPr marL="0" indent="0" algn="ctr">
              <a:buSzTx/>
              <a:buFontTx/>
              <a:buNone/>
              <a:defRPr sz="1800"/>
            </a:lvl1pPr>
            <a:lvl2pPr marL="0" indent="171450" algn="ctr">
              <a:buSzTx/>
              <a:buFontTx/>
              <a:buNone/>
              <a:defRPr sz="1800"/>
            </a:lvl2pPr>
            <a:lvl3pPr marL="0" indent="342900" algn="ctr">
              <a:buSzTx/>
              <a:buFontTx/>
              <a:buNone/>
              <a:defRPr sz="1800"/>
            </a:lvl3pPr>
            <a:lvl4pPr marL="0" indent="514350" algn="ctr">
              <a:buSzTx/>
              <a:buFontTx/>
              <a:buNone/>
              <a:defRPr sz="1800"/>
            </a:lvl4pPr>
            <a:lvl5pPr marL="0" indent="685800" algn="ctr">
              <a:buSzTx/>
              <a:buFontTx/>
              <a:buNone/>
              <a:defRPr sz="180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a:spLocks noGrp="1"/>
          </p:cNvSpPr>
          <p:nvPr>
            <p:ph type="sldNum" sz="quarter" idx="2"/>
          </p:nvPr>
        </p:nvSpPr>
        <p:spPr>
          <a:xfrm>
            <a:off x="8314871" y="4800838"/>
            <a:ext cx="200479" cy="206693"/>
          </a:xfrm>
          <a:prstGeom prst="rect">
            <a:avLst/>
          </a:prstGeom>
        </p:spPr>
        <p:txBody>
          <a:bodyPr lIns="34290" tIns="17145" rIns="34290" bIns="17145"/>
          <a:lstStyle/>
          <a:p>
            <a:pPr defTabSz="914354"/>
            <a:fld id="{86CB4B4D-7CA3-9044-876B-883B54F8677D}" type="slidenum">
              <a:rPr>
                <a:solidFill>
                  <a:srgbClr val="000000"/>
                </a:solidFill>
              </a:rPr>
              <a:pPr defTabSz="914354"/>
              <a:t>‹N°›</a:t>
            </a:fld>
            <a:endParaRPr>
              <a:solidFill>
                <a:srgbClr val="000000"/>
              </a:solidFill>
            </a:endParaRPr>
          </a:p>
        </p:txBody>
      </p:sp>
    </p:spTree>
    <p:extLst>
      <p:ext uri="{BB962C8B-B14F-4D97-AF65-F5344CB8AC3E}">
        <p14:creationId xmlns:p14="http://schemas.microsoft.com/office/powerpoint/2010/main" val="194287805"/>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56254690"/>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52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273936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9" y="2704144"/>
            <a:ext cx="4831185" cy="966156"/>
          </a:xfrm>
        </p:spPr>
        <p:txBody>
          <a:bodyPr/>
          <a:lstStyle>
            <a:lvl1pPr marL="0" indent="0" algn="l">
              <a:buNone/>
              <a:defRPr baseline="0">
                <a:solidFill>
                  <a:schemeClr val="tx1"/>
                </a:solidFill>
              </a:defRPr>
            </a:lvl1pPr>
            <a:lvl2pPr marL="180966" indent="-180966" algn="l">
              <a:buClr>
                <a:schemeClr val="bg2"/>
              </a:buClr>
              <a:buSzPct val="100000"/>
              <a:buFont typeface="Wingdings" panose="05000000000000000000" pitchFamily="2" charset="2"/>
              <a:buChar char="§"/>
              <a:defRPr>
                <a:solidFill>
                  <a:schemeClr val="tx1"/>
                </a:solidFill>
              </a:defRPr>
            </a:lvl2pPr>
            <a:lvl3pPr marL="406780" indent="-19079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70" indent="-172792" algn="l">
              <a:spcBef>
                <a:spcPts val="24"/>
              </a:spcBef>
              <a:buFont typeface="Helvetica 55 Roman" panose="020B0604020202020204" pitchFamily="34" charset="0"/>
              <a:buChar char="–"/>
              <a:defRPr>
                <a:solidFill>
                  <a:schemeClr val="tx1"/>
                </a:solidFill>
              </a:defRPr>
            </a:lvl4pPr>
            <a:lvl5pPr marL="799160" indent="-190790" algn="l">
              <a:buFont typeface="Helvetica 55 Roman" panose="020B0604020202020204" pitchFamily="34" charset="0"/>
              <a:buChar char="–"/>
              <a:defRPr>
                <a:solidFill>
                  <a:schemeClr val="tx1"/>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3922200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5705382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62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Content Placeholder 2"/>
          <p:cNvSpPr>
            <a:spLocks noGrp="1"/>
          </p:cNvSpPr>
          <p:nvPr>
            <p:ph idx="1" hasCustomPrompt="1"/>
          </p:nvPr>
        </p:nvSpPr>
        <p:spPr>
          <a:xfrm>
            <a:off x="314327" y="268289"/>
            <a:ext cx="8515349" cy="4281487"/>
          </a:xfrm>
        </p:spPr>
        <p:txBody>
          <a:bodyPr/>
          <a:lstStyle>
            <a:lvl1pPr>
              <a:spcBef>
                <a:spcPts val="0"/>
              </a:spcBef>
              <a:defRPr sz="3000"/>
            </a:lvl1pPr>
            <a:lvl2pPr marL="358757" indent="-358757">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3396909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71" y="268289"/>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Tree>
    <p:extLst>
      <p:ext uri="{BB962C8B-B14F-4D97-AF65-F5344CB8AC3E}">
        <p14:creationId xmlns:p14="http://schemas.microsoft.com/office/powerpoint/2010/main" val="3705720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7"/>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398319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31894408"/>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72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Tree>
    <p:extLst>
      <p:ext uri="{BB962C8B-B14F-4D97-AF65-F5344CB8AC3E}">
        <p14:creationId xmlns:p14="http://schemas.microsoft.com/office/powerpoint/2010/main" val="12691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192441"/>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83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37562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44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x">
  <p:cSld name="1_Titre et contenu">
    <p:spTree>
      <p:nvGrpSpPr>
        <p:cNvPr id="1" name=""/>
        <p:cNvGrpSpPr/>
        <p:nvPr/>
      </p:nvGrpSpPr>
      <p:grpSpPr>
        <a:xfrm>
          <a:off x="0" y="0"/>
          <a:ext cx="0" cy="0"/>
          <a:chOff x="0" y="0"/>
          <a:chExt cx="0" cy="0"/>
        </a:xfrm>
      </p:grpSpPr>
      <p:sp>
        <p:nvSpPr>
          <p:cNvPr id="20" name="Texte du titre"/>
          <p:cNvSpPr>
            <a:spLocks noGrp="1"/>
          </p:cNvSpPr>
          <p:nvPr>
            <p:ph type="title"/>
          </p:nvPr>
        </p:nvSpPr>
        <p:spPr>
          <a:prstGeom prst="rect">
            <a:avLst/>
          </a:prstGeom>
        </p:spPr>
        <p:txBody>
          <a:bodyPr/>
          <a:lstStyle/>
          <a:p>
            <a:r>
              <a:t>Texte du titre</a:t>
            </a:r>
          </a:p>
        </p:txBody>
      </p:sp>
      <p:sp>
        <p:nvSpPr>
          <p:cNvPr id="21"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 name="Numéro de diapositive"/>
          <p:cNvSpPr>
            <a:spLocks noGrp="1"/>
          </p:cNvSpPr>
          <p:nvPr>
            <p:ph type="sldNum" sz="quarter" idx="10"/>
          </p:nvPr>
        </p:nvSpPr>
        <p:spPr>
          <a:xfrm>
            <a:off x="8315325" y="4800600"/>
            <a:ext cx="200025" cy="206375"/>
          </a:xfrm>
          <a:prstGeom prst="rect">
            <a:avLst/>
          </a:prstGeom>
        </p:spPr>
        <p:txBody>
          <a:bodyPr lIns="34290" tIns="17145" rIns="34290" bIns="17145"/>
          <a:lstStyle>
            <a:lvl1pPr>
              <a:defRPr>
                <a:latin typeface="Arial" charset="0"/>
              </a:defRPr>
            </a:lvl1pPr>
          </a:lstStyle>
          <a:p>
            <a:pPr defTabSz="914354">
              <a:defRPr/>
            </a:pPr>
            <a:fld id="{955603C6-9BDD-45F3-993D-6AE9198ECE5E}" type="slidenum">
              <a:rPr>
                <a:solidFill>
                  <a:srgbClr val="000000"/>
                </a:solidFill>
              </a:rPr>
              <a:pPr defTabSz="914354">
                <a:defRPr/>
              </a:pPr>
              <a:t>‹N°›</a:t>
            </a:fld>
            <a:endParaRPr>
              <a:solidFill>
                <a:srgbClr val="000000"/>
              </a:solidFill>
            </a:endParaRPr>
          </a:p>
        </p:txBody>
      </p:sp>
    </p:spTree>
    <p:extLst>
      <p:ext uri="{BB962C8B-B14F-4D97-AF65-F5344CB8AC3E}">
        <p14:creationId xmlns:p14="http://schemas.microsoft.com/office/powerpoint/2010/main" val="185300785"/>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5512493"/>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72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2"/>
                        <a:ext cx="1587" cy="1587"/>
                      </a:xfrm>
                      <a:prstGeom prst="rect">
                        <a:avLst/>
                      </a:prstGeom>
                    </p:spPr>
                  </p:pic>
                </p:oleObj>
              </mc:Fallback>
            </mc:AlternateContent>
          </a:graphicData>
        </a:graphic>
      </p:graphicFrame>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231575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11" name="Texte du titre"/>
          <p:cNvSpPr>
            <a:spLocks noGrp="1"/>
          </p:cNvSpPr>
          <p:nvPr>
            <p:ph type="title"/>
          </p:nvPr>
        </p:nvSpPr>
        <p:spPr>
          <a:xfrm>
            <a:off x="1143000" y="841772"/>
            <a:ext cx="6858000" cy="1790700"/>
          </a:xfrm>
          <a:prstGeom prst="rect">
            <a:avLst/>
          </a:prstGeom>
        </p:spPr>
        <p:txBody>
          <a:bodyPr anchor="b"/>
          <a:lstStyle>
            <a:lvl1pPr algn="ctr">
              <a:defRPr sz="4500"/>
            </a:lvl1pPr>
          </a:lstStyle>
          <a:p>
            <a:r>
              <a:t>Texte du titre</a:t>
            </a:r>
          </a:p>
        </p:txBody>
      </p:sp>
      <p:sp>
        <p:nvSpPr>
          <p:cNvPr id="12" name="Texte niveau 1…"/>
          <p:cNvSpPr>
            <a:spLocks noGrp="1"/>
          </p:cNvSpPr>
          <p:nvPr>
            <p:ph type="body" sz="quarter" idx="1"/>
          </p:nvPr>
        </p:nvSpPr>
        <p:spPr>
          <a:xfrm>
            <a:off x="1143000" y="2701528"/>
            <a:ext cx="6858000" cy="1241822"/>
          </a:xfrm>
          <a:prstGeom prst="rect">
            <a:avLst/>
          </a:prstGeom>
        </p:spPr>
        <p:txBody>
          <a:bodyPr/>
          <a:lstStyle>
            <a:lvl1pPr marL="0" indent="0" algn="ctr">
              <a:buSzTx/>
              <a:buFontTx/>
              <a:buNone/>
              <a:defRPr sz="1800"/>
            </a:lvl1pPr>
            <a:lvl2pPr marL="0" indent="171450" algn="ctr">
              <a:buSzTx/>
              <a:buFontTx/>
              <a:buNone/>
              <a:defRPr sz="1800"/>
            </a:lvl2pPr>
            <a:lvl3pPr marL="0" indent="342900" algn="ctr">
              <a:buSzTx/>
              <a:buFontTx/>
              <a:buNone/>
              <a:defRPr sz="1800"/>
            </a:lvl3pPr>
            <a:lvl4pPr marL="0" indent="514350" algn="ctr">
              <a:buSzTx/>
              <a:buFontTx/>
              <a:buNone/>
              <a:defRPr sz="1800"/>
            </a:lvl4pPr>
            <a:lvl5pPr marL="0" indent="685800" algn="ctr">
              <a:buSzTx/>
              <a:buFontTx/>
              <a:buNone/>
              <a:defRPr sz="180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a:spLocks noGrp="1"/>
          </p:cNvSpPr>
          <p:nvPr>
            <p:ph type="sldNum" sz="quarter" idx="2"/>
          </p:nvPr>
        </p:nvSpPr>
        <p:spPr>
          <a:xfrm>
            <a:off x="8314871" y="4800838"/>
            <a:ext cx="200479" cy="206693"/>
          </a:xfrm>
          <a:prstGeom prst="rect">
            <a:avLst/>
          </a:prstGeom>
        </p:spPr>
        <p:txBody>
          <a:bodyPr lIns="34290" tIns="17145" rIns="34290" bIns="17145"/>
          <a:lstStyle/>
          <a:p>
            <a:pPr defTabSz="914354"/>
            <a:fld id="{86CB4B4D-7CA3-9044-876B-883B54F8677D}" type="slidenum">
              <a:rPr>
                <a:solidFill>
                  <a:srgbClr val="000000"/>
                </a:solidFill>
              </a:rPr>
              <a:pPr defTabSz="914354"/>
              <a:t>‹N°›</a:t>
            </a:fld>
            <a:endParaRPr>
              <a:solidFill>
                <a:srgbClr val="000000"/>
              </a:solidFill>
            </a:endParaRPr>
          </a:p>
        </p:txBody>
      </p:sp>
    </p:spTree>
    <p:extLst>
      <p:ext uri="{BB962C8B-B14F-4D97-AF65-F5344CB8AC3E}">
        <p14:creationId xmlns:p14="http://schemas.microsoft.com/office/powerpoint/2010/main" val="2731933944"/>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Click to edit Master title style</a:t>
            </a:r>
          </a:p>
        </p:txBody>
      </p:sp>
      <p:sp>
        <p:nvSpPr>
          <p:cNvPr id="3" name="Content Placeholder 2"/>
          <p:cNvSpPr>
            <a:spLocks noGrp="1"/>
          </p:cNvSpPr>
          <p:nvPr>
            <p:ph idx="1"/>
          </p:nvPr>
        </p:nvSpPr>
        <p:spPr/>
        <p:txBody>
          <a:body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p:txBody>
      </p:sp>
      <p:sp>
        <p:nvSpPr>
          <p:cNvPr id="4" name="Espace réservé du numéro de diapositive 3"/>
          <p:cNvSpPr>
            <a:spLocks noGrp="1"/>
          </p:cNvSpPr>
          <p:nvPr>
            <p:ph type="sldNum" sz="quarter" idx="10"/>
          </p:nvPr>
        </p:nvSpPr>
        <p:spPr>
          <a:xfrm>
            <a:off x="8314730" y="4800600"/>
            <a:ext cx="200025" cy="206574"/>
          </a:xfrm>
          <a:prstGeom prst="rect">
            <a:avLst/>
          </a:prstGeom>
        </p:spPr>
        <p:txBody>
          <a:bodyPr/>
          <a:lstStyle>
            <a:lvl1pPr>
              <a:defRPr/>
            </a:lvl1pPr>
          </a:lstStyle>
          <a:p>
            <a:pPr>
              <a:defRPr/>
            </a:pPr>
            <a:fld id="{8FE715F7-F60E-43CF-B777-8E79C7370518}" type="slidenum">
              <a:rPr lang="fr-FR" altLang="fr-FR">
                <a:solidFill>
                  <a:srgbClr val="000000"/>
                </a:solidFill>
              </a:rPr>
              <a:pPr>
                <a:defRPr/>
              </a:pPr>
              <a:t>‹N°›</a:t>
            </a:fld>
            <a:endParaRPr lang="fr-FR" altLang="fr-FR">
              <a:solidFill>
                <a:srgbClr val="000000"/>
              </a:solidFill>
            </a:endParaRPr>
          </a:p>
        </p:txBody>
      </p:sp>
    </p:spTree>
    <p:extLst>
      <p:ext uri="{BB962C8B-B14F-4D97-AF65-F5344CB8AC3E}">
        <p14:creationId xmlns:p14="http://schemas.microsoft.com/office/powerpoint/2010/main" val="54164716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7713953"/>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13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343450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9" y="2704144"/>
            <a:ext cx="4831185" cy="966156"/>
          </a:xfrm>
        </p:spPr>
        <p:txBody>
          <a:bodyPr/>
          <a:lstStyle>
            <a:lvl1pPr marL="0" indent="0" algn="l">
              <a:buNone/>
              <a:defRPr baseline="0">
                <a:solidFill>
                  <a:schemeClr val="tx1"/>
                </a:solidFill>
              </a:defRPr>
            </a:lvl1pPr>
            <a:lvl2pPr marL="180966" indent="-180966" algn="l">
              <a:buClr>
                <a:schemeClr val="bg2"/>
              </a:buClr>
              <a:buSzPct val="100000"/>
              <a:buFont typeface="Wingdings" panose="05000000000000000000" pitchFamily="2" charset="2"/>
              <a:buChar char="§"/>
              <a:defRPr>
                <a:solidFill>
                  <a:schemeClr val="tx1"/>
                </a:solidFill>
              </a:defRPr>
            </a:lvl2pPr>
            <a:lvl3pPr marL="406780" indent="-19079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70" indent="-172792" algn="l">
              <a:spcBef>
                <a:spcPts val="24"/>
              </a:spcBef>
              <a:buFont typeface="Helvetica 55 Roman" panose="020B0604020202020204" pitchFamily="34" charset="0"/>
              <a:buChar char="–"/>
              <a:defRPr>
                <a:solidFill>
                  <a:schemeClr val="tx1"/>
                </a:solidFill>
              </a:defRPr>
            </a:lvl4pPr>
            <a:lvl5pPr marL="799160" indent="-190790" algn="l">
              <a:buFont typeface="Helvetica 55 Roman" panose="020B0604020202020204" pitchFamily="34" charset="0"/>
              <a:buChar char="–"/>
              <a:defRPr>
                <a:solidFill>
                  <a:schemeClr val="tx1"/>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3478030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2700463"/>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4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Content Placeholder 2"/>
          <p:cNvSpPr>
            <a:spLocks noGrp="1"/>
          </p:cNvSpPr>
          <p:nvPr>
            <p:ph idx="1" hasCustomPrompt="1"/>
          </p:nvPr>
        </p:nvSpPr>
        <p:spPr>
          <a:xfrm>
            <a:off x="314327" y="268289"/>
            <a:ext cx="8515349" cy="4281487"/>
          </a:xfrm>
        </p:spPr>
        <p:txBody>
          <a:bodyPr/>
          <a:lstStyle>
            <a:lvl1pPr>
              <a:spcBef>
                <a:spcPts val="0"/>
              </a:spcBef>
              <a:defRPr sz="3000"/>
            </a:lvl1pPr>
            <a:lvl2pPr marL="358757" indent="-358757">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1357510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71" y="268289"/>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Tree>
    <p:extLst>
      <p:ext uri="{BB962C8B-B14F-4D97-AF65-F5344CB8AC3E}">
        <p14:creationId xmlns:p14="http://schemas.microsoft.com/office/powerpoint/2010/main" val="381607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7"/>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3720926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45851253"/>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34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Tree>
    <p:extLst>
      <p:ext uri="{BB962C8B-B14F-4D97-AF65-F5344CB8AC3E}">
        <p14:creationId xmlns:p14="http://schemas.microsoft.com/office/powerpoint/2010/main" val="338390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86645498"/>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44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412186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93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D3AEEF0-FEAD-44CF-A18D-162E882CE67E}" type="datetimeFigureOut">
              <a:rPr lang="fr-FR" smtClean="0"/>
              <a:t>12/02/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34075495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5356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x">
  <p:cSld name="1_Titre et contenu">
    <p:spTree>
      <p:nvGrpSpPr>
        <p:cNvPr id="1" name=""/>
        <p:cNvGrpSpPr/>
        <p:nvPr/>
      </p:nvGrpSpPr>
      <p:grpSpPr>
        <a:xfrm>
          <a:off x="0" y="0"/>
          <a:ext cx="0" cy="0"/>
          <a:chOff x="0" y="0"/>
          <a:chExt cx="0" cy="0"/>
        </a:xfrm>
      </p:grpSpPr>
      <p:sp>
        <p:nvSpPr>
          <p:cNvPr id="20" name="Texte du titre"/>
          <p:cNvSpPr>
            <a:spLocks noGrp="1"/>
          </p:cNvSpPr>
          <p:nvPr>
            <p:ph type="title"/>
          </p:nvPr>
        </p:nvSpPr>
        <p:spPr>
          <a:prstGeom prst="rect">
            <a:avLst/>
          </a:prstGeom>
        </p:spPr>
        <p:txBody>
          <a:bodyPr/>
          <a:lstStyle/>
          <a:p>
            <a:r>
              <a:t>Texte du titre</a:t>
            </a:r>
          </a:p>
        </p:txBody>
      </p:sp>
      <p:sp>
        <p:nvSpPr>
          <p:cNvPr id="21"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 name="Numéro de diapositive"/>
          <p:cNvSpPr>
            <a:spLocks noGrp="1"/>
          </p:cNvSpPr>
          <p:nvPr>
            <p:ph type="sldNum" sz="quarter" idx="10"/>
          </p:nvPr>
        </p:nvSpPr>
        <p:spPr>
          <a:xfrm>
            <a:off x="8315325" y="4800600"/>
            <a:ext cx="200025" cy="206375"/>
          </a:xfrm>
          <a:prstGeom prst="rect">
            <a:avLst/>
          </a:prstGeom>
        </p:spPr>
        <p:txBody>
          <a:bodyPr lIns="34290" tIns="17145" rIns="34290" bIns="17145"/>
          <a:lstStyle>
            <a:lvl1pPr>
              <a:defRPr>
                <a:latin typeface="Arial" charset="0"/>
              </a:defRPr>
            </a:lvl1pPr>
          </a:lstStyle>
          <a:p>
            <a:pPr defTabSz="914354">
              <a:defRPr/>
            </a:pPr>
            <a:fld id="{955603C6-9BDD-45F3-993D-6AE9198ECE5E}" type="slidenum">
              <a:rPr>
                <a:solidFill>
                  <a:srgbClr val="000000"/>
                </a:solidFill>
              </a:rPr>
              <a:pPr defTabSz="914354">
                <a:defRPr/>
              </a:pPr>
              <a:t>‹N°›</a:t>
            </a:fld>
            <a:endParaRPr>
              <a:solidFill>
                <a:srgbClr val="000000"/>
              </a:solidFill>
            </a:endParaRPr>
          </a:p>
        </p:txBody>
      </p:sp>
    </p:spTree>
    <p:extLst>
      <p:ext uri="{BB962C8B-B14F-4D97-AF65-F5344CB8AC3E}">
        <p14:creationId xmlns:p14="http://schemas.microsoft.com/office/powerpoint/2010/main" val="3560881144"/>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11" name="Texte du titre"/>
          <p:cNvSpPr>
            <a:spLocks noGrp="1"/>
          </p:cNvSpPr>
          <p:nvPr>
            <p:ph type="title"/>
          </p:nvPr>
        </p:nvSpPr>
        <p:spPr>
          <a:xfrm>
            <a:off x="1143000" y="841772"/>
            <a:ext cx="6858000" cy="1790700"/>
          </a:xfrm>
          <a:prstGeom prst="rect">
            <a:avLst/>
          </a:prstGeom>
        </p:spPr>
        <p:txBody>
          <a:bodyPr anchor="b"/>
          <a:lstStyle>
            <a:lvl1pPr algn="ctr">
              <a:defRPr sz="4500"/>
            </a:lvl1pPr>
          </a:lstStyle>
          <a:p>
            <a:r>
              <a:t>Texte du titre</a:t>
            </a:r>
          </a:p>
        </p:txBody>
      </p:sp>
      <p:sp>
        <p:nvSpPr>
          <p:cNvPr id="12" name="Texte niveau 1…"/>
          <p:cNvSpPr>
            <a:spLocks noGrp="1"/>
          </p:cNvSpPr>
          <p:nvPr>
            <p:ph type="body" sz="quarter" idx="1"/>
          </p:nvPr>
        </p:nvSpPr>
        <p:spPr>
          <a:xfrm>
            <a:off x="1143000" y="2701528"/>
            <a:ext cx="6858000" cy="1241822"/>
          </a:xfrm>
          <a:prstGeom prst="rect">
            <a:avLst/>
          </a:prstGeom>
        </p:spPr>
        <p:txBody>
          <a:bodyPr/>
          <a:lstStyle>
            <a:lvl1pPr marL="0" indent="0" algn="ctr">
              <a:buSzTx/>
              <a:buFontTx/>
              <a:buNone/>
              <a:defRPr sz="1800"/>
            </a:lvl1pPr>
            <a:lvl2pPr marL="0" indent="171450" algn="ctr">
              <a:buSzTx/>
              <a:buFontTx/>
              <a:buNone/>
              <a:defRPr sz="1800"/>
            </a:lvl2pPr>
            <a:lvl3pPr marL="0" indent="342900" algn="ctr">
              <a:buSzTx/>
              <a:buFontTx/>
              <a:buNone/>
              <a:defRPr sz="1800"/>
            </a:lvl3pPr>
            <a:lvl4pPr marL="0" indent="514350" algn="ctr">
              <a:buSzTx/>
              <a:buFontTx/>
              <a:buNone/>
              <a:defRPr sz="1800"/>
            </a:lvl4pPr>
            <a:lvl5pPr marL="0" indent="685800" algn="ctr">
              <a:buSzTx/>
              <a:buFontTx/>
              <a:buNone/>
              <a:defRPr sz="180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a:spLocks noGrp="1"/>
          </p:cNvSpPr>
          <p:nvPr>
            <p:ph type="sldNum" sz="quarter" idx="2"/>
          </p:nvPr>
        </p:nvSpPr>
        <p:spPr>
          <a:xfrm>
            <a:off x="8314871" y="4800838"/>
            <a:ext cx="200479" cy="206693"/>
          </a:xfrm>
          <a:prstGeom prst="rect">
            <a:avLst/>
          </a:prstGeom>
        </p:spPr>
        <p:txBody>
          <a:bodyPr lIns="34290" tIns="17145" rIns="34290" bIns="17145"/>
          <a:lstStyle/>
          <a:p>
            <a:pPr defTabSz="914354"/>
            <a:fld id="{86CB4B4D-7CA3-9044-876B-883B54F8677D}" type="slidenum">
              <a:rPr>
                <a:solidFill>
                  <a:srgbClr val="000000"/>
                </a:solidFill>
              </a:rPr>
              <a:pPr defTabSz="914354"/>
              <a:t>‹N°›</a:t>
            </a:fld>
            <a:endParaRPr>
              <a:solidFill>
                <a:srgbClr val="000000"/>
              </a:solidFill>
            </a:endParaRPr>
          </a:p>
        </p:txBody>
      </p:sp>
    </p:spTree>
    <p:extLst>
      <p:ext uri="{BB962C8B-B14F-4D97-AF65-F5344CB8AC3E}">
        <p14:creationId xmlns:p14="http://schemas.microsoft.com/office/powerpoint/2010/main" val="1071062821"/>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990"/>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p:nvPr>
        </p:nvSpPr>
        <p:spPr/>
        <p:txBody>
          <a:bodyPr/>
          <a:lstStyle>
            <a:lvl1pPr>
              <a:defRPr/>
            </a:lvl1pPr>
          </a:lstStyle>
          <a:p>
            <a:r>
              <a:rPr lang="ru-RU"/>
              <a:t>Образец заголовка</a:t>
            </a:r>
            <a:endParaRPr lang="en-GB" dirty="0"/>
          </a:p>
        </p:txBody>
      </p:sp>
      <p:sp>
        <p:nvSpPr>
          <p:cNvPr id="6" name="Slide Number Placeholder 5">
            <a:extLst>
              <a:ext uri="{FF2B5EF4-FFF2-40B4-BE49-F238E27FC236}">
                <a16:creationId xmlns:a16="http://schemas.microsoft.com/office/drawing/2014/main" id="{AAEBBD9D-4191-4B82-9080-D83A02A74A7F}"/>
              </a:ext>
            </a:extLst>
          </p:cNvPr>
          <p:cNvSpPr>
            <a:spLocks noGrp="1"/>
          </p:cNvSpPr>
          <p:nvPr>
            <p:ph type="sldNum" sz="quarter" idx="10"/>
          </p:nvPr>
        </p:nvSpPr>
        <p:spPr>
          <a:xfrm>
            <a:off x="431800" y="4924425"/>
            <a:ext cx="565150" cy="123825"/>
          </a:xfrm>
          <a:prstGeom prst="rect">
            <a:avLst/>
          </a:prstGeom>
        </p:spPr>
        <p:txBody>
          <a:bodyPr/>
          <a:lstStyle>
            <a:lvl1pPr>
              <a:defRPr/>
            </a:lvl1pPr>
          </a:lstStyle>
          <a:p>
            <a:fld id="{B1CDD083-F011-491D-B8C7-08DCDFCE2A55}" type="slidenum">
              <a:rPr lang="fr-FR" altLang="fr-FR">
                <a:solidFill>
                  <a:srgbClr val="000000"/>
                </a:solidFill>
              </a:rPr>
              <a:pPr/>
              <a:t>‹N°›</a:t>
            </a:fld>
            <a:endParaRPr lang="fr-FR" altLang="fr-FR">
              <a:solidFill>
                <a:srgbClr val="000000"/>
              </a:solidFill>
            </a:endParaRPr>
          </a:p>
        </p:txBody>
      </p:sp>
    </p:spTree>
    <p:extLst>
      <p:ext uri="{BB962C8B-B14F-4D97-AF65-F5344CB8AC3E}">
        <p14:creationId xmlns:p14="http://schemas.microsoft.com/office/powerpoint/2010/main" val="3043803605"/>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11" name="Texte du titre"/>
          <p:cNvSpPr>
            <a:spLocks noGrp="1"/>
          </p:cNvSpPr>
          <p:nvPr>
            <p:ph type="title"/>
          </p:nvPr>
        </p:nvSpPr>
        <p:spPr>
          <a:xfrm>
            <a:off x="1143000" y="841772"/>
            <a:ext cx="6858000" cy="1790700"/>
          </a:xfrm>
          <a:prstGeom prst="rect">
            <a:avLst/>
          </a:prstGeom>
        </p:spPr>
        <p:txBody>
          <a:bodyPr anchor="b"/>
          <a:lstStyle>
            <a:lvl1pPr algn="ctr">
              <a:defRPr sz="4500"/>
            </a:lvl1pPr>
          </a:lstStyle>
          <a:p>
            <a:r>
              <a:t>Texte du titre</a:t>
            </a:r>
          </a:p>
        </p:txBody>
      </p:sp>
      <p:sp>
        <p:nvSpPr>
          <p:cNvPr id="12" name="Texte niveau 1…"/>
          <p:cNvSpPr>
            <a:spLocks noGrp="1"/>
          </p:cNvSpPr>
          <p:nvPr>
            <p:ph type="body" sz="quarter" idx="1"/>
          </p:nvPr>
        </p:nvSpPr>
        <p:spPr>
          <a:xfrm>
            <a:off x="1143000" y="2701528"/>
            <a:ext cx="6858000" cy="1241822"/>
          </a:xfrm>
          <a:prstGeom prst="rect">
            <a:avLst/>
          </a:prstGeom>
        </p:spPr>
        <p:txBody>
          <a:bodyPr/>
          <a:lstStyle>
            <a:lvl1pPr marL="0" indent="0" algn="ctr">
              <a:buSzTx/>
              <a:buFontTx/>
              <a:buNone/>
              <a:defRPr sz="1800"/>
            </a:lvl1pPr>
            <a:lvl2pPr marL="0" indent="171450" algn="ctr">
              <a:buSzTx/>
              <a:buFontTx/>
              <a:buNone/>
              <a:defRPr sz="1800"/>
            </a:lvl2pPr>
            <a:lvl3pPr marL="0" indent="342900" algn="ctr">
              <a:buSzTx/>
              <a:buFontTx/>
              <a:buNone/>
              <a:defRPr sz="1800"/>
            </a:lvl3pPr>
            <a:lvl4pPr marL="0" indent="514350" algn="ctr">
              <a:buSzTx/>
              <a:buFontTx/>
              <a:buNone/>
              <a:defRPr sz="1800"/>
            </a:lvl4pPr>
            <a:lvl5pPr marL="0" indent="685800" algn="ctr">
              <a:buSzTx/>
              <a:buFontTx/>
              <a:buNone/>
              <a:defRPr sz="180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a:spLocks noGrp="1"/>
          </p:cNvSpPr>
          <p:nvPr>
            <p:ph type="sldNum" sz="quarter" idx="2"/>
          </p:nvPr>
        </p:nvSpPr>
        <p:spPr>
          <a:xfrm>
            <a:off x="8314875" y="4800840"/>
            <a:ext cx="200479" cy="206693"/>
          </a:xfrm>
          <a:prstGeom prst="rect">
            <a:avLst/>
          </a:prstGeom>
        </p:spPr>
        <p:txBody>
          <a:bodyPr lIns="34290" tIns="17145" rIns="34290" bIns="17145"/>
          <a:lstStyle/>
          <a:p>
            <a:pPr defTabSz="914354"/>
            <a:fld id="{86CB4B4D-7CA3-9044-876B-883B54F8677D}" type="slidenum">
              <a:rPr>
                <a:solidFill>
                  <a:srgbClr val="000000"/>
                </a:solidFill>
              </a:rPr>
              <a:pPr defTabSz="914354"/>
              <a:t>‹N°›</a:t>
            </a:fld>
            <a:endParaRPr>
              <a:solidFill>
                <a:srgbClr val="000000"/>
              </a:solidFill>
            </a:endParaRPr>
          </a:p>
        </p:txBody>
      </p:sp>
    </p:spTree>
    <p:extLst>
      <p:ext uri="{BB962C8B-B14F-4D97-AF65-F5344CB8AC3E}">
        <p14:creationId xmlns:p14="http://schemas.microsoft.com/office/powerpoint/2010/main" val="1748756196"/>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4325" y="1184277"/>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239269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7" y="268290"/>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8" y="2704144"/>
            <a:ext cx="4831185" cy="966156"/>
          </a:xfrm>
        </p:spPr>
        <p:txBody>
          <a:bodyPr/>
          <a:lstStyle>
            <a:lvl1pPr marL="0" indent="0" algn="l">
              <a:buNone/>
              <a:defRPr baseline="0">
                <a:solidFill>
                  <a:schemeClr val="tx1"/>
                </a:solidFill>
              </a:defRPr>
            </a:lvl1pPr>
            <a:lvl2pPr marL="180962" indent="-180962" algn="l">
              <a:buClr>
                <a:schemeClr val="bg2"/>
              </a:buClr>
              <a:buSzPct val="100000"/>
              <a:buFont typeface="Wingdings" panose="05000000000000000000" pitchFamily="2" charset="2"/>
              <a:buChar char="§"/>
              <a:defRPr>
                <a:solidFill>
                  <a:schemeClr val="tx1"/>
                </a:solidFill>
              </a:defRPr>
            </a:lvl2pPr>
            <a:lvl3pPr marL="406770" indent="-190787"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55" indent="-172788" algn="l">
              <a:spcBef>
                <a:spcPts val="24"/>
              </a:spcBef>
              <a:buFont typeface="Helvetica 55 Roman" panose="020B0604020202020204" pitchFamily="34" charset="0"/>
              <a:buChar char="–"/>
              <a:defRPr>
                <a:solidFill>
                  <a:schemeClr val="tx1"/>
                </a:solidFill>
              </a:defRPr>
            </a:lvl4pPr>
            <a:lvl5pPr marL="799140" indent="-190787" algn="l">
              <a:buFont typeface="Helvetica 55 Roman" panose="020B0604020202020204" pitchFamily="34" charset="0"/>
              <a:buChar char="–"/>
              <a:defRPr>
                <a:solidFill>
                  <a:schemeClr val="tx1"/>
                </a:solidFill>
              </a:defRPr>
            </a:lvl5pPr>
            <a:lvl6pPr marL="2285829" indent="0" algn="ctr">
              <a:buNone/>
              <a:defRPr>
                <a:solidFill>
                  <a:schemeClr val="tx1">
                    <a:tint val="75000"/>
                  </a:schemeClr>
                </a:solidFill>
              </a:defRPr>
            </a:lvl6pPr>
            <a:lvl7pPr marL="2742995" indent="0" algn="ctr">
              <a:buNone/>
              <a:defRPr>
                <a:solidFill>
                  <a:schemeClr val="tx1">
                    <a:tint val="75000"/>
                  </a:schemeClr>
                </a:solidFill>
              </a:defRPr>
            </a:lvl7pPr>
            <a:lvl8pPr marL="3200160" indent="0" algn="ctr">
              <a:buNone/>
              <a:defRPr>
                <a:solidFill>
                  <a:schemeClr val="tx1">
                    <a:tint val="75000"/>
                  </a:schemeClr>
                </a:solidFill>
              </a:defRPr>
            </a:lvl8pPr>
            <a:lvl9pPr marL="3657326"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36746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314328" y="268290"/>
            <a:ext cx="8515349" cy="4281487"/>
          </a:xfrm>
        </p:spPr>
        <p:txBody>
          <a:bodyPr/>
          <a:lstStyle>
            <a:lvl1pPr>
              <a:spcBef>
                <a:spcPts val="0"/>
              </a:spcBef>
              <a:defRPr sz="3000"/>
            </a:lvl1pPr>
            <a:lvl2pPr marL="358748" indent="-358748">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125688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72" y="268290"/>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
        <p:nvSpPr>
          <p:cNvPr id="4" name="TextBox 3"/>
          <p:cNvSpPr txBox="1"/>
          <p:nvPr userDrawn="1"/>
        </p:nvSpPr>
        <p:spPr>
          <a:xfrm>
            <a:off x="619545" y="4749147"/>
            <a:ext cx="1047162" cy="126958"/>
          </a:xfrm>
          <a:prstGeom prst="rect">
            <a:avLst/>
          </a:prstGeom>
          <a:noFill/>
        </p:spPr>
        <p:txBody>
          <a:bodyPr wrap="none" lIns="0" tIns="0" rIns="0" bIns="0" rtlCol="0">
            <a:spAutoFit/>
          </a:bodyPr>
          <a:lstStyle/>
          <a:p>
            <a:pPr defTabSz="914333"/>
            <a:r>
              <a:rPr lang="fr-FR" sz="800" dirty="0">
                <a:solidFill>
                  <a:srgbClr val="FF7900"/>
                </a:solidFill>
              </a:rPr>
              <a:t>Interne Orange Bank</a:t>
            </a:r>
          </a:p>
        </p:txBody>
      </p:sp>
    </p:spTree>
    <p:extLst>
      <p:ext uri="{BB962C8B-B14F-4D97-AF65-F5344CB8AC3E}">
        <p14:creationId xmlns:p14="http://schemas.microsoft.com/office/powerpoint/2010/main" val="65300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6"/>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9"/>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
        <p:nvSpPr>
          <p:cNvPr id="7" name="TextBox 6"/>
          <p:cNvSpPr txBox="1"/>
          <p:nvPr userDrawn="1"/>
        </p:nvSpPr>
        <p:spPr>
          <a:xfrm>
            <a:off x="619545" y="4749147"/>
            <a:ext cx="1047162" cy="126958"/>
          </a:xfrm>
          <a:prstGeom prst="rect">
            <a:avLst/>
          </a:prstGeom>
          <a:noFill/>
        </p:spPr>
        <p:txBody>
          <a:bodyPr wrap="none" lIns="0" tIns="0" rIns="0" bIns="0" rtlCol="0">
            <a:spAutoFit/>
          </a:bodyPr>
          <a:lstStyle/>
          <a:p>
            <a:pPr defTabSz="914333"/>
            <a:r>
              <a:rPr lang="fr-FR" sz="800" dirty="0">
                <a:solidFill>
                  <a:srgbClr val="FF7900"/>
                </a:solidFill>
              </a:rPr>
              <a:t>Interne Orange Bank</a:t>
            </a:r>
          </a:p>
        </p:txBody>
      </p:sp>
    </p:spTree>
    <p:extLst>
      <p:ext uri="{BB962C8B-B14F-4D97-AF65-F5344CB8AC3E}">
        <p14:creationId xmlns:p14="http://schemas.microsoft.com/office/powerpoint/2010/main" val="419431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
        <p:nvSpPr>
          <p:cNvPr id="5" name="TextBox 4"/>
          <p:cNvSpPr txBox="1"/>
          <p:nvPr userDrawn="1"/>
        </p:nvSpPr>
        <p:spPr>
          <a:xfrm>
            <a:off x="619545" y="4749147"/>
            <a:ext cx="1047162" cy="126958"/>
          </a:xfrm>
          <a:prstGeom prst="rect">
            <a:avLst/>
          </a:prstGeom>
          <a:noFill/>
        </p:spPr>
        <p:txBody>
          <a:bodyPr wrap="none" lIns="0" tIns="0" rIns="0" bIns="0" rtlCol="0">
            <a:spAutoFit/>
          </a:bodyPr>
          <a:lstStyle/>
          <a:p>
            <a:pPr defTabSz="914333"/>
            <a:r>
              <a:rPr lang="fr-FR" sz="800" dirty="0">
                <a:solidFill>
                  <a:srgbClr val="FF7900"/>
                </a:solidFill>
              </a:rPr>
              <a:t>Interne Orange Bank</a:t>
            </a:r>
          </a:p>
        </p:txBody>
      </p:sp>
    </p:spTree>
    <p:extLst>
      <p:ext uri="{BB962C8B-B14F-4D97-AF65-F5344CB8AC3E}">
        <p14:creationId xmlns:p14="http://schemas.microsoft.com/office/powerpoint/2010/main" val="334328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149073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TextBox 2"/>
          <p:cNvSpPr txBox="1"/>
          <p:nvPr userDrawn="1"/>
        </p:nvSpPr>
        <p:spPr>
          <a:xfrm>
            <a:off x="619545" y="4749147"/>
            <a:ext cx="1047162" cy="126958"/>
          </a:xfrm>
          <a:prstGeom prst="rect">
            <a:avLst/>
          </a:prstGeom>
          <a:noFill/>
        </p:spPr>
        <p:txBody>
          <a:bodyPr wrap="none" lIns="0" tIns="0" rIns="0" bIns="0" rtlCol="0">
            <a:spAutoFit/>
          </a:bodyPr>
          <a:lstStyle/>
          <a:p>
            <a:pPr defTabSz="914333"/>
            <a:r>
              <a:rPr lang="fr-FR" sz="800" dirty="0">
                <a:solidFill>
                  <a:srgbClr val="FF7900"/>
                </a:solidFill>
              </a:rPr>
              <a:t>Interne Orange Bank</a:t>
            </a:r>
          </a:p>
        </p:txBody>
      </p:sp>
    </p:spTree>
    <p:extLst>
      <p:ext uri="{BB962C8B-B14F-4D97-AF65-F5344CB8AC3E}">
        <p14:creationId xmlns:p14="http://schemas.microsoft.com/office/powerpoint/2010/main" val="174542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3305176"/>
            <a:ext cx="7772400" cy="1021556"/>
          </a:xfr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7D3AEEF0-FEAD-44CF-A18D-162E882CE67E}" type="datetimeFigureOut">
              <a:rPr lang="fr-FR" smtClean="0"/>
              <a:t>12/02/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52522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re de la présentation">
    <p:spTree>
      <p:nvGrpSpPr>
        <p:cNvPr id="1" name=""/>
        <p:cNvGrpSpPr/>
        <p:nvPr/>
      </p:nvGrpSpPr>
      <p:grpSpPr>
        <a:xfrm>
          <a:off x="0" y="0"/>
          <a:ext cx="0" cy="0"/>
          <a:chOff x="0" y="0"/>
          <a:chExt cx="0" cy="0"/>
        </a:xfrm>
      </p:grpSpPr>
      <p:sp>
        <p:nvSpPr>
          <p:cNvPr id="15" name="Rectangle 14"/>
          <p:cNvSpPr/>
          <p:nvPr userDrawn="1"/>
        </p:nvSpPr>
        <p:spPr>
          <a:xfrm>
            <a:off x="167951" y="4469084"/>
            <a:ext cx="4237362" cy="483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en-GB" dirty="0">
              <a:solidFill>
                <a:srgbClr val="FFFFFF"/>
              </a:solidFill>
            </a:endParaRPr>
          </a:p>
        </p:txBody>
      </p:sp>
      <p:sp>
        <p:nvSpPr>
          <p:cNvPr id="5" name="Text Placeholder 4"/>
          <p:cNvSpPr>
            <a:spLocks noGrp="1"/>
          </p:cNvSpPr>
          <p:nvPr>
            <p:ph type="body" sz="quarter" idx="11" hasCustomPrompt="1"/>
          </p:nvPr>
        </p:nvSpPr>
        <p:spPr>
          <a:xfrm>
            <a:off x="339728" y="339726"/>
            <a:ext cx="5832475" cy="3460750"/>
          </a:xfrm>
        </p:spPr>
        <p:txBody>
          <a:bodyPr/>
          <a:lstStyle>
            <a:lvl1pPr>
              <a:lnSpc>
                <a:spcPct val="85000"/>
              </a:lnSpc>
              <a:spcAft>
                <a:spcPts val="3200"/>
              </a:spcAft>
              <a:defRPr sz="5500">
                <a:solidFill>
                  <a:schemeClr val="tx1"/>
                </a:solidFill>
                <a:latin typeface="Helvetica 75 Bold" panose="020B0804020202020204" pitchFamily="34" charset="0"/>
              </a:defRPr>
            </a:lvl1pPr>
            <a:lvl2pPr>
              <a:lnSpc>
                <a:spcPct val="90000"/>
              </a:lnSpc>
              <a:spcAft>
                <a:spcPts val="24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
        <p:nvSpPr>
          <p:cNvPr id="3" name="Text Placeholder 2"/>
          <p:cNvSpPr>
            <a:spLocks noGrp="1"/>
          </p:cNvSpPr>
          <p:nvPr>
            <p:ph type="body" sz="quarter" idx="12" hasCustomPrompt="1"/>
          </p:nvPr>
        </p:nvSpPr>
        <p:spPr>
          <a:xfrm>
            <a:off x="6508767" y="339726"/>
            <a:ext cx="2301875" cy="3460750"/>
          </a:xfrm>
        </p:spPr>
        <p:txBody>
          <a:bodyPr tIns="109719"/>
          <a:lstStyle>
            <a:lvl1pPr>
              <a:spcAft>
                <a:spcPts val="2400"/>
              </a:spcAft>
              <a:defRPr baseline="0">
                <a:latin typeface="Helvetica 75 Bold" panose="020B0804020202020204" pitchFamily="34" charset="0"/>
              </a:defRPr>
            </a:lvl1pPr>
            <a:lvl2pPr>
              <a:spcAft>
                <a:spcPts val="24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pic>
        <p:nvPicPr>
          <p:cNvPr id="3074" name="Picture 2" descr="C:\Users\GB4363\Desktop\ORANGE_CARE_Frame_RGB_BLANK\Logo_orangebank_RVB_Black_V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67951" y="4132698"/>
            <a:ext cx="672762" cy="6727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618355"/>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plusieurs niveaux hiérarchiqu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015206" y="303610"/>
            <a:ext cx="7071413" cy="737100"/>
          </a:xfrm>
        </p:spPr>
        <p:txBody>
          <a:bodyPr/>
          <a:lstStyle>
            <a:lvl1pPr algn="l">
              <a:defRPr/>
            </a:lvl1pPr>
          </a:lstStyle>
          <a:p>
            <a:r>
              <a:rPr lang="fr-FR" dirty="0"/>
              <a:t>diapositive avec plusieurs niveaux hiérarchiques</a:t>
            </a:r>
          </a:p>
        </p:txBody>
      </p:sp>
      <p:sp>
        <p:nvSpPr>
          <p:cNvPr id="4" name="Espace réservé du contenu 2"/>
          <p:cNvSpPr>
            <a:spLocks noGrp="1"/>
          </p:cNvSpPr>
          <p:nvPr>
            <p:ph idx="1" hasCustomPrompt="1"/>
          </p:nvPr>
        </p:nvSpPr>
        <p:spPr>
          <a:xfrm>
            <a:off x="1042991" y="1329929"/>
            <a:ext cx="7058025" cy="2915840"/>
          </a:xfrm>
        </p:spPr>
        <p:txBody>
          <a:bodyPr/>
          <a:lstStyle>
            <a:lvl1pPr>
              <a:defRPr sz="1800" baseline="0">
                <a:solidFill>
                  <a:srgbClr val="FF6600"/>
                </a:solidFill>
                <a:latin typeface="Helvetica 55 Roman" pitchFamily="34" charset="0"/>
              </a:defRPr>
            </a:lvl1pPr>
            <a:lvl2pPr>
              <a:spcAft>
                <a:spcPct val="0"/>
              </a:spcAft>
              <a:buFont typeface="Arial" charset="0"/>
              <a:buChar char="–"/>
              <a:defRPr sz="1600">
                <a:latin typeface="Helvetica 55 Roman" pitchFamily="34" charset="0"/>
              </a:defRPr>
            </a:lvl2pPr>
            <a:lvl3pPr>
              <a:defRPr sz="1600">
                <a:latin typeface="Helvetica 55 Roman" pitchFamily="34" charset="0"/>
              </a:defRPr>
            </a:lvl3pPr>
            <a:lvl4pPr>
              <a:defRPr sz="1600">
                <a:latin typeface="Helvetica 55 Roman" pitchFamily="34" charset="0"/>
              </a:defRPr>
            </a:lvl4pPr>
            <a:lvl5pPr>
              <a:defRPr sz="1600" baseline="0">
                <a:latin typeface="Helvetica 55 Roman"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453829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re et message clé">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39728" y="1304927"/>
            <a:ext cx="8470899" cy="3165475"/>
          </a:xfrm>
        </p:spPr>
        <p:txBody>
          <a:bodyPr/>
          <a:lstStyle>
            <a:lvl1pPr>
              <a:lnSpc>
                <a:spcPct val="85000"/>
              </a:lnSpc>
              <a:spcAft>
                <a:spcPts val="2400"/>
              </a:spcAft>
              <a:defRPr sz="3000" baseline="0">
                <a:solidFill>
                  <a:schemeClr val="tx1"/>
                </a:solidFill>
                <a:latin typeface="Helvetica 75 Bold" panose="020B0804020202020204" pitchFamily="34" charset="0"/>
              </a:defRPr>
            </a:lvl1pPr>
            <a:lvl2pPr>
              <a:lnSpc>
                <a:spcPct val="90000"/>
              </a:lnSpc>
              <a:spcAft>
                <a:spcPts val="800"/>
              </a:spcAft>
              <a:defRPr sz="1400">
                <a:solidFill>
                  <a:schemeClr val="tx1"/>
                </a:solidFill>
                <a:latin typeface="Helvetica 75 Bold" panose="020B0804020202020204" pitchFamily="34" charset="0"/>
              </a:defRPr>
            </a:lvl2pPr>
            <a:lvl3pPr>
              <a:lnSpc>
                <a:spcPct val="90000"/>
              </a:lnSpc>
              <a:spcAft>
                <a:spcPts val="800"/>
              </a:spcAft>
              <a:defRPr sz="1400">
                <a:solidFill>
                  <a:schemeClr val="tx1"/>
                </a:solidFill>
                <a:latin typeface="Helvetica 75 Bold" panose="020B0804020202020204" pitchFamily="34" charset="0"/>
              </a:defRPr>
            </a:lvl3pPr>
            <a:lvl4pPr>
              <a:lnSpc>
                <a:spcPct val="90000"/>
              </a:lnSpc>
              <a:spcAft>
                <a:spcPts val="800"/>
              </a:spcAft>
              <a:defRPr sz="1400">
                <a:solidFill>
                  <a:schemeClr val="tx1"/>
                </a:solidFill>
                <a:latin typeface="Helvetica 75 Bold" panose="020B0804020202020204" pitchFamily="34" charset="0"/>
              </a:defRPr>
            </a:lvl4pPr>
            <a:lvl5pPr>
              <a:lnSpc>
                <a:spcPct val="90000"/>
              </a:lnSpc>
              <a:spcAft>
                <a:spcPts val="800"/>
              </a:spcAft>
              <a:defRPr sz="1400">
                <a:solidFill>
                  <a:schemeClr val="tx1"/>
                </a:solidFill>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Title 1"/>
          <p:cNvSpPr>
            <a:spLocks noGrp="1"/>
          </p:cNvSpPr>
          <p:nvPr>
            <p:ph type="title" hasCustomPrompt="1"/>
          </p:nvPr>
        </p:nvSpPr>
        <p:spPr>
          <a:xfrm>
            <a:off x="339726" y="339725"/>
            <a:ext cx="8470900" cy="623889"/>
          </a:xfrm>
        </p:spPr>
        <p:txBody>
          <a:bodyPr/>
          <a:lstStyle>
            <a:lvl1pPr>
              <a:lnSpc>
                <a:spcPct val="90000"/>
              </a:lnSpc>
              <a:spcAft>
                <a:spcPts val="0"/>
              </a:spcAft>
              <a:defRPr sz="2000">
                <a:solidFill>
                  <a:srgbClr val="FF6600"/>
                </a:solidFill>
                <a:latin typeface="Helvetica 75 Bold" panose="020B0804020202020204" pitchFamily="34" charset="0"/>
              </a:defRPr>
            </a:lvl1pPr>
          </a:lstStyle>
          <a:p>
            <a:r>
              <a:rPr lang="fr-FR" dirty="0"/>
              <a:t>Modifiez le titre</a:t>
            </a:r>
            <a:endParaRPr lang="en-US" dirty="0"/>
          </a:p>
        </p:txBody>
      </p:sp>
    </p:spTree>
    <p:extLst>
      <p:ext uri="{BB962C8B-B14F-4D97-AF65-F5344CB8AC3E}">
        <p14:creationId xmlns:p14="http://schemas.microsoft.com/office/powerpoint/2010/main" val="181809521"/>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re de la présentation">
    <p:spTree>
      <p:nvGrpSpPr>
        <p:cNvPr id="1" name=""/>
        <p:cNvGrpSpPr/>
        <p:nvPr/>
      </p:nvGrpSpPr>
      <p:grpSpPr>
        <a:xfrm>
          <a:off x="0" y="0"/>
          <a:ext cx="0" cy="0"/>
          <a:chOff x="0" y="0"/>
          <a:chExt cx="0" cy="0"/>
        </a:xfrm>
      </p:grpSpPr>
      <p:sp>
        <p:nvSpPr>
          <p:cNvPr id="17" name="Rectangle 16"/>
          <p:cNvSpPr/>
          <p:nvPr userDrawn="1"/>
        </p:nvSpPr>
        <p:spPr>
          <a:xfrm>
            <a:off x="167951" y="4469074"/>
            <a:ext cx="4237362" cy="4837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3"/>
            <a:endParaRPr lang="en-GB" dirty="0">
              <a:solidFill>
                <a:srgbClr val="FFFFFF"/>
              </a:solidFill>
            </a:endParaRPr>
          </a:p>
        </p:txBody>
      </p:sp>
      <p:grpSp>
        <p:nvGrpSpPr>
          <p:cNvPr id="2" name="Group 5"/>
          <p:cNvGrpSpPr/>
          <p:nvPr userDrawn="1"/>
        </p:nvGrpSpPr>
        <p:grpSpPr>
          <a:xfrm>
            <a:off x="339725" y="4130674"/>
            <a:ext cx="676803" cy="676803"/>
            <a:chOff x="360362" y="1781889"/>
            <a:chExt cx="1144765" cy="1144191"/>
          </a:xfrm>
        </p:grpSpPr>
        <p:sp>
          <p:nvSpPr>
            <p:cNvPr id="7" name="Rectangle 6"/>
            <p:cNvSpPr>
              <a:spLocks noChangeArrowheads="1"/>
            </p:cNvSpPr>
            <p:nvPr/>
          </p:nvSpPr>
          <p:spPr bwMode="auto">
            <a:xfrm>
              <a:off x="360362" y="1781889"/>
              <a:ext cx="1144765" cy="1144191"/>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en-GB" kern="0" dirty="0">
                <a:solidFill>
                  <a:srgbClr val="FF6600"/>
                </a:solidFill>
              </a:endParaRPr>
            </a:p>
          </p:txBody>
        </p:sp>
        <p:sp>
          <p:nvSpPr>
            <p:cNvPr id="8" name="Freeform 7"/>
            <p:cNvSpPr>
              <a:spLocks noEditPoints="1"/>
            </p:cNvSpPr>
            <p:nvPr/>
          </p:nvSpPr>
          <p:spPr bwMode="auto">
            <a:xfrm>
              <a:off x="702813" y="2650392"/>
              <a:ext cx="142160" cy="166334"/>
            </a:xfrm>
            <a:custGeom>
              <a:avLst/>
              <a:gdLst>
                <a:gd name="T0" fmla="*/ 31 w 104"/>
                <a:gd name="T1" fmla="*/ 85 h 122"/>
                <a:gd name="T2" fmla="*/ 45 w 104"/>
                <a:gd name="T3" fmla="*/ 101 h 122"/>
                <a:gd name="T4" fmla="*/ 73 w 104"/>
                <a:gd name="T5" fmla="*/ 88 h 122"/>
                <a:gd name="T6" fmla="*/ 73 w 104"/>
                <a:gd name="T7" fmla="*/ 60 h 122"/>
                <a:gd name="T8" fmla="*/ 31 w 104"/>
                <a:gd name="T9" fmla="*/ 85 h 122"/>
                <a:gd name="T10" fmla="*/ 74 w 104"/>
                <a:gd name="T11" fmla="*/ 110 h 122"/>
                <a:gd name="T12" fmla="*/ 35 w 104"/>
                <a:gd name="T13" fmla="*/ 122 h 122"/>
                <a:gd name="T14" fmla="*/ 0 w 104"/>
                <a:gd name="T15" fmla="*/ 88 h 122"/>
                <a:gd name="T16" fmla="*/ 74 w 104"/>
                <a:gd name="T17" fmla="*/ 42 h 122"/>
                <a:gd name="T18" fmla="*/ 74 w 104"/>
                <a:gd name="T19" fmla="*/ 35 h 122"/>
                <a:gd name="T20" fmla="*/ 56 w 104"/>
                <a:gd name="T21" fmla="*/ 22 h 122"/>
                <a:gd name="T22" fmla="*/ 27 w 104"/>
                <a:gd name="T23" fmla="*/ 35 h 122"/>
                <a:gd name="T24" fmla="*/ 6 w 104"/>
                <a:gd name="T25" fmla="*/ 23 h 122"/>
                <a:gd name="T26" fmla="*/ 56 w 104"/>
                <a:gd name="T27" fmla="*/ 0 h 122"/>
                <a:gd name="T28" fmla="*/ 104 w 104"/>
                <a:gd name="T29" fmla="*/ 35 h 122"/>
                <a:gd name="T30" fmla="*/ 104 w 104"/>
                <a:gd name="T31" fmla="*/ 120 h 122"/>
                <a:gd name="T32" fmla="*/ 77 w 104"/>
                <a:gd name="T33" fmla="*/ 120 h 122"/>
                <a:gd name="T34" fmla="*/ 74 w 104"/>
                <a:gd name="T35"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22">
                  <a:moveTo>
                    <a:pt x="31" y="85"/>
                  </a:moveTo>
                  <a:cubicBezTo>
                    <a:pt x="31" y="93"/>
                    <a:pt x="36" y="101"/>
                    <a:pt x="45" y="101"/>
                  </a:cubicBezTo>
                  <a:cubicBezTo>
                    <a:pt x="54" y="101"/>
                    <a:pt x="64" y="97"/>
                    <a:pt x="73" y="88"/>
                  </a:cubicBezTo>
                  <a:cubicBezTo>
                    <a:pt x="73" y="60"/>
                    <a:pt x="73" y="60"/>
                    <a:pt x="73" y="60"/>
                  </a:cubicBezTo>
                  <a:cubicBezTo>
                    <a:pt x="44" y="64"/>
                    <a:pt x="31" y="71"/>
                    <a:pt x="31" y="85"/>
                  </a:cubicBezTo>
                  <a:moveTo>
                    <a:pt x="74" y="110"/>
                  </a:moveTo>
                  <a:cubicBezTo>
                    <a:pt x="62" y="118"/>
                    <a:pt x="49" y="122"/>
                    <a:pt x="35" y="122"/>
                  </a:cubicBezTo>
                  <a:cubicBezTo>
                    <a:pt x="13" y="122"/>
                    <a:pt x="0" y="107"/>
                    <a:pt x="0" y="88"/>
                  </a:cubicBezTo>
                  <a:cubicBezTo>
                    <a:pt x="0" y="61"/>
                    <a:pt x="24" y="47"/>
                    <a:pt x="74" y="42"/>
                  </a:cubicBezTo>
                  <a:cubicBezTo>
                    <a:pt x="74" y="35"/>
                    <a:pt x="74" y="35"/>
                    <a:pt x="74" y="35"/>
                  </a:cubicBezTo>
                  <a:cubicBezTo>
                    <a:pt x="74" y="27"/>
                    <a:pt x="68" y="22"/>
                    <a:pt x="56" y="22"/>
                  </a:cubicBezTo>
                  <a:cubicBezTo>
                    <a:pt x="44" y="22"/>
                    <a:pt x="34" y="26"/>
                    <a:pt x="27" y="35"/>
                  </a:cubicBezTo>
                  <a:cubicBezTo>
                    <a:pt x="6" y="23"/>
                    <a:pt x="6" y="23"/>
                    <a:pt x="6" y="23"/>
                  </a:cubicBezTo>
                  <a:cubicBezTo>
                    <a:pt x="17" y="8"/>
                    <a:pt x="34" y="0"/>
                    <a:pt x="56" y="0"/>
                  </a:cubicBezTo>
                  <a:cubicBezTo>
                    <a:pt x="87" y="0"/>
                    <a:pt x="104" y="14"/>
                    <a:pt x="104" y="35"/>
                  </a:cubicBezTo>
                  <a:cubicBezTo>
                    <a:pt x="104" y="35"/>
                    <a:pt x="104" y="120"/>
                    <a:pt x="104" y="120"/>
                  </a:cubicBezTo>
                  <a:cubicBezTo>
                    <a:pt x="77" y="120"/>
                    <a:pt x="77" y="120"/>
                    <a:pt x="77" y="120"/>
                  </a:cubicBezTo>
                  <a:lnTo>
                    <a:pt x="7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en-GB" kern="0" dirty="0">
                <a:solidFill>
                  <a:sysClr val="windowText" lastClr="000000"/>
                </a:solidFill>
              </a:endParaRPr>
            </a:p>
          </p:txBody>
        </p:sp>
        <p:sp>
          <p:nvSpPr>
            <p:cNvPr id="9" name="Freeform 7"/>
            <p:cNvSpPr>
              <a:spLocks/>
            </p:cNvSpPr>
            <p:nvPr/>
          </p:nvSpPr>
          <p:spPr bwMode="auto">
            <a:xfrm>
              <a:off x="878931" y="2650392"/>
              <a:ext cx="143311" cy="164031"/>
            </a:xfrm>
            <a:custGeom>
              <a:avLst/>
              <a:gdLst>
                <a:gd name="T0" fmla="*/ 0 w 105"/>
                <a:gd name="T1" fmla="*/ 6 h 120"/>
                <a:gd name="T2" fmla="*/ 25 w 105"/>
                <a:gd name="T3" fmla="*/ 2 h 120"/>
                <a:gd name="T4" fmla="*/ 28 w 105"/>
                <a:gd name="T5" fmla="*/ 16 h 120"/>
                <a:gd name="T6" fmla="*/ 68 w 105"/>
                <a:gd name="T7" fmla="*/ 0 h 120"/>
                <a:gd name="T8" fmla="*/ 105 w 105"/>
                <a:gd name="T9" fmla="*/ 38 h 120"/>
                <a:gd name="T10" fmla="*/ 105 w 105"/>
                <a:gd name="T11" fmla="*/ 120 h 120"/>
                <a:gd name="T12" fmla="*/ 74 w 105"/>
                <a:gd name="T13" fmla="*/ 120 h 120"/>
                <a:gd name="T14" fmla="*/ 74 w 105"/>
                <a:gd name="T15" fmla="*/ 44 h 120"/>
                <a:gd name="T16" fmla="*/ 59 w 105"/>
                <a:gd name="T17" fmla="*/ 23 h 120"/>
                <a:gd name="T18" fmla="*/ 30 w 105"/>
                <a:gd name="T19" fmla="*/ 36 h 120"/>
                <a:gd name="T20" fmla="*/ 30 w 105"/>
                <a:gd name="T21" fmla="*/ 120 h 120"/>
                <a:gd name="T22" fmla="*/ 0 w 105"/>
                <a:gd name="T23" fmla="*/ 120 h 120"/>
                <a:gd name="T24" fmla="*/ 0 w 105"/>
                <a:gd name="T25"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20">
                  <a:moveTo>
                    <a:pt x="0" y="6"/>
                  </a:moveTo>
                  <a:cubicBezTo>
                    <a:pt x="25" y="2"/>
                    <a:pt x="25" y="2"/>
                    <a:pt x="25" y="2"/>
                  </a:cubicBezTo>
                  <a:cubicBezTo>
                    <a:pt x="28" y="16"/>
                    <a:pt x="28" y="16"/>
                    <a:pt x="28" y="16"/>
                  </a:cubicBezTo>
                  <a:cubicBezTo>
                    <a:pt x="42" y="6"/>
                    <a:pt x="54" y="0"/>
                    <a:pt x="68" y="0"/>
                  </a:cubicBezTo>
                  <a:cubicBezTo>
                    <a:pt x="92" y="0"/>
                    <a:pt x="105" y="13"/>
                    <a:pt x="105" y="38"/>
                  </a:cubicBezTo>
                  <a:cubicBezTo>
                    <a:pt x="105" y="120"/>
                    <a:pt x="105" y="120"/>
                    <a:pt x="105" y="120"/>
                  </a:cubicBezTo>
                  <a:cubicBezTo>
                    <a:pt x="74" y="120"/>
                    <a:pt x="74" y="120"/>
                    <a:pt x="74" y="120"/>
                  </a:cubicBezTo>
                  <a:cubicBezTo>
                    <a:pt x="74" y="44"/>
                    <a:pt x="74" y="44"/>
                    <a:pt x="74" y="44"/>
                  </a:cubicBezTo>
                  <a:cubicBezTo>
                    <a:pt x="74" y="29"/>
                    <a:pt x="70" y="23"/>
                    <a:pt x="59" y="23"/>
                  </a:cubicBezTo>
                  <a:cubicBezTo>
                    <a:pt x="50" y="23"/>
                    <a:pt x="41" y="27"/>
                    <a:pt x="30" y="36"/>
                  </a:cubicBezTo>
                  <a:cubicBezTo>
                    <a:pt x="30" y="120"/>
                    <a:pt x="30" y="120"/>
                    <a:pt x="30" y="120"/>
                  </a:cubicBezTo>
                  <a:cubicBezTo>
                    <a:pt x="0" y="120"/>
                    <a:pt x="0" y="120"/>
                    <a:pt x="0" y="12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en-GB" kern="0" dirty="0">
                <a:solidFill>
                  <a:sysClr val="windowText" lastClr="000000"/>
                </a:solidFill>
              </a:endParaRPr>
            </a:p>
          </p:txBody>
        </p:sp>
        <p:sp>
          <p:nvSpPr>
            <p:cNvPr id="10" name="Freeform 8"/>
            <p:cNvSpPr>
              <a:spLocks noEditPoints="1"/>
            </p:cNvSpPr>
            <p:nvPr/>
          </p:nvSpPr>
          <p:spPr bwMode="auto">
            <a:xfrm>
              <a:off x="1225411" y="2650392"/>
              <a:ext cx="149067" cy="166334"/>
            </a:xfrm>
            <a:custGeom>
              <a:avLst/>
              <a:gdLst>
                <a:gd name="T0" fmla="*/ 79 w 109"/>
                <a:gd name="T1" fmla="*/ 46 h 122"/>
                <a:gd name="T2" fmla="*/ 55 w 109"/>
                <a:gd name="T3" fmla="*/ 21 h 122"/>
                <a:gd name="T4" fmla="*/ 31 w 109"/>
                <a:gd name="T5" fmla="*/ 46 h 122"/>
                <a:gd name="T6" fmla="*/ 79 w 109"/>
                <a:gd name="T7" fmla="*/ 46 h 122"/>
                <a:gd name="T8" fmla="*/ 56 w 109"/>
                <a:gd name="T9" fmla="*/ 122 h 122"/>
                <a:gd name="T10" fmla="*/ 0 w 109"/>
                <a:gd name="T11" fmla="*/ 62 h 122"/>
                <a:gd name="T12" fmla="*/ 55 w 109"/>
                <a:gd name="T13" fmla="*/ 0 h 122"/>
                <a:gd name="T14" fmla="*/ 109 w 109"/>
                <a:gd name="T15" fmla="*/ 60 h 122"/>
                <a:gd name="T16" fmla="*/ 109 w 109"/>
                <a:gd name="T17" fmla="*/ 66 h 122"/>
                <a:gd name="T18" fmla="*/ 31 w 109"/>
                <a:gd name="T19" fmla="*/ 66 h 122"/>
                <a:gd name="T20" fmla="*/ 58 w 109"/>
                <a:gd name="T21" fmla="*/ 100 h 122"/>
                <a:gd name="T22" fmla="*/ 85 w 109"/>
                <a:gd name="T23" fmla="*/ 84 h 122"/>
                <a:gd name="T24" fmla="*/ 108 w 109"/>
                <a:gd name="T25" fmla="*/ 97 h 122"/>
                <a:gd name="T26" fmla="*/ 56 w 109"/>
                <a:gd name="T2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2">
                  <a:moveTo>
                    <a:pt x="79" y="46"/>
                  </a:moveTo>
                  <a:cubicBezTo>
                    <a:pt x="79" y="30"/>
                    <a:pt x="70" y="21"/>
                    <a:pt x="55" y="21"/>
                  </a:cubicBezTo>
                  <a:cubicBezTo>
                    <a:pt x="41" y="21"/>
                    <a:pt x="32" y="30"/>
                    <a:pt x="31" y="46"/>
                  </a:cubicBezTo>
                  <a:lnTo>
                    <a:pt x="79" y="46"/>
                  </a:lnTo>
                  <a:close/>
                  <a:moveTo>
                    <a:pt x="56" y="122"/>
                  </a:moveTo>
                  <a:cubicBezTo>
                    <a:pt x="21" y="122"/>
                    <a:pt x="0" y="100"/>
                    <a:pt x="0" y="62"/>
                  </a:cubicBezTo>
                  <a:cubicBezTo>
                    <a:pt x="0" y="22"/>
                    <a:pt x="21" y="0"/>
                    <a:pt x="55" y="0"/>
                  </a:cubicBezTo>
                  <a:cubicBezTo>
                    <a:pt x="89" y="0"/>
                    <a:pt x="109" y="22"/>
                    <a:pt x="109" y="60"/>
                  </a:cubicBezTo>
                  <a:cubicBezTo>
                    <a:pt x="109" y="62"/>
                    <a:pt x="109" y="64"/>
                    <a:pt x="109" y="66"/>
                  </a:cubicBezTo>
                  <a:cubicBezTo>
                    <a:pt x="31" y="66"/>
                    <a:pt x="31" y="66"/>
                    <a:pt x="31" y="66"/>
                  </a:cubicBezTo>
                  <a:cubicBezTo>
                    <a:pt x="31" y="88"/>
                    <a:pt x="40" y="100"/>
                    <a:pt x="58" y="100"/>
                  </a:cubicBezTo>
                  <a:cubicBezTo>
                    <a:pt x="70" y="100"/>
                    <a:pt x="78" y="95"/>
                    <a:pt x="85" y="84"/>
                  </a:cubicBezTo>
                  <a:cubicBezTo>
                    <a:pt x="108" y="97"/>
                    <a:pt x="108" y="97"/>
                    <a:pt x="108" y="97"/>
                  </a:cubicBezTo>
                  <a:cubicBezTo>
                    <a:pt x="98" y="114"/>
                    <a:pt x="80" y="122"/>
                    <a:pt x="56"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en-GB" kern="0" dirty="0">
                <a:solidFill>
                  <a:sysClr val="windowText" lastClr="000000"/>
                </a:solidFill>
              </a:endParaRPr>
            </a:p>
          </p:txBody>
        </p:sp>
        <p:sp>
          <p:nvSpPr>
            <p:cNvPr id="11" name="Freeform 9"/>
            <p:cNvSpPr>
              <a:spLocks noEditPoints="1"/>
            </p:cNvSpPr>
            <p:nvPr/>
          </p:nvSpPr>
          <p:spPr bwMode="auto">
            <a:xfrm>
              <a:off x="415039" y="2650392"/>
              <a:ext cx="158276" cy="169211"/>
            </a:xfrm>
            <a:custGeom>
              <a:avLst/>
              <a:gdLst>
                <a:gd name="T0" fmla="*/ 58 w 116"/>
                <a:gd name="T1" fmla="*/ 26 h 124"/>
                <a:gd name="T2" fmla="*/ 31 w 116"/>
                <a:gd name="T3" fmla="*/ 62 h 124"/>
                <a:gd name="T4" fmla="*/ 58 w 116"/>
                <a:gd name="T5" fmla="*/ 98 h 124"/>
                <a:gd name="T6" fmla="*/ 85 w 116"/>
                <a:gd name="T7" fmla="*/ 62 h 124"/>
                <a:gd name="T8" fmla="*/ 58 w 116"/>
                <a:gd name="T9" fmla="*/ 26 h 124"/>
                <a:gd name="T10" fmla="*/ 58 w 116"/>
                <a:gd name="T11" fmla="*/ 124 h 124"/>
                <a:gd name="T12" fmla="*/ 0 w 116"/>
                <a:gd name="T13" fmla="*/ 62 h 124"/>
                <a:gd name="T14" fmla="*/ 58 w 116"/>
                <a:gd name="T15" fmla="*/ 0 h 124"/>
                <a:gd name="T16" fmla="*/ 116 w 116"/>
                <a:gd name="T17" fmla="*/ 62 h 124"/>
                <a:gd name="T18" fmla="*/ 58 w 116"/>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4">
                  <a:moveTo>
                    <a:pt x="58" y="26"/>
                  </a:moveTo>
                  <a:cubicBezTo>
                    <a:pt x="35" y="26"/>
                    <a:pt x="31" y="47"/>
                    <a:pt x="31" y="62"/>
                  </a:cubicBezTo>
                  <a:cubicBezTo>
                    <a:pt x="31" y="77"/>
                    <a:pt x="35" y="98"/>
                    <a:pt x="58" y="98"/>
                  </a:cubicBezTo>
                  <a:cubicBezTo>
                    <a:pt x="81" y="98"/>
                    <a:pt x="85" y="77"/>
                    <a:pt x="85" y="62"/>
                  </a:cubicBezTo>
                  <a:cubicBezTo>
                    <a:pt x="85" y="47"/>
                    <a:pt x="81" y="26"/>
                    <a:pt x="58" y="26"/>
                  </a:cubicBezTo>
                  <a:moveTo>
                    <a:pt x="58" y="124"/>
                  </a:moveTo>
                  <a:cubicBezTo>
                    <a:pt x="27" y="124"/>
                    <a:pt x="0" y="104"/>
                    <a:pt x="0" y="62"/>
                  </a:cubicBezTo>
                  <a:cubicBezTo>
                    <a:pt x="0" y="19"/>
                    <a:pt x="27" y="0"/>
                    <a:pt x="58" y="0"/>
                  </a:cubicBezTo>
                  <a:cubicBezTo>
                    <a:pt x="88" y="0"/>
                    <a:pt x="116" y="19"/>
                    <a:pt x="116" y="62"/>
                  </a:cubicBezTo>
                  <a:cubicBezTo>
                    <a:pt x="116" y="104"/>
                    <a:pt x="88" y="124"/>
                    <a:pt x="58" y="1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en-GB" kern="0" dirty="0">
                <a:solidFill>
                  <a:sysClr val="windowText" lastClr="000000"/>
                </a:solidFill>
              </a:endParaRPr>
            </a:p>
          </p:txBody>
        </p:sp>
        <p:sp>
          <p:nvSpPr>
            <p:cNvPr id="12" name="Freeform 10"/>
            <p:cNvSpPr>
              <a:spLocks/>
            </p:cNvSpPr>
            <p:nvPr/>
          </p:nvSpPr>
          <p:spPr bwMode="auto">
            <a:xfrm>
              <a:off x="602092" y="2650392"/>
              <a:ext cx="89785" cy="164031"/>
            </a:xfrm>
            <a:custGeom>
              <a:avLst/>
              <a:gdLst>
                <a:gd name="T0" fmla="*/ 0 w 66"/>
                <a:gd name="T1" fmla="*/ 3 h 120"/>
                <a:gd name="T2" fmla="*/ 30 w 66"/>
                <a:gd name="T3" fmla="*/ 3 h 120"/>
                <a:gd name="T4" fmla="*/ 30 w 66"/>
                <a:gd name="T5" fmla="*/ 17 h 120"/>
                <a:gd name="T6" fmla="*/ 62 w 66"/>
                <a:gd name="T7" fmla="*/ 0 h 120"/>
                <a:gd name="T8" fmla="*/ 66 w 66"/>
                <a:gd name="T9" fmla="*/ 1 h 120"/>
                <a:gd name="T10" fmla="*/ 66 w 66"/>
                <a:gd name="T11" fmla="*/ 30 h 120"/>
                <a:gd name="T12" fmla="*/ 64 w 66"/>
                <a:gd name="T13" fmla="*/ 30 h 120"/>
                <a:gd name="T14" fmla="*/ 32 w 66"/>
                <a:gd name="T15" fmla="*/ 42 h 120"/>
                <a:gd name="T16" fmla="*/ 32 w 66"/>
                <a:gd name="T17" fmla="*/ 120 h 120"/>
                <a:gd name="T18" fmla="*/ 0 w 66"/>
                <a:gd name="T19" fmla="*/ 120 h 120"/>
                <a:gd name="T20" fmla="*/ 0 w 66"/>
                <a:gd name="T21"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20">
                  <a:moveTo>
                    <a:pt x="0" y="3"/>
                  </a:moveTo>
                  <a:cubicBezTo>
                    <a:pt x="30" y="3"/>
                    <a:pt x="30" y="3"/>
                    <a:pt x="30" y="3"/>
                  </a:cubicBezTo>
                  <a:cubicBezTo>
                    <a:pt x="30" y="17"/>
                    <a:pt x="30" y="17"/>
                    <a:pt x="30" y="17"/>
                  </a:cubicBezTo>
                  <a:cubicBezTo>
                    <a:pt x="35" y="9"/>
                    <a:pt x="49" y="0"/>
                    <a:pt x="62" y="0"/>
                  </a:cubicBezTo>
                  <a:cubicBezTo>
                    <a:pt x="63" y="0"/>
                    <a:pt x="65" y="0"/>
                    <a:pt x="66" y="1"/>
                  </a:cubicBezTo>
                  <a:cubicBezTo>
                    <a:pt x="66" y="30"/>
                    <a:pt x="66" y="30"/>
                    <a:pt x="66" y="30"/>
                  </a:cubicBezTo>
                  <a:cubicBezTo>
                    <a:pt x="64" y="30"/>
                    <a:pt x="64" y="30"/>
                    <a:pt x="64" y="30"/>
                  </a:cubicBezTo>
                  <a:cubicBezTo>
                    <a:pt x="51" y="30"/>
                    <a:pt x="36" y="32"/>
                    <a:pt x="32" y="42"/>
                  </a:cubicBezTo>
                  <a:cubicBezTo>
                    <a:pt x="32" y="120"/>
                    <a:pt x="32" y="120"/>
                    <a:pt x="32" y="120"/>
                  </a:cubicBezTo>
                  <a:cubicBezTo>
                    <a:pt x="0" y="120"/>
                    <a:pt x="0" y="120"/>
                    <a:pt x="0" y="12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en-GB" kern="0" dirty="0">
                <a:solidFill>
                  <a:sysClr val="windowText" lastClr="000000"/>
                </a:solidFill>
              </a:endParaRPr>
            </a:p>
          </p:txBody>
        </p:sp>
        <p:sp>
          <p:nvSpPr>
            <p:cNvPr id="13" name="Freeform 11"/>
            <p:cNvSpPr>
              <a:spLocks noEditPoints="1"/>
            </p:cNvSpPr>
            <p:nvPr/>
          </p:nvSpPr>
          <p:spPr bwMode="auto">
            <a:xfrm>
              <a:off x="1051020" y="2650392"/>
              <a:ext cx="149642" cy="226766"/>
            </a:xfrm>
            <a:custGeom>
              <a:avLst/>
              <a:gdLst>
                <a:gd name="T0" fmla="*/ 110 w 110"/>
                <a:gd name="T1" fmla="*/ 2 h 166"/>
                <a:gd name="T2" fmla="*/ 110 w 110"/>
                <a:gd name="T3" fmla="*/ 114 h 166"/>
                <a:gd name="T4" fmla="*/ 52 w 110"/>
                <a:gd name="T5" fmla="*/ 166 h 166"/>
                <a:gd name="T6" fmla="*/ 3 w 110"/>
                <a:gd name="T7" fmla="*/ 137 h 166"/>
                <a:gd name="T8" fmla="*/ 34 w 110"/>
                <a:gd name="T9" fmla="*/ 132 h 166"/>
                <a:gd name="T10" fmla="*/ 56 w 110"/>
                <a:gd name="T11" fmla="*/ 143 h 166"/>
                <a:gd name="T12" fmla="*/ 80 w 110"/>
                <a:gd name="T13" fmla="*/ 117 h 166"/>
                <a:gd name="T14" fmla="*/ 80 w 110"/>
                <a:gd name="T15" fmla="*/ 104 h 166"/>
                <a:gd name="T16" fmla="*/ 79 w 110"/>
                <a:gd name="T17" fmla="*/ 103 h 166"/>
                <a:gd name="T18" fmla="*/ 49 w 110"/>
                <a:gd name="T19" fmla="*/ 120 h 166"/>
                <a:gd name="T20" fmla="*/ 0 w 110"/>
                <a:gd name="T21" fmla="*/ 62 h 166"/>
                <a:gd name="T22" fmla="*/ 47 w 110"/>
                <a:gd name="T23" fmla="*/ 0 h 166"/>
                <a:gd name="T24" fmla="*/ 81 w 110"/>
                <a:gd name="T25" fmla="*/ 17 h 166"/>
                <a:gd name="T26" fmla="*/ 81 w 110"/>
                <a:gd name="T27" fmla="*/ 16 h 166"/>
                <a:gd name="T28" fmla="*/ 84 w 110"/>
                <a:gd name="T29" fmla="*/ 2 h 166"/>
                <a:gd name="T30" fmla="*/ 110 w 110"/>
                <a:gd name="T31" fmla="*/ 2 h 166"/>
                <a:gd name="T32" fmla="*/ 55 w 110"/>
                <a:gd name="T33" fmla="*/ 95 h 166"/>
                <a:gd name="T34" fmla="*/ 80 w 110"/>
                <a:gd name="T35" fmla="*/ 55 h 166"/>
                <a:gd name="T36" fmla="*/ 54 w 110"/>
                <a:gd name="T37" fmla="*/ 22 h 166"/>
                <a:gd name="T38" fmla="*/ 31 w 110"/>
                <a:gd name="T39" fmla="*/ 57 h 166"/>
                <a:gd name="T40" fmla="*/ 55 w 110"/>
                <a:gd name="T41" fmla="*/ 9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66">
                  <a:moveTo>
                    <a:pt x="110" y="2"/>
                  </a:moveTo>
                  <a:cubicBezTo>
                    <a:pt x="110" y="114"/>
                    <a:pt x="110" y="114"/>
                    <a:pt x="110" y="114"/>
                  </a:cubicBezTo>
                  <a:cubicBezTo>
                    <a:pt x="110" y="133"/>
                    <a:pt x="108" y="166"/>
                    <a:pt x="52" y="166"/>
                  </a:cubicBezTo>
                  <a:cubicBezTo>
                    <a:pt x="29" y="166"/>
                    <a:pt x="8" y="157"/>
                    <a:pt x="3" y="137"/>
                  </a:cubicBezTo>
                  <a:cubicBezTo>
                    <a:pt x="34" y="132"/>
                    <a:pt x="34" y="132"/>
                    <a:pt x="34" y="132"/>
                  </a:cubicBezTo>
                  <a:cubicBezTo>
                    <a:pt x="35" y="138"/>
                    <a:pt x="39" y="143"/>
                    <a:pt x="56" y="143"/>
                  </a:cubicBezTo>
                  <a:cubicBezTo>
                    <a:pt x="72" y="143"/>
                    <a:pt x="80" y="136"/>
                    <a:pt x="80" y="117"/>
                  </a:cubicBezTo>
                  <a:cubicBezTo>
                    <a:pt x="80" y="104"/>
                    <a:pt x="80" y="104"/>
                    <a:pt x="80" y="104"/>
                  </a:cubicBezTo>
                  <a:cubicBezTo>
                    <a:pt x="79" y="103"/>
                    <a:pt x="79" y="103"/>
                    <a:pt x="79" y="103"/>
                  </a:cubicBezTo>
                  <a:cubicBezTo>
                    <a:pt x="74" y="112"/>
                    <a:pt x="67" y="120"/>
                    <a:pt x="49" y="120"/>
                  </a:cubicBezTo>
                  <a:cubicBezTo>
                    <a:pt x="22" y="120"/>
                    <a:pt x="0" y="101"/>
                    <a:pt x="0" y="62"/>
                  </a:cubicBezTo>
                  <a:cubicBezTo>
                    <a:pt x="0" y="22"/>
                    <a:pt x="22" y="0"/>
                    <a:pt x="47" y="0"/>
                  </a:cubicBezTo>
                  <a:cubicBezTo>
                    <a:pt x="71" y="0"/>
                    <a:pt x="79" y="11"/>
                    <a:pt x="81" y="17"/>
                  </a:cubicBezTo>
                  <a:cubicBezTo>
                    <a:pt x="81" y="16"/>
                    <a:pt x="81" y="16"/>
                    <a:pt x="81" y="16"/>
                  </a:cubicBezTo>
                  <a:cubicBezTo>
                    <a:pt x="84" y="2"/>
                    <a:pt x="84" y="2"/>
                    <a:pt x="84" y="2"/>
                  </a:cubicBezTo>
                  <a:lnTo>
                    <a:pt x="110" y="2"/>
                  </a:lnTo>
                  <a:close/>
                  <a:moveTo>
                    <a:pt x="55" y="95"/>
                  </a:moveTo>
                  <a:cubicBezTo>
                    <a:pt x="78" y="95"/>
                    <a:pt x="80" y="71"/>
                    <a:pt x="80" y="55"/>
                  </a:cubicBezTo>
                  <a:cubicBezTo>
                    <a:pt x="80" y="37"/>
                    <a:pt x="71" y="22"/>
                    <a:pt x="54" y="22"/>
                  </a:cubicBezTo>
                  <a:cubicBezTo>
                    <a:pt x="43" y="22"/>
                    <a:pt x="31" y="30"/>
                    <a:pt x="31" y="57"/>
                  </a:cubicBezTo>
                  <a:cubicBezTo>
                    <a:pt x="31" y="71"/>
                    <a:pt x="32" y="95"/>
                    <a:pt x="55"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en-GB" kern="0" dirty="0">
                <a:solidFill>
                  <a:sysClr val="windowText" lastClr="000000"/>
                </a:solidFill>
              </a:endParaRPr>
            </a:p>
          </p:txBody>
        </p:sp>
        <p:sp>
          <p:nvSpPr>
            <p:cNvPr id="14" name="Freeform 12"/>
            <p:cNvSpPr>
              <a:spLocks noEditPoints="1"/>
            </p:cNvSpPr>
            <p:nvPr/>
          </p:nvSpPr>
          <p:spPr bwMode="auto">
            <a:xfrm>
              <a:off x="1348002" y="2593413"/>
              <a:ext cx="112232" cy="52950"/>
            </a:xfrm>
            <a:custGeom>
              <a:avLst/>
              <a:gdLst>
                <a:gd name="T0" fmla="*/ 195 w 195"/>
                <a:gd name="T1" fmla="*/ 92 h 92"/>
                <a:gd name="T2" fmla="*/ 178 w 195"/>
                <a:gd name="T3" fmla="*/ 92 h 92"/>
                <a:gd name="T4" fmla="*/ 178 w 195"/>
                <a:gd name="T5" fmla="*/ 16 h 92"/>
                <a:gd name="T6" fmla="*/ 178 w 195"/>
                <a:gd name="T7" fmla="*/ 16 h 92"/>
                <a:gd name="T8" fmla="*/ 147 w 195"/>
                <a:gd name="T9" fmla="*/ 92 h 92"/>
                <a:gd name="T10" fmla="*/ 138 w 195"/>
                <a:gd name="T11" fmla="*/ 92 h 92"/>
                <a:gd name="T12" fmla="*/ 110 w 195"/>
                <a:gd name="T13" fmla="*/ 16 h 92"/>
                <a:gd name="T14" fmla="*/ 107 w 195"/>
                <a:gd name="T15" fmla="*/ 16 h 92"/>
                <a:gd name="T16" fmla="*/ 107 w 195"/>
                <a:gd name="T17" fmla="*/ 92 h 92"/>
                <a:gd name="T18" fmla="*/ 93 w 195"/>
                <a:gd name="T19" fmla="*/ 92 h 92"/>
                <a:gd name="T20" fmla="*/ 93 w 195"/>
                <a:gd name="T21" fmla="*/ 0 h 92"/>
                <a:gd name="T22" fmla="*/ 117 w 195"/>
                <a:gd name="T23" fmla="*/ 0 h 92"/>
                <a:gd name="T24" fmla="*/ 145 w 195"/>
                <a:gd name="T25" fmla="*/ 71 h 92"/>
                <a:gd name="T26" fmla="*/ 171 w 195"/>
                <a:gd name="T27" fmla="*/ 0 h 92"/>
                <a:gd name="T28" fmla="*/ 195 w 195"/>
                <a:gd name="T29" fmla="*/ 0 h 92"/>
                <a:gd name="T30" fmla="*/ 195 w 195"/>
                <a:gd name="T31" fmla="*/ 92 h 92"/>
                <a:gd name="T32" fmla="*/ 74 w 195"/>
                <a:gd name="T33" fmla="*/ 14 h 92"/>
                <a:gd name="T34" fmla="*/ 46 w 195"/>
                <a:gd name="T35" fmla="*/ 14 h 92"/>
                <a:gd name="T36" fmla="*/ 46 w 195"/>
                <a:gd name="T37" fmla="*/ 92 h 92"/>
                <a:gd name="T38" fmla="*/ 31 w 195"/>
                <a:gd name="T39" fmla="*/ 92 h 92"/>
                <a:gd name="T40" fmla="*/ 31 w 195"/>
                <a:gd name="T41" fmla="*/ 14 h 92"/>
                <a:gd name="T42" fmla="*/ 0 w 195"/>
                <a:gd name="T43" fmla="*/ 14 h 92"/>
                <a:gd name="T44" fmla="*/ 0 w 195"/>
                <a:gd name="T45" fmla="*/ 0 h 92"/>
                <a:gd name="T46" fmla="*/ 74 w 195"/>
                <a:gd name="T47" fmla="*/ 0 h 92"/>
                <a:gd name="T48" fmla="*/ 74 w 195"/>
                <a:gd name="T49"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92">
                  <a:moveTo>
                    <a:pt x="195" y="92"/>
                  </a:moveTo>
                  <a:lnTo>
                    <a:pt x="178" y="92"/>
                  </a:lnTo>
                  <a:lnTo>
                    <a:pt x="178" y="16"/>
                  </a:lnTo>
                  <a:lnTo>
                    <a:pt x="178" y="16"/>
                  </a:lnTo>
                  <a:lnTo>
                    <a:pt x="147" y="92"/>
                  </a:lnTo>
                  <a:lnTo>
                    <a:pt x="138" y="92"/>
                  </a:lnTo>
                  <a:lnTo>
                    <a:pt x="110" y="16"/>
                  </a:lnTo>
                  <a:lnTo>
                    <a:pt x="107" y="16"/>
                  </a:lnTo>
                  <a:lnTo>
                    <a:pt x="107" y="92"/>
                  </a:lnTo>
                  <a:lnTo>
                    <a:pt x="93" y="92"/>
                  </a:lnTo>
                  <a:lnTo>
                    <a:pt x="93" y="0"/>
                  </a:lnTo>
                  <a:lnTo>
                    <a:pt x="117" y="0"/>
                  </a:lnTo>
                  <a:lnTo>
                    <a:pt x="145" y="71"/>
                  </a:lnTo>
                  <a:lnTo>
                    <a:pt x="171" y="0"/>
                  </a:lnTo>
                  <a:lnTo>
                    <a:pt x="195" y="0"/>
                  </a:lnTo>
                  <a:lnTo>
                    <a:pt x="195" y="92"/>
                  </a:lnTo>
                  <a:close/>
                  <a:moveTo>
                    <a:pt x="74" y="14"/>
                  </a:moveTo>
                  <a:lnTo>
                    <a:pt x="46" y="14"/>
                  </a:lnTo>
                  <a:lnTo>
                    <a:pt x="46" y="92"/>
                  </a:lnTo>
                  <a:lnTo>
                    <a:pt x="31" y="92"/>
                  </a:lnTo>
                  <a:lnTo>
                    <a:pt x="31" y="14"/>
                  </a:lnTo>
                  <a:lnTo>
                    <a:pt x="0" y="14"/>
                  </a:lnTo>
                  <a:lnTo>
                    <a:pt x="0" y="0"/>
                  </a:lnTo>
                  <a:lnTo>
                    <a:pt x="74" y="0"/>
                  </a:lnTo>
                  <a:lnTo>
                    <a:pt x="7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200"/>
                </a:spcAft>
                <a:defRPr/>
              </a:pPr>
              <a:endParaRPr lang="en-GB" kern="0" dirty="0">
                <a:solidFill>
                  <a:sysClr val="windowText" lastClr="000000"/>
                </a:solidFill>
              </a:endParaRPr>
            </a:p>
          </p:txBody>
        </p:sp>
      </p:grpSp>
      <p:sp>
        <p:nvSpPr>
          <p:cNvPr id="5" name="Text Placeholder 4"/>
          <p:cNvSpPr>
            <a:spLocks noGrp="1"/>
          </p:cNvSpPr>
          <p:nvPr>
            <p:ph type="body" sz="quarter" idx="11" hasCustomPrompt="1"/>
          </p:nvPr>
        </p:nvSpPr>
        <p:spPr>
          <a:xfrm>
            <a:off x="339725" y="339725"/>
            <a:ext cx="5832475" cy="3460750"/>
          </a:xfrm>
        </p:spPr>
        <p:txBody>
          <a:bodyPr/>
          <a:lstStyle>
            <a:lvl1pPr>
              <a:lnSpc>
                <a:spcPct val="85000"/>
              </a:lnSpc>
              <a:spcAft>
                <a:spcPts val="3200"/>
              </a:spcAft>
              <a:defRPr sz="5500">
                <a:solidFill>
                  <a:schemeClr val="bg1"/>
                </a:solidFill>
                <a:latin typeface="Helvetica 75 Bold" panose="020B0804020202020204" pitchFamily="34" charset="0"/>
              </a:defRPr>
            </a:lvl1pPr>
            <a:lvl2pPr>
              <a:lnSpc>
                <a:spcPct val="90000"/>
              </a:lnSpc>
              <a:spcAft>
                <a:spcPts val="24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
        <p:nvSpPr>
          <p:cNvPr id="3" name="Text Placeholder 2"/>
          <p:cNvSpPr>
            <a:spLocks noGrp="1"/>
          </p:cNvSpPr>
          <p:nvPr>
            <p:ph type="body" sz="quarter" idx="12" hasCustomPrompt="1"/>
          </p:nvPr>
        </p:nvSpPr>
        <p:spPr>
          <a:xfrm>
            <a:off x="6508750" y="339725"/>
            <a:ext cx="2301875" cy="3460750"/>
          </a:xfrm>
        </p:spPr>
        <p:txBody>
          <a:bodyPr tIns="109728"/>
          <a:lstStyle>
            <a:lvl1pPr>
              <a:spcAft>
                <a:spcPts val="2400"/>
              </a:spcAft>
              <a:defRPr baseline="0">
                <a:latin typeface="Helvetica 75 Bold" panose="020B0804020202020204" pitchFamily="34" charset="0"/>
              </a:defRPr>
            </a:lvl1pPr>
            <a:lvl2pPr>
              <a:spcAft>
                <a:spcPts val="24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Tree>
    <p:extLst>
      <p:ext uri="{BB962C8B-B14F-4D97-AF65-F5344CB8AC3E}">
        <p14:creationId xmlns:p14="http://schemas.microsoft.com/office/powerpoint/2010/main" val="478025789"/>
      </p:ext>
    </p:extLst>
  </p:cSld>
  <p:clrMapOvr>
    <a:masterClrMapping/>
  </p:clrMapOvr>
  <p:transition spd="med">
    <p:fade/>
  </p:transition>
  <p:hf sldNum="0" hdr="0" ftr="0"/>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11" name="Texte du titre"/>
          <p:cNvSpPr>
            <a:spLocks noGrp="1"/>
          </p:cNvSpPr>
          <p:nvPr>
            <p:ph type="title"/>
          </p:nvPr>
        </p:nvSpPr>
        <p:spPr>
          <a:xfrm>
            <a:off x="1143000" y="841772"/>
            <a:ext cx="6858000" cy="1790700"/>
          </a:xfrm>
          <a:prstGeom prst="rect">
            <a:avLst/>
          </a:prstGeom>
        </p:spPr>
        <p:txBody>
          <a:bodyPr anchor="b"/>
          <a:lstStyle>
            <a:lvl1pPr algn="ctr">
              <a:defRPr sz="4500"/>
            </a:lvl1pPr>
          </a:lstStyle>
          <a:p>
            <a:r>
              <a:t>Texte du titre</a:t>
            </a:r>
          </a:p>
        </p:txBody>
      </p:sp>
      <p:sp>
        <p:nvSpPr>
          <p:cNvPr id="12" name="Texte niveau 1…"/>
          <p:cNvSpPr>
            <a:spLocks noGrp="1"/>
          </p:cNvSpPr>
          <p:nvPr>
            <p:ph type="body" sz="quarter" idx="1"/>
          </p:nvPr>
        </p:nvSpPr>
        <p:spPr>
          <a:xfrm>
            <a:off x="1143000" y="2701528"/>
            <a:ext cx="6858000" cy="1241822"/>
          </a:xfrm>
          <a:prstGeom prst="rect">
            <a:avLst/>
          </a:prstGeom>
        </p:spPr>
        <p:txBody>
          <a:bodyPr/>
          <a:lstStyle>
            <a:lvl1pPr marL="0" indent="0" algn="ctr">
              <a:buSzTx/>
              <a:buFontTx/>
              <a:buNone/>
              <a:defRPr sz="1800"/>
            </a:lvl1pPr>
            <a:lvl2pPr marL="0" indent="171442" algn="ctr">
              <a:buSzTx/>
              <a:buFontTx/>
              <a:buNone/>
              <a:defRPr sz="1800"/>
            </a:lvl2pPr>
            <a:lvl3pPr marL="0" indent="342882" algn="ctr">
              <a:buSzTx/>
              <a:buFontTx/>
              <a:buNone/>
              <a:defRPr sz="1800"/>
            </a:lvl3pPr>
            <a:lvl4pPr marL="0" indent="514324" algn="ctr">
              <a:buSzTx/>
              <a:buFontTx/>
              <a:buNone/>
              <a:defRPr sz="1800"/>
            </a:lvl4pPr>
            <a:lvl5pPr marL="0" indent="685766" algn="ctr">
              <a:buSzTx/>
              <a:buFontTx/>
              <a:buNone/>
              <a:defRPr sz="180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1738512415"/>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Titre et contenu">
    <p:spTree>
      <p:nvGrpSpPr>
        <p:cNvPr id="1" name=""/>
        <p:cNvGrpSpPr/>
        <p:nvPr/>
      </p:nvGrpSpPr>
      <p:grpSpPr>
        <a:xfrm>
          <a:off x="0" y="0"/>
          <a:ext cx="0" cy="0"/>
          <a:chOff x="0" y="0"/>
          <a:chExt cx="0" cy="0"/>
        </a:xfrm>
      </p:grpSpPr>
      <p:sp>
        <p:nvSpPr>
          <p:cNvPr id="20" name="Texte du titre"/>
          <p:cNvSpPr>
            <a:spLocks noGrp="1"/>
          </p:cNvSpPr>
          <p:nvPr>
            <p:ph type="title"/>
          </p:nvPr>
        </p:nvSpPr>
        <p:spPr>
          <a:prstGeom prst="rect">
            <a:avLst/>
          </a:prstGeom>
        </p:spPr>
        <p:txBody>
          <a:bodyPr/>
          <a:lstStyle/>
          <a:p>
            <a:r>
              <a:t>Texte du titre</a:t>
            </a:r>
          </a:p>
        </p:txBody>
      </p:sp>
      <p:sp>
        <p:nvSpPr>
          <p:cNvPr id="21"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22"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76659215"/>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En-tête de section">
    <p:spTree>
      <p:nvGrpSpPr>
        <p:cNvPr id="1" name=""/>
        <p:cNvGrpSpPr/>
        <p:nvPr/>
      </p:nvGrpSpPr>
      <p:grpSpPr>
        <a:xfrm>
          <a:off x="0" y="0"/>
          <a:ext cx="0" cy="0"/>
          <a:chOff x="0" y="0"/>
          <a:chExt cx="0" cy="0"/>
        </a:xfrm>
      </p:grpSpPr>
      <p:sp>
        <p:nvSpPr>
          <p:cNvPr id="29" name="Texte du titre"/>
          <p:cNvSpPr>
            <a:spLocks noGrp="1"/>
          </p:cNvSpPr>
          <p:nvPr>
            <p:ph type="title"/>
          </p:nvPr>
        </p:nvSpPr>
        <p:spPr>
          <a:xfrm>
            <a:off x="623887" y="1282305"/>
            <a:ext cx="7886700" cy="2139553"/>
          </a:xfrm>
          <a:prstGeom prst="rect">
            <a:avLst/>
          </a:prstGeom>
        </p:spPr>
        <p:txBody>
          <a:bodyPr anchor="b"/>
          <a:lstStyle>
            <a:lvl1pPr>
              <a:defRPr sz="4500"/>
            </a:lvl1pPr>
          </a:lstStyle>
          <a:p>
            <a:r>
              <a:t>Texte du titre</a:t>
            </a:r>
          </a:p>
        </p:txBody>
      </p:sp>
      <p:sp>
        <p:nvSpPr>
          <p:cNvPr id="30" name="Texte niveau 1…"/>
          <p:cNvSpPr>
            <a:spLocks noGrp="1"/>
          </p:cNvSpPr>
          <p:nvPr>
            <p:ph type="body" sz="quarter" idx="1"/>
          </p:nvPr>
        </p:nvSpPr>
        <p:spPr>
          <a:xfrm>
            <a:off x="623887" y="3442098"/>
            <a:ext cx="7886700" cy="1125141"/>
          </a:xfrm>
          <a:prstGeom prst="rect">
            <a:avLst/>
          </a:prstGeom>
        </p:spPr>
        <p:txBody>
          <a:bodyPr/>
          <a:lstStyle>
            <a:lvl1pPr marL="0" indent="0">
              <a:buSzTx/>
              <a:buFontTx/>
              <a:buNone/>
              <a:defRPr sz="1800">
                <a:solidFill>
                  <a:srgbClr val="888888"/>
                </a:solidFill>
              </a:defRPr>
            </a:lvl1pPr>
            <a:lvl2pPr marL="0" indent="171442">
              <a:buSzTx/>
              <a:buFontTx/>
              <a:buNone/>
              <a:defRPr sz="1800">
                <a:solidFill>
                  <a:srgbClr val="888888"/>
                </a:solidFill>
              </a:defRPr>
            </a:lvl2pPr>
            <a:lvl3pPr marL="0" indent="342882">
              <a:buSzTx/>
              <a:buFontTx/>
              <a:buNone/>
              <a:defRPr sz="1800">
                <a:solidFill>
                  <a:srgbClr val="888888"/>
                </a:solidFill>
              </a:defRPr>
            </a:lvl3pPr>
            <a:lvl4pPr marL="0" indent="514324">
              <a:buSzTx/>
              <a:buFontTx/>
              <a:buNone/>
              <a:defRPr sz="1800">
                <a:solidFill>
                  <a:srgbClr val="888888"/>
                </a:solidFill>
              </a:defRPr>
            </a:lvl4pPr>
            <a:lvl5pPr marL="0" indent="685766">
              <a:buSzTx/>
              <a:buFontTx/>
              <a:buNone/>
              <a:defRPr sz="1800">
                <a:solidFill>
                  <a:srgbClr val="888888"/>
                </a:solidFill>
              </a:defRPr>
            </a:lvl5pPr>
          </a:lstStyle>
          <a:p>
            <a:r>
              <a:t>Texte niveau 1</a:t>
            </a:r>
          </a:p>
          <a:p>
            <a:pPr lvl="1"/>
            <a:r>
              <a:t>Texte niveau 2</a:t>
            </a:r>
          </a:p>
          <a:p>
            <a:pPr lvl="2"/>
            <a:r>
              <a:t>Texte niveau 3</a:t>
            </a:r>
          </a:p>
          <a:p>
            <a:pPr lvl="3"/>
            <a:r>
              <a:t>Texte niveau 4</a:t>
            </a:r>
          </a:p>
          <a:p>
            <a:pPr lvl="4"/>
            <a:r>
              <a:t>Texte niveau 5</a:t>
            </a:r>
          </a:p>
        </p:txBody>
      </p:sp>
      <p:sp>
        <p:nvSpPr>
          <p:cNvPr id="31"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3548999982"/>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Deux contenus">
    <p:spTree>
      <p:nvGrpSpPr>
        <p:cNvPr id="1" name=""/>
        <p:cNvGrpSpPr/>
        <p:nvPr/>
      </p:nvGrpSpPr>
      <p:grpSpPr>
        <a:xfrm>
          <a:off x="0" y="0"/>
          <a:ext cx="0" cy="0"/>
          <a:chOff x="0" y="0"/>
          <a:chExt cx="0" cy="0"/>
        </a:xfrm>
      </p:grpSpPr>
      <p:sp>
        <p:nvSpPr>
          <p:cNvPr id="38" name="Texte du titre"/>
          <p:cNvSpPr>
            <a:spLocks noGrp="1"/>
          </p:cNvSpPr>
          <p:nvPr>
            <p:ph type="title"/>
          </p:nvPr>
        </p:nvSpPr>
        <p:spPr>
          <a:prstGeom prst="rect">
            <a:avLst/>
          </a:prstGeom>
        </p:spPr>
        <p:txBody>
          <a:bodyPr/>
          <a:lstStyle/>
          <a:p>
            <a:r>
              <a:t>Texte du titre</a:t>
            </a:r>
          </a:p>
        </p:txBody>
      </p:sp>
      <p:sp>
        <p:nvSpPr>
          <p:cNvPr id="39" name="Texte niveau 1…"/>
          <p:cNvSpPr>
            <a:spLocks noGrp="1"/>
          </p:cNvSpPr>
          <p:nvPr>
            <p:ph type="body" sz="half" idx="1"/>
          </p:nvPr>
        </p:nvSpPr>
        <p:spPr>
          <a:xfrm>
            <a:off x="628650" y="1369218"/>
            <a:ext cx="3886200" cy="3263504"/>
          </a:xfrm>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0"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693524149"/>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Comparaison">
    <p:spTree>
      <p:nvGrpSpPr>
        <p:cNvPr id="1" name=""/>
        <p:cNvGrpSpPr/>
        <p:nvPr/>
      </p:nvGrpSpPr>
      <p:grpSpPr>
        <a:xfrm>
          <a:off x="0" y="0"/>
          <a:ext cx="0" cy="0"/>
          <a:chOff x="0" y="0"/>
          <a:chExt cx="0" cy="0"/>
        </a:xfrm>
      </p:grpSpPr>
      <p:sp>
        <p:nvSpPr>
          <p:cNvPr id="47" name="Texte du titre"/>
          <p:cNvSpPr>
            <a:spLocks noGrp="1"/>
          </p:cNvSpPr>
          <p:nvPr>
            <p:ph type="title"/>
          </p:nvPr>
        </p:nvSpPr>
        <p:spPr>
          <a:xfrm>
            <a:off x="629841" y="273844"/>
            <a:ext cx="7886700" cy="994172"/>
          </a:xfrm>
          <a:prstGeom prst="rect">
            <a:avLst/>
          </a:prstGeom>
        </p:spPr>
        <p:txBody>
          <a:bodyPr/>
          <a:lstStyle/>
          <a:p>
            <a:r>
              <a:t>Texte du titre</a:t>
            </a:r>
          </a:p>
        </p:txBody>
      </p:sp>
      <p:sp>
        <p:nvSpPr>
          <p:cNvPr id="48" name="Texte niveau 1…"/>
          <p:cNvSpPr>
            <a:spLocks noGrp="1"/>
          </p:cNvSpPr>
          <p:nvPr>
            <p:ph type="body" sz="quarter" idx="1"/>
          </p:nvPr>
        </p:nvSpPr>
        <p:spPr>
          <a:xfrm>
            <a:off x="629841" y="1260873"/>
            <a:ext cx="3868341" cy="617934"/>
          </a:xfrm>
          <a:prstGeom prst="rect">
            <a:avLst/>
          </a:prstGeom>
        </p:spPr>
        <p:txBody>
          <a:bodyPr anchor="b"/>
          <a:lstStyle>
            <a:lvl1pPr marL="0" indent="0">
              <a:buSzTx/>
              <a:buFontTx/>
              <a:buNone/>
              <a:defRPr sz="1800" b="1">
                <a:latin typeface="+mn-lt"/>
                <a:ea typeface="+mn-ea"/>
                <a:cs typeface="+mn-cs"/>
                <a:sym typeface="Helvetica"/>
              </a:defRPr>
            </a:lvl1pPr>
            <a:lvl2pPr marL="0" indent="171442">
              <a:buSzTx/>
              <a:buFontTx/>
              <a:buNone/>
              <a:defRPr sz="1800" b="1">
                <a:latin typeface="+mn-lt"/>
                <a:ea typeface="+mn-ea"/>
                <a:cs typeface="+mn-cs"/>
                <a:sym typeface="Helvetica"/>
              </a:defRPr>
            </a:lvl2pPr>
            <a:lvl3pPr marL="0" indent="342882">
              <a:buSzTx/>
              <a:buFontTx/>
              <a:buNone/>
              <a:defRPr sz="1800" b="1">
                <a:latin typeface="+mn-lt"/>
                <a:ea typeface="+mn-ea"/>
                <a:cs typeface="+mn-cs"/>
                <a:sym typeface="Helvetica"/>
              </a:defRPr>
            </a:lvl3pPr>
            <a:lvl4pPr marL="0" indent="514324">
              <a:buSzTx/>
              <a:buFontTx/>
              <a:buNone/>
              <a:defRPr sz="1800" b="1">
                <a:latin typeface="+mn-lt"/>
                <a:ea typeface="+mn-ea"/>
                <a:cs typeface="+mn-cs"/>
                <a:sym typeface="Helvetica"/>
              </a:defRPr>
            </a:lvl4pPr>
            <a:lvl5pPr marL="0" indent="685766">
              <a:buSzTx/>
              <a:buFontTx/>
              <a:buNone/>
              <a:defRPr sz="1800" b="1">
                <a:latin typeface="+mn-lt"/>
                <a:ea typeface="+mn-ea"/>
                <a:cs typeface="+mn-cs"/>
                <a:sym typeface="Helvetica"/>
              </a:defRPr>
            </a:lvl5pPr>
          </a:lstStyle>
          <a:p>
            <a:r>
              <a:t>Texte niveau 1</a:t>
            </a:r>
          </a:p>
          <a:p>
            <a:pPr lvl="1"/>
            <a:r>
              <a:t>Texte niveau 2</a:t>
            </a:r>
          </a:p>
          <a:p>
            <a:pPr lvl="2"/>
            <a:r>
              <a:t>Texte niveau 3</a:t>
            </a:r>
          </a:p>
          <a:p>
            <a:pPr lvl="3"/>
            <a:r>
              <a:t>Texte niveau 4</a:t>
            </a:r>
          </a:p>
          <a:p>
            <a:pPr lvl="4"/>
            <a:r>
              <a:t>Texte niveau 5</a:t>
            </a:r>
          </a:p>
        </p:txBody>
      </p:sp>
      <p:sp>
        <p:nvSpPr>
          <p:cNvPr id="49" name="Espace réservé du texte 4"/>
          <p:cNvSpPr>
            <a:spLocks noGrp="1"/>
          </p:cNvSpPr>
          <p:nvPr>
            <p:ph type="body" sz="quarter" idx="13"/>
          </p:nvPr>
        </p:nvSpPr>
        <p:spPr>
          <a:xfrm>
            <a:off x="4629150" y="1260873"/>
            <a:ext cx="3887391" cy="617934"/>
          </a:xfrm>
          <a:prstGeom prst="rect">
            <a:avLst/>
          </a:prstGeom>
          <a:ln w="12700"/>
        </p:spPr>
        <p:txBody>
          <a:bodyPr anchor="b"/>
          <a:lstStyle>
            <a:lvl1pPr marL="0" indent="0">
              <a:buSzTx/>
              <a:buFontTx/>
              <a:buNone/>
              <a:defRPr sz="4800" b="1">
                <a:latin typeface="+mn-lt"/>
                <a:ea typeface="+mn-ea"/>
                <a:cs typeface="+mn-cs"/>
                <a:sym typeface="Helvetica"/>
              </a:defRPr>
            </a:lvl1pPr>
          </a:lstStyle>
          <a:p>
            <a:pPr marL="0" indent="0">
              <a:buSzTx/>
              <a:buFontTx/>
              <a:buNone/>
              <a:defRPr sz="4800" b="1">
                <a:latin typeface="+mn-lt"/>
                <a:ea typeface="+mn-ea"/>
                <a:cs typeface="+mn-cs"/>
                <a:sym typeface="Helvetica"/>
              </a:defRPr>
            </a:pPr>
            <a:endParaRPr/>
          </a:p>
        </p:txBody>
      </p:sp>
      <p:sp>
        <p:nvSpPr>
          <p:cNvPr id="50"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1451960958"/>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Titre seul">
    <p:spTree>
      <p:nvGrpSpPr>
        <p:cNvPr id="1" name=""/>
        <p:cNvGrpSpPr/>
        <p:nvPr/>
      </p:nvGrpSpPr>
      <p:grpSpPr>
        <a:xfrm>
          <a:off x="0" y="0"/>
          <a:ext cx="0" cy="0"/>
          <a:chOff x="0" y="0"/>
          <a:chExt cx="0" cy="0"/>
        </a:xfrm>
      </p:grpSpPr>
      <p:sp>
        <p:nvSpPr>
          <p:cNvPr id="57" name="Texte du titre"/>
          <p:cNvSpPr>
            <a:spLocks noGrp="1"/>
          </p:cNvSpPr>
          <p:nvPr>
            <p:ph type="title"/>
          </p:nvPr>
        </p:nvSpPr>
        <p:spPr>
          <a:prstGeom prst="rect">
            <a:avLst/>
          </a:prstGeom>
        </p:spPr>
        <p:txBody>
          <a:bodyPr/>
          <a:lstStyle/>
          <a:p>
            <a:r>
              <a:t>Texte du titre</a:t>
            </a:r>
          </a:p>
        </p:txBody>
      </p:sp>
      <p:sp>
        <p:nvSpPr>
          <p:cNvPr id="58"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188870841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7D3AEEF0-FEAD-44CF-A18D-162E882CE67E}" type="datetimeFigureOut">
              <a:rPr lang="fr-FR" smtClean="0"/>
              <a:t>12/02/2020</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12903388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Vide">
    <p:spTree>
      <p:nvGrpSpPr>
        <p:cNvPr id="1" name=""/>
        <p:cNvGrpSpPr/>
        <p:nvPr/>
      </p:nvGrpSpPr>
      <p:grpSpPr>
        <a:xfrm>
          <a:off x="0" y="0"/>
          <a:ext cx="0" cy="0"/>
          <a:chOff x="0" y="0"/>
          <a:chExt cx="0" cy="0"/>
        </a:xfrm>
      </p:grpSpPr>
      <p:sp>
        <p:nvSpPr>
          <p:cNvPr id="65"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2923221511"/>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Contenu avec légende">
    <p:spTree>
      <p:nvGrpSpPr>
        <p:cNvPr id="1" name=""/>
        <p:cNvGrpSpPr/>
        <p:nvPr/>
      </p:nvGrpSpPr>
      <p:grpSpPr>
        <a:xfrm>
          <a:off x="0" y="0"/>
          <a:ext cx="0" cy="0"/>
          <a:chOff x="0" y="0"/>
          <a:chExt cx="0" cy="0"/>
        </a:xfrm>
      </p:grpSpPr>
      <p:sp>
        <p:nvSpPr>
          <p:cNvPr id="72" name="Texte du titre"/>
          <p:cNvSpPr>
            <a:spLocks noGrp="1"/>
          </p:cNvSpPr>
          <p:nvPr>
            <p:ph type="title"/>
          </p:nvPr>
        </p:nvSpPr>
        <p:spPr>
          <a:xfrm>
            <a:off x="629841" y="342900"/>
            <a:ext cx="2949179" cy="1200150"/>
          </a:xfrm>
          <a:prstGeom prst="rect">
            <a:avLst/>
          </a:prstGeom>
        </p:spPr>
        <p:txBody>
          <a:bodyPr anchor="b"/>
          <a:lstStyle>
            <a:lvl1pPr>
              <a:defRPr sz="2400"/>
            </a:lvl1pPr>
          </a:lstStyle>
          <a:p>
            <a:r>
              <a:t>Texte du titre</a:t>
            </a:r>
          </a:p>
        </p:txBody>
      </p:sp>
      <p:sp>
        <p:nvSpPr>
          <p:cNvPr id="73" name="Texte niveau 1…"/>
          <p:cNvSpPr>
            <a:spLocks noGrp="1"/>
          </p:cNvSpPr>
          <p:nvPr>
            <p:ph type="body" sz="half" idx="1"/>
          </p:nvPr>
        </p:nvSpPr>
        <p:spPr>
          <a:xfrm>
            <a:off x="3887391" y="740570"/>
            <a:ext cx="4629150" cy="3655219"/>
          </a:xfrm>
          <a:prstGeom prst="rect">
            <a:avLst/>
          </a:prstGeom>
        </p:spPr>
        <p:txBody>
          <a:bodyPr/>
          <a:lstStyle>
            <a:lvl1pPr>
              <a:defRPr sz="2400"/>
            </a:lvl1pPr>
            <a:lvl2pPr marL="367375" indent="-195933">
              <a:defRPr sz="2400"/>
            </a:lvl2pPr>
            <a:lvl3pPr marL="571472" indent="-228588">
              <a:defRPr sz="2400"/>
            </a:lvl3pPr>
            <a:lvl4pPr marL="788630" indent="-274306">
              <a:defRPr sz="2400"/>
            </a:lvl4pPr>
            <a:lvl5pPr marL="960072" indent="-274306">
              <a:defRPr sz="2400"/>
            </a:lvl5pPr>
          </a:lstStyle>
          <a:p>
            <a:r>
              <a:t>Texte niveau 1</a:t>
            </a:r>
          </a:p>
          <a:p>
            <a:pPr lvl="1"/>
            <a:r>
              <a:t>Texte niveau 2</a:t>
            </a:r>
          </a:p>
          <a:p>
            <a:pPr lvl="2"/>
            <a:r>
              <a:t>Texte niveau 3</a:t>
            </a:r>
          </a:p>
          <a:p>
            <a:pPr lvl="3"/>
            <a:r>
              <a:t>Texte niveau 4</a:t>
            </a:r>
          </a:p>
          <a:p>
            <a:pPr lvl="4"/>
            <a:r>
              <a:t>Texte niveau 5</a:t>
            </a:r>
          </a:p>
        </p:txBody>
      </p:sp>
      <p:sp>
        <p:nvSpPr>
          <p:cNvPr id="74" name="Espace réservé du texte 3"/>
          <p:cNvSpPr>
            <a:spLocks noGrp="1"/>
          </p:cNvSpPr>
          <p:nvPr>
            <p:ph type="body" sz="quarter" idx="13"/>
          </p:nvPr>
        </p:nvSpPr>
        <p:spPr>
          <a:xfrm>
            <a:off x="629841" y="1543050"/>
            <a:ext cx="2949178" cy="2858691"/>
          </a:xfrm>
          <a:prstGeom prst="rect">
            <a:avLst/>
          </a:prstGeom>
          <a:ln w="12700"/>
        </p:spPr>
        <p:txBody>
          <a:bodyPr/>
          <a:lstStyle>
            <a:lvl1pPr marL="0" indent="0">
              <a:buSzTx/>
              <a:buFontTx/>
              <a:buNone/>
              <a:defRPr sz="3200"/>
            </a:lvl1pPr>
          </a:lstStyle>
          <a:p>
            <a:pPr marL="0" indent="0">
              <a:buSzTx/>
              <a:buFontTx/>
              <a:buNone/>
              <a:defRPr sz="3200"/>
            </a:pPr>
            <a:endParaRPr/>
          </a:p>
        </p:txBody>
      </p:sp>
      <p:sp>
        <p:nvSpPr>
          <p:cNvPr id="75"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3359599"/>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Image avec légende">
    <p:spTree>
      <p:nvGrpSpPr>
        <p:cNvPr id="1" name=""/>
        <p:cNvGrpSpPr/>
        <p:nvPr/>
      </p:nvGrpSpPr>
      <p:grpSpPr>
        <a:xfrm>
          <a:off x="0" y="0"/>
          <a:ext cx="0" cy="0"/>
          <a:chOff x="0" y="0"/>
          <a:chExt cx="0" cy="0"/>
        </a:xfrm>
      </p:grpSpPr>
      <p:sp>
        <p:nvSpPr>
          <p:cNvPr id="82" name="Texte du titre"/>
          <p:cNvSpPr>
            <a:spLocks noGrp="1"/>
          </p:cNvSpPr>
          <p:nvPr>
            <p:ph type="title"/>
          </p:nvPr>
        </p:nvSpPr>
        <p:spPr>
          <a:xfrm>
            <a:off x="629841" y="342900"/>
            <a:ext cx="2949179" cy="1200150"/>
          </a:xfrm>
          <a:prstGeom prst="rect">
            <a:avLst/>
          </a:prstGeom>
        </p:spPr>
        <p:txBody>
          <a:bodyPr anchor="b"/>
          <a:lstStyle>
            <a:lvl1pPr>
              <a:defRPr sz="2400"/>
            </a:lvl1pPr>
          </a:lstStyle>
          <a:p>
            <a:r>
              <a:t>Texte du titre</a:t>
            </a:r>
          </a:p>
        </p:txBody>
      </p:sp>
      <p:sp>
        <p:nvSpPr>
          <p:cNvPr id="83" name="Espace réservé pour une image  2"/>
          <p:cNvSpPr>
            <a:spLocks noGrp="1"/>
          </p:cNvSpPr>
          <p:nvPr>
            <p:ph type="pic" sz="half" idx="13"/>
          </p:nvPr>
        </p:nvSpPr>
        <p:spPr>
          <a:xfrm>
            <a:off x="3887391" y="740570"/>
            <a:ext cx="4629150" cy="3655219"/>
          </a:xfrm>
          <a:prstGeom prst="rect">
            <a:avLst/>
          </a:prstGeom>
          <a:ln w="12700"/>
        </p:spPr>
        <p:txBody>
          <a:bodyPr tIns="17145" bIns="17145">
            <a:noAutofit/>
          </a:bodyPr>
          <a:lstStyle/>
          <a:p>
            <a:endParaRPr/>
          </a:p>
        </p:txBody>
      </p:sp>
      <p:sp>
        <p:nvSpPr>
          <p:cNvPr id="84" name="Texte niveau 1…"/>
          <p:cNvSpPr>
            <a:spLocks noGrp="1"/>
          </p:cNvSpPr>
          <p:nvPr>
            <p:ph type="body" sz="quarter" idx="1"/>
          </p:nvPr>
        </p:nvSpPr>
        <p:spPr>
          <a:xfrm>
            <a:off x="629841" y="1543050"/>
            <a:ext cx="2949179" cy="2858691"/>
          </a:xfrm>
          <a:prstGeom prst="rect">
            <a:avLst/>
          </a:prstGeom>
        </p:spPr>
        <p:txBody>
          <a:bodyPr/>
          <a:lstStyle>
            <a:lvl1pPr marL="0" indent="0">
              <a:buSzTx/>
              <a:buFontTx/>
              <a:buNone/>
              <a:defRPr sz="1200"/>
            </a:lvl1pPr>
            <a:lvl2pPr marL="0" indent="171442">
              <a:buSzTx/>
              <a:buFontTx/>
              <a:buNone/>
              <a:defRPr sz="1200"/>
            </a:lvl2pPr>
            <a:lvl3pPr marL="0" indent="342882">
              <a:buSzTx/>
              <a:buFontTx/>
              <a:buNone/>
              <a:defRPr sz="1200"/>
            </a:lvl3pPr>
            <a:lvl4pPr marL="0" indent="514324">
              <a:buSzTx/>
              <a:buFontTx/>
              <a:buNone/>
              <a:defRPr sz="1200"/>
            </a:lvl4pPr>
            <a:lvl5pPr marL="0" indent="685766">
              <a:buSzTx/>
              <a:buFontTx/>
              <a:buNone/>
              <a:defRPr sz="1200"/>
            </a:lvl5pPr>
          </a:lstStyle>
          <a:p>
            <a:r>
              <a:t>Texte niveau 1</a:t>
            </a:r>
          </a:p>
          <a:p>
            <a:pPr lvl="1"/>
            <a:r>
              <a:t>Texte niveau 2</a:t>
            </a:r>
          </a:p>
          <a:p>
            <a:pPr lvl="2"/>
            <a:r>
              <a:t>Texte niveau 3</a:t>
            </a:r>
          </a:p>
          <a:p>
            <a:pPr lvl="3"/>
            <a:r>
              <a:t>Texte niveau 4</a:t>
            </a:r>
          </a:p>
          <a:p>
            <a:pPr lvl="4"/>
            <a:r>
              <a:t>Texte niveau 5</a:t>
            </a:r>
          </a:p>
        </p:txBody>
      </p:sp>
      <p:sp>
        <p:nvSpPr>
          <p:cNvPr id="85"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2364756937"/>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Titre et texte vertical">
    <p:spTree>
      <p:nvGrpSpPr>
        <p:cNvPr id="1" name=""/>
        <p:cNvGrpSpPr/>
        <p:nvPr/>
      </p:nvGrpSpPr>
      <p:grpSpPr>
        <a:xfrm>
          <a:off x="0" y="0"/>
          <a:ext cx="0" cy="0"/>
          <a:chOff x="0" y="0"/>
          <a:chExt cx="0" cy="0"/>
        </a:xfrm>
      </p:grpSpPr>
      <p:sp>
        <p:nvSpPr>
          <p:cNvPr id="92" name="Texte du titre"/>
          <p:cNvSpPr>
            <a:spLocks noGrp="1"/>
          </p:cNvSpPr>
          <p:nvPr>
            <p:ph type="title"/>
          </p:nvPr>
        </p:nvSpPr>
        <p:spPr>
          <a:prstGeom prst="rect">
            <a:avLst/>
          </a:prstGeom>
        </p:spPr>
        <p:txBody>
          <a:bodyPr/>
          <a:lstStyle/>
          <a:p>
            <a:r>
              <a:t>Texte du titre</a:t>
            </a:r>
          </a:p>
        </p:txBody>
      </p:sp>
      <p:sp>
        <p:nvSpPr>
          <p:cNvPr id="93"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94"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555568295"/>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itre vertical et texte">
    <p:spTree>
      <p:nvGrpSpPr>
        <p:cNvPr id="1" name=""/>
        <p:cNvGrpSpPr/>
        <p:nvPr/>
      </p:nvGrpSpPr>
      <p:grpSpPr>
        <a:xfrm>
          <a:off x="0" y="0"/>
          <a:ext cx="0" cy="0"/>
          <a:chOff x="0" y="0"/>
          <a:chExt cx="0" cy="0"/>
        </a:xfrm>
      </p:grpSpPr>
      <p:sp>
        <p:nvSpPr>
          <p:cNvPr id="101" name="Texte du titre"/>
          <p:cNvSpPr>
            <a:spLocks noGrp="1"/>
          </p:cNvSpPr>
          <p:nvPr>
            <p:ph type="title"/>
          </p:nvPr>
        </p:nvSpPr>
        <p:spPr>
          <a:xfrm>
            <a:off x="6543675" y="273843"/>
            <a:ext cx="1971675" cy="4358879"/>
          </a:xfrm>
          <a:prstGeom prst="rect">
            <a:avLst/>
          </a:prstGeom>
        </p:spPr>
        <p:txBody>
          <a:bodyPr/>
          <a:lstStyle/>
          <a:p>
            <a:r>
              <a:t>Texte du titre</a:t>
            </a:r>
          </a:p>
        </p:txBody>
      </p:sp>
      <p:sp>
        <p:nvSpPr>
          <p:cNvPr id="102" name="Texte niveau 1…"/>
          <p:cNvSpPr>
            <a:spLocks noGrp="1"/>
          </p:cNvSpPr>
          <p:nvPr>
            <p:ph type="body" idx="1"/>
          </p:nvPr>
        </p:nvSpPr>
        <p:spPr>
          <a:xfrm>
            <a:off x="628650" y="273843"/>
            <a:ext cx="5800725" cy="4358879"/>
          </a:xfrm>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103" name="Numéro de diapositive"/>
          <p:cNvSpPr>
            <a:spLocks noGrp="1"/>
          </p:cNvSpPr>
          <p:nvPr>
            <p:ph type="sldNum" sz="quarter" idx="2"/>
          </p:nvPr>
        </p:nvSpPr>
        <p:spPr>
          <a:xfrm>
            <a:off x="8239314" y="4800311"/>
            <a:ext cx="276036" cy="207748"/>
          </a:xfrm>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4046057075"/>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783455"/>
            <a:ext cx="2926080" cy="257175"/>
          </a:xfrm>
          <a:prstGeom prst="rect">
            <a:avLst/>
          </a:prstGeom>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a:xfrm>
            <a:off x="457200" y="4783455"/>
            <a:ext cx="2103120" cy="257175"/>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2/12/2020</a:t>
            </a:fld>
            <a:endParaRPr lang="en-US"/>
          </a:p>
        </p:txBody>
      </p:sp>
      <p:sp>
        <p:nvSpPr>
          <p:cNvPr id="4" name="Holder 4"/>
          <p:cNvSpPr>
            <a:spLocks noGrp="1"/>
          </p:cNvSpPr>
          <p:nvPr>
            <p:ph type="sldNum" sz="quarter" idx="7"/>
          </p:nvPr>
        </p:nvSpPr>
        <p:spPr>
          <a:xfrm>
            <a:off x="8308563" y="4834935"/>
            <a:ext cx="206787" cy="138499"/>
          </a:xfrm>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18471002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FF7900"/>
                </a:solidFill>
                <a:latin typeface="Helvetica Neue"/>
                <a:cs typeface="Helvetica Neue"/>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3108960" y="4783455"/>
            <a:ext cx="2926080" cy="257175"/>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5"/>
            <a:ext cx="2103120" cy="257175"/>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2/12/2020</a:t>
            </a:fld>
            <a:endParaRPr lang="en-US"/>
          </a:p>
        </p:txBody>
      </p:sp>
      <p:sp>
        <p:nvSpPr>
          <p:cNvPr id="6" name="Holder 6"/>
          <p:cNvSpPr>
            <a:spLocks noGrp="1"/>
          </p:cNvSpPr>
          <p:nvPr>
            <p:ph type="sldNum" sz="quarter" idx="7"/>
          </p:nvPr>
        </p:nvSpPr>
        <p:spPr>
          <a:xfrm>
            <a:off x="8308563" y="4834935"/>
            <a:ext cx="206787" cy="138499"/>
          </a:xfrm>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38214964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FF7900"/>
                </a:solidFill>
                <a:latin typeface="Helvetica Neue"/>
                <a:cs typeface="Helvetica Neue"/>
              </a:defRPr>
            </a:lvl1pPr>
          </a:lstStyle>
          <a:p>
            <a:endParaRPr/>
          </a:p>
        </p:txBody>
      </p:sp>
      <p:sp>
        <p:nvSpPr>
          <p:cNvPr id="3" name="Holder 3"/>
          <p:cNvSpPr>
            <a:spLocks noGrp="1"/>
          </p:cNvSpPr>
          <p:nvPr>
            <p:ph sz="half" idx="2"/>
          </p:nvPr>
        </p:nvSpPr>
        <p:spPr>
          <a:xfrm>
            <a:off x="457200" y="1183005"/>
            <a:ext cx="3977640" cy="29084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5"/>
            <a:ext cx="3977640" cy="29084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4783455"/>
            <a:ext cx="2926080" cy="257175"/>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457200" y="4783455"/>
            <a:ext cx="2103120" cy="257175"/>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2/12/2020</a:t>
            </a:fld>
            <a:endParaRPr lang="en-US"/>
          </a:p>
        </p:txBody>
      </p:sp>
      <p:sp>
        <p:nvSpPr>
          <p:cNvPr id="7" name="Holder 7"/>
          <p:cNvSpPr>
            <a:spLocks noGrp="1"/>
          </p:cNvSpPr>
          <p:nvPr>
            <p:ph type="sldNum" sz="quarter" idx="7"/>
          </p:nvPr>
        </p:nvSpPr>
        <p:spPr>
          <a:xfrm>
            <a:off x="8308563" y="4834935"/>
            <a:ext cx="206787" cy="138499"/>
          </a:xfrm>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42748331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16" name="bk object 16"/>
          <p:cNvSpPr/>
          <p:nvPr/>
        </p:nvSpPr>
        <p:spPr>
          <a:xfrm>
            <a:off x="0" y="0"/>
            <a:ext cx="9144000" cy="5143211"/>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000000"/>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000" b="1" i="0">
                <a:solidFill>
                  <a:srgbClr val="FF7900"/>
                </a:solidFill>
                <a:latin typeface="Helvetica Neue"/>
                <a:cs typeface="Helvetica Neue"/>
              </a:defRPr>
            </a:lvl1pPr>
          </a:lstStyle>
          <a:p>
            <a:endParaRPr/>
          </a:p>
        </p:txBody>
      </p:sp>
      <p:sp>
        <p:nvSpPr>
          <p:cNvPr id="3" name="Holder 3"/>
          <p:cNvSpPr>
            <a:spLocks noGrp="1"/>
          </p:cNvSpPr>
          <p:nvPr>
            <p:ph type="ftr" sz="quarter" idx="5"/>
          </p:nvPr>
        </p:nvSpPr>
        <p:spPr>
          <a:xfrm>
            <a:off x="3108960" y="4783455"/>
            <a:ext cx="2926080" cy="257175"/>
          </a:xfrm>
          <a:prstGeom prst="rect">
            <a:avLst/>
          </a:prstGeom>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a:xfrm>
            <a:off x="457200" y="4783455"/>
            <a:ext cx="2103120" cy="257175"/>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2/12/2020</a:t>
            </a:fld>
            <a:endParaRPr lang="en-US"/>
          </a:p>
        </p:txBody>
      </p:sp>
      <p:sp>
        <p:nvSpPr>
          <p:cNvPr id="5" name="Holder 5"/>
          <p:cNvSpPr>
            <a:spLocks noGrp="1"/>
          </p:cNvSpPr>
          <p:nvPr>
            <p:ph type="sldNum" sz="quarter" idx="7"/>
          </p:nvPr>
        </p:nvSpPr>
        <p:spPr>
          <a:xfrm>
            <a:off x="8308563" y="4834935"/>
            <a:ext cx="206787" cy="138499"/>
          </a:xfrm>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23486480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26606172"/>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3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27734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7D3AEEF0-FEAD-44CF-A18D-162E882CE67E}" type="datetimeFigureOut">
              <a:rPr lang="fr-FR" smtClean="0"/>
              <a:t>12/02/2020</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19436498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9" y="2704144"/>
            <a:ext cx="4831185" cy="966156"/>
          </a:xfrm>
        </p:spPr>
        <p:txBody>
          <a:bodyPr/>
          <a:lstStyle>
            <a:lvl1pPr marL="0" indent="0" algn="l">
              <a:buNone/>
              <a:defRPr baseline="0">
                <a:solidFill>
                  <a:schemeClr val="tx1"/>
                </a:solidFill>
              </a:defRPr>
            </a:lvl1pPr>
            <a:lvl2pPr marL="180966" indent="-180966" algn="l">
              <a:buClr>
                <a:schemeClr val="bg2"/>
              </a:buClr>
              <a:buSzPct val="100000"/>
              <a:buFont typeface="Wingdings" panose="05000000000000000000" pitchFamily="2" charset="2"/>
              <a:buChar char="§"/>
              <a:defRPr>
                <a:solidFill>
                  <a:schemeClr val="tx1"/>
                </a:solidFill>
              </a:defRPr>
            </a:lvl2pPr>
            <a:lvl3pPr marL="406780" indent="-19079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70" indent="-172792" algn="l">
              <a:spcBef>
                <a:spcPts val="24"/>
              </a:spcBef>
              <a:buFont typeface="Helvetica 55 Roman" panose="020B0604020202020204" pitchFamily="34" charset="0"/>
              <a:buChar char="–"/>
              <a:defRPr>
                <a:solidFill>
                  <a:schemeClr val="tx1"/>
                </a:solidFill>
              </a:defRPr>
            </a:lvl4pPr>
            <a:lvl5pPr marL="799160" indent="-190790" algn="l">
              <a:buFont typeface="Helvetica 55 Roman" panose="020B0604020202020204" pitchFamily="34" charset="0"/>
              <a:buChar char="–"/>
              <a:defRPr>
                <a:solidFill>
                  <a:schemeClr val="tx1"/>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777232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5345985"/>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3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Content Placeholder 2"/>
          <p:cNvSpPr>
            <a:spLocks noGrp="1"/>
          </p:cNvSpPr>
          <p:nvPr>
            <p:ph idx="1" hasCustomPrompt="1"/>
          </p:nvPr>
        </p:nvSpPr>
        <p:spPr>
          <a:xfrm>
            <a:off x="314327" y="268289"/>
            <a:ext cx="8515349" cy="4281487"/>
          </a:xfrm>
        </p:spPr>
        <p:txBody>
          <a:bodyPr/>
          <a:lstStyle>
            <a:lvl1pPr>
              <a:spcBef>
                <a:spcPts val="0"/>
              </a:spcBef>
              <a:defRPr sz="3000"/>
            </a:lvl1pPr>
            <a:lvl2pPr marL="358757" indent="-358757">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3607228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71" y="268289"/>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Tree>
    <p:extLst>
      <p:ext uri="{BB962C8B-B14F-4D97-AF65-F5344CB8AC3E}">
        <p14:creationId xmlns:p14="http://schemas.microsoft.com/office/powerpoint/2010/main" val="4039803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7"/>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381869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6236855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13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Tree>
    <p:extLst>
      <p:ext uri="{BB962C8B-B14F-4D97-AF65-F5344CB8AC3E}">
        <p14:creationId xmlns:p14="http://schemas.microsoft.com/office/powerpoint/2010/main" val="3052665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03193972"/>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23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402817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65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1_Titre et contenu">
    <p:spTree>
      <p:nvGrpSpPr>
        <p:cNvPr id="1" name=""/>
        <p:cNvGrpSpPr/>
        <p:nvPr/>
      </p:nvGrpSpPr>
      <p:grpSpPr>
        <a:xfrm>
          <a:off x="0" y="0"/>
          <a:ext cx="0" cy="0"/>
          <a:chOff x="0" y="0"/>
          <a:chExt cx="0" cy="0"/>
        </a:xfrm>
      </p:grpSpPr>
      <p:sp>
        <p:nvSpPr>
          <p:cNvPr id="20" name="Texte du titre"/>
          <p:cNvSpPr>
            <a:spLocks noGrp="1"/>
          </p:cNvSpPr>
          <p:nvPr>
            <p:ph type="title"/>
          </p:nvPr>
        </p:nvSpPr>
        <p:spPr>
          <a:prstGeom prst="rect">
            <a:avLst/>
          </a:prstGeom>
        </p:spPr>
        <p:txBody>
          <a:bodyPr/>
          <a:lstStyle/>
          <a:p>
            <a:r>
              <a:t>Texte du titre</a:t>
            </a:r>
          </a:p>
        </p:txBody>
      </p:sp>
      <p:sp>
        <p:nvSpPr>
          <p:cNvPr id="21"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 name="Numéro de diapositive"/>
          <p:cNvSpPr>
            <a:spLocks noGrp="1"/>
          </p:cNvSpPr>
          <p:nvPr>
            <p:ph type="sldNum" sz="quarter" idx="10"/>
          </p:nvPr>
        </p:nvSpPr>
        <p:spPr>
          <a:xfrm>
            <a:off x="8315325" y="4800600"/>
            <a:ext cx="200025" cy="206375"/>
          </a:xfrm>
          <a:prstGeom prst="rect">
            <a:avLst/>
          </a:prstGeom>
        </p:spPr>
        <p:txBody>
          <a:bodyPr lIns="34290" tIns="17145" rIns="34290" bIns="17145"/>
          <a:lstStyle>
            <a:lvl1pPr>
              <a:defRPr>
                <a:latin typeface="Arial" charset="0"/>
              </a:defRPr>
            </a:lvl1pPr>
          </a:lstStyle>
          <a:p>
            <a:pPr defTabSz="914354">
              <a:defRPr/>
            </a:pPr>
            <a:fld id="{955603C6-9BDD-45F3-993D-6AE9198ECE5E}" type="slidenum">
              <a:rPr>
                <a:solidFill>
                  <a:srgbClr val="000000"/>
                </a:solidFill>
              </a:rPr>
              <a:pPr defTabSz="914354">
                <a:defRPr/>
              </a:pPr>
              <a:t>‹N°›</a:t>
            </a:fld>
            <a:endParaRPr>
              <a:solidFill>
                <a:srgbClr val="000000"/>
              </a:solidFill>
            </a:endParaRPr>
          </a:p>
        </p:txBody>
      </p:sp>
    </p:spTree>
    <p:extLst>
      <p:ext uri="{BB962C8B-B14F-4D97-AF65-F5344CB8AC3E}">
        <p14:creationId xmlns:p14="http://schemas.microsoft.com/office/powerpoint/2010/main" val="1332260712"/>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11" name="Texte du titre"/>
          <p:cNvSpPr>
            <a:spLocks noGrp="1"/>
          </p:cNvSpPr>
          <p:nvPr>
            <p:ph type="title"/>
          </p:nvPr>
        </p:nvSpPr>
        <p:spPr>
          <a:xfrm>
            <a:off x="1143000" y="841772"/>
            <a:ext cx="6858000" cy="1790700"/>
          </a:xfrm>
          <a:prstGeom prst="rect">
            <a:avLst/>
          </a:prstGeom>
        </p:spPr>
        <p:txBody>
          <a:bodyPr anchor="b"/>
          <a:lstStyle>
            <a:lvl1pPr algn="ctr">
              <a:defRPr sz="4500"/>
            </a:lvl1pPr>
          </a:lstStyle>
          <a:p>
            <a:r>
              <a:t>Texte du titre</a:t>
            </a:r>
          </a:p>
        </p:txBody>
      </p:sp>
      <p:sp>
        <p:nvSpPr>
          <p:cNvPr id="12" name="Texte niveau 1…"/>
          <p:cNvSpPr>
            <a:spLocks noGrp="1"/>
          </p:cNvSpPr>
          <p:nvPr>
            <p:ph type="body" sz="quarter" idx="1"/>
          </p:nvPr>
        </p:nvSpPr>
        <p:spPr>
          <a:xfrm>
            <a:off x="1143000" y="2701528"/>
            <a:ext cx="6858000" cy="1241822"/>
          </a:xfrm>
          <a:prstGeom prst="rect">
            <a:avLst/>
          </a:prstGeom>
        </p:spPr>
        <p:txBody>
          <a:bodyPr/>
          <a:lstStyle>
            <a:lvl1pPr marL="0" indent="0" algn="ctr">
              <a:buSzTx/>
              <a:buFontTx/>
              <a:buNone/>
              <a:defRPr sz="1800"/>
            </a:lvl1pPr>
            <a:lvl2pPr marL="0" indent="171450" algn="ctr">
              <a:buSzTx/>
              <a:buFontTx/>
              <a:buNone/>
              <a:defRPr sz="1800"/>
            </a:lvl2pPr>
            <a:lvl3pPr marL="0" indent="342900" algn="ctr">
              <a:buSzTx/>
              <a:buFontTx/>
              <a:buNone/>
              <a:defRPr sz="1800"/>
            </a:lvl3pPr>
            <a:lvl4pPr marL="0" indent="514350" algn="ctr">
              <a:buSzTx/>
              <a:buFontTx/>
              <a:buNone/>
              <a:defRPr sz="1800"/>
            </a:lvl4pPr>
            <a:lvl5pPr marL="0" indent="685800" algn="ctr">
              <a:buSzTx/>
              <a:buFontTx/>
              <a:buNone/>
              <a:defRPr sz="180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a:spLocks noGrp="1"/>
          </p:cNvSpPr>
          <p:nvPr>
            <p:ph type="sldNum" sz="quarter" idx="2"/>
          </p:nvPr>
        </p:nvSpPr>
        <p:spPr>
          <a:xfrm>
            <a:off x="8314871" y="4800838"/>
            <a:ext cx="200479" cy="206693"/>
          </a:xfrm>
          <a:prstGeom prst="rect">
            <a:avLst/>
          </a:prstGeom>
        </p:spPr>
        <p:txBody>
          <a:bodyPr lIns="34290" tIns="17145" rIns="34290" bIns="17145"/>
          <a:lstStyle/>
          <a:p>
            <a:pPr defTabSz="914354"/>
            <a:fld id="{86CB4B4D-7CA3-9044-876B-883B54F8677D}" type="slidenum">
              <a:rPr>
                <a:solidFill>
                  <a:srgbClr val="000000"/>
                </a:solidFill>
              </a:rPr>
              <a:pPr defTabSz="914354"/>
              <a:t>‹N°›</a:t>
            </a:fld>
            <a:endParaRPr>
              <a:solidFill>
                <a:srgbClr val="000000"/>
              </a:solidFill>
            </a:endParaRPr>
          </a:p>
        </p:txBody>
      </p:sp>
    </p:spTree>
    <p:extLst>
      <p:ext uri="{BB962C8B-B14F-4D97-AF65-F5344CB8AC3E}">
        <p14:creationId xmlns:p14="http://schemas.microsoft.com/office/powerpoint/2010/main" val="1988894093"/>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0597339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44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95907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7D3AEEF0-FEAD-44CF-A18D-162E882CE67E}" type="datetimeFigureOut">
              <a:rPr lang="fr-FR" smtClean="0"/>
              <a:t>12/02/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31309651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9" y="2704144"/>
            <a:ext cx="4831185" cy="966156"/>
          </a:xfrm>
        </p:spPr>
        <p:txBody>
          <a:bodyPr/>
          <a:lstStyle>
            <a:lvl1pPr marL="0" indent="0" algn="l">
              <a:buNone/>
              <a:defRPr baseline="0">
                <a:solidFill>
                  <a:schemeClr val="tx1"/>
                </a:solidFill>
              </a:defRPr>
            </a:lvl1pPr>
            <a:lvl2pPr marL="180966" indent="-180966" algn="l">
              <a:buClr>
                <a:schemeClr val="bg2"/>
              </a:buClr>
              <a:buSzPct val="100000"/>
              <a:buFont typeface="Wingdings" panose="05000000000000000000" pitchFamily="2" charset="2"/>
              <a:buChar char="§"/>
              <a:defRPr>
                <a:solidFill>
                  <a:schemeClr val="tx1"/>
                </a:solidFill>
              </a:defRPr>
            </a:lvl2pPr>
            <a:lvl3pPr marL="406780" indent="-19079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70" indent="-172792" algn="l">
              <a:spcBef>
                <a:spcPts val="24"/>
              </a:spcBef>
              <a:buFont typeface="Helvetica 55 Roman" panose="020B0604020202020204" pitchFamily="34" charset="0"/>
              <a:buChar char="–"/>
              <a:defRPr>
                <a:solidFill>
                  <a:schemeClr val="tx1"/>
                </a:solidFill>
              </a:defRPr>
            </a:lvl4pPr>
            <a:lvl5pPr marL="799160" indent="-190790" algn="l">
              <a:buFont typeface="Helvetica 55 Roman" panose="020B0604020202020204" pitchFamily="34" charset="0"/>
              <a:buChar char="–"/>
              <a:defRPr>
                <a:solidFill>
                  <a:schemeClr val="tx1"/>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1403771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64028782"/>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54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Content Placeholder 2"/>
          <p:cNvSpPr>
            <a:spLocks noGrp="1"/>
          </p:cNvSpPr>
          <p:nvPr>
            <p:ph idx="1" hasCustomPrompt="1"/>
          </p:nvPr>
        </p:nvSpPr>
        <p:spPr>
          <a:xfrm>
            <a:off x="314327" y="268289"/>
            <a:ext cx="8515349" cy="4281487"/>
          </a:xfrm>
        </p:spPr>
        <p:txBody>
          <a:bodyPr/>
          <a:lstStyle>
            <a:lvl1pPr>
              <a:spcBef>
                <a:spcPts val="0"/>
              </a:spcBef>
              <a:defRPr sz="3000"/>
            </a:lvl1pPr>
            <a:lvl2pPr marL="358757" indent="-358757">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4256006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71" y="268289"/>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Tree>
    <p:extLst>
      <p:ext uri="{BB962C8B-B14F-4D97-AF65-F5344CB8AC3E}">
        <p14:creationId xmlns:p14="http://schemas.microsoft.com/office/powerpoint/2010/main" val="177715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7"/>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2343577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62317178"/>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64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Tree>
    <p:extLst>
      <p:ext uri="{BB962C8B-B14F-4D97-AF65-F5344CB8AC3E}">
        <p14:creationId xmlns:p14="http://schemas.microsoft.com/office/powerpoint/2010/main" val="106113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99945378"/>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74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151108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060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1_Titre et contenu">
    <p:spTree>
      <p:nvGrpSpPr>
        <p:cNvPr id="1" name=""/>
        <p:cNvGrpSpPr/>
        <p:nvPr/>
      </p:nvGrpSpPr>
      <p:grpSpPr>
        <a:xfrm>
          <a:off x="0" y="0"/>
          <a:ext cx="0" cy="0"/>
          <a:chOff x="0" y="0"/>
          <a:chExt cx="0" cy="0"/>
        </a:xfrm>
      </p:grpSpPr>
      <p:sp>
        <p:nvSpPr>
          <p:cNvPr id="20" name="Texte du titre"/>
          <p:cNvSpPr>
            <a:spLocks noGrp="1"/>
          </p:cNvSpPr>
          <p:nvPr>
            <p:ph type="title"/>
          </p:nvPr>
        </p:nvSpPr>
        <p:spPr>
          <a:prstGeom prst="rect">
            <a:avLst/>
          </a:prstGeom>
        </p:spPr>
        <p:txBody>
          <a:bodyPr/>
          <a:lstStyle/>
          <a:p>
            <a:r>
              <a:t>Texte du titre</a:t>
            </a:r>
          </a:p>
        </p:txBody>
      </p:sp>
      <p:sp>
        <p:nvSpPr>
          <p:cNvPr id="21"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 name="Numéro de diapositive"/>
          <p:cNvSpPr>
            <a:spLocks noGrp="1"/>
          </p:cNvSpPr>
          <p:nvPr>
            <p:ph type="sldNum" sz="quarter" idx="10"/>
          </p:nvPr>
        </p:nvSpPr>
        <p:spPr>
          <a:xfrm>
            <a:off x="8315325" y="4800600"/>
            <a:ext cx="200025" cy="206375"/>
          </a:xfrm>
          <a:prstGeom prst="rect">
            <a:avLst/>
          </a:prstGeom>
        </p:spPr>
        <p:txBody>
          <a:bodyPr lIns="34290" tIns="17145" rIns="34290" bIns="17145"/>
          <a:lstStyle>
            <a:lvl1pPr>
              <a:defRPr>
                <a:latin typeface="Arial" charset="0"/>
              </a:defRPr>
            </a:lvl1pPr>
          </a:lstStyle>
          <a:p>
            <a:pPr defTabSz="914354">
              <a:defRPr/>
            </a:pPr>
            <a:fld id="{955603C6-9BDD-45F3-993D-6AE9198ECE5E}" type="slidenum">
              <a:rPr>
                <a:solidFill>
                  <a:srgbClr val="000000"/>
                </a:solidFill>
              </a:rPr>
              <a:pPr defTabSz="914354">
                <a:defRPr/>
              </a:pPr>
              <a:t>‹N°›</a:t>
            </a:fld>
            <a:endParaRPr>
              <a:solidFill>
                <a:srgbClr val="000000"/>
              </a:solidFill>
            </a:endParaRPr>
          </a:p>
        </p:txBody>
      </p:sp>
    </p:spTree>
    <p:extLst>
      <p:ext uri="{BB962C8B-B14F-4D97-AF65-F5344CB8AC3E}">
        <p14:creationId xmlns:p14="http://schemas.microsoft.com/office/powerpoint/2010/main" val="3629236701"/>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11" name="Texte du titre"/>
          <p:cNvSpPr>
            <a:spLocks noGrp="1"/>
          </p:cNvSpPr>
          <p:nvPr>
            <p:ph type="title"/>
          </p:nvPr>
        </p:nvSpPr>
        <p:spPr>
          <a:xfrm>
            <a:off x="1143000" y="841772"/>
            <a:ext cx="6858000" cy="1790700"/>
          </a:xfrm>
          <a:prstGeom prst="rect">
            <a:avLst/>
          </a:prstGeom>
        </p:spPr>
        <p:txBody>
          <a:bodyPr anchor="b"/>
          <a:lstStyle>
            <a:lvl1pPr algn="ctr">
              <a:defRPr sz="4500"/>
            </a:lvl1pPr>
          </a:lstStyle>
          <a:p>
            <a:r>
              <a:t>Texte du titre</a:t>
            </a:r>
          </a:p>
        </p:txBody>
      </p:sp>
      <p:sp>
        <p:nvSpPr>
          <p:cNvPr id="12" name="Texte niveau 1…"/>
          <p:cNvSpPr>
            <a:spLocks noGrp="1"/>
          </p:cNvSpPr>
          <p:nvPr>
            <p:ph type="body" sz="quarter" idx="1"/>
          </p:nvPr>
        </p:nvSpPr>
        <p:spPr>
          <a:xfrm>
            <a:off x="1143000" y="2701528"/>
            <a:ext cx="6858000" cy="1241822"/>
          </a:xfrm>
          <a:prstGeom prst="rect">
            <a:avLst/>
          </a:prstGeom>
        </p:spPr>
        <p:txBody>
          <a:bodyPr/>
          <a:lstStyle>
            <a:lvl1pPr marL="0" indent="0" algn="ctr">
              <a:buSzTx/>
              <a:buFontTx/>
              <a:buNone/>
              <a:defRPr sz="1800"/>
            </a:lvl1pPr>
            <a:lvl2pPr marL="0" indent="171450" algn="ctr">
              <a:buSzTx/>
              <a:buFontTx/>
              <a:buNone/>
              <a:defRPr sz="1800"/>
            </a:lvl2pPr>
            <a:lvl3pPr marL="0" indent="342900" algn="ctr">
              <a:buSzTx/>
              <a:buFontTx/>
              <a:buNone/>
              <a:defRPr sz="1800"/>
            </a:lvl3pPr>
            <a:lvl4pPr marL="0" indent="514350" algn="ctr">
              <a:buSzTx/>
              <a:buFontTx/>
              <a:buNone/>
              <a:defRPr sz="1800"/>
            </a:lvl4pPr>
            <a:lvl5pPr marL="0" indent="685800" algn="ctr">
              <a:buSzTx/>
              <a:buFontTx/>
              <a:buNone/>
              <a:defRPr sz="180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a:spLocks noGrp="1"/>
          </p:cNvSpPr>
          <p:nvPr>
            <p:ph type="sldNum" sz="quarter" idx="2"/>
          </p:nvPr>
        </p:nvSpPr>
        <p:spPr>
          <a:xfrm>
            <a:off x="8314871" y="4800838"/>
            <a:ext cx="200479" cy="206693"/>
          </a:xfrm>
          <a:prstGeom prst="rect">
            <a:avLst/>
          </a:prstGeom>
        </p:spPr>
        <p:txBody>
          <a:bodyPr lIns="34290" tIns="17145" rIns="34290" bIns="17145"/>
          <a:lstStyle/>
          <a:p>
            <a:pPr defTabSz="914354"/>
            <a:fld id="{86CB4B4D-7CA3-9044-876B-883B54F8677D}" type="slidenum">
              <a:rPr>
                <a:solidFill>
                  <a:srgbClr val="000000"/>
                </a:solidFill>
              </a:rPr>
              <a:pPr defTabSz="914354"/>
              <a:t>‹N°›</a:t>
            </a:fld>
            <a:endParaRPr>
              <a:solidFill>
                <a:srgbClr val="000000"/>
              </a:solidFill>
            </a:endParaRPr>
          </a:p>
        </p:txBody>
      </p:sp>
    </p:spTree>
    <p:extLst>
      <p:ext uri="{BB962C8B-B14F-4D97-AF65-F5344CB8AC3E}">
        <p14:creationId xmlns:p14="http://schemas.microsoft.com/office/powerpoint/2010/main" val="2867341511"/>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9775576"/>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95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161024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D3AEEF0-FEAD-44CF-A18D-162E882CE67E}" type="datetimeFigureOut">
              <a:rPr lang="fr-FR" smtClean="0"/>
              <a:t>12/02/2020</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319403088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9" y="2704144"/>
            <a:ext cx="4831185" cy="966156"/>
          </a:xfrm>
        </p:spPr>
        <p:txBody>
          <a:bodyPr/>
          <a:lstStyle>
            <a:lvl1pPr marL="0" indent="0" algn="l">
              <a:buNone/>
              <a:defRPr baseline="0">
                <a:solidFill>
                  <a:schemeClr val="tx1"/>
                </a:solidFill>
              </a:defRPr>
            </a:lvl1pPr>
            <a:lvl2pPr marL="180966" indent="-180966" algn="l">
              <a:buClr>
                <a:schemeClr val="bg2"/>
              </a:buClr>
              <a:buSzPct val="100000"/>
              <a:buFont typeface="Wingdings" panose="05000000000000000000" pitchFamily="2" charset="2"/>
              <a:buChar char="§"/>
              <a:defRPr>
                <a:solidFill>
                  <a:schemeClr val="tx1"/>
                </a:solidFill>
              </a:defRPr>
            </a:lvl2pPr>
            <a:lvl3pPr marL="406780" indent="-19079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3970" indent="-172792" algn="l">
              <a:spcBef>
                <a:spcPts val="24"/>
              </a:spcBef>
              <a:buFont typeface="Helvetica 55 Roman" panose="020B0604020202020204" pitchFamily="34" charset="0"/>
              <a:buChar char="–"/>
              <a:defRPr>
                <a:solidFill>
                  <a:schemeClr val="tx1"/>
                </a:solidFill>
              </a:defRPr>
            </a:lvl4pPr>
            <a:lvl5pPr marL="799160" indent="-190790" algn="l">
              <a:buFont typeface="Helvetica 55 Roman" panose="020B0604020202020204" pitchFamily="34" charset="0"/>
              <a:buChar char="–"/>
              <a:defRPr>
                <a:solidFill>
                  <a:schemeClr val="tx1"/>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7" indent="0" algn="ctr">
              <a:buNone/>
              <a:defRPr>
                <a:solidFill>
                  <a:schemeClr val="tx1">
                    <a:tint val="75000"/>
                  </a:schemeClr>
                </a:solidFill>
              </a:defRPr>
            </a:lvl9pPr>
          </a:lstStyle>
          <a:p>
            <a:r>
              <a:rPr lang="fr-FR" dirty="0"/>
              <a:t>Cliquez pour modifier le nom du présentateur</a:t>
            </a:r>
          </a:p>
        </p:txBody>
      </p:sp>
      <p:pic>
        <p:nvPicPr>
          <p:cNvPr id="15" name="Imag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385" y="3983338"/>
            <a:ext cx="842400" cy="842400"/>
          </a:xfrm>
          <a:prstGeom prst="rect">
            <a:avLst/>
          </a:prstGeom>
        </p:spPr>
      </p:pic>
    </p:spTree>
    <p:extLst>
      <p:ext uri="{BB962C8B-B14F-4D97-AF65-F5344CB8AC3E}">
        <p14:creationId xmlns:p14="http://schemas.microsoft.com/office/powerpoint/2010/main" val="140387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9514592"/>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5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Content Placeholder 2"/>
          <p:cNvSpPr>
            <a:spLocks noGrp="1"/>
          </p:cNvSpPr>
          <p:nvPr>
            <p:ph idx="1" hasCustomPrompt="1"/>
          </p:nvPr>
        </p:nvSpPr>
        <p:spPr>
          <a:xfrm>
            <a:off x="314327" y="268289"/>
            <a:ext cx="8515349" cy="4281487"/>
          </a:xfrm>
        </p:spPr>
        <p:txBody>
          <a:bodyPr/>
          <a:lstStyle>
            <a:lvl1pPr>
              <a:spcBef>
                <a:spcPts val="0"/>
              </a:spcBef>
              <a:defRPr sz="3000"/>
            </a:lvl1pPr>
            <a:lvl2pPr marL="358757" indent="-358757">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Tree>
    <p:extLst>
      <p:ext uri="{BB962C8B-B14F-4D97-AF65-F5344CB8AC3E}">
        <p14:creationId xmlns:p14="http://schemas.microsoft.com/office/powerpoint/2010/main" val="90605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71" y="268289"/>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Tree>
    <p:extLst>
      <p:ext uri="{BB962C8B-B14F-4D97-AF65-F5344CB8AC3E}">
        <p14:creationId xmlns:p14="http://schemas.microsoft.com/office/powerpoint/2010/main" val="3625325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7"/>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Tree>
    <p:extLst>
      <p:ext uri="{BB962C8B-B14F-4D97-AF65-F5344CB8AC3E}">
        <p14:creationId xmlns:p14="http://schemas.microsoft.com/office/powerpoint/2010/main" val="25804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6776965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15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Tree>
    <p:extLst>
      <p:ext uri="{BB962C8B-B14F-4D97-AF65-F5344CB8AC3E}">
        <p14:creationId xmlns:p14="http://schemas.microsoft.com/office/powerpoint/2010/main" val="3421105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929586"/>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26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423974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811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1_Titre et contenu">
    <p:spTree>
      <p:nvGrpSpPr>
        <p:cNvPr id="1" name=""/>
        <p:cNvGrpSpPr/>
        <p:nvPr/>
      </p:nvGrpSpPr>
      <p:grpSpPr>
        <a:xfrm>
          <a:off x="0" y="0"/>
          <a:ext cx="0" cy="0"/>
          <a:chOff x="0" y="0"/>
          <a:chExt cx="0" cy="0"/>
        </a:xfrm>
      </p:grpSpPr>
      <p:sp>
        <p:nvSpPr>
          <p:cNvPr id="20" name="Texte du titre"/>
          <p:cNvSpPr>
            <a:spLocks noGrp="1"/>
          </p:cNvSpPr>
          <p:nvPr>
            <p:ph type="title"/>
          </p:nvPr>
        </p:nvSpPr>
        <p:spPr>
          <a:prstGeom prst="rect">
            <a:avLst/>
          </a:prstGeom>
        </p:spPr>
        <p:txBody>
          <a:bodyPr/>
          <a:lstStyle/>
          <a:p>
            <a:r>
              <a:t>Texte du titre</a:t>
            </a:r>
          </a:p>
        </p:txBody>
      </p:sp>
      <p:sp>
        <p:nvSpPr>
          <p:cNvPr id="21" name="Texte niveau 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 name="Numéro de diapositive"/>
          <p:cNvSpPr>
            <a:spLocks noGrp="1"/>
          </p:cNvSpPr>
          <p:nvPr>
            <p:ph type="sldNum" sz="quarter" idx="10"/>
          </p:nvPr>
        </p:nvSpPr>
        <p:spPr>
          <a:xfrm>
            <a:off x="8315325" y="4800600"/>
            <a:ext cx="200025" cy="206375"/>
          </a:xfrm>
          <a:prstGeom prst="rect">
            <a:avLst/>
          </a:prstGeom>
        </p:spPr>
        <p:txBody>
          <a:bodyPr lIns="34290" tIns="17145" rIns="34290" bIns="17145"/>
          <a:lstStyle>
            <a:lvl1pPr>
              <a:defRPr>
                <a:latin typeface="Arial" charset="0"/>
              </a:defRPr>
            </a:lvl1pPr>
          </a:lstStyle>
          <a:p>
            <a:pPr defTabSz="914354">
              <a:defRPr/>
            </a:pPr>
            <a:fld id="{955603C6-9BDD-45F3-993D-6AE9198ECE5E}" type="slidenum">
              <a:rPr>
                <a:solidFill>
                  <a:srgbClr val="000000"/>
                </a:solidFill>
              </a:rPr>
              <a:pPr defTabSz="914354">
                <a:defRPr/>
              </a:pPr>
              <a:t>‹N°›</a:t>
            </a:fld>
            <a:endParaRPr>
              <a:solidFill>
                <a:srgbClr val="000000"/>
              </a:solidFill>
            </a:endParaRPr>
          </a:p>
        </p:txBody>
      </p:sp>
    </p:spTree>
    <p:extLst>
      <p:ext uri="{BB962C8B-B14F-4D97-AF65-F5344CB8AC3E}">
        <p14:creationId xmlns:p14="http://schemas.microsoft.com/office/powerpoint/2010/main" val="141465209"/>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11" name="Texte du titre"/>
          <p:cNvSpPr>
            <a:spLocks noGrp="1"/>
          </p:cNvSpPr>
          <p:nvPr>
            <p:ph type="title"/>
          </p:nvPr>
        </p:nvSpPr>
        <p:spPr>
          <a:xfrm>
            <a:off x="1143000" y="841772"/>
            <a:ext cx="6858000" cy="1790700"/>
          </a:xfrm>
          <a:prstGeom prst="rect">
            <a:avLst/>
          </a:prstGeom>
        </p:spPr>
        <p:txBody>
          <a:bodyPr anchor="b"/>
          <a:lstStyle>
            <a:lvl1pPr algn="ctr">
              <a:defRPr sz="4500"/>
            </a:lvl1pPr>
          </a:lstStyle>
          <a:p>
            <a:r>
              <a:t>Texte du titre</a:t>
            </a:r>
          </a:p>
        </p:txBody>
      </p:sp>
      <p:sp>
        <p:nvSpPr>
          <p:cNvPr id="12" name="Texte niveau 1…"/>
          <p:cNvSpPr>
            <a:spLocks noGrp="1"/>
          </p:cNvSpPr>
          <p:nvPr>
            <p:ph type="body" sz="quarter" idx="1"/>
          </p:nvPr>
        </p:nvSpPr>
        <p:spPr>
          <a:xfrm>
            <a:off x="1143000" y="2701528"/>
            <a:ext cx="6858000" cy="1241822"/>
          </a:xfrm>
          <a:prstGeom prst="rect">
            <a:avLst/>
          </a:prstGeom>
        </p:spPr>
        <p:txBody>
          <a:bodyPr/>
          <a:lstStyle>
            <a:lvl1pPr marL="0" indent="0" algn="ctr">
              <a:buSzTx/>
              <a:buFontTx/>
              <a:buNone/>
              <a:defRPr sz="1800"/>
            </a:lvl1pPr>
            <a:lvl2pPr marL="0" indent="171450" algn="ctr">
              <a:buSzTx/>
              <a:buFontTx/>
              <a:buNone/>
              <a:defRPr sz="1800"/>
            </a:lvl2pPr>
            <a:lvl3pPr marL="0" indent="342900" algn="ctr">
              <a:buSzTx/>
              <a:buFontTx/>
              <a:buNone/>
              <a:defRPr sz="1800"/>
            </a:lvl3pPr>
            <a:lvl4pPr marL="0" indent="514350" algn="ctr">
              <a:buSzTx/>
              <a:buFontTx/>
              <a:buNone/>
              <a:defRPr sz="1800"/>
            </a:lvl4pPr>
            <a:lvl5pPr marL="0" indent="685800" algn="ctr">
              <a:buSzTx/>
              <a:buFontTx/>
              <a:buNone/>
              <a:defRPr sz="180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a:spLocks noGrp="1"/>
          </p:cNvSpPr>
          <p:nvPr>
            <p:ph type="sldNum" sz="quarter" idx="2"/>
          </p:nvPr>
        </p:nvSpPr>
        <p:spPr>
          <a:xfrm>
            <a:off x="8314871" y="4800838"/>
            <a:ext cx="200479" cy="206693"/>
          </a:xfrm>
          <a:prstGeom prst="rect">
            <a:avLst/>
          </a:prstGeom>
        </p:spPr>
        <p:txBody>
          <a:bodyPr lIns="34290" tIns="17145" rIns="34290" bIns="17145"/>
          <a:lstStyle/>
          <a:p>
            <a:pPr defTabSz="914354"/>
            <a:fld id="{86CB4B4D-7CA3-9044-876B-883B54F8677D}" type="slidenum">
              <a:rPr>
                <a:solidFill>
                  <a:srgbClr val="000000"/>
                </a:solidFill>
              </a:rPr>
              <a:pPr defTabSz="914354"/>
              <a:t>‹N°›</a:t>
            </a:fld>
            <a:endParaRPr>
              <a:solidFill>
                <a:srgbClr val="000000"/>
              </a:solidFill>
            </a:endParaRPr>
          </a:p>
        </p:txBody>
      </p:sp>
    </p:spTree>
    <p:extLst>
      <p:ext uri="{BB962C8B-B14F-4D97-AF65-F5344CB8AC3E}">
        <p14:creationId xmlns:p14="http://schemas.microsoft.com/office/powerpoint/2010/main" val="3342933842"/>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432437" y="324328"/>
            <a:ext cx="5865494" cy="2958941"/>
          </a:xfrm>
        </p:spPr>
        <p:txBody>
          <a:bodyPr/>
          <a:lstStyle>
            <a:lvl1pPr algn="l">
              <a:lnSpc>
                <a:spcPct val="90000"/>
              </a:lnSpc>
              <a:spcAft>
                <a:spcPts val="0"/>
              </a:spcAft>
              <a:defRPr sz="6600">
                <a:solidFill>
                  <a:schemeClr val="tx1"/>
                </a:solidFill>
                <a:latin typeface="+mj-lt"/>
              </a:defRPr>
            </a:lvl1pPr>
          </a:lstStyle>
          <a:p>
            <a:r>
              <a:rPr lang="ru-RU"/>
              <a:t>Образец заголовка</a:t>
            </a:r>
            <a:endParaRPr lang="en-US" dirty="0"/>
          </a:p>
        </p:txBody>
      </p:sp>
      <p:sp>
        <p:nvSpPr>
          <p:cNvPr id="6" name="Text Placeholder 3"/>
          <p:cNvSpPr>
            <a:spLocks noGrp="1"/>
          </p:cNvSpPr>
          <p:nvPr>
            <p:ph type="body" sz="quarter" idx="13"/>
          </p:nvPr>
        </p:nvSpPr>
        <p:spPr>
          <a:xfrm>
            <a:off x="432435" y="3401855"/>
            <a:ext cx="5865496" cy="1418748"/>
          </a:xfrm>
        </p:spPr>
        <p:txBody>
          <a:bodyPr anchor="b"/>
          <a:lstStyle>
            <a:lvl1pPr>
              <a:defRPr>
                <a:solidFill>
                  <a:schemeClr val="tx1"/>
                </a:solidFill>
              </a:defRPr>
            </a:lvl1pPr>
          </a:lstStyle>
          <a:p>
            <a:pPr lvl="0"/>
            <a:r>
              <a:rPr lang="ru-RU"/>
              <a:t>Образец текста</a:t>
            </a:r>
          </a:p>
        </p:txBody>
      </p:sp>
      <p:sp>
        <p:nvSpPr>
          <p:cNvPr id="5" name="Footer Placeholder 4">
            <a:extLst>
              <a:ext uri="{FF2B5EF4-FFF2-40B4-BE49-F238E27FC236}">
                <a16:creationId xmlns:a16="http://schemas.microsoft.com/office/drawing/2014/main" id="{D3BB0EFF-D2B3-4920-B659-59F14AF862B3}"/>
              </a:ext>
            </a:extLst>
          </p:cNvPr>
          <p:cNvSpPr>
            <a:spLocks noGrp="1"/>
          </p:cNvSpPr>
          <p:nvPr>
            <p:ph type="ftr" sz="quarter" idx="14"/>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7" name="Slide Number Placeholder 5">
            <a:extLst>
              <a:ext uri="{FF2B5EF4-FFF2-40B4-BE49-F238E27FC236}">
                <a16:creationId xmlns:a16="http://schemas.microsoft.com/office/drawing/2014/main" id="{90D4FBB5-832D-488B-A0EB-82A277611582}"/>
              </a:ext>
            </a:extLst>
          </p:cNvPr>
          <p:cNvSpPr>
            <a:spLocks noGrp="1"/>
          </p:cNvSpPr>
          <p:nvPr>
            <p:ph type="sldNum" sz="quarter" idx="15"/>
          </p:nvPr>
        </p:nvSpPr>
        <p:spPr/>
        <p:txBody>
          <a:bodyPr/>
          <a:lstStyle>
            <a:lvl1pPr>
              <a:defRPr/>
            </a:lvl1pPr>
          </a:lstStyle>
          <a:p>
            <a:fld id="{6B6C8352-8EC4-408E-9762-6F617B840F59}" type="slidenum">
              <a:rPr lang="fr-FR" altLang="fr-FR"/>
              <a:pPr/>
              <a:t>‹N°›</a:t>
            </a:fld>
            <a:endParaRPr lang="fr-FR" altLang="fr-FR"/>
          </a:p>
        </p:txBody>
      </p:sp>
    </p:spTree>
    <p:extLst>
      <p:ext uri="{BB962C8B-B14F-4D97-AF65-F5344CB8AC3E}">
        <p14:creationId xmlns:p14="http://schemas.microsoft.com/office/powerpoint/2010/main" val="3751864245"/>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2" y="204787"/>
            <a:ext cx="3008313" cy="871538"/>
          </a:xfr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2"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7D3AEEF0-FEAD-44CF-A18D-162E882CE67E}" type="datetimeFigureOut">
              <a:rPr lang="fr-FR" smtClean="0"/>
              <a:t>12/02/2020</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5788370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8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432437" y="324328"/>
            <a:ext cx="5865494" cy="2958941"/>
          </a:xfrm>
        </p:spPr>
        <p:txBody>
          <a:bodyPr/>
          <a:lstStyle>
            <a:lvl1pPr algn="l">
              <a:lnSpc>
                <a:spcPct val="90000"/>
              </a:lnSpc>
              <a:spcAft>
                <a:spcPts val="0"/>
              </a:spcAft>
              <a:defRPr sz="6600">
                <a:solidFill>
                  <a:schemeClr val="tx1"/>
                </a:solidFill>
                <a:latin typeface="+mj-lt"/>
              </a:defRPr>
            </a:lvl1pPr>
          </a:lstStyle>
          <a:p>
            <a:r>
              <a:rPr lang="fr-FR"/>
              <a:t>Modifiez le style du titre</a:t>
            </a:r>
            <a:endParaRPr lang="en-US" dirty="0"/>
          </a:p>
        </p:txBody>
      </p:sp>
      <p:sp>
        <p:nvSpPr>
          <p:cNvPr id="8" name="Text Placeholder 7"/>
          <p:cNvSpPr>
            <a:spLocks noGrp="1"/>
          </p:cNvSpPr>
          <p:nvPr>
            <p:ph type="body" sz="quarter" idx="13"/>
          </p:nvPr>
        </p:nvSpPr>
        <p:spPr>
          <a:xfrm>
            <a:off x="6463671" y="324328"/>
            <a:ext cx="2245993" cy="4496276"/>
          </a:xfrm>
        </p:spPr>
        <p:txBody>
          <a:bodyPr>
            <a:noAutofit/>
          </a:bodyPr>
          <a:lstStyle>
            <a:lvl1pPr>
              <a:spcAft>
                <a:spcPts val="0"/>
              </a:spcAft>
              <a:defRPr lang="en-US" sz="1400" kern="1200" dirty="0" smtClean="0">
                <a:solidFill>
                  <a:schemeClr val="accent1"/>
                </a:solidFill>
                <a:latin typeface="+mj-lt"/>
                <a:ea typeface="+mn-ea"/>
                <a:cs typeface="+mn-cs"/>
              </a:defRPr>
            </a:lvl1pPr>
            <a:lvl2pPr>
              <a:spcAft>
                <a:spcPts val="0"/>
              </a:spcAft>
              <a:defRPr lang="en-US" sz="1400" kern="1200" dirty="0" smtClean="0">
                <a:solidFill>
                  <a:schemeClr val="tx1"/>
                </a:solidFill>
                <a:latin typeface="+mj-lt"/>
                <a:ea typeface="+mn-ea"/>
                <a:cs typeface="+mn-cs"/>
              </a:defRPr>
            </a:lvl2pPr>
            <a:lvl3pPr marL="0" indent="0">
              <a:spcAft>
                <a:spcPts val="0"/>
              </a:spcAft>
              <a:buNone/>
              <a:defRPr lang="en-US" sz="1400" kern="1200" dirty="0" smtClean="0">
                <a:solidFill>
                  <a:schemeClr val="bg2"/>
                </a:solidFill>
                <a:latin typeface="+mj-lt"/>
                <a:ea typeface="+mn-ea"/>
                <a:cs typeface="+mn-cs"/>
              </a:defRPr>
            </a:lvl3pPr>
            <a:lvl4pPr>
              <a:defRPr lang="en-US" sz="1400" kern="1200" dirty="0" smtClean="0">
                <a:solidFill>
                  <a:schemeClr val="bg1"/>
                </a:solidFill>
                <a:latin typeface="+mj-lt"/>
                <a:ea typeface="+mn-ea"/>
                <a:cs typeface="+mn-cs"/>
              </a:defRPr>
            </a:lvl4pPr>
            <a:lvl5pPr>
              <a:defRPr lang="en-GB" sz="1400" kern="1200" dirty="0" smtClean="0">
                <a:solidFill>
                  <a:schemeClr val="bg1"/>
                </a:solidFill>
                <a:latin typeface="+mj-lt"/>
                <a:ea typeface="+mn-ea"/>
                <a:cs typeface="+mn-cs"/>
              </a:defRPr>
            </a:lvl5pPr>
          </a:lstStyle>
          <a:p>
            <a:pPr lvl="0"/>
            <a:r>
              <a:rPr lang="fr-FR"/>
              <a:t>Modifiez les styles du texte du masque</a:t>
            </a:r>
          </a:p>
          <a:p>
            <a:pPr lvl="1"/>
            <a:r>
              <a:rPr lang="fr-FR"/>
              <a:t>Deuxième niveau</a:t>
            </a:r>
          </a:p>
          <a:p>
            <a:pPr lvl="2"/>
            <a:r>
              <a:rPr lang="fr-FR"/>
              <a:t>Troisième niveau</a:t>
            </a:r>
          </a:p>
        </p:txBody>
      </p:sp>
      <p:sp>
        <p:nvSpPr>
          <p:cNvPr id="5" name="Footer Placeholder 4">
            <a:extLst>
              <a:ext uri="{FF2B5EF4-FFF2-40B4-BE49-F238E27FC236}">
                <a16:creationId xmlns:a16="http://schemas.microsoft.com/office/drawing/2014/main" id="{114FB446-64ED-495D-80C2-6B3D39EBE76B}"/>
              </a:ext>
            </a:extLst>
          </p:cNvPr>
          <p:cNvSpPr>
            <a:spLocks noGrp="1"/>
          </p:cNvSpPr>
          <p:nvPr>
            <p:ph type="ftr" sz="quarter" idx="14"/>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6" name="Slide Number Placeholder 5">
            <a:extLst>
              <a:ext uri="{FF2B5EF4-FFF2-40B4-BE49-F238E27FC236}">
                <a16:creationId xmlns:a16="http://schemas.microsoft.com/office/drawing/2014/main" id="{5FACA752-E150-4F5D-9981-6922E556D07E}"/>
              </a:ext>
            </a:extLst>
          </p:cNvPr>
          <p:cNvSpPr>
            <a:spLocks noGrp="1"/>
          </p:cNvSpPr>
          <p:nvPr>
            <p:ph type="sldNum" sz="quarter" idx="15"/>
          </p:nvPr>
        </p:nvSpPr>
        <p:spPr/>
        <p:txBody>
          <a:bodyPr/>
          <a:lstStyle>
            <a:lvl1pPr>
              <a:defRPr/>
            </a:lvl1pPr>
          </a:lstStyle>
          <a:p>
            <a:fld id="{2CBC5E2D-CE39-4EDE-91B4-A44DDB0C4C0C}" type="slidenum">
              <a:rPr lang="fr-FR" altLang="fr-FR"/>
              <a:pPr/>
              <a:t>‹N°›</a:t>
            </a:fld>
            <a:endParaRPr lang="fr-FR" altLang="fr-FR"/>
          </a:p>
        </p:txBody>
      </p:sp>
    </p:spTree>
    <p:extLst>
      <p:ext uri="{BB962C8B-B14F-4D97-AF65-F5344CB8AC3E}">
        <p14:creationId xmlns:p14="http://schemas.microsoft.com/office/powerpoint/2010/main" val="3899796017"/>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a:xfrm>
            <a:off x="432436" y="1092995"/>
            <a:ext cx="8277224" cy="372760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Slide Number Placeholder 5">
            <a:extLst>
              <a:ext uri="{FF2B5EF4-FFF2-40B4-BE49-F238E27FC236}">
                <a16:creationId xmlns:a16="http://schemas.microsoft.com/office/drawing/2014/main" id="{F1F375B1-DA2F-47BE-9E48-0592BE275EE8}"/>
              </a:ext>
            </a:extLst>
          </p:cNvPr>
          <p:cNvSpPr>
            <a:spLocks noGrp="1"/>
          </p:cNvSpPr>
          <p:nvPr>
            <p:ph type="sldNum" sz="quarter" idx="10"/>
          </p:nvPr>
        </p:nvSpPr>
        <p:spPr/>
        <p:txBody>
          <a:bodyPr/>
          <a:lstStyle>
            <a:lvl1pPr>
              <a:defRPr/>
            </a:lvl1pPr>
          </a:lstStyle>
          <a:p>
            <a:fld id="{FF4E1ED4-FE73-48EF-9055-9EF71EC0891C}" type="slidenum">
              <a:rPr lang="fr-FR" altLang="fr-FR"/>
              <a:pPr/>
              <a:t>‹N°›</a:t>
            </a:fld>
            <a:endParaRPr lang="fr-FR" altLang="fr-FR"/>
          </a:p>
        </p:txBody>
      </p:sp>
    </p:spTree>
    <p:extLst>
      <p:ext uri="{BB962C8B-B14F-4D97-AF65-F5344CB8AC3E}">
        <p14:creationId xmlns:p14="http://schemas.microsoft.com/office/powerpoint/2010/main" val="3361014083"/>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graphicFrame>
        <p:nvGraphicFramePr>
          <p:cNvPr id="5"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US" dirty="0"/>
          </a:p>
        </p:txBody>
      </p:sp>
      <p:sp>
        <p:nvSpPr>
          <p:cNvPr id="9" name="Content Placeholder 8"/>
          <p:cNvSpPr>
            <a:spLocks noGrp="1"/>
          </p:cNvSpPr>
          <p:nvPr>
            <p:ph sz="quarter" idx="13"/>
          </p:nvPr>
        </p:nvSpPr>
        <p:spPr>
          <a:xfrm>
            <a:off x="432435" y="1092995"/>
            <a:ext cx="4048124" cy="372760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1" name="Content Placeholder 8"/>
          <p:cNvSpPr>
            <a:spLocks noGrp="1"/>
          </p:cNvSpPr>
          <p:nvPr>
            <p:ph sz="quarter" idx="17"/>
          </p:nvPr>
        </p:nvSpPr>
        <p:spPr>
          <a:xfrm>
            <a:off x="4663443" y="1092994"/>
            <a:ext cx="4046221" cy="372760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6" name="Footer Placeholder 4">
            <a:extLst>
              <a:ext uri="{FF2B5EF4-FFF2-40B4-BE49-F238E27FC236}">
                <a16:creationId xmlns:a16="http://schemas.microsoft.com/office/drawing/2014/main" id="{C753D9C4-BB78-4A79-A262-A9E783BF6138}"/>
              </a:ext>
            </a:extLst>
          </p:cNvPr>
          <p:cNvSpPr>
            <a:spLocks noGrp="1"/>
          </p:cNvSpPr>
          <p:nvPr>
            <p:ph type="ftr" sz="quarter" idx="18"/>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7" name="Slide Number Placeholder 5">
            <a:extLst>
              <a:ext uri="{FF2B5EF4-FFF2-40B4-BE49-F238E27FC236}">
                <a16:creationId xmlns:a16="http://schemas.microsoft.com/office/drawing/2014/main" id="{061484D6-88C2-497F-9095-1F7931AA874D}"/>
              </a:ext>
            </a:extLst>
          </p:cNvPr>
          <p:cNvSpPr>
            <a:spLocks noGrp="1"/>
          </p:cNvSpPr>
          <p:nvPr>
            <p:ph type="sldNum" sz="quarter" idx="19"/>
          </p:nvPr>
        </p:nvSpPr>
        <p:spPr/>
        <p:txBody>
          <a:bodyPr/>
          <a:lstStyle>
            <a:lvl1pPr>
              <a:defRPr/>
            </a:lvl1pPr>
          </a:lstStyle>
          <a:p>
            <a:fld id="{52B28614-5FF8-4604-A79D-566F23F6986B}" type="slidenum">
              <a:rPr lang="fr-FR" altLang="fr-FR"/>
              <a:pPr/>
              <a:t>‹N°›</a:t>
            </a:fld>
            <a:endParaRPr lang="fr-FR" altLang="fr-FR"/>
          </a:p>
        </p:txBody>
      </p:sp>
    </p:spTree>
    <p:extLst>
      <p:ext uri="{BB962C8B-B14F-4D97-AF65-F5344CB8AC3E}">
        <p14:creationId xmlns:p14="http://schemas.microsoft.com/office/powerpoint/2010/main" val="2685072241"/>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US" dirty="0"/>
          </a:p>
        </p:txBody>
      </p:sp>
      <p:sp>
        <p:nvSpPr>
          <p:cNvPr id="9" name="Text Placeholder 10"/>
          <p:cNvSpPr>
            <a:spLocks noGrp="1"/>
          </p:cNvSpPr>
          <p:nvPr>
            <p:ph type="body" sz="quarter" idx="12"/>
          </p:nvPr>
        </p:nvSpPr>
        <p:spPr>
          <a:xfrm>
            <a:off x="432436" y="1092997"/>
            <a:ext cx="8277224" cy="3727607"/>
          </a:xfrm>
        </p:spPr>
        <p:txBody>
          <a:bodyPr/>
          <a:lstStyle>
            <a:lvl1pPr>
              <a:lnSpc>
                <a:spcPct val="100000"/>
              </a:lnSpc>
              <a:spcAft>
                <a:spcPts val="1440"/>
              </a:spcAft>
              <a:defRPr sz="3600">
                <a:solidFill>
                  <a:schemeClr val="tx1"/>
                </a:solidFill>
                <a:latin typeface="+mj-lt"/>
              </a:defRPr>
            </a:lvl1pPr>
            <a:lvl2pPr>
              <a:spcAft>
                <a:spcPts val="720"/>
              </a:spcAft>
              <a:defRPr>
                <a:solidFill>
                  <a:schemeClr val="tx1"/>
                </a:solidFill>
              </a:defRPr>
            </a:lvl2pPr>
            <a:lvl3pPr>
              <a:spcAft>
                <a:spcPts val="720"/>
              </a:spcAft>
              <a:defRPr>
                <a:solidFill>
                  <a:schemeClr val="tx1"/>
                </a:solidFill>
              </a:defRPr>
            </a:lvl3pPr>
            <a:lvl4pPr>
              <a:spcAft>
                <a:spcPts val="720"/>
              </a:spcAft>
              <a:defRPr>
                <a:solidFill>
                  <a:schemeClr val="tx1"/>
                </a:solidFill>
              </a:defRPr>
            </a:lvl4pPr>
            <a:lvl5pPr>
              <a:spcAft>
                <a:spcPts val="720"/>
              </a:spcAft>
              <a:defRPr>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5" name="Footer Placeholder 4">
            <a:extLst>
              <a:ext uri="{FF2B5EF4-FFF2-40B4-BE49-F238E27FC236}">
                <a16:creationId xmlns:a16="http://schemas.microsoft.com/office/drawing/2014/main" id="{3AB5568C-CC9F-4565-BDCB-4687CA8A67F1}"/>
              </a:ext>
            </a:extLst>
          </p:cNvPr>
          <p:cNvSpPr>
            <a:spLocks noGrp="1"/>
          </p:cNvSpPr>
          <p:nvPr>
            <p:ph type="ftr" sz="quarter" idx="13"/>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6" name="Slide Number Placeholder 5">
            <a:extLst>
              <a:ext uri="{FF2B5EF4-FFF2-40B4-BE49-F238E27FC236}">
                <a16:creationId xmlns:a16="http://schemas.microsoft.com/office/drawing/2014/main" id="{721C2FE4-A8F4-4087-BC73-2E205527C2EF}"/>
              </a:ext>
            </a:extLst>
          </p:cNvPr>
          <p:cNvSpPr>
            <a:spLocks noGrp="1"/>
          </p:cNvSpPr>
          <p:nvPr>
            <p:ph type="sldNum" sz="quarter" idx="14"/>
          </p:nvPr>
        </p:nvSpPr>
        <p:spPr/>
        <p:txBody>
          <a:bodyPr/>
          <a:lstStyle>
            <a:lvl1pPr>
              <a:defRPr/>
            </a:lvl1pPr>
          </a:lstStyle>
          <a:p>
            <a:fld id="{FE54CB6A-8948-4B33-89FA-E878BEBEFBE2}" type="slidenum">
              <a:rPr lang="fr-FR" altLang="fr-FR"/>
              <a:pPr/>
              <a:t>‹N°›</a:t>
            </a:fld>
            <a:endParaRPr lang="fr-FR" altLang="fr-FR"/>
          </a:p>
        </p:txBody>
      </p:sp>
    </p:spTree>
    <p:extLst>
      <p:ext uri="{BB962C8B-B14F-4D97-AF65-F5344CB8AC3E}">
        <p14:creationId xmlns:p14="http://schemas.microsoft.com/office/powerpoint/2010/main" val="898094297"/>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3"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 Placeholder 10"/>
          <p:cNvSpPr>
            <a:spLocks noGrp="1"/>
          </p:cNvSpPr>
          <p:nvPr>
            <p:ph type="body" sz="quarter" idx="12"/>
          </p:nvPr>
        </p:nvSpPr>
        <p:spPr>
          <a:xfrm>
            <a:off x="432436" y="324328"/>
            <a:ext cx="8277224" cy="4496276"/>
          </a:xfrm>
        </p:spPr>
        <p:txBody>
          <a:bodyPr/>
          <a:lstStyle>
            <a:lvl1pPr>
              <a:lnSpc>
                <a:spcPct val="90000"/>
              </a:lnSpc>
              <a:spcAft>
                <a:spcPts val="1440"/>
              </a:spcAft>
              <a:defRPr sz="3600">
                <a:solidFill>
                  <a:schemeClr val="tx1"/>
                </a:solidFill>
                <a:latin typeface="+mj-lt"/>
              </a:defRPr>
            </a:lvl1pPr>
            <a:lvl2pPr>
              <a:spcAft>
                <a:spcPts val="720"/>
              </a:spcAft>
              <a:defRPr>
                <a:solidFill>
                  <a:schemeClr val="tx1"/>
                </a:solidFill>
              </a:defRPr>
            </a:lvl2pPr>
            <a:lvl3pPr>
              <a:spcAft>
                <a:spcPts val="720"/>
              </a:spcAft>
              <a:defRPr>
                <a:solidFill>
                  <a:schemeClr val="tx1"/>
                </a:solidFill>
              </a:defRPr>
            </a:lvl3pPr>
            <a:lvl4pPr>
              <a:spcAft>
                <a:spcPts val="720"/>
              </a:spcAft>
              <a:defRPr>
                <a:solidFill>
                  <a:schemeClr val="tx1"/>
                </a:solidFill>
              </a:defRPr>
            </a:lvl4pPr>
            <a:lvl5pPr>
              <a:spcAft>
                <a:spcPts val="720"/>
              </a:spcAft>
              <a:defRPr>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Footer Placeholder 4">
            <a:extLst>
              <a:ext uri="{FF2B5EF4-FFF2-40B4-BE49-F238E27FC236}">
                <a16:creationId xmlns:a16="http://schemas.microsoft.com/office/drawing/2014/main" id="{B8BAED7B-5690-4482-BB4D-7B40FD13BEA9}"/>
              </a:ext>
            </a:extLst>
          </p:cNvPr>
          <p:cNvSpPr>
            <a:spLocks noGrp="1"/>
          </p:cNvSpPr>
          <p:nvPr>
            <p:ph type="ftr" sz="quarter" idx="13"/>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5" name="Slide Number Placeholder 5">
            <a:extLst>
              <a:ext uri="{FF2B5EF4-FFF2-40B4-BE49-F238E27FC236}">
                <a16:creationId xmlns:a16="http://schemas.microsoft.com/office/drawing/2014/main" id="{9FF179AF-E51D-4BBD-974D-A27BDA28C93B}"/>
              </a:ext>
            </a:extLst>
          </p:cNvPr>
          <p:cNvSpPr>
            <a:spLocks noGrp="1"/>
          </p:cNvSpPr>
          <p:nvPr>
            <p:ph type="sldNum" sz="quarter" idx="14"/>
          </p:nvPr>
        </p:nvSpPr>
        <p:spPr/>
        <p:txBody>
          <a:bodyPr/>
          <a:lstStyle>
            <a:lvl1pPr>
              <a:defRPr/>
            </a:lvl1pPr>
          </a:lstStyle>
          <a:p>
            <a:fld id="{15ABDA43-B5B6-4537-A7C2-CF100DDDA71E}" type="slidenum">
              <a:rPr lang="fr-FR" altLang="fr-FR"/>
              <a:pPr/>
              <a:t>‹N°›</a:t>
            </a:fld>
            <a:endParaRPr lang="fr-FR" altLang="fr-FR"/>
          </a:p>
        </p:txBody>
      </p:sp>
    </p:spTree>
    <p:extLst>
      <p:ext uri="{BB962C8B-B14F-4D97-AF65-F5344CB8AC3E}">
        <p14:creationId xmlns:p14="http://schemas.microsoft.com/office/powerpoint/2010/main" val="2394181019"/>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bject 989"/>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4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US" dirty="0"/>
          </a:p>
        </p:txBody>
      </p:sp>
      <p:sp>
        <p:nvSpPr>
          <p:cNvPr id="5" name="Footer Placeholder 4">
            <a:extLst>
              <a:ext uri="{FF2B5EF4-FFF2-40B4-BE49-F238E27FC236}">
                <a16:creationId xmlns:a16="http://schemas.microsoft.com/office/drawing/2014/main" id="{EA49D6D9-6752-43F7-AF28-2A945EA1EE75}"/>
              </a:ext>
            </a:extLst>
          </p:cNvPr>
          <p:cNvSpPr>
            <a:spLocks noGrp="1"/>
          </p:cNvSpPr>
          <p:nvPr>
            <p:ph type="ftr" sz="quarter" idx="10"/>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6" name="Slide Number Placeholder 5">
            <a:extLst>
              <a:ext uri="{FF2B5EF4-FFF2-40B4-BE49-F238E27FC236}">
                <a16:creationId xmlns:a16="http://schemas.microsoft.com/office/drawing/2014/main" id="{9DC94A3A-FD93-4179-BF28-1CC27F220238}"/>
              </a:ext>
            </a:extLst>
          </p:cNvPr>
          <p:cNvSpPr>
            <a:spLocks noGrp="1"/>
          </p:cNvSpPr>
          <p:nvPr>
            <p:ph type="sldNum" sz="quarter" idx="11"/>
          </p:nvPr>
        </p:nvSpPr>
        <p:spPr/>
        <p:txBody>
          <a:bodyPr/>
          <a:lstStyle>
            <a:lvl1pPr>
              <a:defRPr/>
            </a:lvl1pPr>
          </a:lstStyle>
          <a:p>
            <a:fld id="{7113563F-4E7B-4CB8-9AB6-824B2C9ADEDF}" type="slidenum">
              <a:rPr lang="fr-FR" altLang="fr-FR"/>
              <a:pPr/>
              <a:t>‹N°›</a:t>
            </a:fld>
            <a:endParaRPr lang="fr-FR" altLang="fr-FR"/>
          </a:p>
        </p:txBody>
      </p:sp>
    </p:spTree>
    <p:extLst>
      <p:ext uri="{BB962C8B-B14F-4D97-AF65-F5344CB8AC3E}">
        <p14:creationId xmlns:p14="http://schemas.microsoft.com/office/powerpoint/2010/main" val="3832718197"/>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graphicFrame>
        <p:nvGraphicFramePr>
          <p:cNvPr id="2"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3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oter Placeholder 4">
            <a:extLst>
              <a:ext uri="{FF2B5EF4-FFF2-40B4-BE49-F238E27FC236}">
                <a16:creationId xmlns:a16="http://schemas.microsoft.com/office/drawing/2014/main" id="{9CAA9D72-9A19-4FD0-8F31-63539DC8B151}"/>
              </a:ext>
            </a:extLst>
          </p:cNvPr>
          <p:cNvSpPr>
            <a:spLocks noGrp="1"/>
          </p:cNvSpPr>
          <p:nvPr>
            <p:ph type="ftr" sz="quarter" idx="10"/>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4" name="Slide Number Placeholder 5">
            <a:extLst>
              <a:ext uri="{FF2B5EF4-FFF2-40B4-BE49-F238E27FC236}">
                <a16:creationId xmlns:a16="http://schemas.microsoft.com/office/drawing/2014/main" id="{8AABA268-D223-436D-9358-9DF2F42A5D58}"/>
              </a:ext>
            </a:extLst>
          </p:cNvPr>
          <p:cNvSpPr>
            <a:spLocks noGrp="1"/>
          </p:cNvSpPr>
          <p:nvPr>
            <p:ph type="sldNum" sz="quarter" idx="11"/>
          </p:nvPr>
        </p:nvSpPr>
        <p:spPr/>
        <p:txBody>
          <a:bodyPr/>
          <a:lstStyle>
            <a:lvl1pPr>
              <a:defRPr/>
            </a:lvl1pPr>
          </a:lstStyle>
          <a:p>
            <a:fld id="{6B50B5A7-CCC5-44F4-A724-C4B6872201E0}" type="slidenum">
              <a:rPr lang="fr-FR" altLang="fr-FR"/>
              <a:pPr/>
              <a:t>‹N°›</a:t>
            </a:fld>
            <a:endParaRPr lang="fr-FR" altLang="fr-FR"/>
          </a:p>
        </p:txBody>
      </p:sp>
    </p:spTree>
    <p:extLst>
      <p:ext uri="{BB962C8B-B14F-4D97-AF65-F5344CB8AC3E}">
        <p14:creationId xmlns:p14="http://schemas.microsoft.com/office/powerpoint/2010/main" val="378237056"/>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style 4">
    <p:spTree>
      <p:nvGrpSpPr>
        <p:cNvPr id="1" name=""/>
        <p:cNvGrpSpPr/>
        <p:nvPr/>
      </p:nvGrpSpPr>
      <p:grpSpPr>
        <a:xfrm>
          <a:off x="0" y="0"/>
          <a:ext cx="0" cy="0"/>
          <a:chOff x="0" y="0"/>
          <a:chExt cx="0" cy="0"/>
        </a:xfrm>
      </p:grpSpPr>
      <p:graphicFrame>
        <p:nvGraphicFramePr>
          <p:cNvPr id="5"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p:cNvSpPr>
          <p:nvPr>
            <p:ph type="title"/>
          </p:nvPr>
        </p:nvSpPr>
        <p:spPr>
          <a:xfrm>
            <a:off x="457200" y="511969"/>
            <a:ext cx="7775575" cy="689373"/>
          </a:xfrm>
        </p:spPr>
        <p:txBody>
          <a:bodyPr>
            <a:normAutofit/>
          </a:bodyPr>
          <a:lstStyle>
            <a:lvl1pPr>
              <a:defRPr sz="2000"/>
            </a:lvl1pPr>
          </a:lstStyle>
          <a:p>
            <a:r>
              <a:rPr lang="ru-RU"/>
              <a:t>Образец заголовка</a:t>
            </a:r>
            <a:endParaRPr lang="en-GB" dirty="0"/>
          </a:p>
        </p:txBody>
      </p:sp>
      <p:sp>
        <p:nvSpPr>
          <p:cNvPr id="6" name="Text Placeholder 2"/>
          <p:cNvSpPr>
            <a:spLocks noGrp="1"/>
          </p:cNvSpPr>
          <p:nvPr>
            <p:ph type="body" sz="quarter" idx="22"/>
          </p:nvPr>
        </p:nvSpPr>
        <p:spPr>
          <a:xfrm>
            <a:off x="457200" y="1544244"/>
            <a:ext cx="7775575" cy="2739628"/>
          </a:xfrm>
        </p:spPr>
        <p:txBody>
          <a:bodyPr/>
          <a:lstStyle>
            <a:lvl1pPr marL="0" indent="0">
              <a:lnSpc>
                <a:spcPct val="90000"/>
              </a:lnSpc>
              <a:buClr>
                <a:schemeClr val="bg1"/>
              </a:buClr>
              <a:buSzPct val="25000"/>
              <a:buFont typeface="Helvetica 75" panose="020B0804020202020204" pitchFamily="34" charset="0"/>
              <a:buChar char="i"/>
              <a:defRPr sz="3600">
                <a:solidFill>
                  <a:schemeClr val="tx1"/>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GB" dirty="0"/>
          </a:p>
        </p:txBody>
      </p:sp>
      <p:sp>
        <p:nvSpPr>
          <p:cNvPr id="7" name="Footer Placeholder 4">
            <a:extLst>
              <a:ext uri="{FF2B5EF4-FFF2-40B4-BE49-F238E27FC236}">
                <a16:creationId xmlns:a16="http://schemas.microsoft.com/office/drawing/2014/main" id="{C6EEE6F7-475D-4744-BC4C-069542FC8D6F}"/>
              </a:ext>
            </a:extLst>
          </p:cNvPr>
          <p:cNvSpPr>
            <a:spLocks noGrp="1"/>
          </p:cNvSpPr>
          <p:nvPr>
            <p:ph type="ftr" sz="quarter" idx="23"/>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8" name="Slide Number Placeholder 5">
            <a:extLst>
              <a:ext uri="{FF2B5EF4-FFF2-40B4-BE49-F238E27FC236}">
                <a16:creationId xmlns:a16="http://schemas.microsoft.com/office/drawing/2014/main" id="{46EC3EEE-3E35-49D9-98C0-D7B781D1F7A8}"/>
              </a:ext>
            </a:extLst>
          </p:cNvPr>
          <p:cNvSpPr>
            <a:spLocks noGrp="1"/>
          </p:cNvSpPr>
          <p:nvPr>
            <p:ph type="sldNum" sz="quarter" idx="24"/>
          </p:nvPr>
        </p:nvSpPr>
        <p:spPr/>
        <p:txBody>
          <a:bodyPr/>
          <a:lstStyle>
            <a:lvl1pPr>
              <a:defRPr/>
            </a:lvl1pPr>
          </a:lstStyle>
          <a:p>
            <a:fld id="{180ADF83-0038-43B7-9B16-6CD324C71C8B}" type="slidenum">
              <a:rPr lang="fr-FR" altLang="fr-FR"/>
              <a:pPr/>
              <a:t>‹N°›</a:t>
            </a:fld>
            <a:endParaRPr lang="fr-FR" altLang="fr-FR"/>
          </a:p>
        </p:txBody>
      </p:sp>
    </p:spTree>
    <p:extLst>
      <p:ext uri="{BB962C8B-B14F-4D97-AF65-F5344CB8AC3E}">
        <p14:creationId xmlns:p14="http://schemas.microsoft.com/office/powerpoint/2010/main" val="3766457124"/>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3">
            <a:extLst>
              <a:ext uri="{FF2B5EF4-FFF2-40B4-BE49-F238E27FC236}">
                <a16:creationId xmlns:a16="http://schemas.microsoft.com/office/drawing/2014/main" id="{719F33D3-834D-4ACA-A591-977D6BA20B55}"/>
              </a:ext>
            </a:extLst>
          </p:cNvPr>
          <p:cNvSpPr/>
          <p:nvPr userDrawn="1"/>
        </p:nvSpPr>
        <p:spPr>
          <a:xfrm>
            <a:off x="6223000" y="4789488"/>
            <a:ext cx="1546225" cy="2587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defTabSz="914364" fontAlgn="base">
              <a:spcBef>
                <a:spcPct val="0"/>
              </a:spcBef>
              <a:spcAft>
                <a:spcPct val="0"/>
              </a:spcAft>
              <a:defRPr/>
            </a:pPr>
            <a:endParaRPr lang="en-GB" sz="2000">
              <a:solidFill>
                <a:prstClr val="white"/>
              </a:solidFill>
            </a:endParaRPr>
          </a:p>
        </p:txBody>
      </p:sp>
      <p:grpSp>
        <p:nvGrpSpPr>
          <p:cNvPr id="7" name="Group 34"/>
          <p:cNvGrpSpPr>
            <a:grpSpLocks/>
          </p:cNvGrpSpPr>
          <p:nvPr userDrawn="1"/>
        </p:nvGrpSpPr>
        <p:grpSpPr bwMode="auto">
          <a:xfrm>
            <a:off x="7988300" y="3941763"/>
            <a:ext cx="687388" cy="687387"/>
            <a:chOff x="360362" y="1781889"/>
            <a:chExt cx="1144765" cy="1144191"/>
          </a:xfrm>
        </p:grpSpPr>
        <p:sp>
          <p:nvSpPr>
            <p:cNvPr id="8" name="Rectangle 5"/>
            <p:cNvSpPr>
              <a:spLocks noChangeArrowheads="1"/>
            </p:cNvSpPr>
            <p:nvPr/>
          </p:nvSpPr>
          <p:spPr bwMode="auto">
            <a:xfrm>
              <a:off x="360362" y="1781889"/>
              <a:ext cx="1144765" cy="1144191"/>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813" fontAlgn="base">
                <a:spcBef>
                  <a:spcPct val="0"/>
                </a:spcBef>
                <a:spcAft>
                  <a:spcPct val="0"/>
                </a:spcAft>
              </a:pPr>
              <a:endParaRPr lang="en-GB" altLang="fr-FR" sz="2000">
                <a:solidFill>
                  <a:srgbClr val="000000"/>
                </a:solidFill>
                <a:cs typeface="Arial" pitchFamily="34" charset="0"/>
              </a:endParaRPr>
            </a:p>
          </p:txBody>
        </p:sp>
        <p:sp>
          <p:nvSpPr>
            <p:cNvPr id="9" name="Freeform 6"/>
            <p:cNvSpPr>
              <a:spLocks noEditPoints="1"/>
            </p:cNvSpPr>
            <p:nvPr/>
          </p:nvSpPr>
          <p:spPr bwMode="auto">
            <a:xfrm>
              <a:off x="704056" y="2651263"/>
              <a:ext cx="140122" cy="166477"/>
            </a:xfrm>
            <a:custGeom>
              <a:avLst/>
              <a:gdLst>
                <a:gd name="T0" fmla="*/ 2147483646 w 104"/>
                <a:gd name="T1" fmla="*/ 2147483646 h 122"/>
                <a:gd name="T2" fmla="*/ 2147483646 w 104"/>
                <a:gd name="T3" fmla="*/ 2147483646 h 122"/>
                <a:gd name="T4" fmla="*/ 2147483646 w 104"/>
                <a:gd name="T5" fmla="*/ 2147483646 h 122"/>
                <a:gd name="T6" fmla="*/ 2147483646 w 104"/>
                <a:gd name="T7" fmla="*/ 2147483646 h 122"/>
                <a:gd name="T8" fmla="*/ 2147483646 w 104"/>
                <a:gd name="T9" fmla="*/ 2147483646 h 122"/>
                <a:gd name="T10" fmla="*/ 2147483646 w 104"/>
                <a:gd name="T11" fmla="*/ 2147483646 h 122"/>
                <a:gd name="T12" fmla="*/ 2147483646 w 104"/>
                <a:gd name="T13" fmla="*/ 2147483646 h 122"/>
                <a:gd name="T14" fmla="*/ 0 w 104"/>
                <a:gd name="T15" fmla="*/ 2147483646 h 122"/>
                <a:gd name="T16" fmla="*/ 2147483646 w 104"/>
                <a:gd name="T17" fmla="*/ 2147483646 h 122"/>
                <a:gd name="T18" fmla="*/ 2147483646 w 104"/>
                <a:gd name="T19" fmla="*/ 2147483646 h 122"/>
                <a:gd name="T20" fmla="*/ 2147483646 w 104"/>
                <a:gd name="T21" fmla="*/ 2147483646 h 122"/>
                <a:gd name="T22" fmla="*/ 2147483646 w 104"/>
                <a:gd name="T23" fmla="*/ 2147483646 h 122"/>
                <a:gd name="T24" fmla="*/ 2147483646 w 104"/>
                <a:gd name="T25" fmla="*/ 2147483646 h 122"/>
                <a:gd name="T26" fmla="*/ 2147483646 w 104"/>
                <a:gd name="T27" fmla="*/ 0 h 122"/>
                <a:gd name="T28" fmla="*/ 2147483646 w 104"/>
                <a:gd name="T29" fmla="*/ 2147483646 h 122"/>
                <a:gd name="T30" fmla="*/ 2147483646 w 104"/>
                <a:gd name="T31" fmla="*/ 2147483646 h 122"/>
                <a:gd name="T32" fmla="*/ 2147483646 w 104"/>
                <a:gd name="T33" fmla="*/ 2147483646 h 122"/>
                <a:gd name="T34" fmla="*/ 2147483646 w 104"/>
                <a:gd name="T35" fmla="*/ 2147483646 h 1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4" h="122">
                  <a:moveTo>
                    <a:pt x="31" y="85"/>
                  </a:moveTo>
                  <a:cubicBezTo>
                    <a:pt x="31" y="93"/>
                    <a:pt x="36" y="101"/>
                    <a:pt x="45" y="101"/>
                  </a:cubicBezTo>
                  <a:cubicBezTo>
                    <a:pt x="54" y="101"/>
                    <a:pt x="64" y="97"/>
                    <a:pt x="73" y="88"/>
                  </a:cubicBezTo>
                  <a:cubicBezTo>
                    <a:pt x="73" y="60"/>
                    <a:pt x="73" y="60"/>
                    <a:pt x="73" y="60"/>
                  </a:cubicBezTo>
                  <a:cubicBezTo>
                    <a:pt x="44" y="64"/>
                    <a:pt x="31" y="71"/>
                    <a:pt x="31" y="85"/>
                  </a:cubicBezTo>
                  <a:moveTo>
                    <a:pt x="74" y="110"/>
                  </a:moveTo>
                  <a:cubicBezTo>
                    <a:pt x="62" y="118"/>
                    <a:pt x="49" y="122"/>
                    <a:pt x="35" y="122"/>
                  </a:cubicBezTo>
                  <a:cubicBezTo>
                    <a:pt x="13" y="122"/>
                    <a:pt x="0" y="107"/>
                    <a:pt x="0" y="88"/>
                  </a:cubicBezTo>
                  <a:cubicBezTo>
                    <a:pt x="0" y="61"/>
                    <a:pt x="24" y="47"/>
                    <a:pt x="74" y="42"/>
                  </a:cubicBezTo>
                  <a:cubicBezTo>
                    <a:pt x="74" y="35"/>
                    <a:pt x="74" y="35"/>
                    <a:pt x="74" y="35"/>
                  </a:cubicBezTo>
                  <a:cubicBezTo>
                    <a:pt x="74" y="27"/>
                    <a:pt x="68" y="22"/>
                    <a:pt x="56" y="22"/>
                  </a:cubicBezTo>
                  <a:cubicBezTo>
                    <a:pt x="44" y="22"/>
                    <a:pt x="34" y="26"/>
                    <a:pt x="27" y="35"/>
                  </a:cubicBezTo>
                  <a:cubicBezTo>
                    <a:pt x="6" y="23"/>
                    <a:pt x="6" y="23"/>
                    <a:pt x="6" y="23"/>
                  </a:cubicBezTo>
                  <a:cubicBezTo>
                    <a:pt x="17" y="8"/>
                    <a:pt x="34" y="0"/>
                    <a:pt x="56" y="0"/>
                  </a:cubicBezTo>
                  <a:cubicBezTo>
                    <a:pt x="87" y="0"/>
                    <a:pt x="104" y="14"/>
                    <a:pt x="104" y="35"/>
                  </a:cubicBezTo>
                  <a:cubicBezTo>
                    <a:pt x="104" y="35"/>
                    <a:pt x="104" y="120"/>
                    <a:pt x="104" y="120"/>
                  </a:cubicBezTo>
                  <a:cubicBezTo>
                    <a:pt x="77" y="120"/>
                    <a:pt x="77" y="120"/>
                    <a:pt x="77" y="120"/>
                  </a:cubicBezTo>
                  <a:lnTo>
                    <a:pt x="7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813" eaLnBrk="0" fontAlgn="base" hangingPunct="0">
                <a:spcBef>
                  <a:spcPct val="0"/>
                </a:spcBef>
                <a:spcAft>
                  <a:spcPct val="0"/>
                </a:spcAft>
              </a:pPr>
              <a:endParaRPr lang="fr-FR">
                <a:solidFill>
                  <a:srgbClr val="000000"/>
                </a:solidFill>
                <a:latin typeface="Arial" pitchFamily="34" charset="0"/>
                <a:cs typeface="Arial" pitchFamily="34" charset="0"/>
              </a:endParaRPr>
            </a:p>
          </p:txBody>
        </p:sp>
        <p:sp>
          <p:nvSpPr>
            <p:cNvPr id="10" name="Freeform 7"/>
            <p:cNvSpPr>
              <a:spLocks/>
            </p:cNvSpPr>
            <p:nvPr/>
          </p:nvSpPr>
          <p:spPr bwMode="auto">
            <a:xfrm>
              <a:off x="878546" y="2651263"/>
              <a:ext cx="142765" cy="163833"/>
            </a:xfrm>
            <a:custGeom>
              <a:avLst/>
              <a:gdLst>
                <a:gd name="T0" fmla="*/ 0 w 105"/>
                <a:gd name="T1" fmla="*/ 2147483646 h 120"/>
                <a:gd name="T2" fmla="*/ 2147483646 w 105"/>
                <a:gd name="T3" fmla="*/ 2147483646 h 120"/>
                <a:gd name="T4" fmla="*/ 2147483646 w 105"/>
                <a:gd name="T5" fmla="*/ 2147483646 h 120"/>
                <a:gd name="T6" fmla="*/ 2147483646 w 105"/>
                <a:gd name="T7" fmla="*/ 0 h 120"/>
                <a:gd name="T8" fmla="*/ 2147483646 w 105"/>
                <a:gd name="T9" fmla="*/ 2147483646 h 120"/>
                <a:gd name="T10" fmla="*/ 2147483646 w 105"/>
                <a:gd name="T11" fmla="*/ 2147483646 h 120"/>
                <a:gd name="T12" fmla="*/ 2147483646 w 105"/>
                <a:gd name="T13" fmla="*/ 2147483646 h 120"/>
                <a:gd name="T14" fmla="*/ 2147483646 w 105"/>
                <a:gd name="T15" fmla="*/ 2147483646 h 120"/>
                <a:gd name="T16" fmla="*/ 2147483646 w 105"/>
                <a:gd name="T17" fmla="*/ 2147483646 h 120"/>
                <a:gd name="T18" fmla="*/ 2147483646 w 105"/>
                <a:gd name="T19" fmla="*/ 2147483646 h 120"/>
                <a:gd name="T20" fmla="*/ 2147483646 w 105"/>
                <a:gd name="T21" fmla="*/ 2147483646 h 120"/>
                <a:gd name="T22" fmla="*/ 0 w 105"/>
                <a:gd name="T23" fmla="*/ 2147483646 h 120"/>
                <a:gd name="T24" fmla="*/ 0 w 105"/>
                <a:gd name="T25" fmla="*/ 2147483646 h 1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5" h="120">
                  <a:moveTo>
                    <a:pt x="0" y="6"/>
                  </a:moveTo>
                  <a:cubicBezTo>
                    <a:pt x="25" y="2"/>
                    <a:pt x="25" y="2"/>
                    <a:pt x="25" y="2"/>
                  </a:cubicBezTo>
                  <a:cubicBezTo>
                    <a:pt x="28" y="16"/>
                    <a:pt x="28" y="16"/>
                    <a:pt x="28" y="16"/>
                  </a:cubicBezTo>
                  <a:cubicBezTo>
                    <a:pt x="42" y="6"/>
                    <a:pt x="54" y="0"/>
                    <a:pt x="68" y="0"/>
                  </a:cubicBezTo>
                  <a:cubicBezTo>
                    <a:pt x="92" y="0"/>
                    <a:pt x="105" y="13"/>
                    <a:pt x="105" y="38"/>
                  </a:cubicBezTo>
                  <a:cubicBezTo>
                    <a:pt x="105" y="120"/>
                    <a:pt x="105" y="120"/>
                    <a:pt x="105" y="120"/>
                  </a:cubicBezTo>
                  <a:cubicBezTo>
                    <a:pt x="74" y="120"/>
                    <a:pt x="74" y="120"/>
                    <a:pt x="74" y="120"/>
                  </a:cubicBezTo>
                  <a:cubicBezTo>
                    <a:pt x="74" y="44"/>
                    <a:pt x="74" y="44"/>
                    <a:pt x="74" y="44"/>
                  </a:cubicBezTo>
                  <a:cubicBezTo>
                    <a:pt x="74" y="29"/>
                    <a:pt x="70" y="23"/>
                    <a:pt x="59" y="23"/>
                  </a:cubicBezTo>
                  <a:cubicBezTo>
                    <a:pt x="50" y="23"/>
                    <a:pt x="41" y="27"/>
                    <a:pt x="30" y="36"/>
                  </a:cubicBezTo>
                  <a:cubicBezTo>
                    <a:pt x="30" y="120"/>
                    <a:pt x="30" y="120"/>
                    <a:pt x="30" y="120"/>
                  </a:cubicBezTo>
                  <a:cubicBezTo>
                    <a:pt x="0" y="120"/>
                    <a:pt x="0" y="120"/>
                    <a:pt x="0" y="12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813" eaLnBrk="0" fontAlgn="base" hangingPunct="0">
                <a:spcBef>
                  <a:spcPct val="0"/>
                </a:spcBef>
                <a:spcAft>
                  <a:spcPct val="0"/>
                </a:spcAft>
              </a:pPr>
              <a:endParaRPr lang="fr-FR">
                <a:solidFill>
                  <a:srgbClr val="000000"/>
                </a:solidFill>
                <a:latin typeface="Arial" pitchFamily="34" charset="0"/>
                <a:cs typeface="Arial" pitchFamily="34" charset="0"/>
              </a:endParaRPr>
            </a:p>
          </p:txBody>
        </p:sp>
        <p:sp>
          <p:nvSpPr>
            <p:cNvPr id="11" name="Freeform 8"/>
            <p:cNvSpPr>
              <a:spLocks noEditPoints="1"/>
            </p:cNvSpPr>
            <p:nvPr/>
          </p:nvSpPr>
          <p:spPr bwMode="auto">
            <a:xfrm>
              <a:off x="1224885" y="2651263"/>
              <a:ext cx="150696" cy="166477"/>
            </a:xfrm>
            <a:custGeom>
              <a:avLst/>
              <a:gdLst>
                <a:gd name="T0" fmla="*/ 2147483646 w 109"/>
                <a:gd name="T1" fmla="*/ 2147483646 h 122"/>
                <a:gd name="T2" fmla="*/ 2147483646 w 109"/>
                <a:gd name="T3" fmla="*/ 2147483646 h 122"/>
                <a:gd name="T4" fmla="*/ 2147483646 w 109"/>
                <a:gd name="T5" fmla="*/ 2147483646 h 122"/>
                <a:gd name="T6" fmla="*/ 2147483646 w 109"/>
                <a:gd name="T7" fmla="*/ 2147483646 h 122"/>
                <a:gd name="T8" fmla="*/ 2147483646 w 109"/>
                <a:gd name="T9" fmla="*/ 2147483646 h 122"/>
                <a:gd name="T10" fmla="*/ 0 w 109"/>
                <a:gd name="T11" fmla="*/ 2147483646 h 122"/>
                <a:gd name="T12" fmla="*/ 2147483646 w 109"/>
                <a:gd name="T13" fmla="*/ 0 h 122"/>
                <a:gd name="T14" fmla="*/ 2147483646 w 109"/>
                <a:gd name="T15" fmla="*/ 2147483646 h 122"/>
                <a:gd name="T16" fmla="*/ 2147483646 w 109"/>
                <a:gd name="T17" fmla="*/ 2147483646 h 122"/>
                <a:gd name="T18" fmla="*/ 2147483646 w 109"/>
                <a:gd name="T19" fmla="*/ 2147483646 h 122"/>
                <a:gd name="T20" fmla="*/ 2147483646 w 109"/>
                <a:gd name="T21" fmla="*/ 2147483646 h 122"/>
                <a:gd name="T22" fmla="*/ 2147483646 w 109"/>
                <a:gd name="T23" fmla="*/ 2147483646 h 122"/>
                <a:gd name="T24" fmla="*/ 2147483646 w 109"/>
                <a:gd name="T25" fmla="*/ 2147483646 h 122"/>
                <a:gd name="T26" fmla="*/ 2147483646 w 109"/>
                <a:gd name="T27" fmla="*/ 2147483646 h 1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9" h="122">
                  <a:moveTo>
                    <a:pt x="79" y="46"/>
                  </a:moveTo>
                  <a:cubicBezTo>
                    <a:pt x="79" y="30"/>
                    <a:pt x="70" y="21"/>
                    <a:pt x="55" y="21"/>
                  </a:cubicBezTo>
                  <a:cubicBezTo>
                    <a:pt x="41" y="21"/>
                    <a:pt x="32" y="30"/>
                    <a:pt x="31" y="46"/>
                  </a:cubicBezTo>
                  <a:lnTo>
                    <a:pt x="79" y="46"/>
                  </a:lnTo>
                  <a:close/>
                  <a:moveTo>
                    <a:pt x="56" y="122"/>
                  </a:moveTo>
                  <a:cubicBezTo>
                    <a:pt x="21" y="122"/>
                    <a:pt x="0" y="100"/>
                    <a:pt x="0" y="62"/>
                  </a:cubicBezTo>
                  <a:cubicBezTo>
                    <a:pt x="0" y="22"/>
                    <a:pt x="21" y="0"/>
                    <a:pt x="55" y="0"/>
                  </a:cubicBezTo>
                  <a:cubicBezTo>
                    <a:pt x="89" y="0"/>
                    <a:pt x="109" y="22"/>
                    <a:pt x="109" y="60"/>
                  </a:cubicBezTo>
                  <a:cubicBezTo>
                    <a:pt x="109" y="62"/>
                    <a:pt x="109" y="64"/>
                    <a:pt x="109" y="66"/>
                  </a:cubicBezTo>
                  <a:cubicBezTo>
                    <a:pt x="31" y="66"/>
                    <a:pt x="31" y="66"/>
                    <a:pt x="31" y="66"/>
                  </a:cubicBezTo>
                  <a:cubicBezTo>
                    <a:pt x="31" y="88"/>
                    <a:pt x="40" y="100"/>
                    <a:pt x="58" y="100"/>
                  </a:cubicBezTo>
                  <a:cubicBezTo>
                    <a:pt x="70" y="100"/>
                    <a:pt x="78" y="95"/>
                    <a:pt x="85" y="84"/>
                  </a:cubicBezTo>
                  <a:cubicBezTo>
                    <a:pt x="108" y="97"/>
                    <a:pt x="108" y="97"/>
                    <a:pt x="108" y="97"/>
                  </a:cubicBezTo>
                  <a:cubicBezTo>
                    <a:pt x="98" y="114"/>
                    <a:pt x="80" y="122"/>
                    <a:pt x="56"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813" eaLnBrk="0" fontAlgn="base" hangingPunct="0">
                <a:spcBef>
                  <a:spcPct val="0"/>
                </a:spcBef>
                <a:spcAft>
                  <a:spcPct val="0"/>
                </a:spcAft>
              </a:pPr>
              <a:endParaRPr lang="fr-FR">
                <a:solidFill>
                  <a:srgbClr val="000000"/>
                </a:solidFill>
                <a:latin typeface="Arial" pitchFamily="34" charset="0"/>
                <a:cs typeface="Arial" pitchFamily="34" charset="0"/>
              </a:endParaRPr>
            </a:p>
          </p:txBody>
        </p:sp>
        <p:sp>
          <p:nvSpPr>
            <p:cNvPr id="12" name="Freeform 9"/>
            <p:cNvSpPr>
              <a:spLocks noEditPoints="1"/>
            </p:cNvSpPr>
            <p:nvPr/>
          </p:nvSpPr>
          <p:spPr bwMode="auto">
            <a:xfrm>
              <a:off x="415883" y="2651263"/>
              <a:ext cx="158628" cy="169118"/>
            </a:xfrm>
            <a:custGeom>
              <a:avLst/>
              <a:gdLst>
                <a:gd name="T0" fmla="*/ 2147483646 w 116"/>
                <a:gd name="T1" fmla="*/ 2147483646 h 124"/>
                <a:gd name="T2" fmla="*/ 2147483646 w 116"/>
                <a:gd name="T3" fmla="*/ 2147483646 h 124"/>
                <a:gd name="T4" fmla="*/ 2147483646 w 116"/>
                <a:gd name="T5" fmla="*/ 2147483646 h 124"/>
                <a:gd name="T6" fmla="*/ 2147483646 w 116"/>
                <a:gd name="T7" fmla="*/ 2147483646 h 124"/>
                <a:gd name="T8" fmla="*/ 2147483646 w 116"/>
                <a:gd name="T9" fmla="*/ 2147483646 h 124"/>
                <a:gd name="T10" fmla="*/ 2147483646 w 116"/>
                <a:gd name="T11" fmla="*/ 2147483646 h 124"/>
                <a:gd name="T12" fmla="*/ 0 w 116"/>
                <a:gd name="T13" fmla="*/ 2147483646 h 124"/>
                <a:gd name="T14" fmla="*/ 2147483646 w 116"/>
                <a:gd name="T15" fmla="*/ 0 h 124"/>
                <a:gd name="T16" fmla="*/ 2147483646 w 116"/>
                <a:gd name="T17" fmla="*/ 2147483646 h 124"/>
                <a:gd name="T18" fmla="*/ 2147483646 w 116"/>
                <a:gd name="T19" fmla="*/ 2147483646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6" h="124">
                  <a:moveTo>
                    <a:pt x="58" y="26"/>
                  </a:moveTo>
                  <a:cubicBezTo>
                    <a:pt x="35" y="26"/>
                    <a:pt x="31" y="47"/>
                    <a:pt x="31" y="62"/>
                  </a:cubicBezTo>
                  <a:cubicBezTo>
                    <a:pt x="31" y="77"/>
                    <a:pt x="35" y="98"/>
                    <a:pt x="58" y="98"/>
                  </a:cubicBezTo>
                  <a:cubicBezTo>
                    <a:pt x="81" y="98"/>
                    <a:pt x="85" y="77"/>
                    <a:pt x="85" y="62"/>
                  </a:cubicBezTo>
                  <a:cubicBezTo>
                    <a:pt x="85" y="47"/>
                    <a:pt x="81" y="26"/>
                    <a:pt x="58" y="26"/>
                  </a:cubicBezTo>
                  <a:moveTo>
                    <a:pt x="58" y="124"/>
                  </a:moveTo>
                  <a:cubicBezTo>
                    <a:pt x="27" y="124"/>
                    <a:pt x="0" y="104"/>
                    <a:pt x="0" y="62"/>
                  </a:cubicBezTo>
                  <a:cubicBezTo>
                    <a:pt x="0" y="19"/>
                    <a:pt x="27" y="0"/>
                    <a:pt x="58" y="0"/>
                  </a:cubicBezTo>
                  <a:cubicBezTo>
                    <a:pt x="88" y="0"/>
                    <a:pt x="116" y="19"/>
                    <a:pt x="116" y="62"/>
                  </a:cubicBezTo>
                  <a:cubicBezTo>
                    <a:pt x="116" y="104"/>
                    <a:pt x="88" y="124"/>
                    <a:pt x="58" y="1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813" eaLnBrk="0" fontAlgn="base" hangingPunct="0">
                <a:spcBef>
                  <a:spcPct val="0"/>
                </a:spcBef>
                <a:spcAft>
                  <a:spcPct val="0"/>
                </a:spcAft>
              </a:pPr>
              <a:endParaRPr lang="fr-FR">
                <a:solidFill>
                  <a:srgbClr val="000000"/>
                </a:solidFill>
                <a:latin typeface="Arial" pitchFamily="34" charset="0"/>
                <a:cs typeface="Arial" pitchFamily="34" charset="0"/>
              </a:endParaRPr>
            </a:p>
          </p:txBody>
        </p:sp>
        <p:sp>
          <p:nvSpPr>
            <p:cNvPr id="13" name="Freeform 10"/>
            <p:cNvSpPr>
              <a:spLocks/>
            </p:cNvSpPr>
            <p:nvPr/>
          </p:nvSpPr>
          <p:spPr bwMode="auto">
            <a:xfrm>
              <a:off x="600948" y="2651263"/>
              <a:ext cx="89889" cy="163833"/>
            </a:xfrm>
            <a:custGeom>
              <a:avLst/>
              <a:gdLst>
                <a:gd name="T0" fmla="*/ 0 w 66"/>
                <a:gd name="T1" fmla="*/ 2147483646 h 120"/>
                <a:gd name="T2" fmla="*/ 2147483646 w 66"/>
                <a:gd name="T3" fmla="*/ 2147483646 h 120"/>
                <a:gd name="T4" fmla="*/ 2147483646 w 66"/>
                <a:gd name="T5" fmla="*/ 2147483646 h 120"/>
                <a:gd name="T6" fmla="*/ 2147483646 w 66"/>
                <a:gd name="T7" fmla="*/ 0 h 120"/>
                <a:gd name="T8" fmla="*/ 2147483646 w 66"/>
                <a:gd name="T9" fmla="*/ 2147483646 h 120"/>
                <a:gd name="T10" fmla="*/ 2147483646 w 66"/>
                <a:gd name="T11" fmla="*/ 2147483646 h 120"/>
                <a:gd name="T12" fmla="*/ 2147483646 w 66"/>
                <a:gd name="T13" fmla="*/ 2147483646 h 120"/>
                <a:gd name="T14" fmla="*/ 2147483646 w 66"/>
                <a:gd name="T15" fmla="*/ 2147483646 h 120"/>
                <a:gd name="T16" fmla="*/ 2147483646 w 66"/>
                <a:gd name="T17" fmla="*/ 2147483646 h 120"/>
                <a:gd name="T18" fmla="*/ 0 w 66"/>
                <a:gd name="T19" fmla="*/ 2147483646 h 120"/>
                <a:gd name="T20" fmla="*/ 0 w 66"/>
                <a:gd name="T21" fmla="*/ 2147483646 h 1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6" h="120">
                  <a:moveTo>
                    <a:pt x="0" y="3"/>
                  </a:moveTo>
                  <a:cubicBezTo>
                    <a:pt x="30" y="3"/>
                    <a:pt x="30" y="3"/>
                    <a:pt x="30" y="3"/>
                  </a:cubicBezTo>
                  <a:cubicBezTo>
                    <a:pt x="30" y="17"/>
                    <a:pt x="30" y="17"/>
                    <a:pt x="30" y="17"/>
                  </a:cubicBezTo>
                  <a:cubicBezTo>
                    <a:pt x="35" y="9"/>
                    <a:pt x="49" y="0"/>
                    <a:pt x="62" y="0"/>
                  </a:cubicBezTo>
                  <a:cubicBezTo>
                    <a:pt x="63" y="0"/>
                    <a:pt x="65" y="0"/>
                    <a:pt x="66" y="1"/>
                  </a:cubicBezTo>
                  <a:cubicBezTo>
                    <a:pt x="66" y="30"/>
                    <a:pt x="66" y="30"/>
                    <a:pt x="66" y="30"/>
                  </a:cubicBezTo>
                  <a:cubicBezTo>
                    <a:pt x="64" y="30"/>
                    <a:pt x="64" y="30"/>
                    <a:pt x="64" y="30"/>
                  </a:cubicBezTo>
                  <a:cubicBezTo>
                    <a:pt x="51" y="30"/>
                    <a:pt x="36" y="32"/>
                    <a:pt x="32" y="42"/>
                  </a:cubicBezTo>
                  <a:cubicBezTo>
                    <a:pt x="32" y="120"/>
                    <a:pt x="32" y="120"/>
                    <a:pt x="32" y="120"/>
                  </a:cubicBezTo>
                  <a:cubicBezTo>
                    <a:pt x="0" y="120"/>
                    <a:pt x="0" y="120"/>
                    <a:pt x="0" y="12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813" eaLnBrk="0" fontAlgn="base" hangingPunct="0">
                <a:spcBef>
                  <a:spcPct val="0"/>
                </a:spcBef>
                <a:spcAft>
                  <a:spcPct val="0"/>
                </a:spcAft>
              </a:pPr>
              <a:endParaRPr lang="fr-FR">
                <a:solidFill>
                  <a:srgbClr val="000000"/>
                </a:solidFill>
                <a:latin typeface="Arial" pitchFamily="34" charset="0"/>
                <a:cs typeface="Arial" pitchFamily="34" charset="0"/>
              </a:endParaRPr>
            </a:p>
          </p:txBody>
        </p:sp>
        <p:sp>
          <p:nvSpPr>
            <p:cNvPr id="14" name="Freeform 11"/>
            <p:cNvSpPr>
              <a:spLocks noEditPoints="1"/>
            </p:cNvSpPr>
            <p:nvPr/>
          </p:nvSpPr>
          <p:spPr bwMode="auto">
            <a:xfrm>
              <a:off x="1050394" y="2651263"/>
              <a:ext cx="150696" cy="224611"/>
            </a:xfrm>
            <a:custGeom>
              <a:avLst/>
              <a:gdLst>
                <a:gd name="T0" fmla="*/ 2147483646 w 110"/>
                <a:gd name="T1" fmla="*/ 2147483646 h 166"/>
                <a:gd name="T2" fmla="*/ 2147483646 w 110"/>
                <a:gd name="T3" fmla="*/ 2147483646 h 166"/>
                <a:gd name="T4" fmla="*/ 2147483646 w 110"/>
                <a:gd name="T5" fmla="*/ 2147483646 h 166"/>
                <a:gd name="T6" fmla="*/ 2147483646 w 110"/>
                <a:gd name="T7" fmla="*/ 2147483646 h 166"/>
                <a:gd name="T8" fmla="*/ 2147483646 w 110"/>
                <a:gd name="T9" fmla="*/ 2147483646 h 166"/>
                <a:gd name="T10" fmla="*/ 2147483646 w 110"/>
                <a:gd name="T11" fmla="*/ 2147483646 h 166"/>
                <a:gd name="T12" fmla="*/ 2147483646 w 110"/>
                <a:gd name="T13" fmla="*/ 2147483646 h 166"/>
                <a:gd name="T14" fmla="*/ 2147483646 w 110"/>
                <a:gd name="T15" fmla="*/ 2147483646 h 166"/>
                <a:gd name="T16" fmla="*/ 2147483646 w 110"/>
                <a:gd name="T17" fmla="*/ 2147483646 h 166"/>
                <a:gd name="T18" fmla="*/ 2147483646 w 110"/>
                <a:gd name="T19" fmla="*/ 2147483646 h 166"/>
                <a:gd name="T20" fmla="*/ 0 w 110"/>
                <a:gd name="T21" fmla="*/ 2147483646 h 166"/>
                <a:gd name="T22" fmla="*/ 2147483646 w 110"/>
                <a:gd name="T23" fmla="*/ 0 h 166"/>
                <a:gd name="T24" fmla="*/ 2147483646 w 110"/>
                <a:gd name="T25" fmla="*/ 2147483646 h 166"/>
                <a:gd name="T26" fmla="*/ 2147483646 w 110"/>
                <a:gd name="T27" fmla="*/ 2147483646 h 166"/>
                <a:gd name="T28" fmla="*/ 2147483646 w 110"/>
                <a:gd name="T29" fmla="*/ 2147483646 h 166"/>
                <a:gd name="T30" fmla="*/ 2147483646 w 110"/>
                <a:gd name="T31" fmla="*/ 2147483646 h 166"/>
                <a:gd name="T32" fmla="*/ 2147483646 w 110"/>
                <a:gd name="T33" fmla="*/ 2147483646 h 166"/>
                <a:gd name="T34" fmla="*/ 2147483646 w 110"/>
                <a:gd name="T35" fmla="*/ 2147483646 h 166"/>
                <a:gd name="T36" fmla="*/ 2147483646 w 110"/>
                <a:gd name="T37" fmla="*/ 2147483646 h 166"/>
                <a:gd name="T38" fmla="*/ 2147483646 w 110"/>
                <a:gd name="T39" fmla="*/ 2147483646 h 166"/>
                <a:gd name="T40" fmla="*/ 2147483646 w 110"/>
                <a:gd name="T41" fmla="*/ 2147483646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0" h="166">
                  <a:moveTo>
                    <a:pt x="110" y="2"/>
                  </a:moveTo>
                  <a:cubicBezTo>
                    <a:pt x="110" y="114"/>
                    <a:pt x="110" y="114"/>
                    <a:pt x="110" y="114"/>
                  </a:cubicBezTo>
                  <a:cubicBezTo>
                    <a:pt x="110" y="133"/>
                    <a:pt x="108" y="166"/>
                    <a:pt x="52" y="166"/>
                  </a:cubicBezTo>
                  <a:cubicBezTo>
                    <a:pt x="29" y="166"/>
                    <a:pt x="8" y="157"/>
                    <a:pt x="3" y="137"/>
                  </a:cubicBezTo>
                  <a:cubicBezTo>
                    <a:pt x="34" y="132"/>
                    <a:pt x="34" y="132"/>
                    <a:pt x="34" y="132"/>
                  </a:cubicBezTo>
                  <a:cubicBezTo>
                    <a:pt x="35" y="138"/>
                    <a:pt x="39" y="143"/>
                    <a:pt x="56" y="143"/>
                  </a:cubicBezTo>
                  <a:cubicBezTo>
                    <a:pt x="72" y="143"/>
                    <a:pt x="80" y="136"/>
                    <a:pt x="80" y="117"/>
                  </a:cubicBezTo>
                  <a:cubicBezTo>
                    <a:pt x="80" y="104"/>
                    <a:pt x="80" y="104"/>
                    <a:pt x="80" y="104"/>
                  </a:cubicBezTo>
                  <a:cubicBezTo>
                    <a:pt x="79" y="103"/>
                    <a:pt x="79" y="103"/>
                    <a:pt x="79" y="103"/>
                  </a:cubicBezTo>
                  <a:cubicBezTo>
                    <a:pt x="74" y="112"/>
                    <a:pt x="67" y="120"/>
                    <a:pt x="49" y="120"/>
                  </a:cubicBezTo>
                  <a:cubicBezTo>
                    <a:pt x="22" y="120"/>
                    <a:pt x="0" y="101"/>
                    <a:pt x="0" y="62"/>
                  </a:cubicBezTo>
                  <a:cubicBezTo>
                    <a:pt x="0" y="22"/>
                    <a:pt x="22" y="0"/>
                    <a:pt x="47" y="0"/>
                  </a:cubicBezTo>
                  <a:cubicBezTo>
                    <a:pt x="71" y="0"/>
                    <a:pt x="79" y="11"/>
                    <a:pt x="81" y="17"/>
                  </a:cubicBezTo>
                  <a:cubicBezTo>
                    <a:pt x="81" y="16"/>
                    <a:pt x="81" y="16"/>
                    <a:pt x="81" y="16"/>
                  </a:cubicBezTo>
                  <a:cubicBezTo>
                    <a:pt x="84" y="2"/>
                    <a:pt x="84" y="2"/>
                    <a:pt x="84" y="2"/>
                  </a:cubicBezTo>
                  <a:lnTo>
                    <a:pt x="110" y="2"/>
                  </a:lnTo>
                  <a:close/>
                  <a:moveTo>
                    <a:pt x="55" y="95"/>
                  </a:moveTo>
                  <a:cubicBezTo>
                    <a:pt x="78" y="95"/>
                    <a:pt x="80" y="71"/>
                    <a:pt x="80" y="55"/>
                  </a:cubicBezTo>
                  <a:cubicBezTo>
                    <a:pt x="80" y="37"/>
                    <a:pt x="71" y="22"/>
                    <a:pt x="54" y="22"/>
                  </a:cubicBezTo>
                  <a:cubicBezTo>
                    <a:pt x="43" y="22"/>
                    <a:pt x="31" y="30"/>
                    <a:pt x="31" y="57"/>
                  </a:cubicBezTo>
                  <a:cubicBezTo>
                    <a:pt x="31" y="71"/>
                    <a:pt x="32" y="95"/>
                    <a:pt x="55"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813" eaLnBrk="0" fontAlgn="base" hangingPunct="0">
                <a:spcBef>
                  <a:spcPct val="0"/>
                </a:spcBef>
                <a:spcAft>
                  <a:spcPct val="0"/>
                </a:spcAft>
              </a:pPr>
              <a:endParaRPr lang="fr-FR">
                <a:solidFill>
                  <a:srgbClr val="000000"/>
                </a:solidFill>
                <a:latin typeface="Arial" pitchFamily="34" charset="0"/>
                <a:cs typeface="Arial" pitchFamily="34" charset="0"/>
              </a:endParaRPr>
            </a:p>
          </p:txBody>
        </p:sp>
        <p:sp>
          <p:nvSpPr>
            <p:cNvPr id="15" name="Freeform 12"/>
            <p:cNvSpPr>
              <a:spLocks noEditPoints="1"/>
            </p:cNvSpPr>
            <p:nvPr/>
          </p:nvSpPr>
          <p:spPr bwMode="auto">
            <a:xfrm>
              <a:off x="1349142" y="2593128"/>
              <a:ext cx="111039" cy="52850"/>
            </a:xfrm>
            <a:custGeom>
              <a:avLst/>
              <a:gdLst>
                <a:gd name="T0" fmla="*/ 2147483646 w 195"/>
                <a:gd name="T1" fmla="*/ 2147483646 h 92"/>
                <a:gd name="T2" fmla="*/ 2147483646 w 195"/>
                <a:gd name="T3" fmla="*/ 2147483646 h 92"/>
                <a:gd name="T4" fmla="*/ 2147483646 w 195"/>
                <a:gd name="T5" fmla="*/ 2147483646 h 92"/>
                <a:gd name="T6" fmla="*/ 2147483646 w 195"/>
                <a:gd name="T7" fmla="*/ 2147483646 h 92"/>
                <a:gd name="T8" fmla="*/ 2147483646 w 195"/>
                <a:gd name="T9" fmla="*/ 2147483646 h 92"/>
                <a:gd name="T10" fmla="*/ 2147483646 w 195"/>
                <a:gd name="T11" fmla="*/ 2147483646 h 92"/>
                <a:gd name="T12" fmla="*/ 2147483646 w 195"/>
                <a:gd name="T13" fmla="*/ 2147483646 h 92"/>
                <a:gd name="T14" fmla="*/ 2147483646 w 195"/>
                <a:gd name="T15" fmla="*/ 2147483646 h 92"/>
                <a:gd name="T16" fmla="*/ 2147483646 w 195"/>
                <a:gd name="T17" fmla="*/ 2147483646 h 92"/>
                <a:gd name="T18" fmla="*/ 2147483646 w 195"/>
                <a:gd name="T19" fmla="*/ 2147483646 h 92"/>
                <a:gd name="T20" fmla="*/ 2147483646 w 195"/>
                <a:gd name="T21" fmla="*/ 0 h 92"/>
                <a:gd name="T22" fmla="*/ 2147483646 w 195"/>
                <a:gd name="T23" fmla="*/ 0 h 92"/>
                <a:gd name="T24" fmla="*/ 2147483646 w 195"/>
                <a:gd name="T25" fmla="*/ 2147483646 h 92"/>
                <a:gd name="T26" fmla="*/ 2147483646 w 195"/>
                <a:gd name="T27" fmla="*/ 0 h 92"/>
                <a:gd name="T28" fmla="*/ 2147483646 w 195"/>
                <a:gd name="T29" fmla="*/ 0 h 92"/>
                <a:gd name="T30" fmla="*/ 2147483646 w 195"/>
                <a:gd name="T31" fmla="*/ 2147483646 h 92"/>
                <a:gd name="T32" fmla="*/ 2147483646 w 195"/>
                <a:gd name="T33" fmla="*/ 2147483646 h 92"/>
                <a:gd name="T34" fmla="*/ 2147483646 w 195"/>
                <a:gd name="T35" fmla="*/ 2147483646 h 92"/>
                <a:gd name="T36" fmla="*/ 2147483646 w 195"/>
                <a:gd name="T37" fmla="*/ 2147483646 h 92"/>
                <a:gd name="T38" fmla="*/ 2147483646 w 195"/>
                <a:gd name="T39" fmla="*/ 2147483646 h 92"/>
                <a:gd name="T40" fmla="*/ 2147483646 w 195"/>
                <a:gd name="T41" fmla="*/ 2147483646 h 92"/>
                <a:gd name="T42" fmla="*/ 0 w 195"/>
                <a:gd name="T43" fmla="*/ 2147483646 h 92"/>
                <a:gd name="T44" fmla="*/ 0 w 195"/>
                <a:gd name="T45" fmla="*/ 0 h 92"/>
                <a:gd name="T46" fmla="*/ 2147483646 w 195"/>
                <a:gd name="T47" fmla="*/ 0 h 92"/>
                <a:gd name="T48" fmla="*/ 2147483646 w 195"/>
                <a:gd name="T49" fmla="*/ 2147483646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5" h="92">
                  <a:moveTo>
                    <a:pt x="195" y="92"/>
                  </a:moveTo>
                  <a:lnTo>
                    <a:pt x="178" y="92"/>
                  </a:lnTo>
                  <a:lnTo>
                    <a:pt x="178" y="16"/>
                  </a:lnTo>
                  <a:lnTo>
                    <a:pt x="147" y="92"/>
                  </a:lnTo>
                  <a:lnTo>
                    <a:pt x="138" y="92"/>
                  </a:lnTo>
                  <a:lnTo>
                    <a:pt x="110" y="16"/>
                  </a:lnTo>
                  <a:lnTo>
                    <a:pt x="107" y="16"/>
                  </a:lnTo>
                  <a:lnTo>
                    <a:pt x="107" y="92"/>
                  </a:lnTo>
                  <a:lnTo>
                    <a:pt x="93" y="92"/>
                  </a:lnTo>
                  <a:lnTo>
                    <a:pt x="93" y="0"/>
                  </a:lnTo>
                  <a:lnTo>
                    <a:pt x="117" y="0"/>
                  </a:lnTo>
                  <a:lnTo>
                    <a:pt x="145" y="71"/>
                  </a:lnTo>
                  <a:lnTo>
                    <a:pt x="171" y="0"/>
                  </a:lnTo>
                  <a:lnTo>
                    <a:pt x="195" y="0"/>
                  </a:lnTo>
                  <a:lnTo>
                    <a:pt x="195" y="92"/>
                  </a:lnTo>
                  <a:close/>
                  <a:moveTo>
                    <a:pt x="74" y="14"/>
                  </a:moveTo>
                  <a:lnTo>
                    <a:pt x="46" y="14"/>
                  </a:lnTo>
                  <a:lnTo>
                    <a:pt x="46" y="92"/>
                  </a:lnTo>
                  <a:lnTo>
                    <a:pt x="31" y="92"/>
                  </a:lnTo>
                  <a:lnTo>
                    <a:pt x="31" y="14"/>
                  </a:lnTo>
                  <a:lnTo>
                    <a:pt x="0" y="14"/>
                  </a:lnTo>
                  <a:lnTo>
                    <a:pt x="0" y="0"/>
                  </a:lnTo>
                  <a:lnTo>
                    <a:pt x="74" y="0"/>
                  </a:lnTo>
                  <a:lnTo>
                    <a:pt x="7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813" eaLnBrk="0" fontAlgn="base" hangingPunct="0">
                <a:spcBef>
                  <a:spcPct val="0"/>
                </a:spcBef>
                <a:spcAft>
                  <a:spcPct val="0"/>
                </a:spcAft>
              </a:pPr>
              <a:endParaRPr lang="fr-FR">
                <a:solidFill>
                  <a:srgbClr val="000000"/>
                </a:solidFill>
                <a:latin typeface="Arial" pitchFamily="34" charset="0"/>
                <a:cs typeface="Arial" pitchFamily="34" charset="0"/>
              </a:endParaRPr>
            </a:p>
          </p:txBody>
        </p:sp>
      </p:grpSp>
      <p:sp>
        <p:nvSpPr>
          <p:cNvPr id="5" name="Text Placeholder 4"/>
          <p:cNvSpPr>
            <a:spLocks noGrp="1"/>
          </p:cNvSpPr>
          <p:nvPr>
            <p:ph type="body" sz="quarter" idx="10"/>
          </p:nvPr>
        </p:nvSpPr>
        <p:spPr>
          <a:xfrm>
            <a:off x="458791" y="3258743"/>
            <a:ext cx="5486401" cy="1368851"/>
          </a:xfrm>
          <a:prstGeom prst="rect">
            <a:avLst/>
          </a:prstGeom>
        </p:spPr>
        <p:txBody>
          <a:bodyPr anchor="b">
            <a:noAutofit/>
          </a:bodyPr>
          <a:lstStyle>
            <a:lvl1pPr marL="0" marR="0" indent="0" algn="l" defTabSz="914364" rtl="0" eaLnBrk="1" fontAlgn="base" latinLnBrk="0" hangingPunct="1">
              <a:lnSpc>
                <a:spcPct val="100000"/>
              </a:lnSpc>
              <a:spcBef>
                <a:spcPct val="0"/>
              </a:spcBef>
              <a:spcAft>
                <a:spcPts val="600"/>
              </a:spcAft>
              <a:buClr>
                <a:schemeClr val="tx1"/>
              </a:buClr>
              <a:buSzTx/>
              <a:buFont typeface="Helvetica 75" panose="020B0804020202020204" pitchFamily="34" charset="0"/>
              <a:buNone/>
              <a:tabLst/>
              <a:defRPr sz="1400" baseline="0">
                <a:solidFill>
                  <a:schemeClr val="tx1"/>
                </a:solidFill>
                <a:latin typeface="Helvetica 75" panose="020B0804020202020204" pitchFamily="34" charset="0"/>
              </a:defRPr>
            </a:lvl1pPr>
          </a:lstStyle>
          <a:p>
            <a:pPr lvl="0"/>
            <a:r>
              <a:rPr lang="ru-RU"/>
              <a:t>Образец текста</a:t>
            </a:r>
          </a:p>
        </p:txBody>
      </p:sp>
      <p:sp>
        <p:nvSpPr>
          <p:cNvPr id="16" name="Titre 1"/>
          <p:cNvSpPr>
            <a:spLocks noGrp="1"/>
          </p:cNvSpPr>
          <p:nvPr>
            <p:ph type="ctrTitle"/>
          </p:nvPr>
        </p:nvSpPr>
        <p:spPr>
          <a:xfrm>
            <a:off x="455617" y="511968"/>
            <a:ext cx="5489575" cy="2405063"/>
          </a:xfrm>
          <a:prstGeom prst="rect">
            <a:avLst/>
          </a:prstGeom>
        </p:spPr>
        <p:txBody>
          <a:bodyPr>
            <a:noAutofit/>
          </a:bodyPr>
          <a:lstStyle>
            <a:lvl1pPr algn="l">
              <a:lnSpc>
                <a:spcPct val="90000"/>
              </a:lnSpc>
              <a:defRPr sz="5400" baseline="0">
                <a:solidFill>
                  <a:schemeClr val="tx1"/>
                </a:solidFill>
                <a:latin typeface="Helvetica 75" panose="020B0804020202020204" pitchFamily="34" charset="0"/>
              </a:defRPr>
            </a:lvl1pPr>
          </a:lstStyle>
          <a:p>
            <a:r>
              <a:rPr lang="ru-RU" noProof="0"/>
              <a:t>Образец заголовка</a:t>
            </a:r>
            <a:endParaRPr lang="en-GB" noProof="0" dirty="0"/>
          </a:p>
        </p:txBody>
      </p:sp>
    </p:spTree>
    <p:extLst>
      <p:ext uri="{BB962C8B-B14F-4D97-AF65-F5344CB8AC3E}">
        <p14:creationId xmlns:p14="http://schemas.microsoft.com/office/powerpoint/2010/main" val="1351094372"/>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style 3">
    <p:spTree>
      <p:nvGrpSpPr>
        <p:cNvPr id="1" name=""/>
        <p:cNvGrpSpPr/>
        <p:nvPr/>
      </p:nvGrpSpPr>
      <p:grpSpPr>
        <a:xfrm>
          <a:off x="0" y="0"/>
          <a:ext cx="0" cy="0"/>
          <a:chOff x="0" y="0"/>
          <a:chExt cx="0" cy="0"/>
        </a:xfrm>
      </p:grpSpPr>
      <p:graphicFrame>
        <p:nvGraphicFramePr>
          <p:cNvPr id="6"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p:cNvSpPr>
          <p:nvPr>
            <p:ph type="title"/>
          </p:nvPr>
        </p:nvSpPr>
        <p:spPr/>
        <p:txBody>
          <a:bodyPr>
            <a:normAutofit/>
          </a:bodyPr>
          <a:lstStyle>
            <a:lvl1pPr>
              <a:defRPr sz="2000"/>
            </a:lvl1pPr>
          </a:lstStyle>
          <a:p>
            <a:r>
              <a:rPr lang="ru-RU"/>
              <a:t>Образец заголовка</a:t>
            </a:r>
            <a:endParaRPr lang="en-GB" dirty="0"/>
          </a:p>
        </p:txBody>
      </p:sp>
      <p:sp>
        <p:nvSpPr>
          <p:cNvPr id="18" name="Text Placeholder 4"/>
          <p:cNvSpPr>
            <a:spLocks noGrp="1"/>
          </p:cNvSpPr>
          <p:nvPr>
            <p:ph type="body" sz="quarter" idx="16"/>
          </p:nvPr>
        </p:nvSpPr>
        <p:spPr>
          <a:xfrm>
            <a:off x="457200" y="1544242"/>
            <a:ext cx="2287586" cy="2739629"/>
          </a:xfrm>
        </p:spPr>
        <p:txBody>
          <a:bodyPr/>
          <a:lstStyle>
            <a:lvl1pPr marL="169856" marR="0" indent="-169856" algn="l" defTabSz="914364" rtl="0" eaLnBrk="1" fontAlgn="base" latinLnBrk="0" hangingPunct="1">
              <a:lnSpc>
                <a:spcPct val="100000"/>
              </a:lnSpc>
              <a:spcBef>
                <a:spcPct val="0"/>
              </a:spcBef>
              <a:spcAft>
                <a:spcPts val="600"/>
              </a:spcAft>
              <a:buClr>
                <a:srgbClr val="FF6600"/>
              </a:buClr>
              <a:buSzPct val="110000"/>
              <a:buFont typeface="Wingdings" panose="05000000000000000000" pitchFamily="2" charset="2"/>
              <a:buChar char="§"/>
              <a:tabLst/>
              <a:defRPr/>
            </a:lvl1pPr>
            <a:lvl2pPr marL="460356" marR="0" indent="-233353"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lvl2pPr>
            <a:lvl3pPr marL="627038" marR="0" indent="-225416"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solidFill>
                  <a:srgbClr val="8F8F8F"/>
                </a:solidFill>
              </a:defRPr>
            </a:lvl3pPr>
            <a:lvl4pPr marL="857215" marR="0" indent="-228590"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lvl4pPr>
            <a:lvl5pPr marL="1087394" marR="0" indent="-231766"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lvl5pPr>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endParaRPr lang="en-GB" noProof="0" dirty="0"/>
          </a:p>
        </p:txBody>
      </p:sp>
      <p:sp>
        <p:nvSpPr>
          <p:cNvPr id="20" name="Text Placeholder 4"/>
          <p:cNvSpPr>
            <a:spLocks noGrp="1"/>
          </p:cNvSpPr>
          <p:nvPr>
            <p:ph type="body" sz="quarter" idx="17"/>
          </p:nvPr>
        </p:nvSpPr>
        <p:spPr>
          <a:xfrm>
            <a:off x="3181632" y="1544242"/>
            <a:ext cx="2306356" cy="2739629"/>
          </a:xfrm>
        </p:spPr>
        <p:txBody>
          <a:bodyPr/>
          <a:lstStyle>
            <a:lvl1pPr marL="169856" marR="0" indent="-169856" algn="l" defTabSz="914364" rtl="0" eaLnBrk="1" fontAlgn="base" latinLnBrk="0" hangingPunct="1">
              <a:lnSpc>
                <a:spcPct val="100000"/>
              </a:lnSpc>
              <a:spcBef>
                <a:spcPct val="0"/>
              </a:spcBef>
              <a:spcAft>
                <a:spcPts val="600"/>
              </a:spcAft>
              <a:buClr>
                <a:srgbClr val="FF6600"/>
              </a:buClr>
              <a:buSzPct val="110000"/>
              <a:buFont typeface="Wingdings" panose="05000000000000000000" pitchFamily="2" charset="2"/>
              <a:buChar char="§"/>
              <a:tabLst/>
              <a:defRPr/>
            </a:lvl1pPr>
            <a:lvl2pPr marL="460356" marR="0" indent="-233353"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lvl2pPr>
            <a:lvl3pPr marL="627038" marR="0" indent="-225416"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solidFill>
                  <a:srgbClr val="8F8F8F"/>
                </a:solidFill>
              </a:defRPr>
            </a:lvl3pPr>
            <a:lvl4pPr marL="857215" marR="0" indent="-228590"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lvl4pPr>
            <a:lvl5pPr marL="1087394" marR="0" indent="-231766"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lvl5pPr>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endParaRPr lang="en-GB" noProof="0" dirty="0"/>
          </a:p>
        </p:txBody>
      </p:sp>
      <p:sp>
        <p:nvSpPr>
          <p:cNvPr id="22" name="Text Placeholder 4"/>
          <p:cNvSpPr>
            <a:spLocks noGrp="1"/>
          </p:cNvSpPr>
          <p:nvPr>
            <p:ph type="body" sz="quarter" idx="18"/>
          </p:nvPr>
        </p:nvSpPr>
        <p:spPr>
          <a:xfrm>
            <a:off x="5943899" y="1544242"/>
            <a:ext cx="2287588" cy="2739629"/>
          </a:xfrm>
        </p:spPr>
        <p:txBody>
          <a:bodyPr/>
          <a:lstStyle>
            <a:lvl1pPr marL="169856" marR="0" indent="-169856" algn="l" defTabSz="914364" rtl="0" eaLnBrk="1" fontAlgn="base" latinLnBrk="0" hangingPunct="1">
              <a:lnSpc>
                <a:spcPct val="100000"/>
              </a:lnSpc>
              <a:spcBef>
                <a:spcPct val="0"/>
              </a:spcBef>
              <a:spcAft>
                <a:spcPts val="600"/>
              </a:spcAft>
              <a:buClr>
                <a:srgbClr val="FF6600"/>
              </a:buClr>
              <a:buSzPct val="110000"/>
              <a:buFont typeface="Wingdings" panose="05000000000000000000" pitchFamily="2" charset="2"/>
              <a:buChar char="§"/>
              <a:tabLst/>
              <a:defRPr/>
            </a:lvl1pPr>
            <a:lvl2pPr marL="460356" marR="0" indent="-233353"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lvl2pPr>
            <a:lvl3pPr marL="627038" marR="0" indent="-225416"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solidFill>
                  <a:srgbClr val="8F8F8F"/>
                </a:solidFill>
              </a:defRPr>
            </a:lvl3pPr>
            <a:lvl4pPr marL="857215" marR="0" indent="-228590"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lvl4pPr>
            <a:lvl5pPr marL="1087394" marR="0" indent="-231766"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a:lvl5pPr>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endParaRPr lang="en-GB" noProof="0" dirty="0"/>
          </a:p>
        </p:txBody>
      </p:sp>
      <p:sp>
        <p:nvSpPr>
          <p:cNvPr id="7" name="Footer Placeholder 4">
            <a:extLst>
              <a:ext uri="{FF2B5EF4-FFF2-40B4-BE49-F238E27FC236}">
                <a16:creationId xmlns:a16="http://schemas.microsoft.com/office/drawing/2014/main" id="{EBA4D1BE-E67C-426D-8EC0-ECF0356D5FCB}"/>
              </a:ext>
            </a:extLst>
          </p:cNvPr>
          <p:cNvSpPr>
            <a:spLocks noGrp="1"/>
          </p:cNvSpPr>
          <p:nvPr>
            <p:ph type="ftr" sz="quarter" idx="19"/>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8" name="Slide Number Placeholder 5">
            <a:extLst>
              <a:ext uri="{FF2B5EF4-FFF2-40B4-BE49-F238E27FC236}">
                <a16:creationId xmlns:a16="http://schemas.microsoft.com/office/drawing/2014/main" id="{FAE52072-8B9B-4986-85B2-8248D33AC067}"/>
              </a:ext>
            </a:extLst>
          </p:cNvPr>
          <p:cNvSpPr>
            <a:spLocks noGrp="1"/>
          </p:cNvSpPr>
          <p:nvPr>
            <p:ph type="sldNum" sz="quarter" idx="20"/>
          </p:nvPr>
        </p:nvSpPr>
        <p:spPr/>
        <p:txBody>
          <a:bodyPr/>
          <a:lstStyle>
            <a:lvl1pPr>
              <a:defRPr/>
            </a:lvl1pPr>
          </a:lstStyle>
          <a:p>
            <a:fld id="{3CC2E48C-0F59-4C7C-A758-00D39A9FF728}" type="slidenum">
              <a:rPr lang="fr-FR" altLang="fr-FR"/>
              <a:pPr/>
              <a:t>‹N°›</a:t>
            </a:fld>
            <a:endParaRPr lang="fr-FR" altLang="fr-FR"/>
          </a:p>
        </p:txBody>
      </p:sp>
    </p:spTree>
    <p:extLst>
      <p:ext uri="{BB962C8B-B14F-4D97-AF65-F5344CB8AC3E}">
        <p14:creationId xmlns:p14="http://schemas.microsoft.com/office/powerpoint/2010/main" val="1831301933"/>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3600451"/>
            <a:ext cx="5486400" cy="425054"/>
          </a:xfr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7D3AEEF0-FEAD-44CF-A18D-162E882CE67E}" type="datetimeFigureOut">
              <a:rPr lang="fr-FR" smtClean="0"/>
              <a:t>12/02/2020</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20953FD-3B35-4E25-A99B-EC1C842F02EF}" type="slidenum">
              <a:rPr lang="fr-FR" smtClean="0"/>
              <a:t>‹N°›</a:t>
            </a:fld>
            <a:endParaRPr lang="fr-FR"/>
          </a:p>
        </p:txBody>
      </p:sp>
    </p:spTree>
    <p:extLst>
      <p:ext uri="{BB962C8B-B14F-4D97-AF65-F5344CB8AC3E}">
        <p14:creationId xmlns:p14="http://schemas.microsoft.com/office/powerpoint/2010/main" val="10252329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uces simples">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a:xfrm>
            <a:off x="1016213" y="302400"/>
            <a:ext cx="7084800" cy="737100"/>
          </a:xfrm>
        </p:spPr>
        <p:txBody>
          <a:bodyPr/>
          <a:lstStyle>
            <a:lvl1pPr algn="l">
              <a:defRPr baseline="0"/>
            </a:lvl1pPr>
          </a:lstStyle>
          <a:p>
            <a:r>
              <a:rPr lang="ru-RU"/>
              <a:t>Образец заголовка</a:t>
            </a:r>
            <a:endParaRPr lang="fr-FR" dirty="0"/>
          </a:p>
        </p:txBody>
      </p:sp>
      <p:sp>
        <p:nvSpPr>
          <p:cNvPr id="26" name="Espace réservé du contenu 2"/>
          <p:cNvSpPr>
            <a:spLocks noGrp="1"/>
          </p:cNvSpPr>
          <p:nvPr>
            <p:ph idx="1"/>
          </p:nvPr>
        </p:nvSpPr>
        <p:spPr>
          <a:xfrm>
            <a:off x="1042989" y="1329929"/>
            <a:ext cx="7058025" cy="2915840"/>
          </a:xfrm>
        </p:spPr>
        <p:txBody>
          <a:bodyPr/>
          <a:lstStyle>
            <a:lvl1pPr>
              <a:defRPr sz="1800" baseline="0"/>
            </a:lvl1pPr>
            <a:lvl2pPr>
              <a:spcAft>
                <a:spcPct val="0"/>
              </a:spcAft>
              <a:buFont typeface="Arial" charset="0"/>
              <a:buChar char="–"/>
              <a:defRPr/>
            </a:lvl2pPr>
          </a:lstStyle>
          <a:p>
            <a:pPr lvl="0"/>
            <a:r>
              <a:rPr lang="ru-RU"/>
              <a:t>Образец текста</a:t>
            </a:r>
          </a:p>
        </p:txBody>
      </p:sp>
      <p:sp>
        <p:nvSpPr>
          <p:cNvPr id="5" name="Footer Placeholder 4">
            <a:extLst>
              <a:ext uri="{FF2B5EF4-FFF2-40B4-BE49-F238E27FC236}">
                <a16:creationId xmlns:a16="http://schemas.microsoft.com/office/drawing/2014/main" id="{6FD6CF03-1D3A-4985-9C96-E9BC4764EEA9}"/>
              </a:ext>
            </a:extLst>
          </p:cNvPr>
          <p:cNvSpPr>
            <a:spLocks noGrp="1"/>
          </p:cNvSpPr>
          <p:nvPr>
            <p:ph type="ftr" sz="quarter" idx="10"/>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6" name="Slide Number Placeholder 5">
            <a:extLst>
              <a:ext uri="{FF2B5EF4-FFF2-40B4-BE49-F238E27FC236}">
                <a16:creationId xmlns:a16="http://schemas.microsoft.com/office/drawing/2014/main" id="{B24DEB4C-0F82-4A0C-B1B0-6555FE29E24D}"/>
              </a:ext>
            </a:extLst>
          </p:cNvPr>
          <p:cNvSpPr>
            <a:spLocks noGrp="1"/>
          </p:cNvSpPr>
          <p:nvPr>
            <p:ph type="sldNum" sz="quarter" idx="11"/>
          </p:nvPr>
        </p:nvSpPr>
        <p:spPr/>
        <p:txBody>
          <a:bodyPr/>
          <a:lstStyle>
            <a:lvl1pPr>
              <a:defRPr/>
            </a:lvl1pPr>
          </a:lstStyle>
          <a:p>
            <a:fld id="{876846FA-186D-4D21-ABAE-17A1C9380A3D}" type="slidenum">
              <a:rPr lang="fr-FR" altLang="fr-FR"/>
              <a:pPr/>
              <a:t>‹N°›</a:t>
            </a:fld>
            <a:endParaRPr lang="fr-FR" altLang="fr-FR"/>
          </a:p>
        </p:txBody>
      </p:sp>
    </p:spTree>
    <p:extLst>
      <p:ext uri="{BB962C8B-B14F-4D97-AF65-F5344CB8AC3E}">
        <p14:creationId xmlns:p14="http://schemas.microsoft.com/office/powerpoint/2010/main" val="42802216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graphicFrame>
        <p:nvGraphicFramePr>
          <p:cNvPr id="5"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ctrTitle"/>
          </p:nvPr>
        </p:nvSpPr>
        <p:spPr>
          <a:xfrm>
            <a:off x="455617" y="511968"/>
            <a:ext cx="5489575" cy="2405063"/>
          </a:xfrm>
          <a:prstGeom prst="rect">
            <a:avLst/>
          </a:prstGeom>
        </p:spPr>
        <p:txBody>
          <a:bodyPr>
            <a:noAutofit/>
          </a:bodyPr>
          <a:lstStyle>
            <a:lvl1pPr algn="l">
              <a:lnSpc>
                <a:spcPct val="90000"/>
              </a:lnSpc>
              <a:defRPr sz="5400" baseline="0">
                <a:solidFill>
                  <a:schemeClr val="tx1"/>
                </a:solidFill>
                <a:latin typeface="Helvetica 75" panose="020B0804020202020204" pitchFamily="34" charset="0"/>
              </a:defRPr>
            </a:lvl1pPr>
          </a:lstStyle>
          <a:p>
            <a:r>
              <a:rPr lang="ru-RU" noProof="0"/>
              <a:t>Образец заголовка</a:t>
            </a:r>
            <a:endParaRPr lang="en-GB" noProof="0" dirty="0"/>
          </a:p>
        </p:txBody>
      </p:sp>
      <p:sp>
        <p:nvSpPr>
          <p:cNvPr id="10" name="Text Placeholder 4"/>
          <p:cNvSpPr>
            <a:spLocks noGrp="1"/>
          </p:cNvSpPr>
          <p:nvPr>
            <p:ph type="body" sz="quarter" idx="10"/>
          </p:nvPr>
        </p:nvSpPr>
        <p:spPr>
          <a:xfrm>
            <a:off x="458791" y="3258743"/>
            <a:ext cx="5486401" cy="1368851"/>
          </a:xfrm>
          <a:prstGeom prst="rect">
            <a:avLst/>
          </a:prstGeom>
        </p:spPr>
        <p:txBody>
          <a:bodyPr anchor="b">
            <a:noAutofit/>
          </a:bodyPr>
          <a:lstStyle>
            <a:lvl1pPr marL="0" marR="0" indent="0" algn="l" defTabSz="914364" rtl="0" eaLnBrk="1" fontAlgn="base" latinLnBrk="0" hangingPunct="1">
              <a:lnSpc>
                <a:spcPct val="100000"/>
              </a:lnSpc>
              <a:spcBef>
                <a:spcPct val="0"/>
              </a:spcBef>
              <a:spcAft>
                <a:spcPts val="600"/>
              </a:spcAft>
              <a:buClr>
                <a:schemeClr val="tx1"/>
              </a:buClr>
              <a:buSzTx/>
              <a:buFont typeface="Helvetica 75" panose="020B0804020202020204" pitchFamily="34" charset="0"/>
              <a:buNone/>
              <a:tabLst/>
              <a:defRPr sz="1400" baseline="0">
                <a:solidFill>
                  <a:schemeClr val="tx1"/>
                </a:solidFill>
                <a:latin typeface="Helvetica 75" panose="020B0804020202020204" pitchFamily="34" charset="0"/>
              </a:defRPr>
            </a:lvl1pPr>
          </a:lstStyle>
          <a:p>
            <a:pPr lvl="0"/>
            <a:r>
              <a:rPr lang="ru-RU"/>
              <a:t>Образец текста</a:t>
            </a:r>
          </a:p>
        </p:txBody>
      </p:sp>
      <p:sp>
        <p:nvSpPr>
          <p:cNvPr id="11" name="Text Placeholder 4"/>
          <p:cNvSpPr>
            <a:spLocks noGrp="1"/>
          </p:cNvSpPr>
          <p:nvPr>
            <p:ph type="body" sz="quarter" idx="21"/>
          </p:nvPr>
        </p:nvSpPr>
        <p:spPr>
          <a:xfrm>
            <a:off x="6397630" y="511971"/>
            <a:ext cx="2290763" cy="4117181"/>
          </a:xfrm>
        </p:spPr>
        <p:txBody>
          <a:bodyPr/>
          <a:lstStyle>
            <a:lvl1pPr marL="0" indent="0">
              <a:spcAft>
                <a:spcPts val="200"/>
              </a:spcAft>
              <a:buClr>
                <a:schemeClr val="bg1"/>
              </a:buClr>
              <a:buSzPct val="25000"/>
              <a:buFont typeface="Helvetica 75" panose="020B0804020202020204" pitchFamily="34" charset="0"/>
              <a:buChar char="i"/>
              <a:defRPr baseline="0"/>
            </a:lvl1pPr>
            <a:lvl2pPr marL="0" indent="0">
              <a:spcAft>
                <a:spcPts val="200"/>
              </a:spcAft>
              <a:buClr>
                <a:schemeClr val="bg1"/>
              </a:buClr>
              <a:buSzPct val="25000"/>
              <a:buFont typeface="Helvetica 75" panose="020B0804020202020204" pitchFamily="34" charset="0"/>
              <a:buChar char="i"/>
              <a:defRPr baseline="0"/>
            </a:lvl2pPr>
            <a:lvl3pPr marL="0" indent="0">
              <a:spcAft>
                <a:spcPts val="200"/>
              </a:spcAft>
              <a:buClr>
                <a:schemeClr val="bg1"/>
              </a:buClr>
              <a:buSzPct val="25000"/>
              <a:buFont typeface="Helvetica 75" panose="020B0804020202020204" pitchFamily="34" charset="0"/>
              <a:buChar char="i"/>
              <a:defRPr baseline="0">
                <a:solidFill>
                  <a:srgbClr val="8F8F8F"/>
                </a:solidFill>
              </a:defRPr>
            </a:lvl3pPr>
          </a:lstStyle>
          <a:p>
            <a:pPr lvl="0"/>
            <a:r>
              <a:rPr lang="ru-RU"/>
              <a:t>Образец текста</a:t>
            </a:r>
          </a:p>
          <a:p>
            <a:pPr lvl="1"/>
            <a:r>
              <a:rPr lang="ru-RU"/>
              <a:t>Второй уровень</a:t>
            </a:r>
          </a:p>
          <a:p>
            <a:pPr lvl="2"/>
            <a:r>
              <a:rPr lang="ru-RU"/>
              <a:t>Третий уровень</a:t>
            </a:r>
          </a:p>
        </p:txBody>
      </p:sp>
      <p:sp>
        <p:nvSpPr>
          <p:cNvPr id="6" name="Footer Placeholder 4">
            <a:extLst>
              <a:ext uri="{FF2B5EF4-FFF2-40B4-BE49-F238E27FC236}">
                <a16:creationId xmlns:a16="http://schemas.microsoft.com/office/drawing/2014/main" id="{94D875FE-B186-4C0D-A5CD-B548DDF649EC}"/>
              </a:ext>
            </a:extLst>
          </p:cNvPr>
          <p:cNvSpPr>
            <a:spLocks noGrp="1"/>
          </p:cNvSpPr>
          <p:nvPr>
            <p:ph type="ftr" sz="quarter" idx="22"/>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7" name="Slide Number Placeholder 5">
            <a:extLst>
              <a:ext uri="{FF2B5EF4-FFF2-40B4-BE49-F238E27FC236}">
                <a16:creationId xmlns:a16="http://schemas.microsoft.com/office/drawing/2014/main" id="{C88ECB2F-D307-45D8-9515-439F28389D95}"/>
              </a:ext>
            </a:extLst>
          </p:cNvPr>
          <p:cNvSpPr>
            <a:spLocks noGrp="1"/>
          </p:cNvSpPr>
          <p:nvPr>
            <p:ph type="sldNum" sz="quarter" idx="23"/>
          </p:nvPr>
        </p:nvSpPr>
        <p:spPr/>
        <p:txBody>
          <a:bodyPr/>
          <a:lstStyle>
            <a:lvl1pPr>
              <a:defRPr/>
            </a:lvl1pPr>
          </a:lstStyle>
          <a:p>
            <a:fld id="{BFDFCDA2-4531-4D6B-84FD-41F35B545A70}" type="slidenum">
              <a:rPr lang="fr-FR" altLang="fr-FR"/>
              <a:pPr/>
              <a:t>‹N°›</a:t>
            </a:fld>
            <a:endParaRPr lang="fr-FR" altLang="fr-FR"/>
          </a:p>
        </p:txBody>
      </p:sp>
    </p:spTree>
    <p:extLst>
      <p:ext uri="{BB962C8B-B14F-4D97-AF65-F5344CB8AC3E}">
        <p14:creationId xmlns:p14="http://schemas.microsoft.com/office/powerpoint/2010/main" val="3224098679"/>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graphicFrame>
        <p:nvGraphicFramePr>
          <p:cNvPr id="5"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7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 Placeholder 4"/>
          <p:cNvSpPr>
            <a:spLocks noGrp="1"/>
          </p:cNvSpPr>
          <p:nvPr>
            <p:ph type="body" sz="quarter" idx="10"/>
          </p:nvPr>
        </p:nvSpPr>
        <p:spPr>
          <a:xfrm>
            <a:off x="458791" y="1201343"/>
            <a:ext cx="5486401" cy="3426251"/>
          </a:xfrm>
          <a:prstGeom prst="rect">
            <a:avLst/>
          </a:prstGeom>
        </p:spPr>
        <p:txBody>
          <a:bodyPr>
            <a:noAutofit/>
          </a:bodyPr>
          <a:lstStyle>
            <a:lvl1pPr marL="0" marR="0" indent="0" algn="l" defTabSz="914364" rtl="0" eaLnBrk="1" fontAlgn="base" latinLnBrk="0" hangingPunct="1">
              <a:lnSpc>
                <a:spcPct val="90000"/>
              </a:lnSpc>
              <a:spcBef>
                <a:spcPct val="0"/>
              </a:spcBef>
              <a:spcAft>
                <a:spcPts val="600"/>
              </a:spcAft>
              <a:buClr>
                <a:schemeClr val="tx1"/>
              </a:buClr>
              <a:buSzTx/>
              <a:buFont typeface="Helvetica 75" panose="020B0804020202020204" pitchFamily="34" charset="0"/>
              <a:buNone/>
              <a:tabLst/>
              <a:defRPr sz="3600" baseline="0">
                <a:solidFill>
                  <a:schemeClr val="tx1"/>
                </a:solidFill>
                <a:latin typeface="Helvetica 75" panose="020B0804020202020204" pitchFamily="34" charset="0"/>
              </a:defRPr>
            </a:lvl1pPr>
          </a:lstStyle>
          <a:p>
            <a:pPr lvl="0"/>
            <a:r>
              <a:rPr lang="ru-RU"/>
              <a:t>Образец текста</a:t>
            </a:r>
          </a:p>
        </p:txBody>
      </p:sp>
      <p:sp>
        <p:nvSpPr>
          <p:cNvPr id="11" name="Text Placeholder 4"/>
          <p:cNvSpPr>
            <a:spLocks noGrp="1"/>
          </p:cNvSpPr>
          <p:nvPr>
            <p:ph type="body" sz="quarter" idx="21"/>
          </p:nvPr>
        </p:nvSpPr>
        <p:spPr>
          <a:xfrm>
            <a:off x="6397630" y="511971"/>
            <a:ext cx="2290763" cy="4117181"/>
          </a:xfrm>
        </p:spPr>
        <p:txBody>
          <a:bodyPr/>
          <a:lstStyle>
            <a:lvl1pPr marL="0" indent="0">
              <a:spcAft>
                <a:spcPts val="200"/>
              </a:spcAft>
              <a:buClr>
                <a:schemeClr val="bg1"/>
              </a:buClr>
              <a:buSzPct val="25000"/>
              <a:buFont typeface="Helvetica 75" panose="020B0804020202020204" pitchFamily="34" charset="0"/>
              <a:buChar char="i"/>
              <a:defRPr baseline="0"/>
            </a:lvl1pPr>
            <a:lvl2pPr marL="0" indent="0">
              <a:spcAft>
                <a:spcPts val="200"/>
              </a:spcAft>
              <a:buClr>
                <a:schemeClr val="bg1"/>
              </a:buClr>
              <a:buSzPct val="25000"/>
              <a:buFont typeface="Helvetica 75" panose="020B0804020202020204" pitchFamily="34" charset="0"/>
              <a:buChar char="i"/>
              <a:defRPr baseline="0"/>
            </a:lvl2pPr>
            <a:lvl3pPr marL="0" indent="0">
              <a:spcAft>
                <a:spcPts val="200"/>
              </a:spcAft>
              <a:buClr>
                <a:schemeClr val="bg1"/>
              </a:buClr>
              <a:buSzPct val="25000"/>
              <a:buFont typeface="Helvetica 75" panose="020B0804020202020204" pitchFamily="34" charset="0"/>
              <a:buChar char="i"/>
              <a:defRPr baseline="0">
                <a:solidFill>
                  <a:srgbClr val="8F8F8F"/>
                </a:solidFill>
              </a:defRPr>
            </a:lvl3pPr>
          </a:lstStyle>
          <a:p>
            <a:pPr lvl="0"/>
            <a:r>
              <a:rPr lang="ru-RU"/>
              <a:t>Образец текста</a:t>
            </a:r>
          </a:p>
          <a:p>
            <a:pPr lvl="1"/>
            <a:r>
              <a:rPr lang="ru-RU"/>
              <a:t>Второй уровень</a:t>
            </a:r>
          </a:p>
          <a:p>
            <a:pPr lvl="2"/>
            <a:r>
              <a:rPr lang="ru-RU"/>
              <a:t>Третий уровень</a:t>
            </a:r>
          </a:p>
        </p:txBody>
      </p:sp>
      <p:sp>
        <p:nvSpPr>
          <p:cNvPr id="6" name="Title 11"/>
          <p:cNvSpPr>
            <a:spLocks noGrp="1"/>
          </p:cNvSpPr>
          <p:nvPr>
            <p:ph type="title"/>
          </p:nvPr>
        </p:nvSpPr>
        <p:spPr>
          <a:xfrm>
            <a:off x="457202" y="511970"/>
            <a:ext cx="5487988" cy="344092"/>
          </a:xfrm>
        </p:spPr>
        <p:txBody>
          <a:bodyPr/>
          <a:lstStyle/>
          <a:p>
            <a:r>
              <a:rPr lang="ru-RU"/>
              <a:t>Образец заголовка</a:t>
            </a:r>
            <a:endParaRPr lang="en-GB" dirty="0"/>
          </a:p>
        </p:txBody>
      </p:sp>
      <p:sp>
        <p:nvSpPr>
          <p:cNvPr id="7" name="Footer Placeholder 4">
            <a:extLst>
              <a:ext uri="{FF2B5EF4-FFF2-40B4-BE49-F238E27FC236}">
                <a16:creationId xmlns:a16="http://schemas.microsoft.com/office/drawing/2014/main" id="{6F26F4B8-0E98-486F-B4CC-B0F38C26CE01}"/>
              </a:ext>
            </a:extLst>
          </p:cNvPr>
          <p:cNvSpPr>
            <a:spLocks noGrp="1"/>
          </p:cNvSpPr>
          <p:nvPr>
            <p:ph type="ftr" sz="quarter" idx="22"/>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8" name="Slide Number Placeholder 5">
            <a:extLst>
              <a:ext uri="{FF2B5EF4-FFF2-40B4-BE49-F238E27FC236}">
                <a16:creationId xmlns:a16="http://schemas.microsoft.com/office/drawing/2014/main" id="{974DC42D-027E-403D-A8BB-E44C4D7E0963}"/>
              </a:ext>
            </a:extLst>
          </p:cNvPr>
          <p:cNvSpPr>
            <a:spLocks noGrp="1"/>
          </p:cNvSpPr>
          <p:nvPr>
            <p:ph type="sldNum" sz="quarter" idx="23"/>
          </p:nvPr>
        </p:nvSpPr>
        <p:spPr/>
        <p:txBody>
          <a:bodyPr/>
          <a:lstStyle>
            <a:lvl1pPr>
              <a:defRPr/>
            </a:lvl1pPr>
          </a:lstStyle>
          <a:p>
            <a:fld id="{FE50FC95-5FED-4244-8B3A-58DC6739244B}" type="slidenum">
              <a:rPr lang="fr-FR" altLang="fr-FR"/>
              <a:pPr/>
              <a:t>‹N°›</a:t>
            </a:fld>
            <a:endParaRPr lang="fr-FR" altLang="fr-FR"/>
          </a:p>
        </p:txBody>
      </p:sp>
    </p:spTree>
    <p:extLst>
      <p:ext uri="{BB962C8B-B14F-4D97-AF65-F5344CB8AC3E}">
        <p14:creationId xmlns:p14="http://schemas.microsoft.com/office/powerpoint/2010/main" val="814520694"/>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style 1">
    <p:spTree>
      <p:nvGrpSpPr>
        <p:cNvPr id="1" name=""/>
        <p:cNvGrpSpPr/>
        <p:nvPr/>
      </p:nvGrpSpPr>
      <p:grpSpPr>
        <a:xfrm>
          <a:off x="0" y="0"/>
          <a:ext cx="0" cy="0"/>
          <a:chOff x="0" y="0"/>
          <a:chExt cx="0" cy="0"/>
        </a:xfrm>
      </p:grpSpPr>
      <p:graphicFrame>
        <p:nvGraphicFramePr>
          <p:cNvPr id="4"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1"/>
          <p:cNvSpPr>
            <a:spLocks noGrp="1"/>
          </p:cNvSpPr>
          <p:nvPr>
            <p:ph type="title"/>
          </p:nvPr>
        </p:nvSpPr>
        <p:spPr/>
        <p:txBody>
          <a:bodyPr/>
          <a:lstStyle/>
          <a:p>
            <a:r>
              <a:rPr lang="ru-RU"/>
              <a:t>Образец заголовка</a:t>
            </a:r>
            <a:endParaRPr lang="en-GB" dirty="0"/>
          </a:p>
        </p:txBody>
      </p:sp>
      <p:sp>
        <p:nvSpPr>
          <p:cNvPr id="14" name="Content Placeholder 2"/>
          <p:cNvSpPr>
            <a:spLocks noGrp="1"/>
          </p:cNvSpPr>
          <p:nvPr>
            <p:ph sz="quarter" idx="11"/>
          </p:nvPr>
        </p:nvSpPr>
        <p:spPr>
          <a:xfrm>
            <a:off x="457200" y="1544244"/>
            <a:ext cx="7775575" cy="2739628"/>
          </a:xfrm>
        </p:spPr>
        <p:txBody>
          <a:bodyPr>
            <a:normAutofit/>
          </a:bodyPr>
          <a:lstStyle>
            <a:lvl1pPr>
              <a:defRPr sz="1400"/>
            </a:lvl1pPr>
            <a:lvl2pPr>
              <a:defRPr sz="1400"/>
            </a:lvl2pPr>
            <a:lvl3pPr>
              <a:defRPr sz="1400"/>
            </a:lvl3pPr>
            <a:lvl4pPr>
              <a:defRPr sz="1400"/>
            </a:lvl4pPr>
            <a:lvl5pPr>
              <a:defRPr sz="14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GB" dirty="0"/>
          </a:p>
        </p:txBody>
      </p:sp>
      <p:sp>
        <p:nvSpPr>
          <p:cNvPr id="5" name="Footer Placeholder 4">
            <a:extLst>
              <a:ext uri="{FF2B5EF4-FFF2-40B4-BE49-F238E27FC236}">
                <a16:creationId xmlns:a16="http://schemas.microsoft.com/office/drawing/2014/main" id="{37B9D1C6-7104-47EA-8E38-DACB5CE7BA09}"/>
              </a:ext>
            </a:extLst>
          </p:cNvPr>
          <p:cNvSpPr>
            <a:spLocks noGrp="1"/>
          </p:cNvSpPr>
          <p:nvPr>
            <p:ph type="ftr" sz="quarter" idx="12"/>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6" name="Slide Number Placeholder 5">
            <a:extLst>
              <a:ext uri="{FF2B5EF4-FFF2-40B4-BE49-F238E27FC236}">
                <a16:creationId xmlns:a16="http://schemas.microsoft.com/office/drawing/2014/main" id="{65976713-5A5D-4BC4-B593-EBE863F450DE}"/>
              </a:ext>
            </a:extLst>
          </p:cNvPr>
          <p:cNvSpPr>
            <a:spLocks noGrp="1"/>
          </p:cNvSpPr>
          <p:nvPr>
            <p:ph type="sldNum" sz="quarter" idx="13"/>
          </p:nvPr>
        </p:nvSpPr>
        <p:spPr/>
        <p:txBody>
          <a:bodyPr/>
          <a:lstStyle>
            <a:lvl1pPr>
              <a:defRPr/>
            </a:lvl1pPr>
          </a:lstStyle>
          <a:p>
            <a:fld id="{92B4B8CB-E710-4801-9E4C-013BEBA19C27}" type="slidenum">
              <a:rPr lang="fr-FR" altLang="fr-FR"/>
              <a:pPr/>
              <a:t>‹N°›</a:t>
            </a:fld>
            <a:endParaRPr lang="fr-FR" altLang="fr-FR"/>
          </a:p>
        </p:txBody>
      </p:sp>
    </p:spTree>
    <p:extLst>
      <p:ext uri="{BB962C8B-B14F-4D97-AF65-F5344CB8AC3E}">
        <p14:creationId xmlns:p14="http://schemas.microsoft.com/office/powerpoint/2010/main" val="15200006"/>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style 2">
    <p:spTree>
      <p:nvGrpSpPr>
        <p:cNvPr id="1" name=""/>
        <p:cNvGrpSpPr/>
        <p:nvPr/>
      </p:nvGrpSpPr>
      <p:grpSpPr>
        <a:xfrm>
          <a:off x="0" y="0"/>
          <a:ext cx="0" cy="0"/>
          <a:chOff x="0" y="0"/>
          <a:chExt cx="0" cy="0"/>
        </a:xfrm>
      </p:grpSpPr>
      <p:graphicFrame>
        <p:nvGraphicFramePr>
          <p:cNvPr id="5"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1"/>
          <p:cNvSpPr>
            <a:spLocks noGrp="1"/>
          </p:cNvSpPr>
          <p:nvPr>
            <p:ph type="title"/>
          </p:nvPr>
        </p:nvSpPr>
        <p:spPr/>
        <p:txBody>
          <a:bodyPr/>
          <a:lstStyle/>
          <a:p>
            <a:r>
              <a:rPr lang="ru-RU"/>
              <a:t>Образец заголовка</a:t>
            </a:r>
            <a:endParaRPr lang="en-GB" dirty="0"/>
          </a:p>
        </p:txBody>
      </p:sp>
      <p:sp>
        <p:nvSpPr>
          <p:cNvPr id="14" name="Content Placeholder 2"/>
          <p:cNvSpPr>
            <a:spLocks noGrp="1"/>
          </p:cNvSpPr>
          <p:nvPr>
            <p:ph sz="quarter" idx="11"/>
          </p:nvPr>
        </p:nvSpPr>
        <p:spPr>
          <a:xfrm>
            <a:off x="457201" y="1544244"/>
            <a:ext cx="3654425" cy="2739628"/>
          </a:xfrm>
        </p:spPr>
        <p:txBody>
          <a:bodyPr>
            <a:normAutofit/>
          </a:bodyPr>
          <a:lstStyle>
            <a:lvl1pPr>
              <a:defRPr sz="1400"/>
            </a:lvl1pPr>
            <a:lvl2pPr>
              <a:defRPr sz="1400"/>
            </a:lvl2pPr>
            <a:lvl3pPr>
              <a:defRPr sz="1400"/>
            </a:lvl3pPr>
            <a:lvl4pPr>
              <a:defRPr sz="1400"/>
            </a:lvl4pPr>
            <a:lvl5pPr>
              <a:defRPr sz="14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GB" dirty="0"/>
          </a:p>
        </p:txBody>
      </p:sp>
      <p:sp>
        <p:nvSpPr>
          <p:cNvPr id="4" name="Content Placeholder 2"/>
          <p:cNvSpPr>
            <a:spLocks noGrp="1"/>
          </p:cNvSpPr>
          <p:nvPr>
            <p:ph sz="quarter" idx="12"/>
          </p:nvPr>
        </p:nvSpPr>
        <p:spPr>
          <a:xfrm>
            <a:off x="4578353" y="1544244"/>
            <a:ext cx="3654425" cy="2739628"/>
          </a:xfrm>
        </p:spPr>
        <p:txBody>
          <a:bodyPr>
            <a:normAutofit/>
          </a:bodyPr>
          <a:lstStyle>
            <a:lvl1pPr>
              <a:defRPr sz="1400"/>
            </a:lvl1pPr>
            <a:lvl2pPr>
              <a:defRPr sz="1400"/>
            </a:lvl2pPr>
            <a:lvl3pPr>
              <a:defRPr sz="1400"/>
            </a:lvl3pPr>
            <a:lvl4pPr>
              <a:defRPr sz="1400"/>
            </a:lvl4pPr>
            <a:lvl5pPr>
              <a:defRPr sz="14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GB" dirty="0"/>
          </a:p>
        </p:txBody>
      </p:sp>
      <p:sp>
        <p:nvSpPr>
          <p:cNvPr id="6" name="Footer Placeholder 4">
            <a:extLst>
              <a:ext uri="{FF2B5EF4-FFF2-40B4-BE49-F238E27FC236}">
                <a16:creationId xmlns:a16="http://schemas.microsoft.com/office/drawing/2014/main" id="{95ACE195-64BA-4061-B54D-344AB3F0DB38}"/>
              </a:ext>
            </a:extLst>
          </p:cNvPr>
          <p:cNvSpPr>
            <a:spLocks noGrp="1"/>
          </p:cNvSpPr>
          <p:nvPr>
            <p:ph type="ftr" sz="quarter" idx="13"/>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7" name="Slide Number Placeholder 5">
            <a:extLst>
              <a:ext uri="{FF2B5EF4-FFF2-40B4-BE49-F238E27FC236}">
                <a16:creationId xmlns:a16="http://schemas.microsoft.com/office/drawing/2014/main" id="{248B8BAF-6F67-4832-B1F0-EC80A4BDBB70}"/>
              </a:ext>
            </a:extLst>
          </p:cNvPr>
          <p:cNvSpPr>
            <a:spLocks noGrp="1"/>
          </p:cNvSpPr>
          <p:nvPr>
            <p:ph type="sldNum" sz="quarter" idx="14"/>
          </p:nvPr>
        </p:nvSpPr>
        <p:spPr/>
        <p:txBody>
          <a:bodyPr/>
          <a:lstStyle>
            <a:lvl1pPr>
              <a:defRPr/>
            </a:lvl1pPr>
          </a:lstStyle>
          <a:p>
            <a:fld id="{896AD774-055D-4528-8FDA-BE96CD4D8634}" type="slidenum">
              <a:rPr lang="fr-FR" altLang="fr-FR"/>
              <a:pPr/>
              <a:t>‹N°›</a:t>
            </a:fld>
            <a:endParaRPr lang="fr-FR" altLang="fr-FR"/>
          </a:p>
        </p:txBody>
      </p:sp>
    </p:spTree>
    <p:extLst>
      <p:ext uri="{BB962C8B-B14F-4D97-AF65-F5344CB8AC3E}">
        <p14:creationId xmlns:p14="http://schemas.microsoft.com/office/powerpoint/2010/main" val="1074082178"/>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ext style 4">
    <p:spTree>
      <p:nvGrpSpPr>
        <p:cNvPr id="1" name=""/>
        <p:cNvGrpSpPr/>
        <p:nvPr/>
      </p:nvGrpSpPr>
      <p:grpSpPr>
        <a:xfrm>
          <a:off x="0" y="0"/>
          <a:ext cx="0" cy="0"/>
          <a:chOff x="0" y="0"/>
          <a:chExt cx="0" cy="0"/>
        </a:xfrm>
      </p:grpSpPr>
      <p:graphicFrame>
        <p:nvGraphicFramePr>
          <p:cNvPr id="5"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p:cNvSpPr>
          <p:nvPr>
            <p:ph type="title"/>
          </p:nvPr>
        </p:nvSpPr>
        <p:spPr>
          <a:xfrm>
            <a:off x="457200" y="511969"/>
            <a:ext cx="7775575" cy="689373"/>
          </a:xfrm>
        </p:spPr>
        <p:txBody>
          <a:bodyPr>
            <a:normAutofit/>
          </a:bodyPr>
          <a:lstStyle>
            <a:lvl1pPr>
              <a:defRPr sz="2000"/>
            </a:lvl1pPr>
          </a:lstStyle>
          <a:p>
            <a:r>
              <a:rPr lang="ru-RU"/>
              <a:t>Образец заголовка</a:t>
            </a:r>
            <a:endParaRPr lang="en-GB" dirty="0"/>
          </a:p>
        </p:txBody>
      </p:sp>
      <p:sp>
        <p:nvSpPr>
          <p:cNvPr id="6" name="Text Placeholder 2"/>
          <p:cNvSpPr>
            <a:spLocks noGrp="1"/>
          </p:cNvSpPr>
          <p:nvPr>
            <p:ph type="body" sz="quarter" idx="22"/>
          </p:nvPr>
        </p:nvSpPr>
        <p:spPr>
          <a:xfrm>
            <a:off x="457200" y="1544244"/>
            <a:ext cx="7775575" cy="2739628"/>
          </a:xfrm>
        </p:spPr>
        <p:txBody>
          <a:bodyPr/>
          <a:lstStyle>
            <a:lvl1pPr marL="0" indent="0">
              <a:lnSpc>
                <a:spcPct val="90000"/>
              </a:lnSpc>
              <a:buClr>
                <a:schemeClr val="bg1"/>
              </a:buClr>
              <a:buSzPct val="25000"/>
              <a:buFont typeface="Helvetica 75" panose="020B0804020202020204" pitchFamily="34" charset="0"/>
              <a:buChar char="i"/>
              <a:defRPr sz="3600">
                <a:solidFill>
                  <a:schemeClr val="tx1"/>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GB" dirty="0"/>
          </a:p>
        </p:txBody>
      </p:sp>
      <p:sp>
        <p:nvSpPr>
          <p:cNvPr id="7" name="Footer Placeholder 4">
            <a:extLst>
              <a:ext uri="{FF2B5EF4-FFF2-40B4-BE49-F238E27FC236}">
                <a16:creationId xmlns:a16="http://schemas.microsoft.com/office/drawing/2014/main" id="{048AD5C4-4333-4D92-BD47-CDB26E7A3FF0}"/>
              </a:ext>
            </a:extLst>
          </p:cNvPr>
          <p:cNvSpPr>
            <a:spLocks noGrp="1"/>
          </p:cNvSpPr>
          <p:nvPr>
            <p:ph type="ftr" sz="quarter" idx="23"/>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8" name="Slide Number Placeholder 5">
            <a:extLst>
              <a:ext uri="{FF2B5EF4-FFF2-40B4-BE49-F238E27FC236}">
                <a16:creationId xmlns:a16="http://schemas.microsoft.com/office/drawing/2014/main" id="{C426EAC0-FEC7-43DB-BF35-F525F70C3BCC}"/>
              </a:ext>
            </a:extLst>
          </p:cNvPr>
          <p:cNvSpPr>
            <a:spLocks noGrp="1"/>
          </p:cNvSpPr>
          <p:nvPr>
            <p:ph type="sldNum" sz="quarter" idx="24"/>
          </p:nvPr>
        </p:nvSpPr>
        <p:spPr/>
        <p:txBody>
          <a:bodyPr/>
          <a:lstStyle>
            <a:lvl1pPr>
              <a:defRPr/>
            </a:lvl1pPr>
          </a:lstStyle>
          <a:p>
            <a:fld id="{22A5B377-6BDC-4352-988C-81E0A714E4FB}" type="slidenum">
              <a:rPr lang="fr-FR" altLang="fr-FR"/>
              <a:pPr/>
              <a:t>‹N°›</a:t>
            </a:fld>
            <a:endParaRPr lang="fr-FR" altLang="fr-FR"/>
          </a:p>
        </p:txBody>
      </p:sp>
    </p:spTree>
    <p:extLst>
      <p:ext uri="{BB962C8B-B14F-4D97-AF65-F5344CB8AC3E}">
        <p14:creationId xmlns:p14="http://schemas.microsoft.com/office/powerpoint/2010/main" val="1809017542"/>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ultiple content 1">
    <p:spTree>
      <p:nvGrpSpPr>
        <p:cNvPr id="1" name=""/>
        <p:cNvGrpSpPr/>
        <p:nvPr/>
      </p:nvGrpSpPr>
      <p:grpSpPr>
        <a:xfrm>
          <a:off x="0" y="0"/>
          <a:ext cx="0" cy="0"/>
          <a:chOff x="0" y="0"/>
          <a:chExt cx="0" cy="0"/>
        </a:xfrm>
      </p:grpSpPr>
      <p:graphicFrame>
        <p:nvGraphicFramePr>
          <p:cNvPr id="9"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ontent Placeholder 16"/>
          <p:cNvSpPr>
            <a:spLocks noGrp="1"/>
          </p:cNvSpPr>
          <p:nvPr>
            <p:ph sz="quarter" idx="30"/>
          </p:nvPr>
        </p:nvSpPr>
        <p:spPr>
          <a:xfrm>
            <a:off x="458789" y="1544242"/>
            <a:ext cx="2282824" cy="1372791"/>
          </a:xfrm>
          <a:prstGeom prst="rect">
            <a:avLst/>
          </a:prstGeom>
        </p:spPr>
        <p:txBody>
          <a:bodyPr>
            <a:normAutofit/>
          </a:bodyPr>
          <a:lstStyle>
            <a:lvl1pPr marL="0" indent="0">
              <a:buNone/>
              <a:defRPr sz="100">
                <a:solidFill>
                  <a:schemeClr val="bg1"/>
                </a:solidFill>
              </a:defRPr>
            </a:lvl1pPr>
          </a:lstStyle>
          <a:p>
            <a:pPr lvl="0"/>
            <a:r>
              <a:rPr lang="fr-FR"/>
              <a:t>Modifiez les styles du texte du masque</a:t>
            </a:r>
          </a:p>
        </p:txBody>
      </p:sp>
      <p:sp>
        <p:nvSpPr>
          <p:cNvPr id="14" name="Content Placeholder 16"/>
          <p:cNvSpPr>
            <a:spLocks noGrp="1"/>
          </p:cNvSpPr>
          <p:nvPr>
            <p:ph sz="quarter" idx="50"/>
          </p:nvPr>
        </p:nvSpPr>
        <p:spPr>
          <a:xfrm>
            <a:off x="3196307" y="1544242"/>
            <a:ext cx="2282824" cy="1372791"/>
          </a:xfrm>
          <a:prstGeom prst="rect">
            <a:avLst/>
          </a:prstGeom>
        </p:spPr>
        <p:txBody>
          <a:bodyPr>
            <a:normAutofit/>
          </a:bodyPr>
          <a:lstStyle>
            <a:lvl1pPr marL="0" indent="0">
              <a:buNone/>
              <a:defRPr sz="100">
                <a:solidFill>
                  <a:schemeClr val="bg1"/>
                </a:solidFill>
              </a:defRPr>
            </a:lvl1pPr>
          </a:lstStyle>
          <a:p>
            <a:pPr lvl="0"/>
            <a:r>
              <a:rPr lang="fr-FR"/>
              <a:t>Modifiez les styles du texte du masque</a:t>
            </a:r>
          </a:p>
        </p:txBody>
      </p:sp>
      <p:sp>
        <p:nvSpPr>
          <p:cNvPr id="16" name="Content Placeholder 16"/>
          <p:cNvSpPr>
            <a:spLocks noGrp="1"/>
          </p:cNvSpPr>
          <p:nvPr>
            <p:ph sz="quarter" idx="52"/>
          </p:nvPr>
        </p:nvSpPr>
        <p:spPr>
          <a:xfrm>
            <a:off x="5942015" y="1544242"/>
            <a:ext cx="2282824" cy="1372791"/>
          </a:xfrm>
          <a:prstGeom prst="rect">
            <a:avLst/>
          </a:prstGeom>
        </p:spPr>
        <p:txBody>
          <a:bodyPr>
            <a:normAutofit/>
          </a:bodyPr>
          <a:lstStyle>
            <a:lvl1pPr marL="0" indent="0">
              <a:buNone/>
              <a:defRPr sz="100">
                <a:solidFill>
                  <a:schemeClr val="bg1"/>
                </a:solidFill>
              </a:defRPr>
            </a:lvl1pPr>
          </a:lstStyle>
          <a:p>
            <a:pPr lvl="0"/>
            <a:r>
              <a:rPr lang="fr-FR"/>
              <a:t>Modifiez les styles du texte du masque</a:t>
            </a:r>
          </a:p>
        </p:txBody>
      </p:sp>
      <p:sp>
        <p:nvSpPr>
          <p:cNvPr id="4" name="Title 3"/>
          <p:cNvSpPr>
            <a:spLocks noGrp="1"/>
          </p:cNvSpPr>
          <p:nvPr>
            <p:ph type="title"/>
          </p:nvPr>
        </p:nvSpPr>
        <p:spPr/>
        <p:txBody>
          <a:bodyPr/>
          <a:lstStyle/>
          <a:p>
            <a:r>
              <a:rPr lang="ru-RU"/>
              <a:t>Образец заголовка</a:t>
            </a:r>
            <a:endParaRPr lang="en-GB" dirty="0"/>
          </a:p>
        </p:txBody>
      </p:sp>
      <p:sp>
        <p:nvSpPr>
          <p:cNvPr id="10" name="Text Placeholder 4"/>
          <p:cNvSpPr>
            <a:spLocks noGrp="1"/>
          </p:cNvSpPr>
          <p:nvPr>
            <p:ph type="body" sz="quarter" idx="19"/>
          </p:nvPr>
        </p:nvSpPr>
        <p:spPr>
          <a:xfrm>
            <a:off x="457200" y="3258744"/>
            <a:ext cx="2287586" cy="1025128"/>
          </a:xfrm>
        </p:spPr>
        <p:txBody>
          <a:bodyPr>
            <a:normAutofit/>
          </a:bodyPr>
          <a:lstStyle>
            <a:lvl1pPr marL="0" indent="0">
              <a:spcAft>
                <a:spcPts val="200"/>
              </a:spcAft>
              <a:buClr>
                <a:schemeClr val="bg1"/>
              </a:buClr>
              <a:buSzPct val="25000"/>
              <a:buFont typeface="Helvetica 75" panose="020B0804020202020204" pitchFamily="34" charset="0"/>
              <a:buNone/>
              <a:defRPr sz="1200">
                <a:solidFill>
                  <a:schemeClr val="tx1"/>
                </a:solidFill>
              </a:defRPr>
            </a:lvl1pPr>
            <a:lvl2pPr marL="0" indent="0">
              <a:spcAft>
                <a:spcPts val="200"/>
              </a:spcAft>
              <a:buClr>
                <a:schemeClr val="bg1"/>
              </a:buClr>
              <a:buSzPct val="25000"/>
              <a:buFont typeface="Helvetica 75" panose="020B0804020202020204" pitchFamily="34" charset="0"/>
              <a:buChar char="i"/>
              <a:defRPr sz="1400"/>
            </a:lvl2pPr>
            <a:lvl3pPr marL="0" indent="0">
              <a:spcAft>
                <a:spcPts val="200"/>
              </a:spcAft>
              <a:buClr>
                <a:schemeClr val="bg1"/>
              </a:buClr>
              <a:buSzPct val="25000"/>
              <a:buFont typeface="Helvetica 75" panose="020B0804020202020204" pitchFamily="34" charset="0"/>
              <a:buChar char="i"/>
              <a:defRPr sz="1400">
                <a:solidFill>
                  <a:srgbClr val="8F8F8F"/>
                </a:solidFill>
              </a:defRPr>
            </a:lvl3pPr>
          </a:lstStyle>
          <a:p>
            <a:pPr lvl="0"/>
            <a:r>
              <a:rPr lang="ru-RU"/>
              <a:t>Образец текста</a:t>
            </a:r>
          </a:p>
        </p:txBody>
      </p:sp>
      <p:sp>
        <p:nvSpPr>
          <p:cNvPr id="12" name="Text Placeholder 4"/>
          <p:cNvSpPr>
            <a:spLocks noGrp="1"/>
          </p:cNvSpPr>
          <p:nvPr>
            <p:ph type="body" sz="quarter" idx="69"/>
          </p:nvPr>
        </p:nvSpPr>
        <p:spPr>
          <a:xfrm>
            <a:off x="3196307" y="3258744"/>
            <a:ext cx="2287586" cy="1025128"/>
          </a:xfrm>
        </p:spPr>
        <p:txBody>
          <a:bodyPr>
            <a:normAutofit/>
          </a:bodyPr>
          <a:lstStyle>
            <a:lvl1pPr marL="0" indent="0">
              <a:spcAft>
                <a:spcPts val="200"/>
              </a:spcAft>
              <a:buClr>
                <a:schemeClr val="bg1"/>
              </a:buClr>
              <a:buSzPct val="25000"/>
              <a:buFont typeface="Helvetica 75" panose="020B0804020202020204" pitchFamily="34" charset="0"/>
              <a:buNone/>
              <a:defRPr sz="1200">
                <a:solidFill>
                  <a:schemeClr val="tx1"/>
                </a:solidFill>
              </a:defRPr>
            </a:lvl1pPr>
            <a:lvl2pPr marL="0" indent="0">
              <a:spcAft>
                <a:spcPts val="200"/>
              </a:spcAft>
              <a:buClr>
                <a:schemeClr val="bg1"/>
              </a:buClr>
              <a:buSzPct val="25000"/>
              <a:buFont typeface="Helvetica 75" panose="020B0804020202020204" pitchFamily="34" charset="0"/>
              <a:buChar char="i"/>
              <a:defRPr sz="1400"/>
            </a:lvl2pPr>
            <a:lvl3pPr marL="0" indent="0">
              <a:spcAft>
                <a:spcPts val="200"/>
              </a:spcAft>
              <a:buClr>
                <a:schemeClr val="bg1"/>
              </a:buClr>
              <a:buSzPct val="25000"/>
              <a:buFont typeface="Helvetica 75" panose="020B0804020202020204" pitchFamily="34" charset="0"/>
              <a:buChar char="i"/>
              <a:defRPr sz="1400">
                <a:solidFill>
                  <a:srgbClr val="8F8F8F"/>
                </a:solidFill>
              </a:defRPr>
            </a:lvl3pPr>
          </a:lstStyle>
          <a:p>
            <a:pPr lvl="0"/>
            <a:r>
              <a:rPr lang="ru-RU"/>
              <a:t>Образец текста</a:t>
            </a:r>
          </a:p>
        </p:txBody>
      </p:sp>
      <p:sp>
        <p:nvSpPr>
          <p:cNvPr id="15" name="Text Placeholder 4"/>
          <p:cNvSpPr>
            <a:spLocks noGrp="1"/>
          </p:cNvSpPr>
          <p:nvPr>
            <p:ph type="body" sz="quarter" idx="70"/>
          </p:nvPr>
        </p:nvSpPr>
        <p:spPr>
          <a:xfrm>
            <a:off x="5937252" y="3258744"/>
            <a:ext cx="2287586" cy="1025128"/>
          </a:xfrm>
        </p:spPr>
        <p:txBody>
          <a:bodyPr>
            <a:normAutofit/>
          </a:bodyPr>
          <a:lstStyle>
            <a:lvl1pPr marL="0" indent="0">
              <a:spcAft>
                <a:spcPts val="200"/>
              </a:spcAft>
              <a:buClr>
                <a:schemeClr val="bg1"/>
              </a:buClr>
              <a:buSzPct val="25000"/>
              <a:buFont typeface="Helvetica 75" panose="020B0804020202020204" pitchFamily="34" charset="0"/>
              <a:buNone/>
              <a:defRPr sz="1200">
                <a:solidFill>
                  <a:schemeClr val="tx1"/>
                </a:solidFill>
              </a:defRPr>
            </a:lvl1pPr>
            <a:lvl2pPr marL="0" indent="0">
              <a:spcAft>
                <a:spcPts val="200"/>
              </a:spcAft>
              <a:buClr>
                <a:schemeClr val="bg1"/>
              </a:buClr>
              <a:buSzPct val="25000"/>
              <a:buFont typeface="Helvetica 75" panose="020B0804020202020204" pitchFamily="34" charset="0"/>
              <a:buNone/>
              <a:defRPr sz="1400">
                <a:solidFill>
                  <a:schemeClr val="tx1"/>
                </a:solidFill>
              </a:defRPr>
            </a:lvl2pPr>
            <a:lvl3pPr marL="0" indent="0">
              <a:spcAft>
                <a:spcPts val="200"/>
              </a:spcAft>
              <a:buClr>
                <a:schemeClr val="bg1"/>
              </a:buClr>
              <a:buSzPct val="25000"/>
              <a:buFont typeface="Helvetica 75" panose="020B0804020202020204" pitchFamily="34" charset="0"/>
              <a:buNone/>
              <a:defRPr sz="1400">
                <a:solidFill>
                  <a:schemeClr val="tx1"/>
                </a:solidFill>
              </a:defRPr>
            </a:lvl3pPr>
          </a:lstStyle>
          <a:p>
            <a:pPr lvl="0"/>
            <a:r>
              <a:rPr lang="ru-RU"/>
              <a:t>Образец текста</a:t>
            </a:r>
          </a:p>
        </p:txBody>
      </p:sp>
      <p:sp>
        <p:nvSpPr>
          <p:cNvPr id="11" name="Footer Placeholder 4">
            <a:extLst>
              <a:ext uri="{FF2B5EF4-FFF2-40B4-BE49-F238E27FC236}">
                <a16:creationId xmlns:a16="http://schemas.microsoft.com/office/drawing/2014/main" id="{4F75F0FF-97C2-4BC3-A66D-774313D5565A}"/>
              </a:ext>
            </a:extLst>
          </p:cNvPr>
          <p:cNvSpPr>
            <a:spLocks noGrp="1"/>
          </p:cNvSpPr>
          <p:nvPr>
            <p:ph type="ftr" sz="quarter" idx="71"/>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13" name="Slide Number Placeholder 5">
            <a:extLst>
              <a:ext uri="{FF2B5EF4-FFF2-40B4-BE49-F238E27FC236}">
                <a16:creationId xmlns:a16="http://schemas.microsoft.com/office/drawing/2014/main" id="{062C743A-B6F6-4585-8225-55DB17972804}"/>
              </a:ext>
            </a:extLst>
          </p:cNvPr>
          <p:cNvSpPr>
            <a:spLocks noGrp="1"/>
          </p:cNvSpPr>
          <p:nvPr>
            <p:ph type="sldNum" sz="quarter" idx="72"/>
          </p:nvPr>
        </p:nvSpPr>
        <p:spPr/>
        <p:txBody>
          <a:bodyPr/>
          <a:lstStyle>
            <a:lvl1pPr>
              <a:defRPr/>
            </a:lvl1pPr>
          </a:lstStyle>
          <a:p>
            <a:fld id="{6F2B01F9-6616-4FBA-95AF-8A4CD1A56D99}" type="slidenum">
              <a:rPr lang="fr-FR" altLang="fr-FR"/>
              <a:pPr/>
              <a:t>‹N°›</a:t>
            </a:fld>
            <a:endParaRPr lang="fr-FR" altLang="fr-FR"/>
          </a:p>
        </p:txBody>
      </p:sp>
    </p:spTree>
    <p:extLst>
      <p:ext uri="{BB962C8B-B14F-4D97-AF65-F5344CB8AC3E}">
        <p14:creationId xmlns:p14="http://schemas.microsoft.com/office/powerpoint/2010/main" val="1438158201"/>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ultiple content 2">
    <p:spTree>
      <p:nvGrpSpPr>
        <p:cNvPr id="1" name=""/>
        <p:cNvGrpSpPr/>
        <p:nvPr/>
      </p:nvGrpSpPr>
      <p:grpSpPr>
        <a:xfrm>
          <a:off x="0" y="0"/>
          <a:ext cx="0" cy="0"/>
          <a:chOff x="0" y="0"/>
          <a:chExt cx="0" cy="0"/>
        </a:xfrm>
      </p:grpSpPr>
      <p:graphicFrame>
        <p:nvGraphicFramePr>
          <p:cNvPr id="11"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 name="Content Placeholder 16"/>
          <p:cNvSpPr>
            <a:spLocks noGrp="1"/>
          </p:cNvSpPr>
          <p:nvPr>
            <p:ph sz="quarter" idx="30"/>
          </p:nvPr>
        </p:nvSpPr>
        <p:spPr>
          <a:xfrm>
            <a:off x="458791" y="1544242"/>
            <a:ext cx="1827211" cy="1372791"/>
          </a:xfrm>
          <a:prstGeom prst="rect">
            <a:avLst/>
          </a:prstGeom>
        </p:spPr>
        <p:txBody>
          <a:bodyPr>
            <a:normAutofit/>
          </a:bodyPr>
          <a:lstStyle>
            <a:lvl1pPr marL="0" indent="0">
              <a:buNone/>
              <a:defRPr sz="100">
                <a:solidFill>
                  <a:schemeClr val="bg1"/>
                </a:solidFill>
              </a:defRPr>
            </a:lvl1pPr>
          </a:lstStyle>
          <a:p>
            <a:pPr lvl="0"/>
            <a:r>
              <a:rPr lang="fr-FR"/>
              <a:t>Modifiez les styles du texte du masque</a:t>
            </a:r>
          </a:p>
        </p:txBody>
      </p:sp>
      <p:sp>
        <p:nvSpPr>
          <p:cNvPr id="16" name="Content Placeholder 16"/>
          <p:cNvSpPr>
            <a:spLocks noGrp="1"/>
          </p:cNvSpPr>
          <p:nvPr>
            <p:ph sz="quarter" idx="57"/>
          </p:nvPr>
        </p:nvSpPr>
        <p:spPr>
          <a:xfrm>
            <a:off x="2438404" y="1544242"/>
            <a:ext cx="1827211" cy="1372791"/>
          </a:xfrm>
          <a:prstGeom prst="rect">
            <a:avLst/>
          </a:prstGeom>
        </p:spPr>
        <p:txBody>
          <a:bodyPr>
            <a:normAutofit/>
          </a:bodyPr>
          <a:lstStyle>
            <a:lvl1pPr marL="0" indent="0">
              <a:buNone/>
              <a:defRPr sz="100">
                <a:solidFill>
                  <a:schemeClr val="bg1"/>
                </a:solidFill>
              </a:defRPr>
            </a:lvl1pPr>
          </a:lstStyle>
          <a:p>
            <a:pPr lvl="0"/>
            <a:r>
              <a:rPr lang="fr-FR"/>
              <a:t>Modifiez les styles du texte du masque</a:t>
            </a:r>
          </a:p>
        </p:txBody>
      </p:sp>
      <p:sp>
        <p:nvSpPr>
          <p:cNvPr id="21" name="Content Placeholder 16"/>
          <p:cNvSpPr>
            <a:spLocks noGrp="1"/>
          </p:cNvSpPr>
          <p:nvPr>
            <p:ph sz="quarter" idx="59"/>
          </p:nvPr>
        </p:nvSpPr>
        <p:spPr>
          <a:xfrm>
            <a:off x="4418017" y="1544242"/>
            <a:ext cx="1827211" cy="1372791"/>
          </a:xfrm>
          <a:prstGeom prst="rect">
            <a:avLst/>
          </a:prstGeom>
        </p:spPr>
        <p:txBody>
          <a:bodyPr>
            <a:normAutofit/>
          </a:bodyPr>
          <a:lstStyle>
            <a:lvl1pPr marL="0" indent="0">
              <a:buNone/>
              <a:defRPr sz="100">
                <a:solidFill>
                  <a:schemeClr val="bg1"/>
                </a:solidFill>
              </a:defRPr>
            </a:lvl1pPr>
          </a:lstStyle>
          <a:p>
            <a:pPr lvl="0"/>
            <a:r>
              <a:rPr lang="fr-FR"/>
              <a:t>Modifiez les styles du texte du masque</a:t>
            </a:r>
          </a:p>
        </p:txBody>
      </p:sp>
      <p:sp>
        <p:nvSpPr>
          <p:cNvPr id="25" name="Content Placeholder 16"/>
          <p:cNvSpPr>
            <a:spLocks noGrp="1"/>
          </p:cNvSpPr>
          <p:nvPr>
            <p:ph sz="quarter" idx="61"/>
          </p:nvPr>
        </p:nvSpPr>
        <p:spPr>
          <a:xfrm>
            <a:off x="6397629" y="1544242"/>
            <a:ext cx="1827211" cy="1372791"/>
          </a:xfrm>
          <a:prstGeom prst="rect">
            <a:avLst/>
          </a:prstGeom>
        </p:spPr>
        <p:txBody>
          <a:bodyPr>
            <a:normAutofit/>
          </a:bodyPr>
          <a:lstStyle>
            <a:lvl1pPr marL="0" indent="0">
              <a:buNone/>
              <a:defRPr sz="100">
                <a:solidFill>
                  <a:schemeClr val="bg1"/>
                </a:solidFill>
              </a:defRPr>
            </a:lvl1pPr>
          </a:lstStyle>
          <a:p>
            <a:pPr lvl="0"/>
            <a:r>
              <a:rPr lang="fr-FR"/>
              <a:t>Modifiez les styles du texte du masque</a:t>
            </a:r>
          </a:p>
        </p:txBody>
      </p:sp>
      <p:sp>
        <p:nvSpPr>
          <p:cNvPr id="2" name="Title 1"/>
          <p:cNvSpPr>
            <a:spLocks noGrp="1"/>
          </p:cNvSpPr>
          <p:nvPr>
            <p:ph type="title"/>
          </p:nvPr>
        </p:nvSpPr>
        <p:spPr/>
        <p:txBody>
          <a:bodyPr>
            <a:normAutofit/>
          </a:bodyPr>
          <a:lstStyle>
            <a:lvl1pPr>
              <a:defRPr sz="2000"/>
            </a:lvl1pPr>
          </a:lstStyle>
          <a:p>
            <a:r>
              <a:rPr lang="ru-RU"/>
              <a:t>Образец заголовка</a:t>
            </a:r>
            <a:endParaRPr lang="en-GB" dirty="0"/>
          </a:p>
        </p:txBody>
      </p:sp>
      <p:sp>
        <p:nvSpPr>
          <p:cNvPr id="17" name="Text Placeholder 4"/>
          <p:cNvSpPr>
            <a:spLocks noGrp="1"/>
          </p:cNvSpPr>
          <p:nvPr>
            <p:ph type="body" sz="quarter" idx="70"/>
          </p:nvPr>
        </p:nvSpPr>
        <p:spPr>
          <a:xfrm>
            <a:off x="6388326" y="3258744"/>
            <a:ext cx="1836515" cy="1025128"/>
          </a:xfrm>
        </p:spPr>
        <p:txBody>
          <a:bodyPr>
            <a:normAutofit/>
          </a:bodyPr>
          <a:lstStyle>
            <a:lvl1pPr marL="0" indent="0">
              <a:spcAft>
                <a:spcPts val="200"/>
              </a:spcAft>
              <a:buClr>
                <a:schemeClr val="bg1"/>
              </a:buClr>
              <a:buSzPct val="25000"/>
              <a:buFont typeface="Helvetica 75" panose="020B0804020202020204" pitchFamily="34" charset="0"/>
              <a:buNone/>
              <a:defRPr sz="1200">
                <a:solidFill>
                  <a:schemeClr val="tx1"/>
                </a:solidFill>
              </a:defRPr>
            </a:lvl1pPr>
            <a:lvl2pPr marL="0" indent="0">
              <a:spcAft>
                <a:spcPts val="200"/>
              </a:spcAft>
              <a:buClr>
                <a:schemeClr val="bg1"/>
              </a:buClr>
              <a:buSzPct val="25000"/>
              <a:buFont typeface="Helvetica 75" panose="020B0804020202020204" pitchFamily="34" charset="0"/>
              <a:buChar char="i"/>
              <a:defRPr sz="1400"/>
            </a:lvl2pPr>
            <a:lvl3pPr marL="0" indent="0">
              <a:spcAft>
                <a:spcPts val="200"/>
              </a:spcAft>
              <a:buClr>
                <a:schemeClr val="bg1"/>
              </a:buClr>
              <a:buSzPct val="25000"/>
              <a:buFont typeface="Helvetica 75" panose="020B0804020202020204" pitchFamily="34" charset="0"/>
              <a:buChar char="i"/>
              <a:defRPr sz="1400">
                <a:solidFill>
                  <a:srgbClr val="8F8F8F"/>
                </a:solidFill>
              </a:defRPr>
            </a:lvl3pPr>
          </a:lstStyle>
          <a:p>
            <a:pPr lvl="0"/>
            <a:r>
              <a:rPr lang="ru-RU"/>
              <a:t>Образец текста</a:t>
            </a:r>
          </a:p>
        </p:txBody>
      </p:sp>
      <p:sp>
        <p:nvSpPr>
          <p:cNvPr id="18" name="Text Placeholder 4"/>
          <p:cNvSpPr>
            <a:spLocks noGrp="1"/>
          </p:cNvSpPr>
          <p:nvPr>
            <p:ph type="body" sz="quarter" idx="71"/>
          </p:nvPr>
        </p:nvSpPr>
        <p:spPr>
          <a:xfrm>
            <a:off x="4404629" y="3258744"/>
            <a:ext cx="1836515" cy="1025128"/>
          </a:xfrm>
        </p:spPr>
        <p:txBody>
          <a:bodyPr>
            <a:normAutofit/>
          </a:bodyPr>
          <a:lstStyle>
            <a:lvl1pPr marL="0" indent="0">
              <a:spcAft>
                <a:spcPts val="200"/>
              </a:spcAft>
              <a:buClr>
                <a:schemeClr val="bg1"/>
              </a:buClr>
              <a:buSzPct val="25000"/>
              <a:buFont typeface="Helvetica 75" panose="020B0804020202020204" pitchFamily="34" charset="0"/>
              <a:buNone/>
              <a:defRPr sz="1200">
                <a:solidFill>
                  <a:schemeClr val="tx1"/>
                </a:solidFill>
              </a:defRPr>
            </a:lvl1pPr>
            <a:lvl2pPr marL="0" indent="0">
              <a:spcAft>
                <a:spcPts val="200"/>
              </a:spcAft>
              <a:buClr>
                <a:schemeClr val="bg1"/>
              </a:buClr>
              <a:buSzPct val="25000"/>
              <a:buFont typeface="Helvetica 75" panose="020B0804020202020204" pitchFamily="34" charset="0"/>
              <a:buChar char="i"/>
              <a:defRPr sz="1400"/>
            </a:lvl2pPr>
            <a:lvl3pPr marL="0" indent="0">
              <a:spcAft>
                <a:spcPts val="200"/>
              </a:spcAft>
              <a:buClr>
                <a:schemeClr val="bg1"/>
              </a:buClr>
              <a:buSzPct val="25000"/>
              <a:buFont typeface="Helvetica 75" panose="020B0804020202020204" pitchFamily="34" charset="0"/>
              <a:buChar char="i"/>
              <a:defRPr sz="1400">
                <a:solidFill>
                  <a:srgbClr val="8F8F8F"/>
                </a:solidFill>
              </a:defRPr>
            </a:lvl3pPr>
          </a:lstStyle>
          <a:p>
            <a:pPr lvl="0"/>
            <a:r>
              <a:rPr lang="ru-RU"/>
              <a:t>Образец текста</a:t>
            </a:r>
          </a:p>
        </p:txBody>
      </p:sp>
      <p:sp>
        <p:nvSpPr>
          <p:cNvPr id="19" name="Text Placeholder 4"/>
          <p:cNvSpPr>
            <a:spLocks noGrp="1"/>
          </p:cNvSpPr>
          <p:nvPr>
            <p:ph type="body" sz="quarter" idx="72"/>
          </p:nvPr>
        </p:nvSpPr>
        <p:spPr>
          <a:xfrm>
            <a:off x="2438405" y="3258744"/>
            <a:ext cx="1836515" cy="1025128"/>
          </a:xfrm>
        </p:spPr>
        <p:txBody>
          <a:bodyPr>
            <a:normAutofit/>
          </a:bodyPr>
          <a:lstStyle>
            <a:lvl1pPr marL="0" indent="0">
              <a:spcAft>
                <a:spcPts val="200"/>
              </a:spcAft>
              <a:buClr>
                <a:schemeClr val="bg1"/>
              </a:buClr>
              <a:buSzPct val="25000"/>
              <a:buFont typeface="Helvetica 75" panose="020B0804020202020204" pitchFamily="34" charset="0"/>
              <a:buNone/>
              <a:defRPr sz="1200">
                <a:solidFill>
                  <a:schemeClr val="tx1"/>
                </a:solidFill>
              </a:defRPr>
            </a:lvl1pPr>
            <a:lvl2pPr marL="0" indent="0">
              <a:spcAft>
                <a:spcPts val="200"/>
              </a:spcAft>
              <a:buClr>
                <a:schemeClr val="bg1"/>
              </a:buClr>
              <a:buSzPct val="25000"/>
              <a:buFont typeface="Helvetica 75" panose="020B0804020202020204" pitchFamily="34" charset="0"/>
              <a:buChar char="i"/>
              <a:defRPr sz="1400"/>
            </a:lvl2pPr>
            <a:lvl3pPr marL="0" indent="0">
              <a:spcAft>
                <a:spcPts val="200"/>
              </a:spcAft>
              <a:buClr>
                <a:schemeClr val="bg1"/>
              </a:buClr>
              <a:buSzPct val="25000"/>
              <a:buFont typeface="Helvetica 75" panose="020B0804020202020204" pitchFamily="34" charset="0"/>
              <a:buChar char="i"/>
              <a:defRPr sz="1400">
                <a:solidFill>
                  <a:srgbClr val="8F8F8F"/>
                </a:solidFill>
              </a:defRPr>
            </a:lvl3pPr>
          </a:lstStyle>
          <a:p>
            <a:pPr lvl="0"/>
            <a:r>
              <a:rPr lang="ru-RU"/>
              <a:t>Образец текста</a:t>
            </a:r>
          </a:p>
        </p:txBody>
      </p:sp>
      <p:sp>
        <p:nvSpPr>
          <p:cNvPr id="20" name="Text Placeholder 4"/>
          <p:cNvSpPr>
            <a:spLocks noGrp="1"/>
          </p:cNvSpPr>
          <p:nvPr>
            <p:ph type="body" sz="quarter" idx="73"/>
          </p:nvPr>
        </p:nvSpPr>
        <p:spPr>
          <a:xfrm>
            <a:off x="454704" y="3258744"/>
            <a:ext cx="1831296" cy="1025128"/>
          </a:xfrm>
        </p:spPr>
        <p:txBody>
          <a:bodyPr>
            <a:normAutofit/>
          </a:bodyPr>
          <a:lstStyle>
            <a:lvl1pPr marL="0" indent="0">
              <a:spcAft>
                <a:spcPts val="200"/>
              </a:spcAft>
              <a:buClr>
                <a:schemeClr val="bg1"/>
              </a:buClr>
              <a:buSzPct val="25000"/>
              <a:buFont typeface="Helvetica 75" panose="020B0804020202020204" pitchFamily="34" charset="0"/>
              <a:buNone/>
              <a:defRPr sz="1200">
                <a:solidFill>
                  <a:schemeClr val="tx1"/>
                </a:solidFill>
              </a:defRPr>
            </a:lvl1pPr>
            <a:lvl2pPr marL="0" indent="0">
              <a:spcAft>
                <a:spcPts val="200"/>
              </a:spcAft>
              <a:buClr>
                <a:schemeClr val="bg1"/>
              </a:buClr>
              <a:buSzPct val="25000"/>
              <a:buFont typeface="Helvetica 75" panose="020B0804020202020204" pitchFamily="34" charset="0"/>
              <a:buChar char="i"/>
              <a:defRPr sz="1400"/>
            </a:lvl2pPr>
            <a:lvl3pPr marL="0" indent="0">
              <a:spcAft>
                <a:spcPts val="200"/>
              </a:spcAft>
              <a:buClr>
                <a:schemeClr val="bg1"/>
              </a:buClr>
              <a:buSzPct val="25000"/>
              <a:buFont typeface="Helvetica 75" panose="020B0804020202020204" pitchFamily="34" charset="0"/>
              <a:buChar char="i"/>
              <a:defRPr sz="1400">
                <a:solidFill>
                  <a:srgbClr val="8F8F8F"/>
                </a:solidFill>
              </a:defRPr>
            </a:lvl3pPr>
          </a:lstStyle>
          <a:p>
            <a:pPr lvl="0"/>
            <a:r>
              <a:rPr lang="ru-RU"/>
              <a:t>Образец текста</a:t>
            </a:r>
          </a:p>
        </p:txBody>
      </p:sp>
      <p:sp>
        <p:nvSpPr>
          <p:cNvPr id="12" name="Footer Placeholder 4">
            <a:extLst>
              <a:ext uri="{FF2B5EF4-FFF2-40B4-BE49-F238E27FC236}">
                <a16:creationId xmlns:a16="http://schemas.microsoft.com/office/drawing/2014/main" id="{86AD4F58-4AC3-4BBD-ADD3-B996E013DF06}"/>
              </a:ext>
            </a:extLst>
          </p:cNvPr>
          <p:cNvSpPr>
            <a:spLocks noGrp="1"/>
          </p:cNvSpPr>
          <p:nvPr>
            <p:ph type="ftr" sz="quarter" idx="74"/>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13" name="Slide Number Placeholder 5">
            <a:extLst>
              <a:ext uri="{FF2B5EF4-FFF2-40B4-BE49-F238E27FC236}">
                <a16:creationId xmlns:a16="http://schemas.microsoft.com/office/drawing/2014/main" id="{16DE5000-D7E5-459B-961A-3F159F4FDCF5}"/>
              </a:ext>
            </a:extLst>
          </p:cNvPr>
          <p:cNvSpPr>
            <a:spLocks noGrp="1"/>
          </p:cNvSpPr>
          <p:nvPr>
            <p:ph type="sldNum" sz="quarter" idx="75"/>
          </p:nvPr>
        </p:nvSpPr>
        <p:spPr/>
        <p:txBody>
          <a:bodyPr/>
          <a:lstStyle>
            <a:lvl1pPr>
              <a:defRPr/>
            </a:lvl1pPr>
          </a:lstStyle>
          <a:p>
            <a:fld id="{9D06C6E4-6DEE-4F31-AA22-BED7D60A3F13}" type="slidenum">
              <a:rPr lang="fr-FR" altLang="fr-FR"/>
              <a:pPr/>
              <a:t>‹N°›</a:t>
            </a:fld>
            <a:endParaRPr lang="fr-FR" altLang="fr-FR"/>
          </a:p>
        </p:txBody>
      </p:sp>
    </p:spTree>
    <p:extLst>
      <p:ext uri="{BB962C8B-B14F-4D97-AF65-F5344CB8AC3E}">
        <p14:creationId xmlns:p14="http://schemas.microsoft.com/office/powerpoint/2010/main" val="247825512"/>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ultiple content 3">
    <p:spTree>
      <p:nvGrpSpPr>
        <p:cNvPr id="1" name=""/>
        <p:cNvGrpSpPr/>
        <p:nvPr/>
      </p:nvGrpSpPr>
      <p:grpSpPr>
        <a:xfrm>
          <a:off x="0" y="0"/>
          <a:ext cx="0" cy="0"/>
          <a:chOff x="0" y="0"/>
          <a:chExt cx="0" cy="0"/>
        </a:xfrm>
      </p:grpSpPr>
      <p:graphicFrame>
        <p:nvGraphicFramePr>
          <p:cNvPr id="7"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1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8"/>
          </p:nvPr>
        </p:nvSpPr>
        <p:spPr>
          <a:xfrm>
            <a:off x="455612" y="1540672"/>
            <a:ext cx="4113214" cy="2743199"/>
          </a:xfrm>
          <a:prstGeom prst="rect">
            <a:avLst/>
          </a:prstGeom>
        </p:spPr>
        <p:txBody>
          <a:bodyPr>
            <a:normAutofit/>
          </a:bodyPr>
          <a:lstStyle>
            <a:lvl1pPr marL="169856" marR="0" indent="-169856" algn="l" defTabSz="914364" rtl="0" eaLnBrk="1" fontAlgn="base" latinLnBrk="0" hangingPunct="1">
              <a:lnSpc>
                <a:spcPct val="100000"/>
              </a:lnSpc>
              <a:spcBef>
                <a:spcPct val="0"/>
              </a:spcBef>
              <a:spcAft>
                <a:spcPts val="600"/>
              </a:spcAft>
              <a:buClr>
                <a:srgbClr val="FF6600"/>
              </a:buClr>
              <a:buSzPct val="110000"/>
              <a:buFont typeface="Wingdings" panose="05000000000000000000" pitchFamily="2" charset="2"/>
              <a:buChar char="§"/>
              <a:tabLst/>
              <a:defRPr sz="1400"/>
            </a:lvl1pPr>
            <a:lvl2pPr marL="460356" marR="0" indent="-233353"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sz="1400"/>
            </a:lvl2pPr>
            <a:lvl3pPr marL="627038" marR="0" indent="-225416"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sz="1400"/>
            </a:lvl3pPr>
            <a:lvl4pPr marL="857215" marR="0" indent="-228590"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sz="1400"/>
            </a:lvl4pPr>
            <a:lvl5pPr marL="1087394" marR="0" indent="-231766" algn="l" defTabSz="914364" rtl="0" eaLnBrk="1" fontAlgn="base" latinLnBrk="0" hangingPunct="1">
              <a:lnSpc>
                <a:spcPct val="100000"/>
              </a:lnSpc>
              <a:spcBef>
                <a:spcPct val="0"/>
              </a:spcBef>
              <a:spcAft>
                <a:spcPts val="600"/>
              </a:spcAft>
              <a:buClr>
                <a:srgbClr val="FF6600"/>
              </a:buClr>
              <a:buSzTx/>
              <a:buFont typeface="Helvetica 75" panose="020B0804020202020204" pitchFamily="34" charset="0"/>
              <a:buChar char="−"/>
              <a:tabLst/>
              <a:defRPr sz="14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GB" dirty="0"/>
          </a:p>
        </p:txBody>
      </p:sp>
      <p:sp>
        <p:nvSpPr>
          <p:cNvPr id="17" name="Content Placeholder 16"/>
          <p:cNvSpPr>
            <a:spLocks noGrp="1"/>
          </p:cNvSpPr>
          <p:nvPr>
            <p:ph sz="quarter" idx="20"/>
          </p:nvPr>
        </p:nvSpPr>
        <p:spPr>
          <a:xfrm>
            <a:off x="5016663" y="1540671"/>
            <a:ext cx="3216113" cy="1718072"/>
          </a:xfrm>
          <a:prstGeom prst="rect">
            <a:avLst/>
          </a:prstGeom>
        </p:spPr>
        <p:txBody>
          <a:bodyPr/>
          <a:lstStyle>
            <a:lvl1pPr marL="0" indent="0">
              <a:buNone/>
              <a:defRPr>
                <a:solidFill>
                  <a:schemeClr val="bg1"/>
                </a:solidFill>
              </a:defRPr>
            </a:lvl1pPr>
          </a:lstStyle>
          <a:p>
            <a:pPr lvl="0"/>
            <a:r>
              <a:rPr lang="fr-FR"/>
              <a:t>Modifiez les styles du texte du masque</a:t>
            </a:r>
          </a:p>
        </p:txBody>
      </p:sp>
      <p:sp>
        <p:nvSpPr>
          <p:cNvPr id="6" name="Title 5"/>
          <p:cNvSpPr>
            <a:spLocks noGrp="1"/>
          </p:cNvSpPr>
          <p:nvPr>
            <p:ph type="title"/>
          </p:nvPr>
        </p:nvSpPr>
        <p:spPr/>
        <p:txBody>
          <a:bodyPr/>
          <a:lstStyle/>
          <a:p>
            <a:r>
              <a:rPr lang="ru-RU"/>
              <a:t>Образец заголовка</a:t>
            </a:r>
            <a:endParaRPr lang="en-GB" dirty="0"/>
          </a:p>
        </p:txBody>
      </p:sp>
      <p:sp>
        <p:nvSpPr>
          <p:cNvPr id="8" name="Text Placeholder 4"/>
          <p:cNvSpPr>
            <a:spLocks noGrp="1"/>
          </p:cNvSpPr>
          <p:nvPr>
            <p:ph type="body" sz="quarter" idx="70"/>
          </p:nvPr>
        </p:nvSpPr>
        <p:spPr>
          <a:xfrm>
            <a:off x="5016666" y="3600452"/>
            <a:ext cx="3208175" cy="683419"/>
          </a:xfrm>
        </p:spPr>
        <p:txBody>
          <a:bodyPr>
            <a:normAutofit/>
          </a:bodyPr>
          <a:lstStyle>
            <a:lvl1pPr marL="0" indent="0">
              <a:spcAft>
                <a:spcPts val="200"/>
              </a:spcAft>
              <a:buClr>
                <a:schemeClr val="bg1"/>
              </a:buClr>
              <a:buSzPct val="25000"/>
              <a:buFont typeface="Helvetica 75" panose="020B0804020202020204" pitchFamily="34" charset="0"/>
              <a:buNone/>
              <a:defRPr sz="1200">
                <a:solidFill>
                  <a:schemeClr val="tx1"/>
                </a:solidFill>
              </a:defRPr>
            </a:lvl1pPr>
            <a:lvl2pPr marL="0" indent="0">
              <a:spcAft>
                <a:spcPts val="200"/>
              </a:spcAft>
              <a:buClr>
                <a:schemeClr val="bg1"/>
              </a:buClr>
              <a:buSzPct val="25000"/>
              <a:buFont typeface="Helvetica 75" panose="020B0804020202020204" pitchFamily="34" charset="0"/>
              <a:buChar char="i"/>
              <a:defRPr sz="1400"/>
            </a:lvl2pPr>
            <a:lvl3pPr marL="0" indent="0">
              <a:spcAft>
                <a:spcPts val="200"/>
              </a:spcAft>
              <a:buClr>
                <a:schemeClr val="bg1"/>
              </a:buClr>
              <a:buSzPct val="25000"/>
              <a:buFont typeface="Helvetica 75" panose="020B0804020202020204" pitchFamily="34" charset="0"/>
              <a:buChar char="i"/>
              <a:defRPr sz="1400">
                <a:solidFill>
                  <a:srgbClr val="8F8F8F"/>
                </a:solidFill>
              </a:defRPr>
            </a:lvl3pPr>
          </a:lstStyle>
          <a:p>
            <a:pPr lvl="0"/>
            <a:r>
              <a:rPr lang="ru-RU"/>
              <a:t>Образец текста</a:t>
            </a:r>
          </a:p>
        </p:txBody>
      </p:sp>
      <p:sp>
        <p:nvSpPr>
          <p:cNvPr id="9" name="Footer Placeholder 4">
            <a:extLst>
              <a:ext uri="{FF2B5EF4-FFF2-40B4-BE49-F238E27FC236}">
                <a16:creationId xmlns:a16="http://schemas.microsoft.com/office/drawing/2014/main" id="{29174724-94E6-4096-BACB-46381CAD36EF}"/>
              </a:ext>
            </a:extLst>
          </p:cNvPr>
          <p:cNvSpPr>
            <a:spLocks noGrp="1"/>
          </p:cNvSpPr>
          <p:nvPr>
            <p:ph type="ftr" sz="quarter" idx="71"/>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10" name="Slide Number Placeholder 5">
            <a:extLst>
              <a:ext uri="{FF2B5EF4-FFF2-40B4-BE49-F238E27FC236}">
                <a16:creationId xmlns:a16="http://schemas.microsoft.com/office/drawing/2014/main" id="{4731BDF2-EAD8-4DD1-8B48-FF0C801451C8}"/>
              </a:ext>
            </a:extLst>
          </p:cNvPr>
          <p:cNvSpPr>
            <a:spLocks noGrp="1"/>
          </p:cNvSpPr>
          <p:nvPr>
            <p:ph type="sldNum" sz="quarter" idx="72"/>
          </p:nvPr>
        </p:nvSpPr>
        <p:spPr/>
        <p:txBody>
          <a:bodyPr/>
          <a:lstStyle>
            <a:lvl1pPr>
              <a:defRPr/>
            </a:lvl1pPr>
          </a:lstStyle>
          <a:p>
            <a:fld id="{ADDB11D1-D91C-4EE0-8E50-B8D7F293D7DB}" type="slidenum">
              <a:rPr lang="fr-FR" altLang="fr-FR"/>
              <a:pPr/>
              <a:t>‹N°›</a:t>
            </a:fld>
            <a:endParaRPr lang="fr-FR" altLang="fr-FR"/>
          </a:p>
        </p:txBody>
      </p:sp>
    </p:spTree>
    <p:extLst>
      <p:ext uri="{BB962C8B-B14F-4D97-AF65-F5344CB8AC3E}">
        <p14:creationId xmlns:p14="http://schemas.microsoft.com/office/powerpoint/2010/main" val="497575731"/>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ultiple content 4">
    <p:spTree>
      <p:nvGrpSpPr>
        <p:cNvPr id="1" name=""/>
        <p:cNvGrpSpPr/>
        <p:nvPr/>
      </p:nvGrpSpPr>
      <p:grpSpPr>
        <a:xfrm>
          <a:off x="0" y="0"/>
          <a:ext cx="0" cy="0"/>
          <a:chOff x="0" y="0"/>
          <a:chExt cx="0" cy="0"/>
        </a:xfrm>
      </p:grpSpPr>
      <p:graphicFrame>
        <p:nvGraphicFramePr>
          <p:cNvPr id="8" name="Object 100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Content Placeholder 16"/>
          <p:cNvSpPr>
            <a:spLocks noGrp="1"/>
          </p:cNvSpPr>
          <p:nvPr>
            <p:ph sz="quarter" idx="17"/>
          </p:nvPr>
        </p:nvSpPr>
        <p:spPr>
          <a:xfrm>
            <a:off x="450851" y="1540671"/>
            <a:ext cx="3656014" cy="1722833"/>
          </a:xfrm>
          <a:prstGeom prst="rect">
            <a:avLst/>
          </a:prstGeom>
        </p:spPr>
        <p:txBody>
          <a:bodyPr/>
          <a:lstStyle>
            <a:lvl1pPr marL="0" indent="0">
              <a:buNone/>
              <a:defRPr>
                <a:solidFill>
                  <a:schemeClr val="bg1"/>
                </a:solidFill>
              </a:defRPr>
            </a:lvl1pPr>
          </a:lstStyle>
          <a:p>
            <a:pPr lvl="0"/>
            <a:r>
              <a:rPr lang="fr-FR"/>
              <a:t>Modifiez les styles du texte du masque</a:t>
            </a:r>
          </a:p>
        </p:txBody>
      </p:sp>
      <p:sp>
        <p:nvSpPr>
          <p:cNvPr id="13" name="Content Placeholder 16"/>
          <p:cNvSpPr>
            <a:spLocks noGrp="1"/>
          </p:cNvSpPr>
          <p:nvPr>
            <p:ph sz="quarter" idx="51"/>
          </p:nvPr>
        </p:nvSpPr>
        <p:spPr>
          <a:xfrm>
            <a:off x="4568825" y="1540671"/>
            <a:ext cx="3656014" cy="1722833"/>
          </a:xfrm>
          <a:prstGeom prst="rect">
            <a:avLst/>
          </a:prstGeom>
        </p:spPr>
        <p:txBody>
          <a:bodyPr/>
          <a:lstStyle>
            <a:lvl1pPr marL="0" indent="0">
              <a:buNone/>
              <a:defRPr>
                <a:solidFill>
                  <a:schemeClr val="bg1"/>
                </a:solidFill>
              </a:defRPr>
            </a:lvl1pPr>
          </a:lstStyle>
          <a:p>
            <a:pPr lvl="0"/>
            <a:r>
              <a:rPr lang="fr-FR"/>
              <a:t>Modifiez les styles du texte du masque</a:t>
            </a:r>
          </a:p>
        </p:txBody>
      </p:sp>
      <p:sp>
        <p:nvSpPr>
          <p:cNvPr id="3" name="Title 2"/>
          <p:cNvSpPr>
            <a:spLocks noGrp="1"/>
          </p:cNvSpPr>
          <p:nvPr>
            <p:ph type="title"/>
          </p:nvPr>
        </p:nvSpPr>
        <p:spPr/>
        <p:txBody>
          <a:bodyPr/>
          <a:lstStyle/>
          <a:p>
            <a:r>
              <a:rPr lang="ru-RU"/>
              <a:t>Образец заголовка</a:t>
            </a:r>
            <a:endParaRPr lang="en-GB" dirty="0"/>
          </a:p>
        </p:txBody>
      </p:sp>
      <p:sp>
        <p:nvSpPr>
          <p:cNvPr id="7" name="Text Placeholder 4"/>
          <p:cNvSpPr>
            <a:spLocks noGrp="1"/>
          </p:cNvSpPr>
          <p:nvPr>
            <p:ph type="body" sz="quarter" idx="70"/>
          </p:nvPr>
        </p:nvSpPr>
        <p:spPr>
          <a:xfrm>
            <a:off x="4568827" y="3600452"/>
            <a:ext cx="3656012" cy="683419"/>
          </a:xfrm>
        </p:spPr>
        <p:txBody>
          <a:bodyPr>
            <a:normAutofit/>
          </a:bodyPr>
          <a:lstStyle>
            <a:lvl1pPr marL="0" indent="0">
              <a:spcAft>
                <a:spcPts val="200"/>
              </a:spcAft>
              <a:buClr>
                <a:schemeClr val="bg1"/>
              </a:buClr>
              <a:buSzPct val="25000"/>
              <a:buFont typeface="Helvetica 75" panose="020B0804020202020204" pitchFamily="34" charset="0"/>
              <a:buNone/>
              <a:defRPr sz="1200">
                <a:solidFill>
                  <a:schemeClr val="tx1"/>
                </a:solidFill>
              </a:defRPr>
            </a:lvl1pPr>
            <a:lvl2pPr marL="0" indent="0">
              <a:spcAft>
                <a:spcPts val="200"/>
              </a:spcAft>
              <a:buClr>
                <a:schemeClr val="bg1"/>
              </a:buClr>
              <a:buSzPct val="25000"/>
              <a:buFont typeface="Helvetica 75" panose="020B0804020202020204" pitchFamily="34" charset="0"/>
              <a:buChar char="i"/>
              <a:defRPr sz="1400"/>
            </a:lvl2pPr>
            <a:lvl3pPr marL="0" indent="0">
              <a:spcAft>
                <a:spcPts val="200"/>
              </a:spcAft>
              <a:buClr>
                <a:schemeClr val="bg1"/>
              </a:buClr>
              <a:buSzPct val="25000"/>
              <a:buFont typeface="Helvetica 75" panose="020B0804020202020204" pitchFamily="34" charset="0"/>
              <a:buChar char="i"/>
              <a:defRPr sz="1400">
                <a:solidFill>
                  <a:srgbClr val="8F8F8F"/>
                </a:solidFill>
              </a:defRPr>
            </a:lvl3pPr>
          </a:lstStyle>
          <a:p>
            <a:pPr lvl="0"/>
            <a:r>
              <a:rPr lang="ru-RU"/>
              <a:t>Образец текста</a:t>
            </a:r>
          </a:p>
        </p:txBody>
      </p:sp>
      <p:sp>
        <p:nvSpPr>
          <p:cNvPr id="10" name="Text Placeholder 4"/>
          <p:cNvSpPr>
            <a:spLocks noGrp="1"/>
          </p:cNvSpPr>
          <p:nvPr>
            <p:ph type="body" sz="quarter" idx="71"/>
          </p:nvPr>
        </p:nvSpPr>
        <p:spPr>
          <a:xfrm>
            <a:off x="463694" y="3600452"/>
            <a:ext cx="3656012" cy="683419"/>
          </a:xfrm>
        </p:spPr>
        <p:txBody>
          <a:bodyPr>
            <a:normAutofit/>
          </a:bodyPr>
          <a:lstStyle>
            <a:lvl1pPr marL="0" indent="0">
              <a:spcAft>
                <a:spcPts val="200"/>
              </a:spcAft>
              <a:buClr>
                <a:schemeClr val="bg1"/>
              </a:buClr>
              <a:buSzPct val="25000"/>
              <a:buFont typeface="Helvetica 75" panose="020B0804020202020204" pitchFamily="34" charset="0"/>
              <a:buNone/>
              <a:defRPr sz="1200">
                <a:solidFill>
                  <a:schemeClr val="tx1"/>
                </a:solidFill>
              </a:defRPr>
            </a:lvl1pPr>
            <a:lvl2pPr marL="0" indent="0">
              <a:spcAft>
                <a:spcPts val="200"/>
              </a:spcAft>
              <a:buClr>
                <a:schemeClr val="bg1"/>
              </a:buClr>
              <a:buSzPct val="25000"/>
              <a:buFont typeface="Helvetica 75" panose="020B0804020202020204" pitchFamily="34" charset="0"/>
              <a:buChar char="i"/>
              <a:defRPr sz="1400"/>
            </a:lvl2pPr>
            <a:lvl3pPr marL="0" indent="0">
              <a:spcAft>
                <a:spcPts val="200"/>
              </a:spcAft>
              <a:buClr>
                <a:schemeClr val="bg1"/>
              </a:buClr>
              <a:buSzPct val="25000"/>
              <a:buFont typeface="Helvetica 75" panose="020B0804020202020204" pitchFamily="34" charset="0"/>
              <a:buChar char="i"/>
              <a:defRPr sz="1400">
                <a:solidFill>
                  <a:srgbClr val="8F8F8F"/>
                </a:solidFill>
              </a:defRPr>
            </a:lvl3pPr>
          </a:lstStyle>
          <a:p>
            <a:pPr lvl="0"/>
            <a:r>
              <a:rPr lang="ru-RU"/>
              <a:t>Образец текста</a:t>
            </a:r>
          </a:p>
        </p:txBody>
      </p:sp>
      <p:sp>
        <p:nvSpPr>
          <p:cNvPr id="11" name="Footer Placeholder 4">
            <a:extLst>
              <a:ext uri="{FF2B5EF4-FFF2-40B4-BE49-F238E27FC236}">
                <a16:creationId xmlns:a16="http://schemas.microsoft.com/office/drawing/2014/main" id="{34B8427E-9E31-4388-BDF7-889BF438C498}"/>
              </a:ext>
            </a:extLst>
          </p:cNvPr>
          <p:cNvSpPr>
            <a:spLocks noGrp="1"/>
          </p:cNvSpPr>
          <p:nvPr>
            <p:ph type="ftr" sz="quarter" idx="72"/>
          </p:nvPr>
        </p:nvSpPr>
        <p:spPr>
          <a:xfrm>
            <a:off x="6464300" y="4924425"/>
            <a:ext cx="2244725" cy="123825"/>
          </a:xfrm>
          <a:prstGeom prst="rect">
            <a:avLst/>
          </a:prstGeom>
        </p:spPr>
        <p:txBody>
          <a:bodyPr vert="horz" wrap="square" lIns="0" tIns="0" rIns="0" bIns="0" numCol="1" anchor="t" anchorCtr="0" compatLnSpc="1">
            <a:prstTxWarp prst="textNoShape">
              <a:avLst/>
            </a:prstTxWarp>
            <a:spAutoFit/>
          </a:bodyPr>
          <a:lstStyle>
            <a:lvl1pPr algn="r" eaLnBrk="1" hangingPunct="1">
              <a:defRPr sz="800">
                <a:solidFill>
                  <a:srgbClr val="000000"/>
                </a:solidFill>
                <a:latin typeface="Helvetica 35 Thin"/>
              </a:defRPr>
            </a:lvl1pPr>
          </a:lstStyle>
          <a:p>
            <a:pPr defTabSz="912813" fontAlgn="base">
              <a:spcBef>
                <a:spcPct val="0"/>
              </a:spcBef>
              <a:spcAft>
                <a:spcPct val="0"/>
              </a:spcAft>
              <a:defRPr/>
            </a:pPr>
            <a:r>
              <a:rPr lang="en-US" altLang="fr-FR">
                <a:cs typeface="Arial" pitchFamily="34" charset="0"/>
              </a:rPr>
              <a:t>H1 2015 results, 28th July 2015</a:t>
            </a:r>
          </a:p>
        </p:txBody>
      </p:sp>
      <p:sp>
        <p:nvSpPr>
          <p:cNvPr id="12" name="Slide Number Placeholder 5">
            <a:extLst>
              <a:ext uri="{FF2B5EF4-FFF2-40B4-BE49-F238E27FC236}">
                <a16:creationId xmlns:a16="http://schemas.microsoft.com/office/drawing/2014/main" id="{2178AE8A-03FC-48B7-96FB-CEB1093BBFF0}"/>
              </a:ext>
            </a:extLst>
          </p:cNvPr>
          <p:cNvSpPr>
            <a:spLocks noGrp="1"/>
          </p:cNvSpPr>
          <p:nvPr>
            <p:ph type="sldNum" sz="quarter" idx="73"/>
          </p:nvPr>
        </p:nvSpPr>
        <p:spPr/>
        <p:txBody>
          <a:bodyPr/>
          <a:lstStyle>
            <a:lvl1pPr>
              <a:defRPr/>
            </a:lvl1pPr>
          </a:lstStyle>
          <a:p>
            <a:fld id="{3B55F769-0A9E-48DB-ADB8-7BD6DA32B8EA}" type="slidenum">
              <a:rPr lang="fr-FR" altLang="fr-FR"/>
              <a:pPr/>
              <a:t>‹N°›</a:t>
            </a:fld>
            <a:endParaRPr lang="fr-FR" altLang="fr-FR"/>
          </a:p>
        </p:txBody>
      </p:sp>
    </p:spTree>
    <p:extLst>
      <p:ext uri="{BB962C8B-B14F-4D97-AF65-F5344CB8AC3E}">
        <p14:creationId xmlns:p14="http://schemas.microsoft.com/office/powerpoint/2010/main" val="3452113433"/>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5" Type="http://schemas.openxmlformats.org/officeDocument/2006/relationships/slideLayout" Target="../slideLayouts/slideLayout124.xml"/><Relationship Id="rId4" Type="http://schemas.openxmlformats.org/officeDocument/2006/relationships/slideLayout" Target="../slideLayouts/slideLayout123.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5" Type="http://schemas.openxmlformats.org/officeDocument/2006/relationships/slideLayout" Target="../slideLayouts/slideLayout132.xml"/><Relationship Id="rId4" Type="http://schemas.openxmlformats.org/officeDocument/2006/relationships/slideLayout" Target="../slideLayouts/slideLayout131.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image" Target="../media/image2.emf"/><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oleObject" Target="../embeddings/oleObject60.bin"/><Relationship Id="rId5" Type="http://schemas.openxmlformats.org/officeDocument/2006/relationships/slideLayout" Target="../slideLayouts/slideLayout140.xml"/><Relationship Id="rId10" Type="http://schemas.openxmlformats.org/officeDocument/2006/relationships/tags" Target="../tags/tag60.xml"/><Relationship Id="rId4" Type="http://schemas.openxmlformats.org/officeDocument/2006/relationships/slideLayout" Target="../slideLayouts/slideLayout139.xml"/><Relationship Id="rId9" Type="http://schemas.openxmlformats.org/officeDocument/2006/relationships/vmlDrawing" Target="../drawings/vmlDrawing54.v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image" Target="../media/image2.emf"/><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oleObject" Target="../embeddings/oleObject64.bin"/><Relationship Id="rId5" Type="http://schemas.openxmlformats.org/officeDocument/2006/relationships/slideLayout" Target="../slideLayouts/slideLayout147.xml"/><Relationship Id="rId10" Type="http://schemas.openxmlformats.org/officeDocument/2006/relationships/tags" Target="../tags/tag64.xml"/><Relationship Id="rId4" Type="http://schemas.openxmlformats.org/officeDocument/2006/relationships/slideLayout" Target="../slideLayouts/slideLayout146.xml"/><Relationship Id="rId9" Type="http://schemas.openxmlformats.org/officeDocument/2006/relationships/vmlDrawing" Target="../drawings/vmlDrawing58.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tags" Target="../tags/tag68.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vmlDrawing" Target="../drawings/vmlDrawing62.v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theme" Target="../theme/theme14.xml"/><Relationship Id="rId5" Type="http://schemas.openxmlformats.org/officeDocument/2006/relationships/slideLayout" Target="../slideLayouts/slideLayout154.xml"/><Relationship Id="rId15" Type="http://schemas.openxmlformats.org/officeDocument/2006/relationships/image" Target="../media/image2.emf"/><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oleObject" Target="../embeddings/oleObject68.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vmlDrawing" Target="../drawings/vmlDrawing67.v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theme" Target="../theme/theme15.xml"/><Relationship Id="rId2" Type="http://schemas.openxmlformats.org/officeDocument/2006/relationships/slideLayout" Target="../slideLayouts/slideLayout161.xml"/><Relationship Id="rId16" Type="http://schemas.openxmlformats.org/officeDocument/2006/relationships/image" Target="../media/image2.emf"/><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oleObject" Target="../embeddings/oleObject73.bin"/><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tags" Target="../tags/tag7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tags" Target="../tags/tag78.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vmlDrawing" Target="../drawings/vmlDrawing72.v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theme" Target="../theme/theme16.xml"/><Relationship Id="rId5" Type="http://schemas.openxmlformats.org/officeDocument/2006/relationships/slideLayout" Target="../slideLayouts/slideLayout175.xml"/><Relationship Id="rId15" Type="http://schemas.openxmlformats.org/officeDocument/2006/relationships/image" Target="../media/image2.emf"/><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oleObject" Target="../embeddings/oleObject78.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vmlDrawing" Target="../drawings/vmlDrawing77.v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theme" Target="../theme/theme17.xml"/><Relationship Id="rId2" Type="http://schemas.openxmlformats.org/officeDocument/2006/relationships/slideLayout" Target="../slideLayouts/slideLayout182.xml"/><Relationship Id="rId16" Type="http://schemas.openxmlformats.org/officeDocument/2006/relationships/image" Target="../media/image2.emf"/><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oleObject" Target="../embeddings/oleObject83.bin"/><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ags" Target="../tags/tag8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vmlDrawing" Target="../drawings/vmlDrawing82.v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theme" Target="../theme/theme18.xml"/><Relationship Id="rId2" Type="http://schemas.openxmlformats.org/officeDocument/2006/relationships/slideLayout" Target="../slideLayouts/slideLayout193.xml"/><Relationship Id="rId16" Type="http://schemas.openxmlformats.org/officeDocument/2006/relationships/image" Target="../media/image2.emf"/><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oleObject" Target="../embeddings/oleObject88.bin"/><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tags" Target="../tags/tag8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1.vml"/><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6"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ags" Target="../tags/tag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vmlDrawing" Target="../drawings/vmlDrawing6.v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heme" Target="../theme/theme5.xml"/><Relationship Id="rId5" Type="http://schemas.openxmlformats.org/officeDocument/2006/relationships/slideLayout" Target="../slideLayouts/slideLayout53.xml"/><Relationship Id="rId15" Type="http://schemas.openxmlformats.org/officeDocument/2006/relationships/image" Target="../media/image2.emf"/><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oleObject" Target="../embeddings/oleObject6.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vmlDrawing" Target="../drawings/vmlDrawing11.v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6.xml"/><Relationship Id="rId5" Type="http://schemas.openxmlformats.org/officeDocument/2006/relationships/slideLayout" Target="../slideLayouts/slideLayout63.xml"/><Relationship Id="rId15" Type="http://schemas.openxmlformats.org/officeDocument/2006/relationships/image" Target="../media/image2.emf"/><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oleObject" Target="../embeddings/oleObject1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ags" Target="../tags/tag1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vmlDrawing" Target="../drawings/vmlDrawing16.v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heme" Target="../theme/theme7.xml"/><Relationship Id="rId5" Type="http://schemas.openxmlformats.org/officeDocument/2006/relationships/slideLayout" Target="../slideLayouts/slideLayout73.xml"/><Relationship Id="rId15" Type="http://schemas.openxmlformats.org/officeDocument/2006/relationships/image" Target="../media/image2.emf"/><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oleObject" Target="../embeddings/oleObject16.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theme" Target="../theme/theme8.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image" Target="../media/image5.emf"/><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oleObject" Target="../embeddings/oleObject21.bin"/><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tags" Target="../tags/tag21.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vmlDrawing" Target="../drawings/vmlDrawing21.v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5" Type="http://schemas.openxmlformats.org/officeDocument/2006/relationships/slideLayout" Target="../slideLayouts/slideLayout116.xml"/><Relationship Id="rId4" Type="http://schemas.openxmlformats.org/officeDocument/2006/relationships/slideLayout" Target="../slideLayouts/slideLayout115.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7D3AEEF0-FEAD-44CF-A18D-162E882CE67E}" type="datetimeFigureOut">
              <a:rPr lang="fr-FR" smtClean="0"/>
              <a:t>12/02/2020</a:t>
            </a:fld>
            <a:endParaRPr lang="fr-FR"/>
          </a:p>
        </p:txBody>
      </p:sp>
      <p:sp>
        <p:nvSpPr>
          <p:cNvPr id="5" name="Espace réservé du pied de page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220953FD-3B35-4E25-A99B-EC1C842F02EF}" type="slidenum">
              <a:rPr lang="fr-FR" smtClean="0"/>
              <a:t>‹N°›</a:t>
            </a:fld>
            <a:endParaRPr lang="fr-FR"/>
          </a:p>
        </p:txBody>
      </p:sp>
    </p:spTree>
    <p:extLst>
      <p:ext uri="{BB962C8B-B14F-4D97-AF65-F5344CB8AC3E}">
        <p14:creationId xmlns:p14="http://schemas.microsoft.com/office/powerpoint/2010/main" val="17369089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6"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5"/>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323068742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400"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35280" y="109931"/>
            <a:ext cx="8073441" cy="692497"/>
          </a:xfrm>
          <a:prstGeom prst="rect">
            <a:avLst/>
          </a:prstGeom>
        </p:spPr>
        <p:txBody>
          <a:bodyPr wrap="square" lIns="0" tIns="0" rIns="0" bIns="0">
            <a:spAutoFit/>
          </a:bodyPr>
          <a:lstStyle>
            <a:lvl1pPr>
              <a:defRPr sz="4500" b="1" i="0">
                <a:solidFill>
                  <a:srgbClr val="FF7900"/>
                </a:solidFill>
                <a:latin typeface="Helvetica Neue"/>
                <a:cs typeface="Helvetica Neue"/>
              </a:defRPr>
            </a:lvl1pPr>
          </a:lstStyle>
          <a:p>
            <a:endParaRPr/>
          </a:p>
        </p:txBody>
      </p:sp>
      <p:sp>
        <p:nvSpPr>
          <p:cNvPr id="3" name="Holder 3"/>
          <p:cNvSpPr>
            <a:spLocks noGrp="1"/>
          </p:cNvSpPr>
          <p:nvPr>
            <p:ph type="body" idx="1"/>
          </p:nvPr>
        </p:nvSpPr>
        <p:spPr>
          <a:xfrm>
            <a:off x="457200" y="1183006"/>
            <a:ext cx="82296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4783456"/>
            <a:ext cx="2926080" cy="125979"/>
          </a:xfrm>
          <a:prstGeom prst="rect">
            <a:avLst/>
          </a:prstGeom>
        </p:spPr>
        <p:txBody>
          <a:bodyPr wrap="square" lIns="0" tIns="0" rIns="0" bIns="0">
            <a:spAutoFit/>
          </a:bodyPr>
          <a:lstStyle>
            <a:lvl1pPr algn="ctr">
              <a:defRPr>
                <a:solidFill>
                  <a:schemeClr val="tx1">
                    <a:tint val="75000"/>
                  </a:schemeClr>
                </a:solidFill>
              </a:defRPr>
            </a:lvl1pPr>
          </a:lstStyle>
          <a:p>
            <a:pPr defTabSz="415837"/>
            <a:endParaRPr sz="800">
              <a:solidFill>
                <a:prstClr val="black">
                  <a:tint val="75000"/>
                </a:prstClr>
              </a:solidFill>
            </a:endParaRPr>
          </a:p>
        </p:txBody>
      </p:sp>
      <p:sp>
        <p:nvSpPr>
          <p:cNvPr id="5" name="Holder 5"/>
          <p:cNvSpPr>
            <a:spLocks noGrp="1"/>
          </p:cNvSpPr>
          <p:nvPr>
            <p:ph type="dt" sz="half" idx="6"/>
          </p:nvPr>
        </p:nvSpPr>
        <p:spPr>
          <a:xfrm>
            <a:off x="457200" y="4783456"/>
            <a:ext cx="2103120" cy="125979"/>
          </a:xfrm>
          <a:prstGeom prst="rect">
            <a:avLst/>
          </a:prstGeom>
        </p:spPr>
        <p:txBody>
          <a:bodyPr wrap="square" lIns="0" tIns="0" rIns="0" bIns="0">
            <a:spAutoFit/>
          </a:bodyPr>
          <a:lstStyle>
            <a:lvl1pPr algn="l">
              <a:defRPr>
                <a:solidFill>
                  <a:schemeClr val="tx1">
                    <a:tint val="75000"/>
                  </a:schemeClr>
                </a:solidFill>
              </a:defRPr>
            </a:lvl1pPr>
          </a:lstStyle>
          <a:p>
            <a:pPr defTabSz="415837"/>
            <a:fld id="{1D8BD707-D9CF-40AE-B4C6-C98DA3205C09}" type="datetimeFigureOut">
              <a:rPr lang="en-US" sz="800">
                <a:solidFill>
                  <a:prstClr val="black">
                    <a:tint val="75000"/>
                  </a:prstClr>
                </a:solidFill>
              </a:rPr>
              <a:pPr defTabSz="415837"/>
              <a:t>2/12/2020</a:t>
            </a:fld>
            <a:endParaRPr lang="en-US" sz="800">
              <a:solidFill>
                <a:prstClr val="black">
                  <a:tint val="75000"/>
                </a:prstClr>
              </a:solidFill>
            </a:endParaRPr>
          </a:p>
        </p:txBody>
      </p:sp>
      <p:sp>
        <p:nvSpPr>
          <p:cNvPr id="6" name="Holder 6"/>
          <p:cNvSpPr>
            <a:spLocks noGrp="1"/>
          </p:cNvSpPr>
          <p:nvPr>
            <p:ph type="sldNum" sz="quarter" idx="7"/>
          </p:nvPr>
        </p:nvSpPr>
        <p:spPr>
          <a:xfrm>
            <a:off x="6583681" y="4783456"/>
            <a:ext cx="2103120" cy="125979"/>
          </a:xfrm>
          <a:prstGeom prst="rect">
            <a:avLst/>
          </a:prstGeom>
        </p:spPr>
        <p:txBody>
          <a:bodyPr wrap="square" lIns="0" tIns="0" rIns="0" bIns="0">
            <a:spAutoFit/>
          </a:bodyPr>
          <a:lstStyle>
            <a:lvl1pPr algn="r">
              <a:defRPr>
                <a:solidFill>
                  <a:schemeClr val="tx1">
                    <a:tint val="75000"/>
                  </a:schemeClr>
                </a:solidFill>
              </a:defRPr>
            </a:lvl1pPr>
          </a:lstStyle>
          <a:p>
            <a:pPr defTabSz="415837"/>
            <a:fld id="{B6F15528-21DE-4FAA-801E-634DDDAF4B2B}" type="slidenum">
              <a:rPr sz="800">
                <a:solidFill>
                  <a:prstClr val="black">
                    <a:tint val="75000"/>
                  </a:prstClr>
                </a:solidFill>
              </a:rPr>
              <a:pPr defTabSz="415837"/>
              <a:t>‹N°›</a:t>
            </a:fld>
            <a:endParaRPr sz="800">
              <a:solidFill>
                <a:prstClr val="black">
                  <a:tint val="75000"/>
                </a:prstClr>
              </a:solidFill>
            </a:endParaRPr>
          </a:p>
        </p:txBody>
      </p:sp>
    </p:spTree>
    <p:extLst>
      <p:ext uri="{BB962C8B-B14F-4D97-AF65-F5344CB8AC3E}">
        <p14:creationId xmlns:p14="http://schemas.microsoft.com/office/powerpoint/2010/main" val="2154383976"/>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933" r:id="rId6"/>
    <p:sldLayoutId id="2147483940" r:id="rId7"/>
    <p:sldLayoutId id="2147483941" r:id="rId8"/>
  </p:sldLayoutIdLst>
  <p:txStyles>
    <p:titleStyle>
      <a:lvl1pPr>
        <a:defRPr>
          <a:latin typeface="+mj-lt"/>
          <a:ea typeface="+mj-ea"/>
          <a:cs typeface="+mj-cs"/>
        </a:defRPr>
      </a:lvl1pPr>
    </p:titleStyle>
    <p:bodyStyle>
      <a:lvl1pPr marL="0">
        <a:defRPr>
          <a:latin typeface="+mn-lt"/>
          <a:ea typeface="+mn-ea"/>
          <a:cs typeface="+mn-cs"/>
        </a:defRPr>
      </a:lvl1pPr>
      <a:lvl2pPr marL="207919">
        <a:defRPr>
          <a:latin typeface="+mn-lt"/>
          <a:ea typeface="+mn-ea"/>
          <a:cs typeface="+mn-cs"/>
        </a:defRPr>
      </a:lvl2pPr>
      <a:lvl3pPr marL="415837">
        <a:defRPr>
          <a:latin typeface="+mn-lt"/>
          <a:ea typeface="+mn-ea"/>
          <a:cs typeface="+mn-cs"/>
        </a:defRPr>
      </a:lvl3pPr>
      <a:lvl4pPr marL="623756">
        <a:defRPr>
          <a:latin typeface="+mn-lt"/>
          <a:ea typeface="+mn-ea"/>
          <a:cs typeface="+mn-cs"/>
        </a:defRPr>
      </a:lvl4pPr>
      <a:lvl5pPr marL="831674">
        <a:defRPr>
          <a:latin typeface="+mn-lt"/>
          <a:ea typeface="+mn-ea"/>
          <a:cs typeface="+mn-cs"/>
        </a:defRPr>
      </a:lvl5pPr>
      <a:lvl6pPr marL="1039593">
        <a:defRPr>
          <a:latin typeface="+mn-lt"/>
          <a:ea typeface="+mn-ea"/>
          <a:cs typeface="+mn-cs"/>
        </a:defRPr>
      </a:lvl6pPr>
      <a:lvl7pPr marL="1247511">
        <a:defRPr>
          <a:latin typeface="+mn-lt"/>
          <a:ea typeface="+mn-ea"/>
          <a:cs typeface="+mn-cs"/>
        </a:defRPr>
      </a:lvl7pPr>
      <a:lvl8pPr marL="1455430">
        <a:defRPr>
          <a:latin typeface="+mn-lt"/>
          <a:ea typeface="+mn-ea"/>
          <a:cs typeface="+mn-cs"/>
        </a:defRPr>
      </a:lvl8pPr>
      <a:lvl9pPr marL="1663348">
        <a:defRPr>
          <a:latin typeface="+mn-lt"/>
          <a:ea typeface="+mn-ea"/>
          <a:cs typeface="+mn-cs"/>
        </a:defRPr>
      </a:lvl9pPr>
    </p:bodyStyle>
    <p:otherStyle>
      <a:lvl1pPr marL="0">
        <a:defRPr>
          <a:latin typeface="+mn-lt"/>
          <a:ea typeface="+mn-ea"/>
          <a:cs typeface="+mn-cs"/>
        </a:defRPr>
      </a:lvl1pPr>
      <a:lvl2pPr marL="207919">
        <a:defRPr>
          <a:latin typeface="+mn-lt"/>
          <a:ea typeface="+mn-ea"/>
          <a:cs typeface="+mn-cs"/>
        </a:defRPr>
      </a:lvl2pPr>
      <a:lvl3pPr marL="415837">
        <a:defRPr>
          <a:latin typeface="+mn-lt"/>
          <a:ea typeface="+mn-ea"/>
          <a:cs typeface="+mn-cs"/>
        </a:defRPr>
      </a:lvl3pPr>
      <a:lvl4pPr marL="623756">
        <a:defRPr>
          <a:latin typeface="+mn-lt"/>
          <a:ea typeface="+mn-ea"/>
          <a:cs typeface="+mn-cs"/>
        </a:defRPr>
      </a:lvl4pPr>
      <a:lvl5pPr marL="831674">
        <a:defRPr>
          <a:latin typeface="+mn-lt"/>
          <a:ea typeface="+mn-ea"/>
          <a:cs typeface="+mn-cs"/>
        </a:defRPr>
      </a:lvl5pPr>
      <a:lvl6pPr marL="1039593">
        <a:defRPr>
          <a:latin typeface="+mn-lt"/>
          <a:ea typeface="+mn-ea"/>
          <a:cs typeface="+mn-cs"/>
        </a:defRPr>
      </a:lvl6pPr>
      <a:lvl7pPr marL="1247511">
        <a:defRPr>
          <a:latin typeface="+mn-lt"/>
          <a:ea typeface="+mn-ea"/>
          <a:cs typeface="+mn-cs"/>
        </a:defRPr>
      </a:lvl7pPr>
      <a:lvl8pPr marL="1455430">
        <a:defRPr>
          <a:latin typeface="+mn-lt"/>
          <a:ea typeface="+mn-ea"/>
          <a:cs typeface="+mn-cs"/>
        </a:defRPr>
      </a:lvl8pPr>
      <a:lvl9pPr marL="1663348">
        <a:defRPr>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2378221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57"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3200" y="195486"/>
            <a:ext cx="8516475" cy="360040"/>
          </a:xfrm>
          <a:prstGeom prst="rect">
            <a:avLst/>
          </a:prstGeom>
        </p:spPr>
        <p:txBody>
          <a:bodyPr vert="horz" lIns="0" tIns="0" rIns="0" bIns="0" rtlCol="0" anchor="t" anchorCtr="0">
            <a:noAutofit/>
          </a:bodyPr>
          <a:lstStyle/>
          <a:p>
            <a:r>
              <a:rPr lang="en-US" dirty="0"/>
              <a:t>Click to edit title</a:t>
            </a:r>
            <a:endParaRPr lang="en-GB" dirty="0"/>
          </a:p>
        </p:txBody>
      </p:sp>
      <p:sp>
        <p:nvSpPr>
          <p:cNvPr id="3" name="Text Placeholder 2"/>
          <p:cNvSpPr>
            <a:spLocks noGrp="1"/>
          </p:cNvSpPr>
          <p:nvPr>
            <p:ph type="body" idx="1"/>
          </p:nvPr>
        </p:nvSpPr>
        <p:spPr>
          <a:xfrm>
            <a:off x="313200" y="987574"/>
            <a:ext cx="8516475" cy="3563789"/>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p:txBody>
      </p:sp>
      <p:sp>
        <p:nvSpPr>
          <p:cNvPr id="9" name="Text Placeholder 10"/>
          <p:cNvSpPr txBox="1">
            <a:spLocks/>
          </p:cNvSpPr>
          <p:nvPr/>
        </p:nvSpPr>
        <p:spPr>
          <a:xfrm>
            <a:off x="314325" y="4535485"/>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200"/>
              </a:spcAft>
              <a:buClr>
                <a:srgbClr val="FFFFFF"/>
              </a:buClr>
              <a:defRPr/>
            </a:pPr>
            <a:fld id="{8702007A-2642-4DC4-A457-FD791426C840}" type="slidenum">
              <a:rPr lang="en-GB" sz="800">
                <a:solidFill>
                  <a:srgbClr val="000000"/>
                </a:solidFill>
                <a:latin typeface="Helvetica 75 Bold" panose="020B0804020202020204" pitchFamily="34" charset="0"/>
              </a:rPr>
              <a:pPr>
                <a:lnSpc>
                  <a:spcPct val="85000"/>
                </a:lnSpc>
                <a:spcAft>
                  <a:spcPts val="1200"/>
                </a:spcAft>
                <a:buClr>
                  <a:srgbClr val="FFFFFF"/>
                </a:buClr>
                <a:defRPr/>
              </a:pPr>
              <a:t>‹N°›</a:t>
            </a:fld>
            <a:endParaRPr lang="en-GB"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42845574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400"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2360257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53"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3200" y="195486"/>
            <a:ext cx="8516475" cy="360040"/>
          </a:xfrm>
          <a:prstGeom prst="rect">
            <a:avLst/>
          </a:prstGeom>
        </p:spPr>
        <p:txBody>
          <a:bodyPr vert="horz" lIns="0" tIns="0" rIns="0" bIns="0" rtlCol="0" anchor="t" anchorCtr="0">
            <a:noAutofit/>
          </a:bodyPr>
          <a:lstStyle/>
          <a:p>
            <a:r>
              <a:rPr lang="en-US" dirty="0"/>
              <a:t>Click to edit title</a:t>
            </a:r>
            <a:endParaRPr lang="en-GB" dirty="0"/>
          </a:p>
        </p:txBody>
      </p:sp>
      <p:sp>
        <p:nvSpPr>
          <p:cNvPr id="3" name="Text Placeholder 2"/>
          <p:cNvSpPr>
            <a:spLocks noGrp="1"/>
          </p:cNvSpPr>
          <p:nvPr>
            <p:ph type="body" idx="1"/>
          </p:nvPr>
        </p:nvSpPr>
        <p:spPr>
          <a:xfrm>
            <a:off x="313200" y="987574"/>
            <a:ext cx="8516475" cy="3563789"/>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p:txBody>
      </p:sp>
      <p:sp>
        <p:nvSpPr>
          <p:cNvPr id="9" name="Text Placeholder 10"/>
          <p:cNvSpPr txBox="1">
            <a:spLocks/>
          </p:cNvSpPr>
          <p:nvPr/>
        </p:nvSpPr>
        <p:spPr>
          <a:xfrm>
            <a:off x="314325" y="4535485"/>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200"/>
              </a:spcAft>
              <a:buClr>
                <a:srgbClr val="FFFFFF"/>
              </a:buClr>
              <a:defRPr/>
            </a:pPr>
            <a:fld id="{8702007A-2642-4DC4-A457-FD791426C840}" type="slidenum">
              <a:rPr lang="en-GB" sz="800">
                <a:solidFill>
                  <a:srgbClr val="000000"/>
                </a:solidFill>
                <a:latin typeface="Helvetica 75 Bold" panose="020B0804020202020204" pitchFamily="34" charset="0"/>
              </a:rPr>
              <a:pPr>
                <a:lnSpc>
                  <a:spcPct val="85000"/>
                </a:lnSpc>
                <a:spcAft>
                  <a:spcPts val="1200"/>
                </a:spcAft>
                <a:buClr>
                  <a:srgbClr val="FFFFFF"/>
                </a:buClr>
                <a:defRPr/>
              </a:pPr>
              <a:t>‹N°›</a:t>
            </a:fld>
            <a:endParaRPr lang="en-GB"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2149733835"/>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400"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297862084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374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7"/>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54">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defTabSz="914354">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69450718"/>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354"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354"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354"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66" indent="-180966" algn="l" defTabSz="914354"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68" indent="-190490" algn="l" defTabSz="914354"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283" indent="-173030" algn="l" defTabSz="914354"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060" indent="-190490" algn="l" defTabSz="914354"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652"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8"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8"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573421417"/>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886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7"/>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54">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defTabSz="914354">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4084638346"/>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354"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354"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354"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66" indent="-180966" algn="l" defTabSz="914354"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68" indent="-190490" algn="l" defTabSz="914354"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283" indent="-173030" algn="l" defTabSz="914354"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060" indent="-190490" algn="l" defTabSz="914354"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652"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8"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8"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279614727"/>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89106"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7"/>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54">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defTabSz="914354">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80563202"/>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354"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354"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354"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66" indent="-180966" algn="l" defTabSz="914354"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68" indent="-190490" algn="l" defTabSz="914354"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283" indent="-173030" algn="l" defTabSz="914354"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060" indent="-190490" algn="l" defTabSz="914354"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652"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8"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8"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2878974051"/>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422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7"/>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54">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defTabSz="914354">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361147918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354"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354"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354"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66" indent="-180966" algn="l" defTabSz="914354"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68" indent="-190490" algn="l" defTabSz="914354"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283" indent="-173030" algn="l" defTabSz="914354"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060" indent="-190490" algn="l" defTabSz="914354"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652"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8"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8"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162298900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037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7"/>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54">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defTabSz="914354">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2419598411"/>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2"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354"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354"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354"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66" indent="-180966" algn="l" defTabSz="914354"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68" indent="-190490" algn="l" defTabSz="914354"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283" indent="-173030" algn="l" defTabSz="914354"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060" indent="-190490" algn="l" defTabSz="914354"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652"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8"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8"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866403053"/>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317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90"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4325" y="267496"/>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7"/>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9"/>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54">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defTabSz="914354">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3496999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0"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354"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354"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354"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66" indent="-180966" algn="l" defTabSz="914354"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68" indent="-190490" algn="l" defTabSz="914354"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283" indent="-173030" algn="l" defTabSz="914354"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060" indent="-190490" algn="l" defTabSz="914354"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652"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8"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8"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4325" y="267496"/>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7"/>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8"/>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33">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defTabSz="914333">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17745399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marL="0" indent="0" algn="l" defTabSz="914333"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333"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333"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62" indent="-180962" algn="l" defTabSz="914333"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58" indent="-190487" algn="l" defTabSz="914333"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268" indent="-173026" algn="l" defTabSz="914333"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040" indent="-190487" algn="l" defTabSz="914333"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578" indent="-228582" algn="l" defTabSz="91433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744" indent="-228582" algn="l" defTabSz="91433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909" indent="-228582" algn="l" defTabSz="91433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8" algn="l" defTabSz="914333" rtl="0" eaLnBrk="1" latinLnBrk="0" hangingPunct="1">
        <a:defRPr sz="1800" kern="1200">
          <a:solidFill>
            <a:schemeClr val="tx1"/>
          </a:solidFill>
          <a:latin typeface="+mn-lt"/>
          <a:ea typeface="+mn-ea"/>
          <a:cs typeface="+mn-cs"/>
        </a:defRPr>
      </a:lvl4pPr>
      <a:lvl5pPr marL="1828664" algn="l" defTabSz="914333" rtl="0" eaLnBrk="1" latinLnBrk="0" hangingPunct="1">
        <a:defRPr sz="1800" kern="1200">
          <a:solidFill>
            <a:schemeClr val="tx1"/>
          </a:solidFill>
          <a:latin typeface="+mn-lt"/>
          <a:ea typeface="+mn-ea"/>
          <a:cs typeface="+mn-cs"/>
        </a:defRPr>
      </a:lvl5pPr>
      <a:lvl6pPr marL="2285829" algn="l" defTabSz="914333" rtl="0" eaLnBrk="1" latinLnBrk="0" hangingPunct="1">
        <a:defRPr sz="1800" kern="1200">
          <a:solidFill>
            <a:schemeClr val="tx1"/>
          </a:solidFill>
          <a:latin typeface="+mn-lt"/>
          <a:ea typeface="+mn-ea"/>
          <a:cs typeface="+mn-cs"/>
        </a:defRPr>
      </a:lvl6pPr>
      <a:lvl7pPr marL="2742995" algn="l" defTabSz="914333" rtl="0" eaLnBrk="1" latinLnBrk="0" hangingPunct="1">
        <a:defRPr sz="1800" kern="1200">
          <a:solidFill>
            <a:schemeClr val="tx1"/>
          </a:solidFill>
          <a:latin typeface="+mn-lt"/>
          <a:ea typeface="+mn-ea"/>
          <a:cs typeface="+mn-cs"/>
        </a:defRPr>
      </a:lvl7pPr>
      <a:lvl8pPr marL="3200160" algn="l" defTabSz="914333" rtl="0" eaLnBrk="1" latinLnBrk="0" hangingPunct="1">
        <a:defRPr sz="1800" kern="1200">
          <a:solidFill>
            <a:schemeClr val="tx1"/>
          </a:solidFill>
          <a:latin typeface="+mn-lt"/>
          <a:ea typeface="+mn-ea"/>
          <a:cs typeface="+mn-cs"/>
        </a:defRPr>
      </a:lvl8pPr>
      <a:lvl9pPr marL="3657326"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e du titre"/>
          <p:cNvSpPr>
            <a:spLocks noGrp="1"/>
          </p:cNvSpPr>
          <p:nvPr>
            <p:ph type="title"/>
          </p:nvPr>
        </p:nvSpPr>
        <p:spPr>
          <a:xfrm>
            <a:off x="628650" y="273844"/>
            <a:ext cx="7886700" cy="994172"/>
          </a:xfrm>
          <a:prstGeom prst="rect">
            <a:avLst/>
          </a:prstGeom>
          <a:ln w="254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lIns="34288" tIns="34288" rIns="34288" bIns="34288" anchor="ctr">
            <a:normAutofit/>
          </a:bodyPr>
          <a:lstStyle/>
          <a:p>
            <a:r>
              <a:t>Texte du titre</a:t>
            </a:r>
          </a:p>
        </p:txBody>
      </p:sp>
      <p:sp>
        <p:nvSpPr>
          <p:cNvPr id="3" name="Texte niveau 1…"/>
          <p:cNvSpPr>
            <a:spLocks noGrp="1"/>
          </p:cNvSpPr>
          <p:nvPr>
            <p:ph type="body" idx="1"/>
          </p:nvPr>
        </p:nvSpPr>
        <p:spPr>
          <a:xfrm>
            <a:off x="628650" y="1369218"/>
            <a:ext cx="7886700" cy="3263504"/>
          </a:xfrm>
          <a:prstGeom prst="rect">
            <a:avLst/>
          </a:prstGeom>
          <a:ln w="254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lIns="34288" tIns="34288" rIns="34288" bIns="34288">
            <a:normAutofit/>
          </a:bodyPr>
          <a:lstStyle/>
          <a:p>
            <a:r>
              <a:t>Texte niveau 1</a:t>
            </a:r>
          </a:p>
          <a:p>
            <a:pPr lvl="1"/>
            <a:r>
              <a:t>Texte niveau 2</a:t>
            </a:r>
          </a:p>
          <a:p>
            <a:pPr lvl="2"/>
            <a:r>
              <a:t>Texte niveau 3</a:t>
            </a:r>
          </a:p>
          <a:p>
            <a:pPr lvl="3"/>
            <a:r>
              <a:t>Texte niveau 4</a:t>
            </a:r>
          </a:p>
          <a:p>
            <a:pPr lvl="4"/>
            <a:r>
              <a:t>Texte niveau 5</a:t>
            </a:r>
          </a:p>
        </p:txBody>
      </p:sp>
      <p:sp>
        <p:nvSpPr>
          <p:cNvPr id="4" name="Numéro de diapositive"/>
          <p:cNvSpPr>
            <a:spLocks noGrp="1"/>
          </p:cNvSpPr>
          <p:nvPr>
            <p:ph type="sldNum" sz="quarter" idx="2"/>
          </p:nvPr>
        </p:nvSpPr>
        <p:spPr>
          <a:xfrm>
            <a:off x="8247129" y="4800311"/>
            <a:ext cx="268221" cy="207748"/>
          </a:xfrm>
          <a:prstGeom prst="rect">
            <a:avLst/>
          </a:prstGeom>
          <a:ln w="25400">
            <a:miter lim="400000"/>
          </a:ln>
        </p:spPr>
        <p:txBody>
          <a:bodyPr wrap="none" lIns="34288" tIns="34288" rIns="34288" bIns="34288" anchor="ctr">
            <a:spAutoFit/>
          </a:bodyPr>
          <a:lstStyle>
            <a:lvl1pPr algn="r">
              <a:defRPr sz="900">
                <a:solidFill>
                  <a:srgbClr val="888888"/>
                </a:solidFill>
              </a:defRPr>
            </a:lvl1pPr>
          </a:lstStyle>
          <a:p>
            <a:pPr defTabSz="685766" hangingPunct="0"/>
            <a:fld id="{86CB4B4D-7CA3-9044-876B-883B54F8677D}" type="slidenum">
              <a:rPr lang="fr-FR" kern="0" smtClean="0">
                <a:latin typeface="Calibri"/>
                <a:sym typeface="Calibri"/>
              </a:rPr>
              <a:pPr defTabSz="685766" hangingPunct="0"/>
              <a:t>‹N°›</a:t>
            </a:fld>
            <a:endParaRPr lang="fr-FR" kern="0">
              <a:latin typeface="Calibri"/>
              <a:sym typeface="Calibri"/>
            </a:endParaRPr>
          </a:p>
        </p:txBody>
      </p:sp>
    </p:spTree>
    <p:extLst>
      <p:ext uri="{BB962C8B-B14F-4D97-AF65-F5344CB8AC3E}">
        <p14:creationId xmlns:p14="http://schemas.microsoft.com/office/powerpoint/2010/main" val="28657714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935" r:id="rId12"/>
    <p:sldLayoutId id="2147483936" r:id="rId13"/>
    <p:sldLayoutId id="2147483937" r:id="rId14"/>
    <p:sldLayoutId id="2147483938" r:id="rId15"/>
  </p:sldLayoutIdLst>
  <p:transition spd="med"/>
  <p:txStyles>
    <p:titleStyle>
      <a:lvl1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1pPr>
      <a:lvl2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2pPr>
      <a:lvl3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3pPr>
      <a:lvl4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4pPr>
      <a:lvl5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5pPr>
      <a:lvl6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6pPr>
      <a:lvl7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7pPr>
      <a:lvl8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8pPr>
      <a:lvl9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9pPr>
    </p:titleStyle>
    <p:bodyStyle>
      <a:lvl1pPr marL="171442" marR="0" indent="-171442" algn="l" defTabSz="685766" rtl="0" latinLnBrk="0">
        <a:lnSpc>
          <a:spcPct val="90000"/>
        </a:lnSpc>
        <a:spcBef>
          <a:spcPts val="750"/>
        </a:spcBef>
        <a:spcAft>
          <a:spcPts val="0"/>
        </a:spcAft>
        <a:buClrTx/>
        <a:buSzPct val="100000"/>
        <a:buFont typeface="Arial"/>
        <a:buChar char="•"/>
        <a:tabLst/>
        <a:defRPr sz="2100" b="0" i="0" u="none" strike="noStrike" cap="none" spc="0" baseline="0">
          <a:ln>
            <a:noFill/>
          </a:ln>
          <a:solidFill>
            <a:srgbClr val="000000"/>
          </a:solidFill>
          <a:uFillTx/>
          <a:latin typeface="+mj-lt"/>
          <a:ea typeface="+mj-ea"/>
          <a:cs typeface="+mj-cs"/>
          <a:sym typeface="Calibri"/>
        </a:defRPr>
      </a:lvl1pPr>
      <a:lvl2pPr marL="371457" marR="0" indent="-200015" algn="l" defTabSz="685766" rtl="0" latinLnBrk="0">
        <a:lnSpc>
          <a:spcPct val="90000"/>
        </a:lnSpc>
        <a:spcBef>
          <a:spcPts val="750"/>
        </a:spcBef>
        <a:spcAft>
          <a:spcPts val="0"/>
        </a:spcAft>
        <a:buClrTx/>
        <a:buSzPct val="100000"/>
        <a:buFont typeface="Arial"/>
        <a:buChar char="•"/>
        <a:tabLst/>
        <a:defRPr sz="2100" b="0" i="0" u="none" strike="noStrike" cap="none" spc="0" baseline="0">
          <a:ln>
            <a:noFill/>
          </a:ln>
          <a:solidFill>
            <a:srgbClr val="000000"/>
          </a:solidFill>
          <a:uFillTx/>
          <a:latin typeface="+mj-lt"/>
          <a:ea typeface="+mj-ea"/>
          <a:cs typeface="+mj-cs"/>
          <a:sym typeface="Calibri"/>
        </a:defRPr>
      </a:lvl2pPr>
      <a:lvl3pPr marL="582900" marR="0" indent="-240018" algn="l" defTabSz="685766" rtl="0" latinLnBrk="0">
        <a:lnSpc>
          <a:spcPct val="90000"/>
        </a:lnSpc>
        <a:spcBef>
          <a:spcPts val="750"/>
        </a:spcBef>
        <a:spcAft>
          <a:spcPts val="0"/>
        </a:spcAft>
        <a:buClrTx/>
        <a:buSzPct val="100000"/>
        <a:buFont typeface="Arial"/>
        <a:buChar char="•"/>
        <a:tabLst/>
        <a:defRPr sz="2100" b="0" i="0" u="none" strike="noStrike" cap="none" spc="0" baseline="0">
          <a:ln>
            <a:noFill/>
          </a:ln>
          <a:solidFill>
            <a:srgbClr val="000000"/>
          </a:solidFill>
          <a:uFillTx/>
          <a:latin typeface="+mj-lt"/>
          <a:ea typeface="+mj-ea"/>
          <a:cs typeface="+mj-cs"/>
          <a:sym typeface="Calibri"/>
        </a:defRPr>
      </a:lvl3pPr>
      <a:lvl4pPr marL="781011" marR="0" indent="-266687" algn="l" defTabSz="685766" rtl="0" latinLnBrk="0">
        <a:lnSpc>
          <a:spcPct val="90000"/>
        </a:lnSpc>
        <a:spcBef>
          <a:spcPts val="750"/>
        </a:spcBef>
        <a:spcAft>
          <a:spcPts val="0"/>
        </a:spcAft>
        <a:buClrTx/>
        <a:buSzPct val="100000"/>
        <a:buFont typeface="Arial"/>
        <a:buChar char="•"/>
        <a:tabLst/>
        <a:defRPr sz="2100" b="0" i="0" u="none" strike="noStrike" cap="none" spc="0" baseline="0">
          <a:ln>
            <a:noFill/>
          </a:ln>
          <a:solidFill>
            <a:srgbClr val="000000"/>
          </a:solidFill>
          <a:uFillTx/>
          <a:latin typeface="+mj-lt"/>
          <a:ea typeface="+mj-ea"/>
          <a:cs typeface="+mj-cs"/>
          <a:sym typeface="Calibri"/>
        </a:defRPr>
      </a:lvl4pPr>
      <a:lvl5pPr marL="952452" marR="0" indent="-266687" algn="l" defTabSz="685766" rtl="0" latinLnBrk="0">
        <a:lnSpc>
          <a:spcPct val="90000"/>
        </a:lnSpc>
        <a:spcBef>
          <a:spcPts val="750"/>
        </a:spcBef>
        <a:spcAft>
          <a:spcPts val="0"/>
        </a:spcAft>
        <a:buClrTx/>
        <a:buSzPct val="100000"/>
        <a:buFont typeface="Arial"/>
        <a:buChar char="•"/>
        <a:tabLst/>
        <a:defRPr sz="2100" b="0" i="0" u="none" strike="noStrike" cap="none" spc="0" baseline="0">
          <a:ln>
            <a:noFill/>
          </a:ln>
          <a:solidFill>
            <a:srgbClr val="000000"/>
          </a:solidFill>
          <a:uFillTx/>
          <a:latin typeface="+mj-lt"/>
          <a:ea typeface="+mj-ea"/>
          <a:cs typeface="+mj-cs"/>
          <a:sym typeface="Calibri"/>
        </a:defRPr>
      </a:lvl5pPr>
      <a:lvl6pPr marL="1123894" marR="0" indent="-266687" algn="l" defTabSz="685766" rtl="0" latinLnBrk="0">
        <a:lnSpc>
          <a:spcPct val="90000"/>
        </a:lnSpc>
        <a:spcBef>
          <a:spcPts val="750"/>
        </a:spcBef>
        <a:spcAft>
          <a:spcPts val="0"/>
        </a:spcAft>
        <a:buClrTx/>
        <a:buSzPct val="100000"/>
        <a:buFont typeface="Arial"/>
        <a:buChar char="•"/>
        <a:tabLst/>
        <a:defRPr sz="2100" b="0" i="0" u="none" strike="noStrike" cap="none" spc="0" baseline="0">
          <a:ln>
            <a:noFill/>
          </a:ln>
          <a:solidFill>
            <a:srgbClr val="000000"/>
          </a:solidFill>
          <a:uFillTx/>
          <a:latin typeface="+mj-lt"/>
          <a:ea typeface="+mj-ea"/>
          <a:cs typeface="+mj-cs"/>
          <a:sym typeface="Calibri"/>
        </a:defRPr>
      </a:lvl6pPr>
      <a:lvl7pPr marL="1295336" marR="0" indent="-266687" algn="l" defTabSz="685766" rtl="0" latinLnBrk="0">
        <a:lnSpc>
          <a:spcPct val="90000"/>
        </a:lnSpc>
        <a:spcBef>
          <a:spcPts val="750"/>
        </a:spcBef>
        <a:spcAft>
          <a:spcPts val="0"/>
        </a:spcAft>
        <a:buClrTx/>
        <a:buSzPct val="100000"/>
        <a:buFont typeface="Arial"/>
        <a:buChar char="•"/>
        <a:tabLst/>
        <a:defRPr sz="2100" b="0" i="0" u="none" strike="noStrike" cap="none" spc="0" baseline="0">
          <a:ln>
            <a:noFill/>
          </a:ln>
          <a:solidFill>
            <a:srgbClr val="000000"/>
          </a:solidFill>
          <a:uFillTx/>
          <a:latin typeface="+mj-lt"/>
          <a:ea typeface="+mj-ea"/>
          <a:cs typeface="+mj-cs"/>
          <a:sym typeface="Calibri"/>
        </a:defRPr>
      </a:lvl7pPr>
      <a:lvl8pPr marL="1466777" marR="0" indent="-266687" algn="l" defTabSz="685766" rtl="0" latinLnBrk="0">
        <a:lnSpc>
          <a:spcPct val="90000"/>
        </a:lnSpc>
        <a:spcBef>
          <a:spcPts val="750"/>
        </a:spcBef>
        <a:spcAft>
          <a:spcPts val="0"/>
        </a:spcAft>
        <a:buClrTx/>
        <a:buSzPct val="100000"/>
        <a:buFont typeface="Arial"/>
        <a:buChar char="•"/>
        <a:tabLst/>
        <a:defRPr sz="2100" b="0" i="0" u="none" strike="noStrike" cap="none" spc="0" baseline="0">
          <a:ln>
            <a:noFill/>
          </a:ln>
          <a:solidFill>
            <a:srgbClr val="000000"/>
          </a:solidFill>
          <a:uFillTx/>
          <a:latin typeface="+mj-lt"/>
          <a:ea typeface="+mj-ea"/>
          <a:cs typeface="+mj-cs"/>
          <a:sym typeface="Calibri"/>
        </a:defRPr>
      </a:lvl8pPr>
      <a:lvl9pPr marL="1638218" marR="0" indent="-266687" algn="l" defTabSz="685766" rtl="0" latinLnBrk="0">
        <a:lnSpc>
          <a:spcPct val="90000"/>
        </a:lnSpc>
        <a:spcBef>
          <a:spcPts val="750"/>
        </a:spcBef>
        <a:spcAft>
          <a:spcPts val="0"/>
        </a:spcAft>
        <a:buClrTx/>
        <a:buSzPct val="100000"/>
        <a:buFont typeface="Arial"/>
        <a:buChar char="•"/>
        <a:tabLst/>
        <a:defRPr sz="2100" b="0" i="0" u="none" strike="noStrike" cap="none" spc="0" baseline="0">
          <a:ln>
            <a:noFill/>
          </a:ln>
          <a:solidFill>
            <a:srgbClr val="000000"/>
          </a:solidFill>
          <a:uFillTx/>
          <a:latin typeface="+mj-lt"/>
          <a:ea typeface="+mj-ea"/>
          <a:cs typeface="+mj-cs"/>
          <a:sym typeface="Calibri"/>
        </a:defRPr>
      </a:lvl9pPr>
    </p:bodyStyle>
    <p:otherStyle>
      <a:lvl1pPr marL="0" marR="0" indent="0" algn="r" defTabSz="685766"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1pPr>
      <a:lvl2pPr marL="0" marR="0" indent="171442" algn="r" defTabSz="685766"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2pPr>
      <a:lvl3pPr marL="0" marR="0" indent="342882" algn="r" defTabSz="685766"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3pPr>
      <a:lvl4pPr marL="0" marR="0" indent="514324" algn="r" defTabSz="685766"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4pPr>
      <a:lvl5pPr marL="0" marR="0" indent="685766" algn="r" defTabSz="685766"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5pPr>
      <a:lvl6pPr marL="0" marR="0" indent="857208" algn="r" defTabSz="685766"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6pPr>
      <a:lvl7pPr marL="0" marR="0" indent="1028648" algn="r" defTabSz="685766"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7pPr>
      <a:lvl8pPr marL="0" marR="0" indent="1200090" algn="r" defTabSz="685766"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8pPr>
      <a:lvl9pPr marL="0" marR="0" indent="1371532" algn="r" defTabSz="685766"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1175366120"/>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828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7"/>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54">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defTabSz="914354">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181706603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354"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354"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354"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66" indent="-180966" algn="l" defTabSz="914354"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68" indent="-190490" algn="l" defTabSz="914354"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283" indent="-173030" algn="l" defTabSz="914354"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060" indent="-190490" algn="l" defTabSz="914354"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652"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8"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8"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807717895"/>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40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7"/>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54">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defTabSz="914354">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52476163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354"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354"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354"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66" indent="-180966" algn="l" defTabSz="914354"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68" indent="-190490" algn="l" defTabSz="914354"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283" indent="-173030" algn="l" defTabSz="914354"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060" indent="-190490" algn="l" defTabSz="914354"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652"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8"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8"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4135855721"/>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851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7"/>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54">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defTabSz="914354">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332416309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354"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354"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354"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66" indent="-180966" algn="l" defTabSz="914354"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68" indent="-190490" algn="l" defTabSz="914354"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283" indent="-173030" algn="l" defTabSz="914354"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060" indent="-190490" algn="l" defTabSz="914354"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652"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8"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8"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7"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002"/>
          <p:cNvGraphicFramePr>
            <a:graphicFrameLocks noChangeAspect="1"/>
          </p:cNvGraphicFramePr>
          <p:nvPr>
            <p:custDataLst>
              <p:tags r:id="rId3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38" name="think-cell Slide" r:id="rId37" imgW="360" imgH="360" progId="">
                  <p:embed/>
                </p:oleObj>
              </mc:Choice>
              <mc:Fallback>
                <p:oleObj name="think-cell Slide" r:id="rId37" imgW="360" imgH="360" progId="">
                  <p:embed/>
                  <p:pic>
                    <p:nvPicPr>
                      <p:cNvPr id="0" name=""/>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auto">
          <a:xfrm>
            <a:off x="431800" y="323850"/>
            <a:ext cx="8277225"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Modifiez le style du titre</a:t>
            </a:r>
            <a:endParaRPr lang="en-US" altLang="fr-FR"/>
          </a:p>
        </p:txBody>
      </p:sp>
      <p:sp>
        <p:nvSpPr>
          <p:cNvPr id="1028" name="Text Placeholder 2"/>
          <p:cNvSpPr>
            <a:spLocks noGrp="1"/>
          </p:cNvSpPr>
          <p:nvPr>
            <p:ph type="body" idx="1"/>
          </p:nvPr>
        </p:nvSpPr>
        <p:spPr bwMode="auto">
          <a:xfrm>
            <a:off x="431800" y="1093788"/>
            <a:ext cx="8277225" cy="372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Modifiez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endParaRPr lang="en-US" altLang="fr-FR"/>
          </a:p>
        </p:txBody>
      </p:sp>
      <p:sp>
        <p:nvSpPr>
          <p:cNvPr id="15" name="Slide Number Placeholder 5">
            <a:extLst>
              <a:ext uri="{FF2B5EF4-FFF2-40B4-BE49-F238E27FC236}">
                <a16:creationId xmlns:a16="http://schemas.microsoft.com/office/drawing/2014/main" id="{FD3553D7-0BCB-4CA7-BED6-C734930D9DB1}"/>
              </a:ext>
            </a:extLst>
          </p:cNvPr>
          <p:cNvSpPr>
            <a:spLocks noGrp="1"/>
          </p:cNvSpPr>
          <p:nvPr>
            <p:ph type="sldNum" sz="quarter" idx="4"/>
          </p:nvPr>
        </p:nvSpPr>
        <p:spPr>
          <a:xfrm>
            <a:off x="431800" y="4924425"/>
            <a:ext cx="565150" cy="123825"/>
          </a:xfrm>
          <a:prstGeom prst="rect">
            <a:avLst/>
          </a:prstGeom>
        </p:spPr>
        <p:txBody>
          <a:bodyPr vert="horz" wrap="square" lIns="0" tIns="0" rIns="0" bIns="0" numCol="1" anchor="t" anchorCtr="0" compatLnSpc="1">
            <a:prstTxWarp prst="textNoShape">
              <a:avLst/>
            </a:prstTxWarp>
            <a:spAutoFit/>
          </a:bodyPr>
          <a:lstStyle>
            <a:lvl1pPr eaLnBrk="1" hangingPunct="1">
              <a:defRPr sz="800">
                <a:solidFill>
                  <a:srgbClr val="000000"/>
                </a:solidFill>
                <a:latin typeface="Helvetica 35 Thin" pitchFamily="34" charset="0"/>
              </a:defRPr>
            </a:lvl1pPr>
          </a:lstStyle>
          <a:p>
            <a:pPr defTabSz="912813" fontAlgn="base">
              <a:spcBef>
                <a:spcPct val="0"/>
              </a:spcBef>
              <a:spcAft>
                <a:spcPct val="0"/>
              </a:spcAft>
            </a:pPr>
            <a:fld id="{FC4A40E4-592C-4A31-8D43-49DA2CBC9860}" type="slidenum">
              <a:rPr lang="fr-FR" altLang="fr-FR" smtClean="0">
                <a:cs typeface="Arial" pitchFamily="34" charset="0"/>
              </a:rPr>
              <a:pPr defTabSz="912813" fontAlgn="base">
                <a:spcBef>
                  <a:spcPct val="0"/>
                </a:spcBef>
                <a:spcAft>
                  <a:spcPct val="0"/>
                </a:spcAft>
              </a:pPr>
              <a:t>‹N°›</a:t>
            </a:fld>
            <a:endParaRPr lang="fr-FR" altLang="fr-FR">
              <a:cs typeface="Arial" pitchFamily="34" charset="0"/>
            </a:endParaRPr>
          </a:p>
        </p:txBody>
      </p:sp>
    </p:spTree>
    <p:extLst>
      <p:ext uri="{BB962C8B-B14F-4D97-AF65-F5344CB8AC3E}">
        <p14:creationId xmlns:p14="http://schemas.microsoft.com/office/powerpoint/2010/main" val="923751212"/>
      </p:ext>
    </p:extLst>
  </p:cSld>
  <p:clrMap bg1="dk1" tx1="lt1" bg2="dk2" tx2="lt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 id="2147483811" r:id="rId30"/>
    <p:sldLayoutId id="2147483812" r:id="rId31"/>
    <p:sldLayoutId id="2147483813" r:id="rId32"/>
    <p:sldLayoutId id="2147483814" r:id="rId33"/>
  </p:sldLayoutIdLst>
  <p:transition spd="med">
    <p:fade/>
  </p:transition>
  <p:hf hdr="0" dt="0"/>
  <p:txStyles>
    <p:titleStyle>
      <a:lvl1pPr algn="l" defTabSz="615950" rtl="0" eaLnBrk="0" fontAlgn="base" hangingPunct="0">
        <a:spcBef>
          <a:spcPct val="0"/>
        </a:spcBef>
        <a:spcAft>
          <a:spcPts val="1438"/>
        </a:spcAft>
        <a:defRPr sz="1900" kern="1200">
          <a:solidFill>
            <a:schemeClr val="tx2"/>
          </a:solidFill>
          <a:latin typeface="+mj-lt"/>
          <a:ea typeface="+mj-ea"/>
          <a:cs typeface="+mj-cs"/>
        </a:defRPr>
      </a:lvl1pPr>
      <a:lvl2pPr algn="l" defTabSz="615950" rtl="0" eaLnBrk="0" fontAlgn="base" hangingPunct="0">
        <a:spcBef>
          <a:spcPct val="0"/>
        </a:spcBef>
        <a:spcAft>
          <a:spcPts val="1438"/>
        </a:spcAft>
        <a:defRPr sz="1900">
          <a:solidFill>
            <a:schemeClr val="tx2"/>
          </a:solidFill>
          <a:latin typeface="Helvetica 75 Bold"/>
        </a:defRPr>
      </a:lvl2pPr>
      <a:lvl3pPr algn="l" defTabSz="615950" rtl="0" eaLnBrk="0" fontAlgn="base" hangingPunct="0">
        <a:spcBef>
          <a:spcPct val="0"/>
        </a:spcBef>
        <a:spcAft>
          <a:spcPts val="1438"/>
        </a:spcAft>
        <a:defRPr sz="1900">
          <a:solidFill>
            <a:schemeClr val="tx2"/>
          </a:solidFill>
          <a:latin typeface="Helvetica 75 Bold"/>
        </a:defRPr>
      </a:lvl3pPr>
      <a:lvl4pPr algn="l" defTabSz="615950" rtl="0" eaLnBrk="0" fontAlgn="base" hangingPunct="0">
        <a:spcBef>
          <a:spcPct val="0"/>
        </a:spcBef>
        <a:spcAft>
          <a:spcPts val="1438"/>
        </a:spcAft>
        <a:defRPr sz="1900">
          <a:solidFill>
            <a:schemeClr val="tx2"/>
          </a:solidFill>
          <a:latin typeface="Helvetica 75 Bold"/>
        </a:defRPr>
      </a:lvl4pPr>
      <a:lvl5pPr algn="l" defTabSz="615950" rtl="0" eaLnBrk="0" fontAlgn="base" hangingPunct="0">
        <a:spcBef>
          <a:spcPct val="0"/>
        </a:spcBef>
        <a:spcAft>
          <a:spcPts val="1438"/>
        </a:spcAft>
        <a:defRPr sz="1900">
          <a:solidFill>
            <a:schemeClr val="tx2"/>
          </a:solidFill>
          <a:latin typeface="Helvetica 75 Bold"/>
        </a:defRPr>
      </a:lvl5pPr>
      <a:lvl6pPr marL="457200" algn="l" defTabSz="615950" rtl="0" fontAlgn="base">
        <a:spcBef>
          <a:spcPct val="0"/>
        </a:spcBef>
        <a:spcAft>
          <a:spcPts val="1438"/>
        </a:spcAft>
        <a:defRPr sz="1900">
          <a:solidFill>
            <a:schemeClr val="tx2"/>
          </a:solidFill>
          <a:latin typeface="Helvetica 75 Bold"/>
        </a:defRPr>
      </a:lvl6pPr>
      <a:lvl7pPr marL="914400" algn="l" defTabSz="615950" rtl="0" fontAlgn="base">
        <a:spcBef>
          <a:spcPct val="0"/>
        </a:spcBef>
        <a:spcAft>
          <a:spcPts val="1438"/>
        </a:spcAft>
        <a:defRPr sz="1900">
          <a:solidFill>
            <a:schemeClr val="tx2"/>
          </a:solidFill>
          <a:latin typeface="Helvetica 75 Bold"/>
        </a:defRPr>
      </a:lvl7pPr>
      <a:lvl8pPr marL="1371600" algn="l" defTabSz="615950" rtl="0" fontAlgn="base">
        <a:spcBef>
          <a:spcPct val="0"/>
        </a:spcBef>
        <a:spcAft>
          <a:spcPts val="1438"/>
        </a:spcAft>
        <a:defRPr sz="1900">
          <a:solidFill>
            <a:schemeClr val="tx2"/>
          </a:solidFill>
          <a:latin typeface="Helvetica 75 Bold"/>
        </a:defRPr>
      </a:lvl8pPr>
      <a:lvl9pPr marL="1828800" algn="l" defTabSz="615950" rtl="0" fontAlgn="base">
        <a:spcBef>
          <a:spcPct val="0"/>
        </a:spcBef>
        <a:spcAft>
          <a:spcPts val="1438"/>
        </a:spcAft>
        <a:defRPr sz="1900">
          <a:solidFill>
            <a:schemeClr val="tx2"/>
          </a:solidFill>
          <a:latin typeface="Helvetica 75 Bold"/>
        </a:defRPr>
      </a:lvl9pPr>
    </p:titleStyle>
    <p:bodyStyle>
      <a:lvl1pPr algn="l" defTabSz="615950" rtl="0" eaLnBrk="0" fontAlgn="base" hangingPunct="0">
        <a:spcBef>
          <a:spcPct val="0"/>
        </a:spcBef>
        <a:spcAft>
          <a:spcPts val="725"/>
        </a:spcAft>
        <a:buFont typeface="Arial" pitchFamily="34" charset="0"/>
        <a:defRPr sz="1400" kern="1200">
          <a:solidFill>
            <a:schemeClr val="tx2"/>
          </a:solidFill>
          <a:latin typeface="+mj-lt"/>
          <a:ea typeface="+mn-ea"/>
          <a:cs typeface="+mn-cs"/>
        </a:defRPr>
      </a:lvl1pPr>
      <a:lvl2pPr algn="l" defTabSz="615950" rtl="0" eaLnBrk="0" fontAlgn="base" hangingPunct="0">
        <a:spcBef>
          <a:spcPct val="0"/>
        </a:spcBef>
        <a:spcAft>
          <a:spcPts val="725"/>
        </a:spcAft>
        <a:buFont typeface="Arial" pitchFamily="34" charset="0"/>
        <a:defRPr sz="1400" kern="1200">
          <a:solidFill>
            <a:schemeClr val="tx1"/>
          </a:solidFill>
          <a:latin typeface="+mj-lt"/>
          <a:ea typeface="+mn-ea"/>
          <a:cs typeface="+mn-cs"/>
        </a:defRPr>
      </a:lvl2pPr>
      <a:lvl3pPr marL="158750" indent="-158750" algn="l" defTabSz="615950" rtl="0" eaLnBrk="0" fontAlgn="base" hangingPunct="0">
        <a:spcBef>
          <a:spcPct val="0"/>
        </a:spcBef>
        <a:spcAft>
          <a:spcPts val="725"/>
        </a:spcAft>
        <a:buFont typeface="Helvetica 75" pitchFamily="34" charset="0"/>
        <a:buChar char="-"/>
        <a:defRPr sz="1400" kern="1200">
          <a:solidFill>
            <a:schemeClr val="tx1"/>
          </a:solidFill>
          <a:latin typeface="+mj-lt"/>
          <a:ea typeface="+mn-ea"/>
          <a:cs typeface="+mn-cs"/>
        </a:defRPr>
      </a:lvl3pPr>
      <a:lvl4pPr marL="325438" indent="-161925" algn="l" defTabSz="615950" rtl="0" eaLnBrk="0" fontAlgn="base" hangingPunct="0">
        <a:spcBef>
          <a:spcPct val="0"/>
        </a:spcBef>
        <a:spcAft>
          <a:spcPts val="725"/>
        </a:spcAft>
        <a:buFont typeface="Helvetica 75" pitchFamily="34" charset="0"/>
        <a:buChar char="-"/>
        <a:defRPr sz="1400" kern="1200">
          <a:solidFill>
            <a:schemeClr val="tx1"/>
          </a:solidFill>
          <a:latin typeface="+mj-lt"/>
          <a:ea typeface="+mn-ea"/>
          <a:cs typeface="+mn-cs"/>
        </a:defRPr>
      </a:lvl4pPr>
      <a:lvl5pPr marL="487363" indent="-161925" algn="l" defTabSz="615950" rtl="0" eaLnBrk="0" fontAlgn="base" hangingPunct="0">
        <a:spcBef>
          <a:spcPct val="0"/>
        </a:spcBef>
        <a:spcAft>
          <a:spcPts val="725"/>
        </a:spcAft>
        <a:buFont typeface="Helvetica 75" pitchFamily="34" charset="0"/>
        <a:buChar char="-"/>
        <a:defRPr sz="1400" kern="1200">
          <a:solidFill>
            <a:schemeClr val="tx1"/>
          </a:solidFill>
          <a:latin typeface="+mj-lt"/>
          <a:ea typeface="+mn-ea"/>
          <a:cs typeface="+mn-cs"/>
        </a:defRPr>
      </a:lvl5pPr>
      <a:lvl6pPr marL="1697356" indent="-154306" algn="l" defTabSz="617220" rtl="0" eaLnBrk="1" latinLnBrk="0" hangingPunct="1">
        <a:lnSpc>
          <a:spcPct val="90000"/>
        </a:lnSpc>
        <a:spcBef>
          <a:spcPts val="337"/>
        </a:spcBef>
        <a:buFont typeface="Arial" panose="020B0604020202020204" pitchFamily="34" charset="0"/>
        <a:buChar char="•"/>
        <a:defRPr sz="1200" kern="1200">
          <a:solidFill>
            <a:schemeClr val="tx1"/>
          </a:solidFill>
          <a:latin typeface="+mn-lt"/>
          <a:ea typeface="+mn-ea"/>
          <a:cs typeface="+mn-cs"/>
        </a:defRPr>
      </a:lvl6pPr>
      <a:lvl7pPr marL="2005966" indent="-154306" algn="l" defTabSz="617220" rtl="0" eaLnBrk="1" latinLnBrk="0" hangingPunct="1">
        <a:lnSpc>
          <a:spcPct val="90000"/>
        </a:lnSpc>
        <a:spcBef>
          <a:spcPts val="337"/>
        </a:spcBef>
        <a:buFont typeface="Arial" panose="020B0604020202020204" pitchFamily="34" charset="0"/>
        <a:buChar char="•"/>
        <a:defRPr sz="1200" kern="1200">
          <a:solidFill>
            <a:schemeClr val="tx1"/>
          </a:solidFill>
          <a:latin typeface="+mn-lt"/>
          <a:ea typeface="+mn-ea"/>
          <a:cs typeface="+mn-cs"/>
        </a:defRPr>
      </a:lvl7pPr>
      <a:lvl8pPr marL="2314576" indent="-154306" algn="l" defTabSz="617220" rtl="0" eaLnBrk="1" latinLnBrk="0" hangingPunct="1">
        <a:lnSpc>
          <a:spcPct val="90000"/>
        </a:lnSpc>
        <a:spcBef>
          <a:spcPts val="337"/>
        </a:spcBef>
        <a:buFont typeface="Arial" panose="020B0604020202020204" pitchFamily="34" charset="0"/>
        <a:buChar char="•"/>
        <a:defRPr sz="1200" kern="1200">
          <a:solidFill>
            <a:schemeClr val="tx1"/>
          </a:solidFill>
          <a:latin typeface="+mn-lt"/>
          <a:ea typeface="+mn-ea"/>
          <a:cs typeface="+mn-cs"/>
        </a:defRPr>
      </a:lvl8pPr>
      <a:lvl9pPr marL="2623186" indent="-154306" algn="l" defTabSz="617220" rtl="0" eaLnBrk="1" latinLnBrk="0" hangingPunct="1">
        <a:lnSpc>
          <a:spcPct val="90000"/>
        </a:lnSpc>
        <a:spcBef>
          <a:spcPts val="337"/>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17220" rtl="0" eaLnBrk="1" latinLnBrk="0" hangingPunct="1">
        <a:defRPr sz="1200" kern="1200">
          <a:solidFill>
            <a:schemeClr val="tx1"/>
          </a:solidFill>
          <a:latin typeface="+mn-lt"/>
          <a:ea typeface="+mn-ea"/>
          <a:cs typeface="+mn-cs"/>
        </a:defRPr>
      </a:lvl1pPr>
      <a:lvl2pPr marL="308610" algn="l" defTabSz="617220" rtl="0" eaLnBrk="1" latinLnBrk="0" hangingPunct="1">
        <a:defRPr sz="1200" kern="1200">
          <a:solidFill>
            <a:schemeClr val="tx1"/>
          </a:solidFill>
          <a:latin typeface="+mn-lt"/>
          <a:ea typeface="+mn-ea"/>
          <a:cs typeface="+mn-cs"/>
        </a:defRPr>
      </a:lvl2pPr>
      <a:lvl3pPr marL="617220" algn="l" defTabSz="617220" rtl="0" eaLnBrk="1" latinLnBrk="0" hangingPunct="1">
        <a:defRPr sz="1200" kern="1200">
          <a:solidFill>
            <a:schemeClr val="tx1"/>
          </a:solidFill>
          <a:latin typeface="+mn-lt"/>
          <a:ea typeface="+mn-ea"/>
          <a:cs typeface="+mn-cs"/>
        </a:defRPr>
      </a:lvl3pPr>
      <a:lvl4pPr marL="925830" algn="l" defTabSz="617220" rtl="0" eaLnBrk="1" latinLnBrk="0" hangingPunct="1">
        <a:defRPr sz="1200" kern="1200">
          <a:solidFill>
            <a:schemeClr val="tx1"/>
          </a:solidFill>
          <a:latin typeface="+mn-lt"/>
          <a:ea typeface="+mn-ea"/>
          <a:cs typeface="+mn-cs"/>
        </a:defRPr>
      </a:lvl4pPr>
      <a:lvl5pPr marL="1234440" algn="l" defTabSz="617220" rtl="0" eaLnBrk="1" latinLnBrk="0" hangingPunct="1">
        <a:defRPr sz="1200" kern="1200">
          <a:solidFill>
            <a:schemeClr val="tx1"/>
          </a:solidFill>
          <a:latin typeface="+mn-lt"/>
          <a:ea typeface="+mn-ea"/>
          <a:cs typeface="+mn-cs"/>
        </a:defRPr>
      </a:lvl5pPr>
      <a:lvl6pPr marL="1543050" algn="l" defTabSz="617220" rtl="0" eaLnBrk="1" latinLnBrk="0" hangingPunct="1">
        <a:defRPr sz="1200" kern="1200">
          <a:solidFill>
            <a:schemeClr val="tx1"/>
          </a:solidFill>
          <a:latin typeface="+mn-lt"/>
          <a:ea typeface="+mn-ea"/>
          <a:cs typeface="+mn-cs"/>
        </a:defRPr>
      </a:lvl6pPr>
      <a:lvl7pPr marL="1851660" algn="l" defTabSz="617220" rtl="0" eaLnBrk="1" latinLnBrk="0" hangingPunct="1">
        <a:defRPr sz="1200" kern="1200">
          <a:solidFill>
            <a:schemeClr val="tx1"/>
          </a:solidFill>
          <a:latin typeface="+mn-lt"/>
          <a:ea typeface="+mn-ea"/>
          <a:cs typeface="+mn-cs"/>
        </a:defRPr>
      </a:lvl7pPr>
      <a:lvl8pPr marL="2160270" algn="l" defTabSz="617220" rtl="0" eaLnBrk="1" latinLnBrk="0" hangingPunct="1">
        <a:defRPr sz="1200" kern="1200">
          <a:solidFill>
            <a:schemeClr val="tx1"/>
          </a:solidFill>
          <a:latin typeface="+mn-lt"/>
          <a:ea typeface="+mn-ea"/>
          <a:cs typeface="+mn-cs"/>
        </a:defRPr>
      </a:lvl8pPr>
      <a:lvl9pPr marL="2468880" algn="l" defTabSz="617220" rtl="0" eaLnBrk="1" latinLnBrk="0" hangingPunct="1">
        <a:defRPr sz="1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5"/>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200"/>
              </a:spcAft>
              <a:buClr>
                <a:srgbClr val="FFFFFF"/>
              </a:buClr>
              <a:defRPr/>
            </a:pPr>
            <a:fld id="{8702007A-2642-4DC4-A457-FD791426C840}" type="slidenum">
              <a:rPr sz="800">
                <a:solidFill>
                  <a:srgbClr val="000000"/>
                </a:solidFill>
                <a:latin typeface="Helvetica 75 Bold" panose="020B0804020202020204" pitchFamily="34" charset="0"/>
              </a:rPr>
              <a:pPr>
                <a:lnSpc>
                  <a:spcPct val="85000"/>
                </a:lnSpc>
                <a:spcAft>
                  <a:spcPts val="1200"/>
                </a:spcAft>
                <a:buClr>
                  <a:srgbClr val="FFFFFF"/>
                </a:buClr>
                <a:defRPr/>
              </a:pPr>
              <a:t>‹N°›</a:t>
            </a:fld>
            <a:endParaRPr sz="800">
              <a:solidFill>
                <a:srgbClr val="000000"/>
              </a:solidFill>
              <a:latin typeface="Helvetica 75 Bold" panose="020B0804020202020204" pitchFamily="34" charset="0"/>
            </a:endParaRPr>
          </a:p>
        </p:txBody>
      </p:sp>
    </p:spTree>
    <p:extLst>
      <p:ext uri="{BB962C8B-B14F-4D97-AF65-F5344CB8AC3E}">
        <p14:creationId xmlns:p14="http://schemas.microsoft.com/office/powerpoint/2010/main" val="3617397586"/>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400"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pn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13" Type="http://schemas.openxmlformats.org/officeDocument/2006/relationships/image" Target="../media/image53.png"/><Relationship Id="rId18" Type="http://schemas.openxmlformats.org/officeDocument/2006/relationships/image" Target="../media/image58.png"/><Relationship Id="rId26" Type="http://schemas.openxmlformats.org/officeDocument/2006/relationships/image" Target="../media/image66.png"/><Relationship Id="rId39" Type="http://schemas.openxmlformats.org/officeDocument/2006/relationships/image" Target="../media/image79.png"/><Relationship Id="rId3" Type="http://schemas.openxmlformats.org/officeDocument/2006/relationships/image" Target="../media/image43.png"/><Relationship Id="rId21" Type="http://schemas.openxmlformats.org/officeDocument/2006/relationships/image" Target="../media/image61.png"/><Relationship Id="rId34" Type="http://schemas.openxmlformats.org/officeDocument/2006/relationships/image" Target="../media/image74.png"/><Relationship Id="rId42" Type="http://schemas.openxmlformats.org/officeDocument/2006/relationships/image" Target="../media/image82.png"/><Relationship Id="rId47" Type="http://schemas.openxmlformats.org/officeDocument/2006/relationships/image" Target="../media/image87.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png"/><Relationship Id="rId25" Type="http://schemas.openxmlformats.org/officeDocument/2006/relationships/image" Target="../media/image65.png"/><Relationship Id="rId33" Type="http://schemas.openxmlformats.org/officeDocument/2006/relationships/image" Target="../media/image73.png"/><Relationship Id="rId38" Type="http://schemas.openxmlformats.org/officeDocument/2006/relationships/image" Target="../media/image78.png"/><Relationship Id="rId46" Type="http://schemas.openxmlformats.org/officeDocument/2006/relationships/image" Target="../media/image86.png"/><Relationship Id="rId2" Type="http://schemas.openxmlformats.org/officeDocument/2006/relationships/image" Target="../media/image42.png"/><Relationship Id="rId16" Type="http://schemas.openxmlformats.org/officeDocument/2006/relationships/image" Target="../media/image56.png"/><Relationship Id="rId20" Type="http://schemas.openxmlformats.org/officeDocument/2006/relationships/image" Target="../media/image60.png"/><Relationship Id="rId29" Type="http://schemas.openxmlformats.org/officeDocument/2006/relationships/image" Target="../media/image69.png"/><Relationship Id="rId41" Type="http://schemas.openxmlformats.org/officeDocument/2006/relationships/image" Target="../media/image81.png"/><Relationship Id="rId1" Type="http://schemas.openxmlformats.org/officeDocument/2006/relationships/slideLayout" Target="../slideLayouts/slideLayout46.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4.png"/><Relationship Id="rId32" Type="http://schemas.openxmlformats.org/officeDocument/2006/relationships/image" Target="../media/image72.png"/><Relationship Id="rId37" Type="http://schemas.openxmlformats.org/officeDocument/2006/relationships/image" Target="../media/image77.png"/><Relationship Id="rId40" Type="http://schemas.openxmlformats.org/officeDocument/2006/relationships/image" Target="../media/image80.png"/><Relationship Id="rId45" Type="http://schemas.openxmlformats.org/officeDocument/2006/relationships/image" Target="../media/image85.png"/><Relationship Id="rId5" Type="http://schemas.openxmlformats.org/officeDocument/2006/relationships/image" Target="../media/image45.png"/><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png"/><Relationship Id="rId36" Type="http://schemas.openxmlformats.org/officeDocument/2006/relationships/image" Target="../media/image76.png"/><Relationship Id="rId49" Type="http://schemas.openxmlformats.org/officeDocument/2006/relationships/image" Target="../media/image89.png"/><Relationship Id="rId10" Type="http://schemas.openxmlformats.org/officeDocument/2006/relationships/image" Target="../media/image50.png"/><Relationship Id="rId19" Type="http://schemas.openxmlformats.org/officeDocument/2006/relationships/image" Target="../media/image59.png"/><Relationship Id="rId31" Type="http://schemas.openxmlformats.org/officeDocument/2006/relationships/image" Target="../media/image71.png"/><Relationship Id="rId44" Type="http://schemas.openxmlformats.org/officeDocument/2006/relationships/image" Target="../media/image84.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 Id="rId22" Type="http://schemas.openxmlformats.org/officeDocument/2006/relationships/image" Target="../media/image62.png"/><Relationship Id="rId27" Type="http://schemas.openxmlformats.org/officeDocument/2006/relationships/image" Target="../media/image67.png"/><Relationship Id="rId30" Type="http://schemas.openxmlformats.org/officeDocument/2006/relationships/image" Target="../media/image70.png"/><Relationship Id="rId35" Type="http://schemas.openxmlformats.org/officeDocument/2006/relationships/image" Target="../media/image75.png"/><Relationship Id="rId43" Type="http://schemas.openxmlformats.org/officeDocument/2006/relationships/image" Target="../media/image83.png"/><Relationship Id="rId48" Type="http://schemas.openxmlformats.org/officeDocument/2006/relationships/image" Target="../media/image88.png"/><Relationship Id="rId8"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png"/><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image" Target="../media/image94.png"/><Relationship Id="rId1" Type="http://schemas.openxmlformats.org/officeDocument/2006/relationships/slideLayout" Target="../slideLayouts/slideLayout46.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image" Target="../media/image101.png"/><Relationship Id="rId1" Type="http://schemas.openxmlformats.org/officeDocument/2006/relationships/slideLayout" Target="../slideLayouts/slideLayout46.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s>
</file>

<file path=ppt/slides/_rels/slide2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46.xml"/><Relationship Id="rId4" Type="http://schemas.openxmlformats.org/officeDocument/2006/relationships/image" Target="../media/image114.png"/></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2" Type="http://schemas.openxmlformats.org/officeDocument/2006/relationships/image" Target="../media/image115.jpg"/><Relationship Id="rId1" Type="http://schemas.openxmlformats.org/officeDocument/2006/relationships/slideLayout" Target="../slideLayouts/slideLayout48.xml"/></Relationships>
</file>

<file path=ppt/slides/_rels/slide2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46.xml"/><Relationship Id="rId4" Type="http://schemas.openxmlformats.org/officeDocument/2006/relationships/image" Target="../media/image120.png"/></Relationships>
</file>

<file path=ppt/slides/_rels/slide26.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image" Target="../media/image122.png"/><Relationship Id="rId1" Type="http://schemas.openxmlformats.org/officeDocument/2006/relationships/slideLayout" Target="../slideLayouts/slideLayout46.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28.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47.xml"/><Relationship Id="rId6" Type="http://schemas.openxmlformats.org/officeDocument/2006/relationships/image" Target="../media/image133.emf"/><Relationship Id="rId5" Type="http://schemas.openxmlformats.org/officeDocument/2006/relationships/image" Target="../media/image132.png"/><Relationship Id="rId4" Type="http://schemas.openxmlformats.org/officeDocument/2006/relationships/image" Target="../media/image131.png"/></Relationships>
</file>

<file path=ppt/slides/_rels/slide3.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4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3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2.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9" Type="http://schemas.openxmlformats.org/officeDocument/2006/relationships/tags" Target="../tags/tag132.xml"/><Relationship Id="rId3" Type="http://schemas.openxmlformats.org/officeDocument/2006/relationships/tags" Target="../tags/tag96.xml"/><Relationship Id="rId21" Type="http://schemas.openxmlformats.org/officeDocument/2006/relationships/tags" Target="../tags/tag114.xml"/><Relationship Id="rId34" Type="http://schemas.openxmlformats.org/officeDocument/2006/relationships/tags" Target="../tags/tag127.xml"/><Relationship Id="rId42" Type="http://schemas.openxmlformats.org/officeDocument/2006/relationships/tags" Target="../tags/tag135.xml"/><Relationship Id="rId47" Type="http://schemas.openxmlformats.org/officeDocument/2006/relationships/image" Target="../media/image134.emf"/><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tags" Target="../tags/tag126.xml"/><Relationship Id="rId38" Type="http://schemas.openxmlformats.org/officeDocument/2006/relationships/tags" Target="../tags/tag131.xml"/><Relationship Id="rId46" Type="http://schemas.openxmlformats.org/officeDocument/2006/relationships/oleObject" Target="../embeddings/oleObject95.bin"/><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tags" Target="../tags/tag122.xml"/><Relationship Id="rId41" Type="http://schemas.openxmlformats.org/officeDocument/2006/relationships/tags" Target="../tags/tag134.xml"/><Relationship Id="rId1" Type="http://schemas.openxmlformats.org/officeDocument/2006/relationships/vmlDrawing" Target="../drawings/vmlDrawing88.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tags" Target="../tags/tag125.xml"/><Relationship Id="rId37" Type="http://schemas.openxmlformats.org/officeDocument/2006/relationships/tags" Target="../tags/tag130.xml"/><Relationship Id="rId40" Type="http://schemas.openxmlformats.org/officeDocument/2006/relationships/tags" Target="../tags/tag133.xml"/><Relationship Id="rId45" Type="http://schemas.openxmlformats.org/officeDocument/2006/relationships/notesSlide" Target="../notesSlides/notesSlide6.xml"/><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tags" Target="../tags/tag129.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4" Type="http://schemas.openxmlformats.org/officeDocument/2006/relationships/slideLayout" Target="../slideLayouts/slideLayout134.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tags" Target="../tags/tag128.xml"/><Relationship Id="rId43" Type="http://schemas.openxmlformats.org/officeDocument/2006/relationships/tags" Target="../tags/tag136.xml"/><Relationship Id="rId48" Type="http://schemas.openxmlformats.org/officeDocument/2006/relationships/chart" Target="../charts/chart1.xml"/></Relationships>
</file>

<file path=ppt/slides/_rels/slide33.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tags" Target="../tags/tag161.xml"/><Relationship Id="rId3" Type="http://schemas.openxmlformats.org/officeDocument/2006/relationships/tags" Target="../tags/tag138.xml"/><Relationship Id="rId21" Type="http://schemas.openxmlformats.org/officeDocument/2006/relationships/tags" Target="../tags/tag156.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tags" Target="../tags/tag160.xml"/><Relationship Id="rId33" Type="http://schemas.openxmlformats.org/officeDocument/2006/relationships/chart" Target="../charts/chart2.xml"/><Relationship Id="rId2" Type="http://schemas.openxmlformats.org/officeDocument/2006/relationships/tags" Target="../tags/tag137.xml"/><Relationship Id="rId16" Type="http://schemas.openxmlformats.org/officeDocument/2006/relationships/tags" Target="../tags/tag151.xml"/><Relationship Id="rId20" Type="http://schemas.openxmlformats.org/officeDocument/2006/relationships/tags" Target="../tags/tag155.xml"/><Relationship Id="rId29" Type="http://schemas.openxmlformats.org/officeDocument/2006/relationships/slideLayout" Target="../slideLayouts/slideLayout134.xml"/><Relationship Id="rId1" Type="http://schemas.openxmlformats.org/officeDocument/2006/relationships/vmlDrawing" Target="../drawings/vmlDrawing89.vml"/><Relationship Id="rId6" Type="http://schemas.openxmlformats.org/officeDocument/2006/relationships/tags" Target="../tags/tag141.xml"/><Relationship Id="rId11" Type="http://schemas.openxmlformats.org/officeDocument/2006/relationships/tags" Target="../tags/tag146.xml"/><Relationship Id="rId24" Type="http://schemas.openxmlformats.org/officeDocument/2006/relationships/tags" Target="../tags/tag159.xml"/><Relationship Id="rId32" Type="http://schemas.openxmlformats.org/officeDocument/2006/relationships/image" Target="../media/image134.emf"/><Relationship Id="rId5" Type="http://schemas.openxmlformats.org/officeDocument/2006/relationships/tags" Target="../tags/tag140.xml"/><Relationship Id="rId15" Type="http://schemas.openxmlformats.org/officeDocument/2006/relationships/tags" Target="../tags/tag150.xml"/><Relationship Id="rId23" Type="http://schemas.openxmlformats.org/officeDocument/2006/relationships/tags" Target="../tags/tag158.xml"/><Relationship Id="rId28" Type="http://schemas.openxmlformats.org/officeDocument/2006/relationships/tags" Target="../tags/tag163.xml"/><Relationship Id="rId10" Type="http://schemas.openxmlformats.org/officeDocument/2006/relationships/tags" Target="../tags/tag145.xml"/><Relationship Id="rId19" Type="http://schemas.openxmlformats.org/officeDocument/2006/relationships/tags" Target="../tags/tag154.xml"/><Relationship Id="rId31" Type="http://schemas.openxmlformats.org/officeDocument/2006/relationships/oleObject" Target="../embeddings/oleObject96.bin"/><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 Id="rId27" Type="http://schemas.openxmlformats.org/officeDocument/2006/relationships/tags" Target="../tags/tag162.xml"/><Relationship Id="rId30" Type="http://schemas.openxmlformats.org/officeDocument/2006/relationships/notesSlide" Target="../notesSlides/notesSlide7.xml"/></Relationships>
</file>

<file path=ppt/slides/_rels/slide34.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tags" Target="../tags/tag175.xml"/><Relationship Id="rId18" Type="http://schemas.openxmlformats.org/officeDocument/2006/relationships/slideLayout" Target="../slideLayouts/slideLayout135.xml"/><Relationship Id="rId3" Type="http://schemas.openxmlformats.org/officeDocument/2006/relationships/tags" Target="../tags/tag165.xml"/><Relationship Id="rId21" Type="http://schemas.openxmlformats.org/officeDocument/2006/relationships/image" Target="../media/image134.emf"/><Relationship Id="rId7" Type="http://schemas.openxmlformats.org/officeDocument/2006/relationships/tags" Target="../tags/tag169.xml"/><Relationship Id="rId12" Type="http://schemas.openxmlformats.org/officeDocument/2006/relationships/tags" Target="../tags/tag174.xml"/><Relationship Id="rId17" Type="http://schemas.openxmlformats.org/officeDocument/2006/relationships/tags" Target="../tags/tag179.xml"/><Relationship Id="rId2" Type="http://schemas.openxmlformats.org/officeDocument/2006/relationships/tags" Target="../tags/tag164.xml"/><Relationship Id="rId16" Type="http://schemas.openxmlformats.org/officeDocument/2006/relationships/tags" Target="../tags/tag178.xml"/><Relationship Id="rId20" Type="http://schemas.openxmlformats.org/officeDocument/2006/relationships/oleObject" Target="../embeddings/oleObject97.bin"/><Relationship Id="rId1" Type="http://schemas.openxmlformats.org/officeDocument/2006/relationships/vmlDrawing" Target="../drawings/vmlDrawing90.vml"/><Relationship Id="rId6" Type="http://schemas.openxmlformats.org/officeDocument/2006/relationships/tags" Target="../tags/tag168.xml"/><Relationship Id="rId11" Type="http://schemas.openxmlformats.org/officeDocument/2006/relationships/tags" Target="../tags/tag173.xml"/><Relationship Id="rId5" Type="http://schemas.openxmlformats.org/officeDocument/2006/relationships/tags" Target="../tags/tag167.xml"/><Relationship Id="rId15" Type="http://schemas.openxmlformats.org/officeDocument/2006/relationships/tags" Target="../tags/tag177.xml"/><Relationship Id="rId10" Type="http://schemas.openxmlformats.org/officeDocument/2006/relationships/tags" Target="../tags/tag172.xml"/><Relationship Id="rId19" Type="http://schemas.openxmlformats.org/officeDocument/2006/relationships/notesSlide" Target="../notesSlides/notesSlide8.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 Id="rId22" Type="http://schemas.openxmlformats.org/officeDocument/2006/relationships/chart" Target="../charts/chart3.xml"/></Relationships>
</file>

<file path=ppt/slides/_rels/slide35.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3" Type="http://schemas.openxmlformats.org/officeDocument/2006/relationships/tags" Target="../tags/tag181.xml"/><Relationship Id="rId7" Type="http://schemas.openxmlformats.org/officeDocument/2006/relationships/image" Target="../media/image134.emf"/><Relationship Id="rId12" Type="http://schemas.openxmlformats.org/officeDocument/2006/relationships/image" Target="../media/image139.png"/><Relationship Id="rId2" Type="http://schemas.openxmlformats.org/officeDocument/2006/relationships/tags" Target="../tags/tag180.xml"/><Relationship Id="rId16" Type="http://schemas.openxmlformats.org/officeDocument/2006/relationships/image" Target="../media/image143.png"/><Relationship Id="rId1" Type="http://schemas.openxmlformats.org/officeDocument/2006/relationships/vmlDrawing" Target="../drawings/vmlDrawing91.vml"/><Relationship Id="rId6" Type="http://schemas.openxmlformats.org/officeDocument/2006/relationships/oleObject" Target="../embeddings/oleObject98.bin"/><Relationship Id="rId11" Type="http://schemas.openxmlformats.org/officeDocument/2006/relationships/image" Target="../media/image138.png"/><Relationship Id="rId5" Type="http://schemas.openxmlformats.org/officeDocument/2006/relationships/notesSlide" Target="../notesSlides/notesSlide9.xml"/><Relationship Id="rId15" Type="http://schemas.openxmlformats.org/officeDocument/2006/relationships/image" Target="../media/image142.png"/><Relationship Id="rId10" Type="http://schemas.openxmlformats.org/officeDocument/2006/relationships/image" Target="../media/image137.png"/><Relationship Id="rId4" Type="http://schemas.openxmlformats.org/officeDocument/2006/relationships/slideLayout" Target="../slideLayouts/slideLayout134.xml"/><Relationship Id="rId9" Type="http://schemas.openxmlformats.org/officeDocument/2006/relationships/image" Target="../media/image136.png"/><Relationship Id="rId14" Type="http://schemas.openxmlformats.org/officeDocument/2006/relationships/image" Target="../media/image141.png"/></Relationships>
</file>

<file path=ppt/slides/_rels/slide36.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notesSlide" Target="../notesSlides/notesSlide10.xml"/><Relationship Id="rId18" Type="http://schemas.openxmlformats.org/officeDocument/2006/relationships/image" Target="../media/image147.png"/><Relationship Id="rId3" Type="http://schemas.openxmlformats.org/officeDocument/2006/relationships/tags" Target="../tags/tag183.xml"/><Relationship Id="rId21" Type="http://schemas.openxmlformats.org/officeDocument/2006/relationships/image" Target="../media/image150.jpeg"/><Relationship Id="rId7" Type="http://schemas.openxmlformats.org/officeDocument/2006/relationships/tags" Target="../tags/tag187.xml"/><Relationship Id="rId12" Type="http://schemas.openxmlformats.org/officeDocument/2006/relationships/slideLayout" Target="../slideLayouts/slideLayout133.xml"/><Relationship Id="rId17" Type="http://schemas.openxmlformats.org/officeDocument/2006/relationships/image" Target="../media/image144.png"/><Relationship Id="rId2" Type="http://schemas.openxmlformats.org/officeDocument/2006/relationships/tags" Target="../tags/tag182.xml"/><Relationship Id="rId16" Type="http://schemas.openxmlformats.org/officeDocument/2006/relationships/oleObject" Target="../embeddings/oleObject99.bin"/><Relationship Id="rId20" Type="http://schemas.openxmlformats.org/officeDocument/2006/relationships/image" Target="../media/image149.png"/><Relationship Id="rId1" Type="http://schemas.openxmlformats.org/officeDocument/2006/relationships/vmlDrawing" Target="../drawings/vmlDrawing92.vml"/><Relationship Id="rId6" Type="http://schemas.openxmlformats.org/officeDocument/2006/relationships/tags" Target="../tags/tag186.xml"/><Relationship Id="rId11" Type="http://schemas.openxmlformats.org/officeDocument/2006/relationships/tags" Target="../tags/tag191.xml"/><Relationship Id="rId5" Type="http://schemas.openxmlformats.org/officeDocument/2006/relationships/tags" Target="../tags/tag185.xml"/><Relationship Id="rId15" Type="http://schemas.openxmlformats.org/officeDocument/2006/relationships/image" Target="../media/image146.png"/><Relationship Id="rId10" Type="http://schemas.openxmlformats.org/officeDocument/2006/relationships/tags" Target="../tags/tag190.xml"/><Relationship Id="rId19" Type="http://schemas.openxmlformats.org/officeDocument/2006/relationships/image" Target="../media/image148.png"/><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image" Target="../media/image145.jpeg"/><Relationship Id="rId22" Type="http://schemas.openxmlformats.org/officeDocument/2006/relationships/image" Target="../media/image151.png"/></Relationships>
</file>

<file path=ppt/slides/_rels/slide37.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tags" Target="../tags/tag203.xml"/><Relationship Id="rId18" Type="http://schemas.openxmlformats.org/officeDocument/2006/relationships/slideLayout" Target="../slideLayouts/slideLayout129.xml"/><Relationship Id="rId3" Type="http://schemas.openxmlformats.org/officeDocument/2006/relationships/tags" Target="../tags/tag193.xml"/><Relationship Id="rId21" Type="http://schemas.openxmlformats.org/officeDocument/2006/relationships/image" Target="../media/image152.emf"/><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tags" Target="../tags/tag207.xml"/><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oleObject" Target="../embeddings/oleObject100.bin"/><Relationship Id="rId1" Type="http://schemas.openxmlformats.org/officeDocument/2006/relationships/vmlDrawing" Target="../drawings/vmlDrawing93.vml"/><Relationship Id="rId6" Type="http://schemas.openxmlformats.org/officeDocument/2006/relationships/tags" Target="../tags/tag196.xml"/><Relationship Id="rId11" Type="http://schemas.openxmlformats.org/officeDocument/2006/relationships/tags" Target="../tags/tag201.xml"/><Relationship Id="rId5" Type="http://schemas.openxmlformats.org/officeDocument/2006/relationships/tags" Target="../tags/tag195.xml"/><Relationship Id="rId15" Type="http://schemas.openxmlformats.org/officeDocument/2006/relationships/tags" Target="../tags/tag205.xml"/><Relationship Id="rId10" Type="http://schemas.openxmlformats.org/officeDocument/2006/relationships/tags" Target="../tags/tag200.xml"/><Relationship Id="rId19" Type="http://schemas.openxmlformats.org/officeDocument/2006/relationships/notesSlide" Target="../notesSlides/notesSlide11.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image" Target="../media/image147.png"/></Relationships>
</file>

<file path=ppt/slides/_rels/slide38.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18" Type="http://schemas.openxmlformats.org/officeDocument/2006/relationships/tags" Target="../tags/tag224.xml"/><Relationship Id="rId26" Type="http://schemas.openxmlformats.org/officeDocument/2006/relationships/oleObject" Target="../embeddings/oleObject101.bin"/><Relationship Id="rId3" Type="http://schemas.openxmlformats.org/officeDocument/2006/relationships/tags" Target="../tags/tag209.xml"/><Relationship Id="rId21" Type="http://schemas.openxmlformats.org/officeDocument/2006/relationships/tags" Target="../tags/tag227.xml"/><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tags" Target="../tags/tag223.xml"/><Relationship Id="rId25" Type="http://schemas.openxmlformats.org/officeDocument/2006/relationships/notesSlide" Target="../notesSlides/notesSlide12.xml"/><Relationship Id="rId2" Type="http://schemas.openxmlformats.org/officeDocument/2006/relationships/tags" Target="../tags/tag208.xml"/><Relationship Id="rId16" Type="http://schemas.openxmlformats.org/officeDocument/2006/relationships/tags" Target="../tags/tag222.xml"/><Relationship Id="rId20" Type="http://schemas.openxmlformats.org/officeDocument/2006/relationships/tags" Target="../tags/tag226.xml"/><Relationship Id="rId29" Type="http://schemas.openxmlformats.org/officeDocument/2006/relationships/image" Target="../media/image155.png"/><Relationship Id="rId1" Type="http://schemas.openxmlformats.org/officeDocument/2006/relationships/vmlDrawing" Target="../drawings/vmlDrawing94.vml"/><Relationship Id="rId6" Type="http://schemas.openxmlformats.org/officeDocument/2006/relationships/tags" Target="../tags/tag212.xml"/><Relationship Id="rId11" Type="http://schemas.openxmlformats.org/officeDocument/2006/relationships/tags" Target="../tags/tag217.xml"/><Relationship Id="rId24" Type="http://schemas.openxmlformats.org/officeDocument/2006/relationships/slideLayout" Target="../slideLayouts/slideLayout131.xml"/><Relationship Id="rId5" Type="http://schemas.openxmlformats.org/officeDocument/2006/relationships/tags" Target="../tags/tag211.xml"/><Relationship Id="rId15" Type="http://schemas.openxmlformats.org/officeDocument/2006/relationships/tags" Target="../tags/tag221.xml"/><Relationship Id="rId23" Type="http://schemas.openxmlformats.org/officeDocument/2006/relationships/tags" Target="../tags/tag229.xml"/><Relationship Id="rId28" Type="http://schemas.openxmlformats.org/officeDocument/2006/relationships/image" Target="../media/image154.png"/><Relationship Id="rId10" Type="http://schemas.openxmlformats.org/officeDocument/2006/relationships/tags" Target="../tags/tag216.xml"/><Relationship Id="rId19" Type="http://schemas.openxmlformats.org/officeDocument/2006/relationships/tags" Target="../tags/tag225.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tags" Target="../tags/tag220.xml"/><Relationship Id="rId22" Type="http://schemas.openxmlformats.org/officeDocument/2006/relationships/tags" Target="../tags/tag228.xml"/><Relationship Id="rId27" Type="http://schemas.openxmlformats.org/officeDocument/2006/relationships/image" Target="../media/image153.emf"/></Relationships>
</file>

<file path=ppt/slides/_rels/slide39.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56.jpeg"/><Relationship Id="rId7" Type="http://schemas.openxmlformats.org/officeDocument/2006/relationships/image" Target="../media/image160.png"/><Relationship Id="rId2" Type="http://schemas.openxmlformats.org/officeDocument/2006/relationships/notesSlide" Target="../notesSlides/notesSlide13.xml"/><Relationship Id="rId1" Type="http://schemas.openxmlformats.org/officeDocument/2006/relationships/slideLayout" Target="../slideLayouts/slideLayout129.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 Id="rId9" Type="http://schemas.openxmlformats.org/officeDocument/2006/relationships/image" Target="../media/image162.png"/></Relationships>
</file>

<file path=ppt/slides/_rels/slide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63.jpeg"/><Relationship Id="rId7" Type="http://schemas.openxmlformats.org/officeDocument/2006/relationships/image" Target="../media/image160.png"/><Relationship Id="rId2" Type="http://schemas.openxmlformats.org/officeDocument/2006/relationships/notesSlide" Target="../notesSlides/notesSlide14.xml"/><Relationship Id="rId1" Type="http://schemas.openxmlformats.org/officeDocument/2006/relationships/slideLayout" Target="../slideLayouts/slideLayout129.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41.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64.png"/><Relationship Id="rId7" Type="http://schemas.openxmlformats.org/officeDocument/2006/relationships/image" Target="../media/image160.png"/><Relationship Id="rId2" Type="http://schemas.openxmlformats.org/officeDocument/2006/relationships/notesSlide" Target="../notesSlides/notesSlide15.xml"/><Relationship Id="rId1" Type="http://schemas.openxmlformats.org/officeDocument/2006/relationships/slideLayout" Target="../slideLayouts/slideLayout129.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42.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6.jpeg"/><Relationship Id="rId7" Type="http://schemas.openxmlformats.org/officeDocument/2006/relationships/image" Target="../media/image170.png"/><Relationship Id="rId2" Type="http://schemas.openxmlformats.org/officeDocument/2006/relationships/image" Target="../media/image165.jpeg"/><Relationship Id="rId1" Type="http://schemas.openxmlformats.org/officeDocument/2006/relationships/slideLayout" Target="../slideLayouts/slideLayout135.xml"/><Relationship Id="rId6" Type="http://schemas.openxmlformats.org/officeDocument/2006/relationships/image" Target="../media/image169.tiff"/><Relationship Id="rId5" Type="http://schemas.openxmlformats.org/officeDocument/2006/relationships/image" Target="../media/image168.tiff"/><Relationship Id="rId4" Type="http://schemas.openxmlformats.org/officeDocument/2006/relationships/image" Target="../media/image167.jpeg"/></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102.bin"/><Relationship Id="rId13" Type="http://schemas.openxmlformats.org/officeDocument/2006/relationships/image" Target="../media/image175.png"/><Relationship Id="rId3" Type="http://schemas.openxmlformats.org/officeDocument/2006/relationships/tags" Target="../tags/tag231.xml"/><Relationship Id="rId7" Type="http://schemas.openxmlformats.org/officeDocument/2006/relationships/slideLayout" Target="../slideLayouts/slideLayout135.xml"/><Relationship Id="rId12" Type="http://schemas.openxmlformats.org/officeDocument/2006/relationships/image" Target="../media/image174.png"/><Relationship Id="rId17" Type="http://schemas.openxmlformats.org/officeDocument/2006/relationships/image" Target="../media/image179.png"/><Relationship Id="rId2" Type="http://schemas.openxmlformats.org/officeDocument/2006/relationships/tags" Target="../tags/tag230.xml"/><Relationship Id="rId16" Type="http://schemas.openxmlformats.org/officeDocument/2006/relationships/image" Target="../media/image178.png"/><Relationship Id="rId1" Type="http://schemas.openxmlformats.org/officeDocument/2006/relationships/vmlDrawing" Target="../drawings/vmlDrawing95.vml"/><Relationship Id="rId6" Type="http://schemas.openxmlformats.org/officeDocument/2006/relationships/tags" Target="../tags/tag234.xml"/><Relationship Id="rId11" Type="http://schemas.openxmlformats.org/officeDocument/2006/relationships/image" Target="../media/image173.png"/><Relationship Id="rId5" Type="http://schemas.openxmlformats.org/officeDocument/2006/relationships/tags" Target="../tags/tag233.xml"/><Relationship Id="rId15" Type="http://schemas.openxmlformats.org/officeDocument/2006/relationships/image" Target="../media/image177.png"/><Relationship Id="rId10" Type="http://schemas.openxmlformats.org/officeDocument/2006/relationships/image" Target="../media/image172.png"/><Relationship Id="rId4" Type="http://schemas.openxmlformats.org/officeDocument/2006/relationships/tags" Target="../tags/tag232.xml"/><Relationship Id="rId9" Type="http://schemas.openxmlformats.org/officeDocument/2006/relationships/image" Target="../media/image134.emf"/><Relationship Id="rId14" Type="http://schemas.openxmlformats.org/officeDocument/2006/relationships/image" Target="../media/image176.png"/></Relationships>
</file>

<file path=ppt/slides/_rels/slide44.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236.xml"/><Relationship Id="rId7" Type="http://schemas.openxmlformats.org/officeDocument/2006/relationships/slideLayout" Target="../slideLayouts/slideLayout135.xml"/><Relationship Id="rId2" Type="http://schemas.openxmlformats.org/officeDocument/2006/relationships/tags" Target="../tags/tag235.xml"/><Relationship Id="rId1" Type="http://schemas.openxmlformats.org/officeDocument/2006/relationships/vmlDrawing" Target="../drawings/vmlDrawing96.vml"/><Relationship Id="rId6" Type="http://schemas.openxmlformats.org/officeDocument/2006/relationships/tags" Target="../tags/tag239.xml"/><Relationship Id="rId11" Type="http://schemas.openxmlformats.org/officeDocument/2006/relationships/image" Target="../media/image179.png"/><Relationship Id="rId5" Type="http://schemas.openxmlformats.org/officeDocument/2006/relationships/tags" Target="../tags/tag238.xml"/><Relationship Id="rId10" Type="http://schemas.openxmlformats.org/officeDocument/2006/relationships/image" Target="../media/image134.emf"/><Relationship Id="rId4" Type="http://schemas.openxmlformats.org/officeDocument/2006/relationships/tags" Target="../tags/tag237.xml"/><Relationship Id="rId9" Type="http://schemas.openxmlformats.org/officeDocument/2006/relationships/oleObject" Target="../embeddings/oleObject103.bin"/></Relationships>
</file>

<file path=ppt/slides/_rels/slide45.xml.rels><?xml version="1.0" encoding="UTF-8" standalone="yes"?>
<Relationships xmlns="http://schemas.openxmlformats.org/package/2006/relationships"><Relationship Id="rId8" Type="http://schemas.openxmlformats.org/officeDocument/2006/relationships/oleObject" Target="../embeddings/oleObject104.bin"/><Relationship Id="rId13" Type="http://schemas.openxmlformats.org/officeDocument/2006/relationships/image" Target="../media/image182.png"/><Relationship Id="rId3" Type="http://schemas.openxmlformats.org/officeDocument/2006/relationships/tags" Target="../tags/tag241.xml"/><Relationship Id="rId7" Type="http://schemas.openxmlformats.org/officeDocument/2006/relationships/slideLayout" Target="../slideLayouts/slideLayout135.xml"/><Relationship Id="rId12" Type="http://schemas.openxmlformats.org/officeDocument/2006/relationships/image" Target="../media/image179.png"/><Relationship Id="rId2" Type="http://schemas.openxmlformats.org/officeDocument/2006/relationships/tags" Target="../tags/tag240.xml"/><Relationship Id="rId1" Type="http://schemas.openxmlformats.org/officeDocument/2006/relationships/vmlDrawing" Target="../drawings/vmlDrawing97.vml"/><Relationship Id="rId6" Type="http://schemas.openxmlformats.org/officeDocument/2006/relationships/tags" Target="../tags/tag244.xml"/><Relationship Id="rId11" Type="http://schemas.openxmlformats.org/officeDocument/2006/relationships/image" Target="../media/image181.png"/><Relationship Id="rId5" Type="http://schemas.openxmlformats.org/officeDocument/2006/relationships/tags" Target="../tags/tag243.xml"/><Relationship Id="rId10" Type="http://schemas.openxmlformats.org/officeDocument/2006/relationships/image" Target="../media/image180.png"/><Relationship Id="rId4" Type="http://schemas.openxmlformats.org/officeDocument/2006/relationships/tags" Target="../tags/tag242.xml"/><Relationship Id="rId9" Type="http://schemas.openxmlformats.org/officeDocument/2006/relationships/image" Target="../media/image134.emf"/></Relationships>
</file>

<file path=ppt/slides/_rels/slide46.xml.rels><?xml version="1.0" encoding="UTF-8" standalone="yes"?>
<Relationships xmlns="http://schemas.openxmlformats.org/package/2006/relationships"><Relationship Id="rId8" Type="http://schemas.openxmlformats.org/officeDocument/2006/relationships/image" Target="../media/image184.png"/><Relationship Id="rId13" Type="http://schemas.microsoft.com/office/2007/relationships/hdphoto" Target="../media/hdphoto2.wdp"/><Relationship Id="rId3" Type="http://schemas.openxmlformats.org/officeDocument/2006/relationships/tags" Target="../tags/tag246.xml"/><Relationship Id="rId7" Type="http://schemas.openxmlformats.org/officeDocument/2006/relationships/image" Target="../media/image183.emf"/><Relationship Id="rId12" Type="http://schemas.openxmlformats.org/officeDocument/2006/relationships/image" Target="../media/image187.png"/><Relationship Id="rId17" Type="http://schemas.openxmlformats.org/officeDocument/2006/relationships/image" Target="../media/image190.png"/><Relationship Id="rId2" Type="http://schemas.openxmlformats.org/officeDocument/2006/relationships/tags" Target="../tags/tag245.xml"/><Relationship Id="rId16" Type="http://schemas.openxmlformats.org/officeDocument/2006/relationships/image" Target="../media/image189.png"/><Relationship Id="rId1" Type="http://schemas.openxmlformats.org/officeDocument/2006/relationships/vmlDrawing" Target="../drawings/vmlDrawing98.vml"/><Relationship Id="rId6" Type="http://schemas.openxmlformats.org/officeDocument/2006/relationships/oleObject" Target="../embeddings/oleObject105.bin"/><Relationship Id="rId11" Type="http://schemas.openxmlformats.org/officeDocument/2006/relationships/image" Target="../media/image186.png"/><Relationship Id="rId5" Type="http://schemas.openxmlformats.org/officeDocument/2006/relationships/notesSlide" Target="../notesSlides/notesSlide17.xml"/><Relationship Id="rId15" Type="http://schemas.microsoft.com/office/2007/relationships/hdphoto" Target="../media/hdphoto3.wdp"/><Relationship Id="rId10" Type="http://schemas.openxmlformats.org/officeDocument/2006/relationships/image" Target="../media/image185.png"/><Relationship Id="rId4" Type="http://schemas.openxmlformats.org/officeDocument/2006/relationships/slideLayout" Target="../slideLayouts/slideLayout133.xml"/><Relationship Id="rId9" Type="http://schemas.microsoft.com/office/2007/relationships/hdphoto" Target="../media/hdphoto1.wdp"/><Relationship Id="rId14" Type="http://schemas.openxmlformats.org/officeDocument/2006/relationships/image" Target="../media/image188.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4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6.xml"/><Relationship Id="rId6" Type="http://schemas.openxmlformats.org/officeDocument/2006/relationships/image" Target="../media/image35.emf"/><Relationship Id="rId5" Type="http://schemas.openxmlformats.org/officeDocument/2006/relationships/image" Target="../media/image34.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07504" y="-92546"/>
            <a:ext cx="4824536" cy="2304131"/>
          </a:xfrm>
        </p:spPr>
        <p:txBody>
          <a:bodyPr/>
          <a:lstStyle/>
          <a:p>
            <a:r>
              <a:rPr lang="fr-FR" sz="3600" dirty="0">
                <a:solidFill>
                  <a:srgbClr val="FF7900"/>
                </a:solidFill>
                <a:latin typeface="Helvetica 75 Bold" panose="020B0804020202020204" pitchFamily="34" charset="0"/>
              </a:rPr>
              <a:t>Les nouveaux entrants à l’ère du digital by Orange Bank</a:t>
            </a:r>
          </a:p>
        </p:txBody>
      </p:sp>
      <p:sp>
        <p:nvSpPr>
          <p:cNvPr id="2" name="ZoneTexte 1"/>
          <p:cNvSpPr txBox="1"/>
          <p:nvPr/>
        </p:nvSpPr>
        <p:spPr>
          <a:xfrm>
            <a:off x="251520" y="3363838"/>
            <a:ext cx="3941212" cy="553998"/>
          </a:xfrm>
          <a:prstGeom prst="rect">
            <a:avLst/>
          </a:prstGeom>
        </p:spPr>
        <p:txBody>
          <a:bodyPr wrap="square" lIns="0" tIns="0" rIns="0" bIns="0" rtlCol="0">
            <a:spAutoFit/>
          </a:bodyPr>
          <a:lstStyle/>
          <a:p>
            <a:r>
              <a:rPr lang="fr-FR" dirty="0">
                <a:latin typeface="Helvetica 75 Bold" panose="020B0804020202020204" pitchFamily="34" charset="0"/>
              </a:rPr>
              <a:t>Intervention SEMINAIRE BANQUE – 30 janvier 2020</a:t>
            </a:r>
          </a:p>
        </p:txBody>
      </p:sp>
      <p:pic>
        <p:nvPicPr>
          <p:cNvPr id="7" name="Image 5" descr="Une image contenant personne, femme, extérieur, ciel&#10;&#10;Description générée avec un niveau de confiance très élevé"/>
          <p:cNvPicPr>
            <a:picLocks noChangeAspect="1"/>
          </p:cNvPicPr>
          <p:nvPr/>
        </p:nvPicPr>
        <p:blipFill>
          <a:blip r:embed="rId3">
            <a:extLst>
              <a:ext uri="{28A0092B-C50C-407E-A947-70E740481C1C}">
                <a14:useLocalDpi xmlns:a14="http://schemas.microsoft.com/office/drawing/2010/main" val="0"/>
              </a:ext>
            </a:extLst>
          </a:blip>
          <a:srcRect t="17583" b="21642"/>
          <a:stretch>
            <a:fillRect/>
          </a:stretch>
        </p:blipFill>
        <p:spPr bwMode="auto">
          <a:xfrm>
            <a:off x="5076055" y="0"/>
            <a:ext cx="47593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0209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5669" y="109930"/>
            <a:ext cx="6217978" cy="326053"/>
          </a:xfrm>
          <a:prstGeom prst="rect">
            <a:avLst/>
          </a:prstGeom>
        </p:spPr>
        <p:txBody>
          <a:bodyPr vert="horz" wrap="square" lIns="0" tIns="7798" rIns="0" bIns="0" rtlCol="0">
            <a:spAutoFit/>
          </a:bodyPr>
          <a:lstStyle/>
          <a:p>
            <a:pPr marL="5776">
              <a:lnSpc>
                <a:spcPct val="100000"/>
              </a:lnSpc>
              <a:spcBef>
                <a:spcPts val="61"/>
              </a:spcBef>
            </a:pPr>
            <a:r>
              <a:rPr spc="-9" dirty="0"/>
              <a:t>Dans </a:t>
            </a:r>
            <a:r>
              <a:rPr spc="7" dirty="0"/>
              <a:t>5 </a:t>
            </a:r>
            <a:r>
              <a:rPr spc="-11" dirty="0"/>
              <a:t>ans, </a:t>
            </a:r>
            <a:r>
              <a:rPr spc="-9" dirty="0"/>
              <a:t>les </a:t>
            </a:r>
            <a:r>
              <a:rPr spc="-11" dirty="0"/>
              <a:t>chèques </a:t>
            </a:r>
            <a:r>
              <a:rPr spc="-9" dirty="0"/>
              <a:t>sont amenés </a:t>
            </a:r>
            <a:r>
              <a:rPr spc="7" dirty="0"/>
              <a:t>à</a:t>
            </a:r>
            <a:r>
              <a:rPr spc="-266" dirty="0"/>
              <a:t> </a:t>
            </a:r>
            <a:r>
              <a:rPr spc="-16" dirty="0"/>
              <a:t>disparaître</a:t>
            </a:r>
          </a:p>
        </p:txBody>
      </p:sp>
      <p:sp>
        <p:nvSpPr>
          <p:cNvPr id="3" name="object 3"/>
          <p:cNvSpPr txBox="1"/>
          <p:nvPr/>
        </p:nvSpPr>
        <p:spPr>
          <a:xfrm>
            <a:off x="775669" y="567098"/>
            <a:ext cx="5260118" cy="144916"/>
          </a:xfrm>
          <a:prstGeom prst="rect">
            <a:avLst/>
          </a:prstGeom>
        </p:spPr>
        <p:txBody>
          <a:bodyPr vert="horz" wrap="square" lIns="0" tIns="6354" rIns="0" bIns="0" rtlCol="0">
            <a:spAutoFit/>
          </a:bodyPr>
          <a:lstStyle/>
          <a:p>
            <a:pPr marL="5776">
              <a:spcBef>
                <a:spcPts val="50"/>
              </a:spcBef>
            </a:pPr>
            <a:r>
              <a:rPr sz="900" b="1" spc="2" dirty="0">
                <a:latin typeface="Helvetica Neue"/>
                <a:cs typeface="Helvetica Neue"/>
              </a:rPr>
              <a:t>Selon vous, les moyens de paiement suivants auront-ils disparu dans cinq ans</a:t>
            </a:r>
            <a:r>
              <a:rPr sz="900" b="1" spc="-45" dirty="0">
                <a:latin typeface="Helvetica Neue"/>
                <a:cs typeface="Helvetica Neue"/>
              </a:rPr>
              <a:t> </a:t>
            </a:r>
            <a:r>
              <a:rPr sz="900" b="1" spc="2" dirty="0">
                <a:latin typeface="Helvetica Neue"/>
                <a:cs typeface="Helvetica Neue"/>
              </a:rPr>
              <a:t>?</a:t>
            </a:r>
            <a:endParaRPr sz="900" dirty="0">
              <a:latin typeface="Helvetica Neue"/>
              <a:cs typeface="Helvetica Neue"/>
            </a:endParaRPr>
          </a:p>
        </p:txBody>
      </p:sp>
      <p:sp>
        <p:nvSpPr>
          <p:cNvPr id="9" name="object 9"/>
          <p:cNvSpPr/>
          <p:nvPr/>
        </p:nvSpPr>
        <p:spPr>
          <a:xfrm>
            <a:off x="56378" y="820635"/>
            <a:ext cx="9144000" cy="4277105"/>
          </a:xfrm>
          <a:custGeom>
            <a:avLst/>
            <a:gdLst/>
            <a:ahLst/>
            <a:cxnLst/>
            <a:rect l="l" t="t" r="r" b="b"/>
            <a:pathLst>
              <a:path w="20104100" h="9404350">
                <a:moveTo>
                  <a:pt x="0" y="9404027"/>
                </a:moveTo>
                <a:lnTo>
                  <a:pt x="20104099" y="9404027"/>
                </a:lnTo>
                <a:lnTo>
                  <a:pt x="20104099" y="0"/>
                </a:lnTo>
                <a:lnTo>
                  <a:pt x="0" y="0"/>
                </a:lnTo>
                <a:lnTo>
                  <a:pt x="0" y="9404027"/>
                </a:lnTo>
                <a:close/>
              </a:path>
            </a:pathLst>
          </a:custGeom>
          <a:solidFill>
            <a:srgbClr val="D5D5D5"/>
          </a:solidFill>
        </p:spPr>
        <p:txBody>
          <a:bodyPr wrap="square" lIns="0" tIns="0" rIns="0" bIns="0" rtlCol="0"/>
          <a:lstStyle/>
          <a:p>
            <a:endParaRPr/>
          </a:p>
        </p:txBody>
      </p:sp>
      <p:sp>
        <p:nvSpPr>
          <p:cNvPr id="10" name="object 10"/>
          <p:cNvSpPr txBox="1"/>
          <p:nvPr/>
        </p:nvSpPr>
        <p:spPr>
          <a:xfrm>
            <a:off x="6858916" y="1301003"/>
            <a:ext cx="324343" cy="99332"/>
          </a:xfrm>
          <a:prstGeom prst="rect">
            <a:avLst/>
          </a:prstGeom>
        </p:spPr>
        <p:txBody>
          <a:bodyPr vert="horz" wrap="square" lIns="0" tIns="6931" rIns="0" bIns="0" rtlCol="0">
            <a:spAutoFit/>
          </a:bodyPr>
          <a:lstStyle/>
          <a:p>
            <a:pPr marL="5776">
              <a:spcBef>
                <a:spcPts val="55"/>
              </a:spcBef>
            </a:pPr>
            <a:r>
              <a:rPr sz="600" spc="5" dirty="0">
                <a:latin typeface="Helvetica Neue"/>
                <a:cs typeface="Helvetica Neue"/>
              </a:rPr>
              <a:t>N =</a:t>
            </a:r>
            <a:r>
              <a:rPr sz="600" spc="-36" dirty="0">
                <a:latin typeface="Helvetica Neue"/>
                <a:cs typeface="Helvetica Neue"/>
              </a:rPr>
              <a:t> </a:t>
            </a:r>
            <a:r>
              <a:rPr sz="600" spc="5" dirty="0">
                <a:latin typeface="Helvetica Neue"/>
                <a:cs typeface="Helvetica Neue"/>
              </a:rPr>
              <a:t>2015</a:t>
            </a:r>
            <a:endParaRPr sz="600" dirty="0">
              <a:latin typeface="Helvetica Neue"/>
              <a:cs typeface="Helvetica Neue"/>
            </a:endParaRPr>
          </a:p>
        </p:txBody>
      </p:sp>
      <p:sp>
        <p:nvSpPr>
          <p:cNvPr id="11" name="object 11"/>
          <p:cNvSpPr/>
          <p:nvPr/>
        </p:nvSpPr>
        <p:spPr>
          <a:xfrm>
            <a:off x="6861686" y="987445"/>
            <a:ext cx="307643" cy="307626"/>
          </a:xfrm>
          <a:prstGeom prst="rect">
            <a:avLst/>
          </a:prstGeom>
          <a:blipFill>
            <a:blip r:embed="rId2" cstate="print"/>
            <a:stretch>
              <a:fillRect/>
            </a:stretch>
          </a:blipFill>
        </p:spPr>
        <p:txBody>
          <a:bodyPr wrap="square" lIns="0" tIns="0" rIns="0" bIns="0" rtlCol="0"/>
          <a:lstStyle/>
          <a:p>
            <a:endParaRPr/>
          </a:p>
        </p:txBody>
      </p:sp>
      <p:sp>
        <p:nvSpPr>
          <p:cNvPr id="12" name="object 12"/>
          <p:cNvSpPr txBox="1"/>
          <p:nvPr/>
        </p:nvSpPr>
        <p:spPr>
          <a:xfrm>
            <a:off x="4100247" y="1300548"/>
            <a:ext cx="324343" cy="103101"/>
          </a:xfrm>
          <a:prstGeom prst="rect">
            <a:avLst/>
          </a:prstGeom>
        </p:spPr>
        <p:txBody>
          <a:bodyPr vert="horz" wrap="square" lIns="0" tIns="6931" rIns="0" bIns="0" rtlCol="0">
            <a:spAutoFit/>
          </a:bodyPr>
          <a:lstStyle/>
          <a:p>
            <a:pPr marL="5776">
              <a:spcBef>
                <a:spcPts val="55"/>
              </a:spcBef>
            </a:pPr>
            <a:r>
              <a:rPr sz="600" spc="5" dirty="0">
                <a:latin typeface="Helvetica Neue"/>
                <a:cs typeface="Helvetica Neue"/>
              </a:rPr>
              <a:t>N =</a:t>
            </a:r>
            <a:r>
              <a:rPr sz="600" spc="-36" dirty="0">
                <a:latin typeface="Helvetica Neue"/>
                <a:cs typeface="Helvetica Neue"/>
              </a:rPr>
              <a:t> </a:t>
            </a:r>
            <a:r>
              <a:rPr sz="600" spc="5" dirty="0">
                <a:latin typeface="Helvetica Neue"/>
                <a:cs typeface="Helvetica Neue"/>
              </a:rPr>
              <a:t>2024</a:t>
            </a:r>
            <a:endParaRPr sz="600">
              <a:latin typeface="Helvetica Neue"/>
              <a:cs typeface="Helvetica Neue"/>
            </a:endParaRPr>
          </a:p>
        </p:txBody>
      </p:sp>
      <p:sp>
        <p:nvSpPr>
          <p:cNvPr id="13" name="object 13"/>
          <p:cNvSpPr/>
          <p:nvPr/>
        </p:nvSpPr>
        <p:spPr>
          <a:xfrm>
            <a:off x="4307245" y="996402"/>
            <a:ext cx="101664" cy="289954"/>
          </a:xfrm>
          <a:custGeom>
            <a:avLst/>
            <a:gdLst/>
            <a:ahLst/>
            <a:cxnLst/>
            <a:rect l="l" t="t" r="r" b="b"/>
            <a:pathLst>
              <a:path w="223520" h="637539">
                <a:moveTo>
                  <a:pt x="0" y="0"/>
                </a:moveTo>
                <a:lnTo>
                  <a:pt x="0" y="637006"/>
                </a:lnTo>
                <a:lnTo>
                  <a:pt x="41970" y="618440"/>
                </a:lnTo>
                <a:lnTo>
                  <a:pt x="80733" y="594610"/>
                </a:lnTo>
                <a:lnTo>
                  <a:pt x="115828" y="565970"/>
                </a:lnTo>
                <a:lnTo>
                  <a:pt x="146793" y="532973"/>
                </a:lnTo>
                <a:lnTo>
                  <a:pt x="173163" y="496073"/>
                </a:lnTo>
                <a:lnTo>
                  <a:pt x="194479" y="455722"/>
                </a:lnTo>
                <a:lnTo>
                  <a:pt x="210276" y="412374"/>
                </a:lnTo>
                <a:lnTo>
                  <a:pt x="220094" y="366484"/>
                </a:lnTo>
                <a:lnTo>
                  <a:pt x="223469" y="318503"/>
                </a:lnTo>
                <a:lnTo>
                  <a:pt x="220094" y="270522"/>
                </a:lnTo>
                <a:lnTo>
                  <a:pt x="210276" y="224631"/>
                </a:lnTo>
                <a:lnTo>
                  <a:pt x="194479" y="181284"/>
                </a:lnTo>
                <a:lnTo>
                  <a:pt x="173163" y="140933"/>
                </a:lnTo>
                <a:lnTo>
                  <a:pt x="146793" y="104033"/>
                </a:lnTo>
                <a:lnTo>
                  <a:pt x="115828" y="71036"/>
                </a:lnTo>
                <a:lnTo>
                  <a:pt x="80733" y="42395"/>
                </a:lnTo>
                <a:lnTo>
                  <a:pt x="41970" y="18566"/>
                </a:lnTo>
                <a:lnTo>
                  <a:pt x="0" y="0"/>
                </a:lnTo>
                <a:close/>
              </a:path>
            </a:pathLst>
          </a:custGeom>
          <a:solidFill>
            <a:srgbClr val="C60E33"/>
          </a:solidFill>
        </p:spPr>
        <p:txBody>
          <a:bodyPr wrap="square" lIns="0" tIns="0" rIns="0" bIns="0" rtlCol="0"/>
          <a:lstStyle/>
          <a:p>
            <a:endParaRPr/>
          </a:p>
        </p:txBody>
      </p:sp>
      <p:sp>
        <p:nvSpPr>
          <p:cNvPr id="14" name="object 14"/>
          <p:cNvSpPr/>
          <p:nvPr/>
        </p:nvSpPr>
        <p:spPr>
          <a:xfrm>
            <a:off x="4100336" y="996402"/>
            <a:ext cx="101664" cy="289954"/>
          </a:xfrm>
          <a:custGeom>
            <a:avLst/>
            <a:gdLst/>
            <a:ahLst/>
            <a:cxnLst/>
            <a:rect l="l" t="t" r="r" b="b"/>
            <a:pathLst>
              <a:path w="223520" h="637539">
                <a:moveTo>
                  <a:pt x="223469" y="0"/>
                </a:moveTo>
                <a:lnTo>
                  <a:pt x="181499" y="18566"/>
                </a:lnTo>
                <a:lnTo>
                  <a:pt x="142735" y="42395"/>
                </a:lnTo>
                <a:lnTo>
                  <a:pt x="107640" y="71036"/>
                </a:lnTo>
                <a:lnTo>
                  <a:pt x="76676" y="104033"/>
                </a:lnTo>
                <a:lnTo>
                  <a:pt x="50305" y="140933"/>
                </a:lnTo>
                <a:lnTo>
                  <a:pt x="28990" y="181284"/>
                </a:lnTo>
                <a:lnTo>
                  <a:pt x="13192" y="224631"/>
                </a:lnTo>
                <a:lnTo>
                  <a:pt x="3375" y="270522"/>
                </a:lnTo>
                <a:lnTo>
                  <a:pt x="0" y="318503"/>
                </a:lnTo>
                <a:lnTo>
                  <a:pt x="3375" y="366484"/>
                </a:lnTo>
                <a:lnTo>
                  <a:pt x="13192" y="412374"/>
                </a:lnTo>
                <a:lnTo>
                  <a:pt x="28990" y="455722"/>
                </a:lnTo>
                <a:lnTo>
                  <a:pt x="50305" y="496073"/>
                </a:lnTo>
                <a:lnTo>
                  <a:pt x="76676" y="532973"/>
                </a:lnTo>
                <a:lnTo>
                  <a:pt x="107640" y="565970"/>
                </a:lnTo>
                <a:lnTo>
                  <a:pt x="142735" y="594610"/>
                </a:lnTo>
                <a:lnTo>
                  <a:pt x="181499" y="618440"/>
                </a:lnTo>
                <a:lnTo>
                  <a:pt x="223469" y="637006"/>
                </a:lnTo>
                <a:lnTo>
                  <a:pt x="223469" y="0"/>
                </a:lnTo>
                <a:close/>
              </a:path>
            </a:pathLst>
          </a:custGeom>
          <a:solidFill>
            <a:srgbClr val="354083"/>
          </a:solidFill>
        </p:spPr>
        <p:txBody>
          <a:bodyPr wrap="square" lIns="0" tIns="0" rIns="0" bIns="0" rtlCol="0"/>
          <a:lstStyle/>
          <a:p>
            <a:endParaRPr/>
          </a:p>
        </p:txBody>
      </p:sp>
      <p:sp>
        <p:nvSpPr>
          <p:cNvPr id="15" name="object 15"/>
          <p:cNvSpPr/>
          <p:nvPr/>
        </p:nvSpPr>
        <p:spPr>
          <a:xfrm>
            <a:off x="4201977" y="986994"/>
            <a:ext cx="105419" cy="308726"/>
          </a:xfrm>
          <a:custGeom>
            <a:avLst/>
            <a:gdLst/>
            <a:ahLst/>
            <a:cxnLst/>
            <a:rect l="l" t="t" r="r" b="b"/>
            <a:pathLst>
              <a:path w="231775" h="678814">
                <a:moveTo>
                  <a:pt x="115724" y="0"/>
                </a:moveTo>
                <a:lnTo>
                  <a:pt x="85551" y="1383"/>
                </a:lnTo>
                <a:lnTo>
                  <a:pt x="56154" y="5413"/>
                </a:lnTo>
                <a:lnTo>
                  <a:pt x="27610" y="11909"/>
                </a:lnTo>
                <a:lnTo>
                  <a:pt x="0" y="20690"/>
                </a:lnTo>
                <a:lnTo>
                  <a:pt x="0" y="657697"/>
                </a:lnTo>
                <a:lnTo>
                  <a:pt x="27610" y="666472"/>
                </a:lnTo>
                <a:lnTo>
                  <a:pt x="56154" y="672965"/>
                </a:lnTo>
                <a:lnTo>
                  <a:pt x="85551" y="676993"/>
                </a:lnTo>
                <a:lnTo>
                  <a:pt x="115724" y="678377"/>
                </a:lnTo>
                <a:lnTo>
                  <a:pt x="145895" y="676993"/>
                </a:lnTo>
                <a:lnTo>
                  <a:pt x="175290" y="672965"/>
                </a:lnTo>
                <a:lnTo>
                  <a:pt x="203833" y="666472"/>
                </a:lnTo>
                <a:lnTo>
                  <a:pt x="231448" y="657697"/>
                </a:lnTo>
                <a:lnTo>
                  <a:pt x="231448" y="20690"/>
                </a:lnTo>
                <a:lnTo>
                  <a:pt x="203833" y="11909"/>
                </a:lnTo>
                <a:lnTo>
                  <a:pt x="175290" y="5413"/>
                </a:lnTo>
                <a:lnTo>
                  <a:pt x="145895" y="1383"/>
                </a:lnTo>
                <a:lnTo>
                  <a:pt x="115724" y="0"/>
                </a:lnTo>
                <a:close/>
              </a:path>
            </a:pathLst>
          </a:custGeom>
          <a:solidFill>
            <a:srgbClr val="FFFFFF"/>
          </a:solidFill>
        </p:spPr>
        <p:txBody>
          <a:bodyPr wrap="square" lIns="0" tIns="0" rIns="0" bIns="0" rtlCol="0"/>
          <a:lstStyle/>
          <a:p>
            <a:endParaRPr/>
          </a:p>
        </p:txBody>
      </p:sp>
      <p:sp>
        <p:nvSpPr>
          <p:cNvPr id="16" name="object 16"/>
          <p:cNvSpPr/>
          <p:nvPr/>
        </p:nvSpPr>
        <p:spPr>
          <a:xfrm>
            <a:off x="1476" y="862966"/>
            <a:ext cx="2409458" cy="4280172"/>
          </a:xfrm>
          <a:prstGeom prst="rect">
            <a:avLst/>
          </a:prstGeom>
          <a:blipFill>
            <a:blip r:embed="rId3" cstate="print"/>
            <a:stretch>
              <a:fillRect/>
            </a:stretch>
          </a:blipFill>
        </p:spPr>
        <p:txBody>
          <a:bodyPr wrap="square" lIns="0" tIns="0" rIns="0" bIns="0" rtlCol="0"/>
          <a:lstStyle/>
          <a:p>
            <a:endParaRPr/>
          </a:p>
        </p:txBody>
      </p:sp>
      <p:sp>
        <p:nvSpPr>
          <p:cNvPr id="17" name="object 17"/>
          <p:cNvSpPr txBox="1"/>
          <p:nvPr/>
        </p:nvSpPr>
        <p:spPr>
          <a:xfrm>
            <a:off x="3358962" y="2607262"/>
            <a:ext cx="1955024" cy="351926"/>
          </a:xfrm>
          <a:prstGeom prst="rect">
            <a:avLst/>
          </a:prstGeom>
        </p:spPr>
        <p:txBody>
          <a:bodyPr vert="horz" wrap="square" lIns="0" tIns="5487" rIns="0" bIns="0" rtlCol="0">
            <a:spAutoFit/>
          </a:bodyPr>
          <a:lstStyle/>
          <a:p>
            <a:pPr marL="5776" marR="2310" algn="just">
              <a:lnSpc>
                <a:spcPct val="101000"/>
              </a:lnSpc>
              <a:spcBef>
                <a:spcPts val="43"/>
              </a:spcBef>
            </a:pPr>
            <a:r>
              <a:rPr sz="1100" b="1" spc="5" dirty="0">
                <a:latin typeface="Helvetica Neue"/>
                <a:cs typeface="Helvetica Neue"/>
              </a:rPr>
              <a:t>estiment que les chèques  </a:t>
            </a:r>
            <a:r>
              <a:rPr sz="1100" b="1" dirty="0">
                <a:latin typeface="Helvetica Neue"/>
                <a:cs typeface="Helvetica Neue"/>
              </a:rPr>
              <a:t>auront </a:t>
            </a:r>
            <a:r>
              <a:rPr sz="1100" b="1" spc="5" dirty="0">
                <a:latin typeface="Helvetica Neue"/>
                <a:cs typeface="Helvetica Neue"/>
              </a:rPr>
              <a:t>disparu dans 5</a:t>
            </a:r>
            <a:r>
              <a:rPr sz="1100" b="1" spc="-16" dirty="0">
                <a:latin typeface="Helvetica Neue"/>
                <a:cs typeface="Helvetica Neue"/>
              </a:rPr>
              <a:t> </a:t>
            </a:r>
            <a:r>
              <a:rPr sz="1100" b="1" spc="5" dirty="0" err="1">
                <a:latin typeface="Helvetica Neue"/>
                <a:cs typeface="Helvetica Neue"/>
              </a:rPr>
              <a:t>ans</a:t>
            </a:r>
            <a:r>
              <a:rPr lang="fr-FR" sz="1100" b="1" spc="5" dirty="0">
                <a:latin typeface="Helvetica Neue"/>
                <a:cs typeface="Helvetica Neue"/>
              </a:rPr>
              <a:t>.</a:t>
            </a:r>
            <a:endParaRPr sz="1100" dirty="0">
              <a:latin typeface="Helvetica Neue"/>
              <a:cs typeface="Helvetica Neue"/>
            </a:endParaRPr>
          </a:p>
        </p:txBody>
      </p:sp>
      <p:sp>
        <p:nvSpPr>
          <p:cNvPr id="18" name="object 18"/>
          <p:cNvSpPr/>
          <p:nvPr/>
        </p:nvSpPr>
        <p:spPr>
          <a:xfrm>
            <a:off x="3659928" y="1470152"/>
            <a:ext cx="1128126" cy="1128047"/>
          </a:xfrm>
          <a:custGeom>
            <a:avLst/>
            <a:gdLst/>
            <a:ahLst/>
            <a:cxnLst/>
            <a:rect l="l" t="t" r="r" b="b"/>
            <a:pathLst>
              <a:path w="2480309" h="2480310">
                <a:moveTo>
                  <a:pt x="1240098" y="0"/>
                </a:moveTo>
                <a:lnTo>
                  <a:pt x="1191404" y="938"/>
                </a:lnTo>
                <a:lnTo>
                  <a:pt x="1143186" y="3731"/>
                </a:lnTo>
                <a:lnTo>
                  <a:pt x="1095478" y="8343"/>
                </a:lnTo>
                <a:lnTo>
                  <a:pt x="1048314" y="14740"/>
                </a:lnTo>
                <a:lnTo>
                  <a:pt x="1001729" y="22888"/>
                </a:lnTo>
                <a:lnTo>
                  <a:pt x="955757" y="32752"/>
                </a:lnTo>
                <a:lnTo>
                  <a:pt x="910433" y="44298"/>
                </a:lnTo>
                <a:lnTo>
                  <a:pt x="865792" y="57491"/>
                </a:lnTo>
                <a:lnTo>
                  <a:pt x="821867" y="72296"/>
                </a:lnTo>
                <a:lnTo>
                  <a:pt x="778693" y="88681"/>
                </a:lnTo>
                <a:lnTo>
                  <a:pt x="736305" y="106609"/>
                </a:lnTo>
                <a:lnTo>
                  <a:pt x="694737" y="126046"/>
                </a:lnTo>
                <a:lnTo>
                  <a:pt x="654024" y="146959"/>
                </a:lnTo>
                <a:lnTo>
                  <a:pt x="614200" y="169311"/>
                </a:lnTo>
                <a:lnTo>
                  <a:pt x="575299" y="193070"/>
                </a:lnTo>
                <a:lnTo>
                  <a:pt x="537356" y="218201"/>
                </a:lnTo>
                <a:lnTo>
                  <a:pt x="500406" y="244668"/>
                </a:lnTo>
                <a:lnTo>
                  <a:pt x="464483" y="272438"/>
                </a:lnTo>
                <a:lnTo>
                  <a:pt x="429621" y="301477"/>
                </a:lnTo>
                <a:lnTo>
                  <a:pt x="395855" y="331749"/>
                </a:lnTo>
                <a:lnTo>
                  <a:pt x="363219" y="363220"/>
                </a:lnTo>
                <a:lnTo>
                  <a:pt x="331748" y="395856"/>
                </a:lnTo>
                <a:lnTo>
                  <a:pt x="301476" y="429623"/>
                </a:lnTo>
                <a:lnTo>
                  <a:pt x="272438" y="464485"/>
                </a:lnTo>
                <a:lnTo>
                  <a:pt x="244668" y="500408"/>
                </a:lnTo>
                <a:lnTo>
                  <a:pt x="218200" y="537359"/>
                </a:lnTo>
                <a:lnTo>
                  <a:pt x="193070" y="575302"/>
                </a:lnTo>
                <a:lnTo>
                  <a:pt x="169311" y="614203"/>
                </a:lnTo>
                <a:lnTo>
                  <a:pt x="146958" y="654028"/>
                </a:lnTo>
                <a:lnTo>
                  <a:pt x="126046" y="694741"/>
                </a:lnTo>
                <a:lnTo>
                  <a:pt x="106608" y="736309"/>
                </a:lnTo>
                <a:lnTo>
                  <a:pt x="88680" y="778698"/>
                </a:lnTo>
                <a:lnTo>
                  <a:pt x="72296" y="821872"/>
                </a:lnTo>
                <a:lnTo>
                  <a:pt x="57491" y="865797"/>
                </a:lnTo>
                <a:lnTo>
                  <a:pt x="44298" y="910439"/>
                </a:lnTo>
                <a:lnTo>
                  <a:pt x="32752" y="955764"/>
                </a:lnTo>
                <a:lnTo>
                  <a:pt x="22888" y="1001736"/>
                </a:lnTo>
                <a:lnTo>
                  <a:pt x="14740" y="1048322"/>
                </a:lnTo>
                <a:lnTo>
                  <a:pt x="8343" y="1095486"/>
                </a:lnTo>
                <a:lnTo>
                  <a:pt x="3731" y="1143195"/>
                </a:lnTo>
                <a:lnTo>
                  <a:pt x="938" y="1191414"/>
                </a:lnTo>
                <a:lnTo>
                  <a:pt x="0" y="1240108"/>
                </a:lnTo>
                <a:lnTo>
                  <a:pt x="938" y="1288803"/>
                </a:lnTo>
                <a:lnTo>
                  <a:pt x="3731" y="1337022"/>
                </a:lnTo>
                <a:lnTo>
                  <a:pt x="8343" y="1384731"/>
                </a:lnTo>
                <a:lnTo>
                  <a:pt x="14740" y="1431895"/>
                </a:lnTo>
                <a:lnTo>
                  <a:pt x="22888" y="1478481"/>
                </a:lnTo>
                <a:lnTo>
                  <a:pt x="32752" y="1524453"/>
                </a:lnTo>
                <a:lnTo>
                  <a:pt x="44298" y="1569777"/>
                </a:lnTo>
                <a:lnTo>
                  <a:pt x="57491" y="1614419"/>
                </a:lnTo>
                <a:lnTo>
                  <a:pt x="72296" y="1658345"/>
                </a:lnTo>
                <a:lnTo>
                  <a:pt x="88680" y="1701519"/>
                </a:lnTo>
                <a:lnTo>
                  <a:pt x="106608" y="1743907"/>
                </a:lnTo>
                <a:lnTo>
                  <a:pt x="126046" y="1785475"/>
                </a:lnTo>
                <a:lnTo>
                  <a:pt x="146958" y="1826189"/>
                </a:lnTo>
                <a:lnTo>
                  <a:pt x="169311" y="1866014"/>
                </a:lnTo>
                <a:lnTo>
                  <a:pt x="193070" y="1904915"/>
                </a:lnTo>
                <a:lnTo>
                  <a:pt x="218200" y="1942858"/>
                </a:lnTo>
                <a:lnTo>
                  <a:pt x="244668" y="1979808"/>
                </a:lnTo>
                <a:lnTo>
                  <a:pt x="272438" y="2015732"/>
                </a:lnTo>
                <a:lnTo>
                  <a:pt x="301476" y="2050594"/>
                </a:lnTo>
                <a:lnTo>
                  <a:pt x="331748" y="2084360"/>
                </a:lnTo>
                <a:lnTo>
                  <a:pt x="363219" y="2116997"/>
                </a:lnTo>
                <a:lnTo>
                  <a:pt x="395855" y="2148468"/>
                </a:lnTo>
                <a:lnTo>
                  <a:pt x="429621" y="2178740"/>
                </a:lnTo>
                <a:lnTo>
                  <a:pt x="464483" y="2207778"/>
                </a:lnTo>
                <a:lnTo>
                  <a:pt x="500406" y="2235548"/>
                </a:lnTo>
                <a:lnTo>
                  <a:pt x="537356" y="2262016"/>
                </a:lnTo>
                <a:lnTo>
                  <a:pt x="575299" y="2287146"/>
                </a:lnTo>
                <a:lnTo>
                  <a:pt x="614200" y="2310905"/>
                </a:lnTo>
                <a:lnTo>
                  <a:pt x="654024" y="2333258"/>
                </a:lnTo>
                <a:lnTo>
                  <a:pt x="694737" y="2354171"/>
                </a:lnTo>
                <a:lnTo>
                  <a:pt x="736305" y="2373608"/>
                </a:lnTo>
                <a:lnTo>
                  <a:pt x="778693" y="2391536"/>
                </a:lnTo>
                <a:lnTo>
                  <a:pt x="821867" y="2407920"/>
                </a:lnTo>
                <a:lnTo>
                  <a:pt x="865792" y="2422726"/>
                </a:lnTo>
                <a:lnTo>
                  <a:pt x="910433" y="2435919"/>
                </a:lnTo>
                <a:lnTo>
                  <a:pt x="955757" y="2447465"/>
                </a:lnTo>
                <a:lnTo>
                  <a:pt x="1001729" y="2457329"/>
                </a:lnTo>
                <a:lnTo>
                  <a:pt x="1048314" y="2465477"/>
                </a:lnTo>
                <a:lnTo>
                  <a:pt x="1095478" y="2471874"/>
                </a:lnTo>
                <a:lnTo>
                  <a:pt x="1143186" y="2476486"/>
                </a:lnTo>
                <a:lnTo>
                  <a:pt x="1191404" y="2479279"/>
                </a:lnTo>
                <a:lnTo>
                  <a:pt x="1240098" y="2480217"/>
                </a:lnTo>
                <a:lnTo>
                  <a:pt x="1288793" y="2479279"/>
                </a:lnTo>
                <a:lnTo>
                  <a:pt x="1337013" y="2476486"/>
                </a:lnTo>
                <a:lnTo>
                  <a:pt x="1384722" y="2471874"/>
                </a:lnTo>
                <a:lnTo>
                  <a:pt x="1431887" y="2465477"/>
                </a:lnTo>
                <a:lnTo>
                  <a:pt x="1478473" y="2457329"/>
                </a:lnTo>
                <a:lnTo>
                  <a:pt x="1524446" y="2447465"/>
                </a:lnTo>
                <a:lnTo>
                  <a:pt x="1569770" y="2435919"/>
                </a:lnTo>
                <a:lnTo>
                  <a:pt x="1614413" y="2422726"/>
                </a:lnTo>
                <a:lnTo>
                  <a:pt x="1658338" y="2407920"/>
                </a:lnTo>
                <a:lnTo>
                  <a:pt x="1701513" y="2391536"/>
                </a:lnTo>
                <a:lnTo>
                  <a:pt x="1743901" y="2373608"/>
                </a:lnTo>
                <a:lnTo>
                  <a:pt x="1785470" y="2354171"/>
                </a:lnTo>
                <a:lnTo>
                  <a:pt x="1826183" y="2333258"/>
                </a:lnTo>
                <a:lnTo>
                  <a:pt x="1866008" y="2310905"/>
                </a:lnTo>
                <a:lnTo>
                  <a:pt x="1904909" y="2287146"/>
                </a:lnTo>
                <a:lnTo>
                  <a:pt x="1942852" y="2262016"/>
                </a:lnTo>
                <a:lnTo>
                  <a:pt x="1979802" y="2235548"/>
                </a:lnTo>
                <a:lnTo>
                  <a:pt x="2015726" y="2207778"/>
                </a:lnTo>
                <a:lnTo>
                  <a:pt x="2050588" y="2178740"/>
                </a:lnTo>
                <a:lnTo>
                  <a:pt x="2084354" y="2148468"/>
                </a:lnTo>
                <a:lnTo>
                  <a:pt x="2116990" y="2116997"/>
                </a:lnTo>
                <a:lnTo>
                  <a:pt x="2148461" y="2084360"/>
                </a:lnTo>
                <a:lnTo>
                  <a:pt x="2178733" y="2050594"/>
                </a:lnTo>
                <a:lnTo>
                  <a:pt x="2207771" y="2015732"/>
                </a:lnTo>
                <a:lnTo>
                  <a:pt x="2235541" y="1979808"/>
                </a:lnTo>
                <a:lnTo>
                  <a:pt x="2262008" y="1942858"/>
                </a:lnTo>
                <a:lnTo>
                  <a:pt x="2287138" y="1904915"/>
                </a:lnTo>
                <a:lnTo>
                  <a:pt x="2310897" y="1866014"/>
                </a:lnTo>
                <a:lnTo>
                  <a:pt x="2333250" y="1826189"/>
                </a:lnTo>
                <a:lnTo>
                  <a:pt x="2354162" y="1785475"/>
                </a:lnTo>
                <a:lnTo>
                  <a:pt x="2373599" y="1743907"/>
                </a:lnTo>
                <a:lnTo>
                  <a:pt x="2391527" y="1701519"/>
                </a:lnTo>
                <a:lnTo>
                  <a:pt x="2407911" y="1658345"/>
                </a:lnTo>
                <a:lnTo>
                  <a:pt x="2422716" y="1614419"/>
                </a:lnTo>
                <a:lnTo>
                  <a:pt x="2435909" y="1569777"/>
                </a:lnTo>
                <a:lnTo>
                  <a:pt x="2447455" y="1524453"/>
                </a:lnTo>
                <a:lnTo>
                  <a:pt x="2457319" y="1478481"/>
                </a:lnTo>
                <a:lnTo>
                  <a:pt x="2465467" y="1431895"/>
                </a:lnTo>
                <a:lnTo>
                  <a:pt x="2471864" y="1384731"/>
                </a:lnTo>
                <a:lnTo>
                  <a:pt x="2476476" y="1337022"/>
                </a:lnTo>
                <a:lnTo>
                  <a:pt x="2479268" y="1288803"/>
                </a:lnTo>
                <a:lnTo>
                  <a:pt x="2480207" y="1240108"/>
                </a:lnTo>
                <a:lnTo>
                  <a:pt x="2479268" y="1191414"/>
                </a:lnTo>
                <a:lnTo>
                  <a:pt x="2476476" y="1143195"/>
                </a:lnTo>
                <a:lnTo>
                  <a:pt x="2471864" y="1095486"/>
                </a:lnTo>
                <a:lnTo>
                  <a:pt x="2465467" y="1048322"/>
                </a:lnTo>
                <a:lnTo>
                  <a:pt x="2457319" y="1001736"/>
                </a:lnTo>
                <a:lnTo>
                  <a:pt x="2447455" y="955764"/>
                </a:lnTo>
                <a:lnTo>
                  <a:pt x="2435909" y="910439"/>
                </a:lnTo>
                <a:lnTo>
                  <a:pt x="2422716" y="865797"/>
                </a:lnTo>
                <a:lnTo>
                  <a:pt x="2407911" y="821872"/>
                </a:lnTo>
                <a:lnTo>
                  <a:pt x="2391527" y="778698"/>
                </a:lnTo>
                <a:lnTo>
                  <a:pt x="2373599" y="736309"/>
                </a:lnTo>
                <a:lnTo>
                  <a:pt x="2354162" y="694741"/>
                </a:lnTo>
                <a:lnTo>
                  <a:pt x="2333250" y="654028"/>
                </a:lnTo>
                <a:lnTo>
                  <a:pt x="2310897" y="614203"/>
                </a:lnTo>
                <a:lnTo>
                  <a:pt x="2287138" y="575302"/>
                </a:lnTo>
                <a:lnTo>
                  <a:pt x="2262008" y="537359"/>
                </a:lnTo>
                <a:lnTo>
                  <a:pt x="2235541" y="500408"/>
                </a:lnTo>
                <a:lnTo>
                  <a:pt x="2207771" y="464485"/>
                </a:lnTo>
                <a:lnTo>
                  <a:pt x="2178733" y="429623"/>
                </a:lnTo>
                <a:lnTo>
                  <a:pt x="2148461" y="395856"/>
                </a:lnTo>
                <a:lnTo>
                  <a:pt x="2116990" y="363220"/>
                </a:lnTo>
                <a:lnTo>
                  <a:pt x="2084354" y="331749"/>
                </a:lnTo>
                <a:lnTo>
                  <a:pt x="2050588" y="301477"/>
                </a:lnTo>
                <a:lnTo>
                  <a:pt x="2015726" y="272438"/>
                </a:lnTo>
                <a:lnTo>
                  <a:pt x="1979802" y="244668"/>
                </a:lnTo>
                <a:lnTo>
                  <a:pt x="1942852" y="218201"/>
                </a:lnTo>
                <a:lnTo>
                  <a:pt x="1904909" y="193070"/>
                </a:lnTo>
                <a:lnTo>
                  <a:pt x="1866008" y="169311"/>
                </a:lnTo>
                <a:lnTo>
                  <a:pt x="1826183" y="146959"/>
                </a:lnTo>
                <a:lnTo>
                  <a:pt x="1785470" y="126046"/>
                </a:lnTo>
                <a:lnTo>
                  <a:pt x="1743901" y="106609"/>
                </a:lnTo>
                <a:lnTo>
                  <a:pt x="1701513" y="88681"/>
                </a:lnTo>
                <a:lnTo>
                  <a:pt x="1658338" y="72296"/>
                </a:lnTo>
                <a:lnTo>
                  <a:pt x="1614413" y="57491"/>
                </a:lnTo>
                <a:lnTo>
                  <a:pt x="1569770" y="44298"/>
                </a:lnTo>
                <a:lnTo>
                  <a:pt x="1524446" y="32752"/>
                </a:lnTo>
                <a:lnTo>
                  <a:pt x="1478473" y="22888"/>
                </a:lnTo>
                <a:lnTo>
                  <a:pt x="1431887" y="14740"/>
                </a:lnTo>
                <a:lnTo>
                  <a:pt x="1384722" y="8343"/>
                </a:lnTo>
                <a:lnTo>
                  <a:pt x="1337013" y="3731"/>
                </a:lnTo>
                <a:lnTo>
                  <a:pt x="1288793" y="938"/>
                </a:lnTo>
                <a:lnTo>
                  <a:pt x="1240098" y="0"/>
                </a:lnTo>
                <a:close/>
              </a:path>
            </a:pathLst>
          </a:custGeom>
          <a:solidFill>
            <a:srgbClr val="FFFFFF"/>
          </a:solidFill>
        </p:spPr>
        <p:txBody>
          <a:bodyPr wrap="square" lIns="0" tIns="0" rIns="0" bIns="0" rtlCol="0"/>
          <a:lstStyle/>
          <a:p>
            <a:endParaRPr/>
          </a:p>
        </p:txBody>
      </p:sp>
      <p:sp>
        <p:nvSpPr>
          <p:cNvPr id="19" name="object 19"/>
          <p:cNvSpPr txBox="1"/>
          <p:nvPr/>
        </p:nvSpPr>
        <p:spPr>
          <a:xfrm>
            <a:off x="3946501" y="1877251"/>
            <a:ext cx="514675" cy="297462"/>
          </a:xfrm>
          <a:prstGeom prst="rect">
            <a:avLst/>
          </a:prstGeom>
        </p:spPr>
        <p:txBody>
          <a:bodyPr vert="horz" wrap="square" lIns="0" tIns="6931" rIns="0" bIns="0" rtlCol="0">
            <a:spAutoFit/>
          </a:bodyPr>
          <a:lstStyle/>
          <a:p>
            <a:pPr marL="5776">
              <a:spcBef>
                <a:spcPts val="55"/>
              </a:spcBef>
            </a:pPr>
            <a:r>
              <a:rPr sz="1900" b="1" spc="7" dirty="0">
                <a:latin typeface="Helvetica Neue"/>
                <a:cs typeface="Helvetica Neue"/>
              </a:rPr>
              <a:t>62%</a:t>
            </a:r>
            <a:endParaRPr sz="1900">
              <a:latin typeface="Helvetica Neue"/>
              <a:cs typeface="Helvetica Neue"/>
            </a:endParaRPr>
          </a:p>
        </p:txBody>
      </p:sp>
      <p:sp>
        <p:nvSpPr>
          <p:cNvPr id="20" name="object 20"/>
          <p:cNvSpPr/>
          <p:nvPr/>
        </p:nvSpPr>
        <p:spPr>
          <a:xfrm>
            <a:off x="3829217" y="1633476"/>
            <a:ext cx="799161" cy="783221"/>
          </a:xfrm>
          <a:custGeom>
            <a:avLst/>
            <a:gdLst/>
            <a:ahLst/>
            <a:cxnLst/>
            <a:rect l="l" t="t" r="r" b="b"/>
            <a:pathLst>
              <a:path w="1757045" h="1722120">
                <a:moveTo>
                  <a:pt x="1756993" y="860863"/>
                </a:moveTo>
                <a:lnTo>
                  <a:pt x="1755693" y="908096"/>
                </a:lnTo>
                <a:lnTo>
                  <a:pt x="1751838" y="954664"/>
                </a:lnTo>
                <a:lnTo>
                  <a:pt x="1745495" y="1000500"/>
                </a:lnTo>
                <a:lnTo>
                  <a:pt x="1736731" y="1045539"/>
                </a:lnTo>
                <a:lnTo>
                  <a:pt x="1725612" y="1089715"/>
                </a:lnTo>
                <a:lnTo>
                  <a:pt x="1712207" y="1132963"/>
                </a:lnTo>
                <a:lnTo>
                  <a:pt x="1696581" y="1175216"/>
                </a:lnTo>
                <a:lnTo>
                  <a:pt x="1678802" y="1216411"/>
                </a:lnTo>
                <a:lnTo>
                  <a:pt x="1658937" y="1256479"/>
                </a:lnTo>
                <a:lnTo>
                  <a:pt x="1637052" y="1295357"/>
                </a:lnTo>
                <a:lnTo>
                  <a:pt x="1613216" y="1332979"/>
                </a:lnTo>
                <a:lnTo>
                  <a:pt x="1587494" y="1369278"/>
                </a:lnTo>
                <a:lnTo>
                  <a:pt x="1559954" y="1404189"/>
                </a:lnTo>
                <a:lnTo>
                  <a:pt x="1530662" y="1437647"/>
                </a:lnTo>
                <a:lnTo>
                  <a:pt x="1499687" y="1469586"/>
                </a:lnTo>
                <a:lnTo>
                  <a:pt x="1467094" y="1499939"/>
                </a:lnTo>
                <a:lnTo>
                  <a:pt x="1432951" y="1528643"/>
                </a:lnTo>
                <a:lnTo>
                  <a:pt x="1397324" y="1555630"/>
                </a:lnTo>
                <a:lnTo>
                  <a:pt x="1360282" y="1580836"/>
                </a:lnTo>
                <a:lnTo>
                  <a:pt x="1321890" y="1604194"/>
                </a:lnTo>
                <a:lnTo>
                  <a:pt x="1282216" y="1625639"/>
                </a:lnTo>
                <a:lnTo>
                  <a:pt x="1241326" y="1645105"/>
                </a:lnTo>
                <a:lnTo>
                  <a:pt x="1199288" y="1662528"/>
                </a:lnTo>
                <a:lnTo>
                  <a:pt x="1156169" y="1677840"/>
                </a:lnTo>
                <a:lnTo>
                  <a:pt x="1112035" y="1690976"/>
                </a:lnTo>
                <a:lnTo>
                  <a:pt x="1066954" y="1701872"/>
                </a:lnTo>
                <a:lnTo>
                  <a:pt x="1020993" y="1710460"/>
                </a:lnTo>
                <a:lnTo>
                  <a:pt x="974218" y="1716676"/>
                </a:lnTo>
                <a:lnTo>
                  <a:pt x="926697" y="1720453"/>
                </a:lnTo>
                <a:lnTo>
                  <a:pt x="878496" y="1721727"/>
                </a:lnTo>
                <a:lnTo>
                  <a:pt x="830296" y="1720453"/>
                </a:lnTo>
                <a:lnTo>
                  <a:pt x="782775" y="1716676"/>
                </a:lnTo>
                <a:lnTo>
                  <a:pt x="736000" y="1710460"/>
                </a:lnTo>
                <a:lnTo>
                  <a:pt x="690039" y="1701872"/>
                </a:lnTo>
                <a:lnTo>
                  <a:pt x="644958" y="1690976"/>
                </a:lnTo>
                <a:lnTo>
                  <a:pt x="600824" y="1677840"/>
                </a:lnTo>
                <a:lnTo>
                  <a:pt x="557705" y="1662528"/>
                </a:lnTo>
                <a:lnTo>
                  <a:pt x="515667" y="1645105"/>
                </a:lnTo>
                <a:lnTo>
                  <a:pt x="474777" y="1625639"/>
                </a:lnTo>
                <a:lnTo>
                  <a:pt x="435103" y="1604194"/>
                </a:lnTo>
                <a:lnTo>
                  <a:pt x="396711" y="1580836"/>
                </a:lnTo>
                <a:lnTo>
                  <a:pt x="359668" y="1555630"/>
                </a:lnTo>
                <a:lnTo>
                  <a:pt x="324042" y="1528643"/>
                </a:lnTo>
                <a:lnTo>
                  <a:pt x="289899" y="1499939"/>
                </a:lnTo>
                <a:lnTo>
                  <a:pt x="257306" y="1469586"/>
                </a:lnTo>
                <a:lnTo>
                  <a:pt x="226330" y="1437647"/>
                </a:lnTo>
                <a:lnTo>
                  <a:pt x="197039" y="1404189"/>
                </a:lnTo>
                <a:lnTo>
                  <a:pt x="169499" y="1369278"/>
                </a:lnTo>
                <a:lnTo>
                  <a:pt x="143777" y="1332979"/>
                </a:lnTo>
                <a:lnTo>
                  <a:pt x="119940" y="1295357"/>
                </a:lnTo>
                <a:lnTo>
                  <a:pt x="98056" y="1256479"/>
                </a:lnTo>
                <a:lnTo>
                  <a:pt x="78191" y="1216411"/>
                </a:lnTo>
                <a:lnTo>
                  <a:pt x="60412" y="1175216"/>
                </a:lnTo>
                <a:lnTo>
                  <a:pt x="44786" y="1132963"/>
                </a:lnTo>
                <a:lnTo>
                  <a:pt x="31380" y="1089715"/>
                </a:lnTo>
                <a:lnTo>
                  <a:pt x="20262" y="1045539"/>
                </a:lnTo>
                <a:lnTo>
                  <a:pt x="11498" y="1000500"/>
                </a:lnTo>
                <a:lnTo>
                  <a:pt x="5154" y="954664"/>
                </a:lnTo>
                <a:lnTo>
                  <a:pt x="1299" y="908096"/>
                </a:lnTo>
                <a:lnTo>
                  <a:pt x="0" y="860863"/>
                </a:lnTo>
                <a:lnTo>
                  <a:pt x="1299" y="813630"/>
                </a:lnTo>
                <a:lnTo>
                  <a:pt x="5154" y="767063"/>
                </a:lnTo>
                <a:lnTo>
                  <a:pt x="11498" y="721227"/>
                </a:lnTo>
                <a:lnTo>
                  <a:pt x="20262" y="676188"/>
                </a:lnTo>
                <a:lnTo>
                  <a:pt x="31380" y="632012"/>
                </a:lnTo>
                <a:lnTo>
                  <a:pt x="44786" y="588764"/>
                </a:lnTo>
                <a:lnTo>
                  <a:pt x="60412" y="546510"/>
                </a:lnTo>
                <a:lnTo>
                  <a:pt x="78191" y="505316"/>
                </a:lnTo>
                <a:lnTo>
                  <a:pt x="98056" y="465247"/>
                </a:lnTo>
                <a:lnTo>
                  <a:pt x="119940" y="426369"/>
                </a:lnTo>
                <a:lnTo>
                  <a:pt x="143777" y="388748"/>
                </a:lnTo>
                <a:lnTo>
                  <a:pt x="169499" y="352449"/>
                </a:lnTo>
                <a:lnTo>
                  <a:pt x="197039" y="317537"/>
                </a:lnTo>
                <a:lnTo>
                  <a:pt x="226330" y="284080"/>
                </a:lnTo>
                <a:lnTo>
                  <a:pt x="257306" y="252141"/>
                </a:lnTo>
                <a:lnTo>
                  <a:pt x="289899" y="221787"/>
                </a:lnTo>
                <a:lnTo>
                  <a:pt x="324042" y="193084"/>
                </a:lnTo>
                <a:lnTo>
                  <a:pt x="359668" y="166097"/>
                </a:lnTo>
                <a:lnTo>
                  <a:pt x="396711" y="140891"/>
                </a:lnTo>
                <a:lnTo>
                  <a:pt x="435103" y="117533"/>
                </a:lnTo>
                <a:lnTo>
                  <a:pt x="474777" y="96088"/>
                </a:lnTo>
                <a:lnTo>
                  <a:pt x="515667" y="76621"/>
                </a:lnTo>
                <a:lnTo>
                  <a:pt x="557705" y="59199"/>
                </a:lnTo>
                <a:lnTo>
                  <a:pt x="600824" y="43887"/>
                </a:lnTo>
                <a:lnTo>
                  <a:pt x="644958" y="30750"/>
                </a:lnTo>
                <a:lnTo>
                  <a:pt x="690039" y="19855"/>
                </a:lnTo>
                <a:lnTo>
                  <a:pt x="736000" y="11267"/>
                </a:lnTo>
                <a:lnTo>
                  <a:pt x="782775" y="5051"/>
                </a:lnTo>
                <a:lnTo>
                  <a:pt x="830296" y="1273"/>
                </a:lnTo>
                <a:lnTo>
                  <a:pt x="878496" y="0"/>
                </a:lnTo>
                <a:lnTo>
                  <a:pt x="926697" y="1273"/>
                </a:lnTo>
                <a:lnTo>
                  <a:pt x="974218" y="5051"/>
                </a:lnTo>
                <a:lnTo>
                  <a:pt x="1020993" y="11267"/>
                </a:lnTo>
                <a:lnTo>
                  <a:pt x="1066954" y="19855"/>
                </a:lnTo>
                <a:lnTo>
                  <a:pt x="1112035" y="30750"/>
                </a:lnTo>
                <a:lnTo>
                  <a:pt x="1156169" y="43887"/>
                </a:lnTo>
                <a:lnTo>
                  <a:pt x="1199288" y="59199"/>
                </a:lnTo>
                <a:lnTo>
                  <a:pt x="1241326" y="76621"/>
                </a:lnTo>
                <a:lnTo>
                  <a:pt x="1282216" y="96088"/>
                </a:lnTo>
                <a:lnTo>
                  <a:pt x="1321890" y="117533"/>
                </a:lnTo>
                <a:lnTo>
                  <a:pt x="1360282" y="140891"/>
                </a:lnTo>
                <a:lnTo>
                  <a:pt x="1397324" y="166097"/>
                </a:lnTo>
                <a:lnTo>
                  <a:pt x="1432951" y="193084"/>
                </a:lnTo>
                <a:lnTo>
                  <a:pt x="1467094" y="221787"/>
                </a:lnTo>
                <a:lnTo>
                  <a:pt x="1499687" y="252141"/>
                </a:lnTo>
                <a:lnTo>
                  <a:pt x="1530662" y="284080"/>
                </a:lnTo>
                <a:lnTo>
                  <a:pt x="1559954" y="317537"/>
                </a:lnTo>
                <a:lnTo>
                  <a:pt x="1587494" y="352449"/>
                </a:lnTo>
                <a:lnTo>
                  <a:pt x="1613216" y="388748"/>
                </a:lnTo>
                <a:lnTo>
                  <a:pt x="1637052" y="426369"/>
                </a:lnTo>
                <a:lnTo>
                  <a:pt x="1658937" y="465247"/>
                </a:lnTo>
                <a:lnTo>
                  <a:pt x="1678802" y="505316"/>
                </a:lnTo>
                <a:lnTo>
                  <a:pt x="1696581" y="546510"/>
                </a:lnTo>
                <a:lnTo>
                  <a:pt x="1712207" y="588764"/>
                </a:lnTo>
                <a:lnTo>
                  <a:pt x="1725612" y="632012"/>
                </a:lnTo>
                <a:lnTo>
                  <a:pt x="1736731" y="676188"/>
                </a:lnTo>
                <a:lnTo>
                  <a:pt x="1745495" y="721227"/>
                </a:lnTo>
                <a:lnTo>
                  <a:pt x="1751838" y="767063"/>
                </a:lnTo>
                <a:lnTo>
                  <a:pt x="1755693" y="813630"/>
                </a:lnTo>
                <a:lnTo>
                  <a:pt x="1756993" y="860863"/>
                </a:lnTo>
                <a:close/>
              </a:path>
            </a:pathLst>
          </a:custGeom>
          <a:ln w="17486">
            <a:solidFill>
              <a:srgbClr val="808080"/>
            </a:solidFill>
          </a:ln>
        </p:spPr>
        <p:txBody>
          <a:bodyPr wrap="square" lIns="0" tIns="0" rIns="0" bIns="0" rtlCol="0"/>
          <a:lstStyle/>
          <a:p>
            <a:endParaRPr/>
          </a:p>
        </p:txBody>
      </p:sp>
      <p:sp>
        <p:nvSpPr>
          <p:cNvPr id="21" name="object 21"/>
          <p:cNvSpPr/>
          <p:nvPr/>
        </p:nvSpPr>
        <p:spPr>
          <a:xfrm>
            <a:off x="3888014" y="1536591"/>
            <a:ext cx="839596" cy="995199"/>
          </a:xfrm>
          <a:custGeom>
            <a:avLst/>
            <a:gdLst/>
            <a:ahLst/>
            <a:cxnLst/>
            <a:rect l="l" t="t" r="r" b="b"/>
            <a:pathLst>
              <a:path w="1845945" h="2188210">
                <a:moveTo>
                  <a:pt x="350586" y="1512739"/>
                </a:moveTo>
                <a:lnTo>
                  <a:pt x="0" y="1888727"/>
                </a:lnTo>
                <a:lnTo>
                  <a:pt x="35298" y="1920717"/>
                </a:lnTo>
                <a:lnTo>
                  <a:pt x="71969" y="1951165"/>
                </a:lnTo>
                <a:lnTo>
                  <a:pt x="109962" y="1980021"/>
                </a:lnTo>
                <a:lnTo>
                  <a:pt x="149225" y="2007233"/>
                </a:lnTo>
                <a:lnTo>
                  <a:pt x="189707" y="2032749"/>
                </a:lnTo>
                <a:lnTo>
                  <a:pt x="231357" y="2056519"/>
                </a:lnTo>
                <a:lnTo>
                  <a:pt x="274123" y="2078491"/>
                </a:lnTo>
                <a:lnTo>
                  <a:pt x="317955" y="2098615"/>
                </a:lnTo>
                <a:lnTo>
                  <a:pt x="362800" y="2116837"/>
                </a:lnTo>
                <a:lnTo>
                  <a:pt x="408607" y="2133108"/>
                </a:lnTo>
                <a:lnTo>
                  <a:pt x="455325" y="2147376"/>
                </a:lnTo>
                <a:lnTo>
                  <a:pt x="502903" y="2159590"/>
                </a:lnTo>
                <a:lnTo>
                  <a:pt x="551290" y="2169698"/>
                </a:lnTo>
                <a:lnTo>
                  <a:pt x="600433" y="2177649"/>
                </a:lnTo>
                <a:lnTo>
                  <a:pt x="650283" y="2183392"/>
                </a:lnTo>
                <a:lnTo>
                  <a:pt x="700786" y="2186876"/>
                </a:lnTo>
                <a:lnTo>
                  <a:pt x="751893" y="2188048"/>
                </a:lnTo>
                <a:lnTo>
                  <a:pt x="800626" y="2186982"/>
                </a:lnTo>
                <a:lnTo>
                  <a:pt x="848813" y="2183814"/>
                </a:lnTo>
                <a:lnTo>
                  <a:pt x="896409" y="2178588"/>
                </a:lnTo>
                <a:lnTo>
                  <a:pt x="943371" y="2171349"/>
                </a:lnTo>
                <a:lnTo>
                  <a:pt x="989653" y="2162141"/>
                </a:lnTo>
                <a:lnTo>
                  <a:pt x="1035212" y="2151008"/>
                </a:lnTo>
                <a:lnTo>
                  <a:pt x="1080002" y="2137996"/>
                </a:lnTo>
                <a:lnTo>
                  <a:pt x="1123980" y="2123148"/>
                </a:lnTo>
                <a:lnTo>
                  <a:pt x="1167100" y="2106509"/>
                </a:lnTo>
                <a:lnTo>
                  <a:pt x="1209319" y="2088124"/>
                </a:lnTo>
                <a:lnTo>
                  <a:pt x="1250592" y="2068037"/>
                </a:lnTo>
                <a:lnTo>
                  <a:pt x="1290874" y="2046292"/>
                </a:lnTo>
                <a:lnTo>
                  <a:pt x="1330121" y="2022934"/>
                </a:lnTo>
                <a:lnTo>
                  <a:pt x="1368288" y="1998007"/>
                </a:lnTo>
                <a:lnTo>
                  <a:pt x="1405332" y="1971556"/>
                </a:lnTo>
                <a:lnTo>
                  <a:pt x="1441207" y="1943626"/>
                </a:lnTo>
                <a:lnTo>
                  <a:pt x="1475869" y="1914260"/>
                </a:lnTo>
                <a:lnTo>
                  <a:pt x="1509274" y="1883504"/>
                </a:lnTo>
                <a:lnTo>
                  <a:pt x="1541377" y="1851401"/>
                </a:lnTo>
                <a:lnTo>
                  <a:pt x="1572134" y="1817997"/>
                </a:lnTo>
                <a:lnTo>
                  <a:pt x="1601499" y="1783335"/>
                </a:lnTo>
                <a:lnTo>
                  <a:pt x="1629430" y="1747460"/>
                </a:lnTo>
                <a:lnTo>
                  <a:pt x="1655881" y="1710417"/>
                </a:lnTo>
                <a:lnTo>
                  <a:pt x="1679800" y="1673792"/>
                </a:lnTo>
                <a:lnTo>
                  <a:pt x="737246" y="1673792"/>
                </a:lnTo>
                <a:lnTo>
                  <a:pt x="692292" y="1670936"/>
                </a:lnTo>
                <a:lnTo>
                  <a:pt x="647403" y="1664524"/>
                </a:lnTo>
                <a:lnTo>
                  <a:pt x="602784" y="1654498"/>
                </a:lnTo>
                <a:lnTo>
                  <a:pt x="558635" y="1640797"/>
                </a:lnTo>
                <a:lnTo>
                  <a:pt x="515160" y="1623364"/>
                </a:lnTo>
                <a:lnTo>
                  <a:pt x="472561" y="1602139"/>
                </a:lnTo>
                <a:lnTo>
                  <a:pt x="439361" y="1582445"/>
                </a:lnTo>
                <a:lnTo>
                  <a:pt x="378344" y="1537639"/>
                </a:lnTo>
                <a:lnTo>
                  <a:pt x="350586" y="1512739"/>
                </a:lnTo>
                <a:close/>
              </a:path>
              <a:path w="1845945" h="2188210">
                <a:moveTo>
                  <a:pt x="751893" y="0"/>
                </a:moveTo>
                <a:lnTo>
                  <a:pt x="751893" y="514193"/>
                </a:lnTo>
                <a:lnTo>
                  <a:pt x="800555" y="516238"/>
                </a:lnTo>
                <a:lnTo>
                  <a:pt x="848705" y="522329"/>
                </a:lnTo>
                <a:lnTo>
                  <a:pt x="896095" y="532405"/>
                </a:lnTo>
                <a:lnTo>
                  <a:pt x="942478" y="546402"/>
                </a:lnTo>
                <a:lnTo>
                  <a:pt x="987607" y="564257"/>
                </a:lnTo>
                <a:lnTo>
                  <a:pt x="1031235" y="585908"/>
                </a:lnTo>
                <a:lnTo>
                  <a:pt x="1071982" y="610503"/>
                </a:lnTo>
                <a:lnTo>
                  <a:pt x="1109997" y="637870"/>
                </a:lnTo>
                <a:lnTo>
                  <a:pt x="1145221" y="667805"/>
                </a:lnTo>
                <a:lnTo>
                  <a:pt x="1177596" y="700107"/>
                </a:lnTo>
                <a:lnTo>
                  <a:pt x="1207062" y="734572"/>
                </a:lnTo>
                <a:lnTo>
                  <a:pt x="1233561" y="770998"/>
                </a:lnTo>
                <a:lnTo>
                  <a:pt x="1257034" y="809182"/>
                </a:lnTo>
                <a:lnTo>
                  <a:pt x="1277422" y="848921"/>
                </a:lnTo>
                <a:lnTo>
                  <a:pt x="1294666" y="890014"/>
                </a:lnTo>
                <a:lnTo>
                  <a:pt x="1308707" y="932256"/>
                </a:lnTo>
                <a:lnTo>
                  <a:pt x="1319487" y="975447"/>
                </a:lnTo>
                <a:lnTo>
                  <a:pt x="1326946" y="1019382"/>
                </a:lnTo>
                <a:lnTo>
                  <a:pt x="1331025" y="1063859"/>
                </a:lnTo>
                <a:lnTo>
                  <a:pt x="1331666" y="1108676"/>
                </a:lnTo>
                <a:lnTo>
                  <a:pt x="1328811" y="1153630"/>
                </a:lnTo>
                <a:lnTo>
                  <a:pt x="1322399" y="1198518"/>
                </a:lnTo>
                <a:lnTo>
                  <a:pt x="1312372" y="1243138"/>
                </a:lnTo>
                <a:lnTo>
                  <a:pt x="1298671" y="1287287"/>
                </a:lnTo>
                <a:lnTo>
                  <a:pt x="1281238" y="1330762"/>
                </a:lnTo>
                <a:lnTo>
                  <a:pt x="1260013" y="1373361"/>
                </a:lnTo>
                <a:lnTo>
                  <a:pt x="1235418" y="1414108"/>
                </a:lnTo>
                <a:lnTo>
                  <a:pt x="1208052" y="1452122"/>
                </a:lnTo>
                <a:lnTo>
                  <a:pt x="1178117" y="1487347"/>
                </a:lnTo>
                <a:lnTo>
                  <a:pt x="1145815" y="1519721"/>
                </a:lnTo>
                <a:lnTo>
                  <a:pt x="1111350" y="1549188"/>
                </a:lnTo>
                <a:lnTo>
                  <a:pt x="1074924" y="1575687"/>
                </a:lnTo>
                <a:lnTo>
                  <a:pt x="1036740" y="1599160"/>
                </a:lnTo>
                <a:lnTo>
                  <a:pt x="997001" y="1619548"/>
                </a:lnTo>
                <a:lnTo>
                  <a:pt x="955908" y="1636792"/>
                </a:lnTo>
                <a:lnTo>
                  <a:pt x="913665" y="1650833"/>
                </a:lnTo>
                <a:lnTo>
                  <a:pt x="870475" y="1661612"/>
                </a:lnTo>
                <a:lnTo>
                  <a:pt x="826540" y="1669071"/>
                </a:lnTo>
                <a:lnTo>
                  <a:pt x="782063" y="1673151"/>
                </a:lnTo>
                <a:lnTo>
                  <a:pt x="737246" y="1673792"/>
                </a:lnTo>
                <a:lnTo>
                  <a:pt x="1679800" y="1673792"/>
                </a:lnTo>
                <a:lnTo>
                  <a:pt x="1704166" y="1633003"/>
                </a:lnTo>
                <a:lnTo>
                  <a:pt x="1725911" y="1592721"/>
                </a:lnTo>
                <a:lnTo>
                  <a:pt x="1745998" y="1551449"/>
                </a:lnTo>
                <a:lnTo>
                  <a:pt x="1764383" y="1509231"/>
                </a:lnTo>
                <a:lnTo>
                  <a:pt x="1781022" y="1466111"/>
                </a:lnTo>
                <a:lnTo>
                  <a:pt x="1795870" y="1422134"/>
                </a:lnTo>
                <a:lnTo>
                  <a:pt x="1808882" y="1377344"/>
                </a:lnTo>
                <a:lnTo>
                  <a:pt x="1820015" y="1331786"/>
                </a:lnTo>
                <a:lnTo>
                  <a:pt x="1829223" y="1285504"/>
                </a:lnTo>
                <a:lnTo>
                  <a:pt x="1836462" y="1238543"/>
                </a:lnTo>
                <a:lnTo>
                  <a:pt x="1841688" y="1190947"/>
                </a:lnTo>
                <a:lnTo>
                  <a:pt x="1844856" y="1142761"/>
                </a:lnTo>
                <a:lnTo>
                  <a:pt x="1845922" y="1094029"/>
                </a:lnTo>
                <a:lnTo>
                  <a:pt x="1844856" y="1045297"/>
                </a:lnTo>
                <a:lnTo>
                  <a:pt x="1841688" y="997111"/>
                </a:lnTo>
                <a:lnTo>
                  <a:pt x="1836462" y="949515"/>
                </a:lnTo>
                <a:lnTo>
                  <a:pt x="1829223" y="902554"/>
                </a:lnTo>
                <a:lnTo>
                  <a:pt x="1820015" y="856272"/>
                </a:lnTo>
                <a:lnTo>
                  <a:pt x="1808882" y="810714"/>
                </a:lnTo>
                <a:lnTo>
                  <a:pt x="1795870" y="765924"/>
                </a:lnTo>
                <a:lnTo>
                  <a:pt x="1781022" y="721946"/>
                </a:lnTo>
                <a:lnTo>
                  <a:pt x="1764383" y="678826"/>
                </a:lnTo>
                <a:lnTo>
                  <a:pt x="1745998" y="636607"/>
                </a:lnTo>
                <a:lnTo>
                  <a:pt x="1725911" y="595335"/>
                </a:lnTo>
                <a:lnTo>
                  <a:pt x="1704166" y="555053"/>
                </a:lnTo>
                <a:lnTo>
                  <a:pt x="1680808" y="515806"/>
                </a:lnTo>
                <a:lnTo>
                  <a:pt x="1655881" y="477638"/>
                </a:lnTo>
                <a:lnTo>
                  <a:pt x="1629430" y="440594"/>
                </a:lnTo>
                <a:lnTo>
                  <a:pt x="1601499" y="404719"/>
                </a:lnTo>
                <a:lnTo>
                  <a:pt x="1572134" y="370057"/>
                </a:lnTo>
                <a:lnTo>
                  <a:pt x="1541377" y="336652"/>
                </a:lnTo>
                <a:lnTo>
                  <a:pt x="1509274" y="304549"/>
                </a:lnTo>
                <a:lnTo>
                  <a:pt x="1475869" y="273792"/>
                </a:lnTo>
                <a:lnTo>
                  <a:pt x="1441207" y="244426"/>
                </a:lnTo>
                <a:lnTo>
                  <a:pt x="1405332" y="216495"/>
                </a:lnTo>
                <a:lnTo>
                  <a:pt x="1368288" y="190044"/>
                </a:lnTo>
                <a:lnTo>
                  <a:pt x="1330121" y="165117"/>
                </a:lnTo>
                <a:lnTo>
                  <a:pt x="1290874" y="141758"/>
                </a:lnTo>
                <a:lnTo>
                  <a:pt x="1250592" y="120013"/>
                </a:lnTo>
                <a:lnTo>
                  <a:pt x="1209319" y="99925"/>
                </a:lnTo>
                <a:lnTo>
                  <a:pt x="1167100" y="81540"/>
                </a:lnTo>
                <a:lnTo>
                  <a:pt x="1123980" y="64901"/>
                </a:lnTo>
                <a:lnTo>
                  <a:pt x="1080002" y="50053"/>
                </a:lnTo>
                <a:lnTo>
                  <a:pt x="1035212" y="37040"/>
                </a:lnTo>
                <a:lnTo>
                  <a:pt x="989653" y="25907"/>
                </a:lnTo>
                <a:lnTo>
                  <a:pt x="943371" y="16699"/>
                </a:lnTo>
                <a:lnTo>
                  <a:pt x="896409" y="9460"/>
                </a:lnTo>
                <a:lnTo>
                  <a:pt x="848813" y="4234"/>
                </a:lnTo>
                <a:lnTo>
                  <a:pt x="800626" y="1065"/>
                </a:lnTo>
                <a:lnTo>
                  <a:pt x="751893" y="0"/>
                </a:lnTo>
                <a:close/>
              </a:path>
            </a:pathLst>
          </a:custGeom>
          <a:solidFill>
            <a:srgbClr val="FF7900"/>
          </a:solidFill>
        </p:spPr>
        <p:txBody>
          <a:bodyPr wrap="square" lIns="0" tIns="0" rIns="0" bIns="0" rtlCol="0"/>
          <a:lstStyle/>
          <a:p>
            <a:endParaRPr/>
          </a:p>
        </p:txBody>
      </p:sp>
      <p:sp>
        <p:nvSpPr>
          <p:cNvPr id="22" name="object 22"/>
          <p:cNvSpPr txBox="1"/>
          <p:nvPr/>
        </p:nvSpPr>
        <p:spPr>
          <a:xfrm>
            <a:off x="3358961" y="4468348"/>
            <a:ext cx="1970600" cy="351926"/>
          </a:xfrm>
          <a:prstGeom prst="rect">
            <a:avLst/>
          </a:prstGeom>
        </p:spPr>
        <p:txBody>
          <a:bodyPr vert="horz" wrap="square" lIns="0" tIns="5487" rIns="0" bIns="0" rtlCol="0">
            <a:spAutoFit/>
          </a:bodyPr>
          <a:lstStyle/>
          <a:p>
            <a:pPr marL="5776" marR="2310" algn="just">
              <a:lnSpc>
                <a:spcPct val="101000"/>
              </a:lnSpc>
              <a:spcBef>
                <a:spcPts val="43"/>
              </a:spcBef>
            </a:pPr>
            <a:r>
              <a:rPr sz="1100" b="1" spc="5" dirty="0">
                <a:latin typeface="Helvetica Neue"/>
                <a:cs typeface="Helvetica Neue"/>
              </a:rPr>
              <a:t>estiment que les espèces  </a:t>
            </a:r>
            <a:r>
              <a:rPr sz="1100" b="1" dirty="0">
                <a:latin typeface="Helvetica Neue"/>
                <a:cs typeface="Helvetica Neue"/>
              </a:rPr>
              <a:t>auront </a:t>
            </a:r>
            <a:r>
              <a:rPr sz="1100" b="1" spc="5" dirty="0">
                <a:latin typeface="Helvetica Neue"/>
                <a:cs typeface="Helvetica Neue"/>
              </a:rPr>
              <a:t>disparu dans 5</a:t>
            </a:r>
            <a:r>
              <a:rPr sz="1100" b="1" spc="-16" dirty="0">
                <a:latin typeface="Helvetica Neue"/>
                <a:cs typeface="Helvetica Neue"/>
              </a:rPr>
              <a:t> </a:t>
            </a:r>
            <a:r>
              <a:rPr sz="1100" b="1" spc="5" dirty="0" err="1">
                <a:latin typeface="Helvetica Neue"/>
                <a:cs typeface="Helvetica Neue"/>
              </a:rPr>
              <a:t>ans</a:t>
            </a:r>
            <a:r>
              <a:rPr lang="fr-FR" sz="1100" b="1" spc="5" dirty="0">
                <a:latin typeface="Helvetica Neue"/>
                <a:cs typeface="Helvetica Neue"/>
              </a:rPr>
              <a:t>.</a:t>
            </a:r>
            <a:endParaRPr sz="1100" dirty="0">
              <a:latin typeface="Helvetica Neue"/>
              <a:cs typeface="Helvetica Neue"/>
            </a:endParaRPr>
          </a:p>
        </p:txBody>
      </p:sp>
      <p:sp>
        <p:nvSpPr>
          <p:cNvPr id="23" name="object 23"/>
          <p:cNvSpPr/>
          <p:nvPr/>
        </p:nvSpPr>
        <p:spPr>
          <a:xfrm>
            <a:off x="3659928" y="3331242"/>
            <a:ext cx="1128126" cy="1128047"/>
          </a:xfrm>
          <a:custGeom>
            <a:avLst/>
            <a:gdLst/>
            <a:ahLst/>
            <a:cxnLst/>
            <a:rect l="l" t="t" r="r" b="b"/>
            <a:pathLst>
              <a:path w="2480309" h="2480309">
                <a:moveTo>
                  <a:pt x="1240098" y="0"/>
                </a:moveTo>
                <a:lnTo>
                  <a:pt x="1191404" y="938"/>
                </a:lnTo>
                <a:lnTo>
                  <a:pt x="1143186" y="3731"/>
                </a:lnTo>
                <a:lnTo>
                  <a:pt x="1095478" y="8343"/>
                </a:lnTo>
                <a:lnTo>
                  <a:pt x="1048314" y="14740"/>
                </a:lnTo>
                <a:lnTo>
                  <a:pt x="1001729" y="22888"/>
                </a:lnTo>
                <a:lnTo>
                  <a:pt x="955757" y="32752"/>
                </a:lnTo>
                <a:lnTo>
                  <a:pt x="910433" y="44298"/>
                </a:lnTo>
                <a:lnTo>
                  <a:pt x="865792" y="57491"/>
                </a:lnTo>
                <a:lnTo>
                  <a:pt x="821867" y="72296"/>
                </a:lnTo>
                <a:lnTo>
                  <a:pt x="778693" y="88680"/>
                </a:lnTo>
                <a:lnTo>
                  <a:pt x="736305" y="106608"/>
                </a:lnTo>
                <a:lnTo>
                  <a:pt x="694737" y="126046"/>
                </a:lnTo>
                <a:lnTo>
                  <a:pt x="654024" y="146958"/>
                </a:lnTo>
                <a:lnTo>
                  <a:pt x="614200" y="169311"/>
                </a:lnTo>
                <a:lnTo>
                  <a:pt x="575299" y="193070"/>
                </a:lnTo>
                <a:lnTo>
                  <a:pt x="537356" y="218200"/>
                </a:lnTo>
                <a:lnTo>
                  <a:pt x="500406" y="244668"/>
                </a:lnTo>
                <a:lnTo>
                  <a:pt x="464483" y="272438"/>
                </a:lnTo>
                <a:lnTo>
                  <a:pt x="429621" y="301476"/>
                </a:lnTo>
                <a:lnTo>
                  <a:pt x="395855" y="331748"/>
                </a:lnTo>
                <a:lnTo>
                  <a:pt x="363219" y="363219"/>
                </a:lnTo>
                <a:lnTo>
                  <a:pt x="331748" y="395855"/>
                </a:lnTo>
                <a:lnTo>
                  <a:pt x="301476" y="429621"/>
                </a:lnTo>
                <a:lnTo>
                  <a:pt x="272438" y="464483"/>
                </a:lnTo>
                <a:lnTo>
                  <a:pt x="244668" y="500406"/>
                </a:lnTo>
                <a:lnTo>
                  <a:pt x="218200" y="537356"/>
                </a:lnTo>
                <a:lnTo>
                  <a:pt x="193070" y="575299"/>
                </a:lnTo>
                <a:lnTo>
                  <a:pt x="169311" y="614200"/>
                </a:lnTo>
                <a:lnTo>
                  <a:pt x="146958" y="654024"/>
                </a:lnTo>
                <a:lnTo>
                  <a:pt x="126046" y="694737"/>
                </a:lnTo>
                <a:lnTo>
                  <a:pt x="106608" y="736305"/>
                </a:lnTo>
                <a:lnTo>
                  <a:pt x="88680" y="778693"/>
                </a:lnTo>
                <a:lnTo>
                  <a:pt x="72296" y="821867"/>
                </a:lnTo>
                <a:lnTo>
                  <a:pt x="57491" y="865792"/>
                </a:lnTo>
                <a:lnTo>
                  <a:pt x="44298" y="910433"/>
                </a:lnTo>
                <a:lnTo>
                  <a:pt x="32752" y="955757"/>
                </a:lnTo>
                <a:lnTo>
                  <a:pt x="22888" y="1001729"/>
                </a:lnTo>
                <a:lnTo>
                  <a:pt x="14740" y="1048314"/>
                </a:lnTo>
                <a:lnTo>
                  <a:pt x="8343" y="1095478"/>
                </a:lnTo>
                <a:lnTo>
                  <a:pt x="3731" y="1143186"/>
                </a:lnTo>
                <a:lnTo>
                  <a:pt x="938" y="1191404"/>
                </a:lnTo>
                <a:lnTo>
                  <a:pt x="0" y="1240098"/>
                </a:lnTo>
                <a:lnTo>
                  <a:pt x="938" y="1288792"/>
                </a:lnTo>
                <a:lnTo>
                  <a:pt x="3731" y="1337011"/>
                </a:lnTo>
                <a:lnTo>
                  <a:pt x="8343" y="1384720"/>
                </a:lnTo>
                <a:lnTo>
                  <a:pt x="14740" y="1431885"/>
                </a:lnTo>
                <a:lnTo>
                  <a:pt x="22888" y="1478470"/>
                </a:lnTo>
                <a:lnTo>
                  <a:pt x="32752" y="1524442"/>
                </a:lnTo>
                <a:lnTo>
                  <a:pt x="44298" y="1569767"/>
                </a:lnTo>
                <a:lnTo>
                  <a:pt x="57491" y="1614409"/>
                </a:lnTo>
                <a:lnTo>
                  <a:pt x="72296" y="1658334"/>
                </a:lnTo>
                <a:lnTo>
                  <a:pt x="88680" y="1701508"/>
                </a:lnTo>
                <a:lnTo>
                  <a:pt x="106608" y="1743897"/>
                </a:lnTo>
                <a:lnTo>
                  <a:pt x="126046" y="1785465"/>
                </a:lnTo>
                <a:lnTo>
                  <a:pt x="146958" y="1826179"/>
                </a:lnTo>
                <a:lnTo>
                  <a:pt x="169311" y="1866003"/>
                </a:lnTo>
                <a:lnTo>
                  <a:pt x="193070" y="1904904"/>
                </a:lnTo>
                <a:lnTo>
                  <a:pt x="218200" y="1942847"/>
                </a:lnTo>
                <a:lnTo>
                  <a:pt x="244668" y="1979798"/>
                </a:lnTo>
                <a:lnTo>
                  <a:pt x="272438" y="2015721"/>
                </a:lnTo>
                <a:lnTo>
                  <a:pt x="301476" y="2050584"/>
                </a:lnTo>
                <a:lnTo>
                  <a:pt x="331748" y="2084350"/>
                </a:lnTo>
                <a:lnTo>
                  <a:pt x="363219" y="2116986"/>
                </a:lnTo>
                <a:lnTo>
                  <a:pt x="395855" y="2148457"/>
                </a:lnTo>
                <a:lnTo>
                  <a:pt x="429621" y="2178729"/>
                </a:lnTo>
                <a:lnTo>
                  <a:pt x="464483" y="2207768"/>
                </a:lnTo>
                <a:lnTo>
                  <a:pt x="500406" y="2235538"/>
                </a:lnTo>
                <a:lnTo>
                  <a:pt x="537356" y="2262005"/>
                </a:lnTo>
                <a:lnTo>
                  <a:pt x="575299" y="2287136"/>
                </a:lnTo>
                <a:lnTo>
                  <a:pt x="614200" y="2310895"/>
                </a:lnTo>
                <a:lnTo>
                  <a:pt x="654024" y="2333248"/>
                </a:lnTo>
                <a:lnTo>
                  <a:pt x="694737" y="2354160"/>
                </a:lnTo>
                <a:lnTo>
                  <a:pt x="736305" y="2373598"/>
                </a:lnTo>
                <a:lnTo>
                  <a:pt x="778693" y="2391526"/>
                </a:lnTo>
                <a:lnTo>
                  <a:pt x="821867" y="2407910"/>
                </a:lnTo>
                <a:lnTo>
                  <a:pt x="865792" y="2422716"/>
                </a:lnTo>
                <a:lnTo>
                  <a:pt x="910433" y="2435909"/>
                </a:lnTo>
                <a:lnTo>
                  <a:pt x="955757" y="2447454"/>
                </a:lnTo>
                <a:lnTo>
                  <a:pt x="1001729" y="2457318"/>
                </a:lnTo>
                <a:lnTo>
                  <a:pt x="1048314" y="2465466"/>
                </a:lnTo>
                <a:lnTo>
                  <a:pt x="1095478" y="2471864"/>
                </a:lnTo>
                <a:lnTo>
                  <a:pt x="1143186" y="2476476"/>
                </a:lnTo>
                <a:lnTo>
                  <a:pt x="1191404" y="2479268"/>
                </a:lnTo>
                <a:lnTo>
                  <a:pt x="1240098" y="2480207"/>
                </a:lnTo>
                <a:lnTo>
                  <a:pt x="1288793" y="2479268"/>
                </a:lnTo>
                <a:lnTo>
                  <a:pt x="1337013" y="2476476"/>
                </a:lnTo>
                <a:lnTo>
                  <a:pt x="1384722" y="2471864"/>
                </a:lnTo>
                <a:lnTo>
                  <a:pt x="1431887" y="2465466"/>
                </a:lnTo>
                <a:lnTo>
                  <a:pt x="1478473" y="2457318"/>
                </a:lnTo>
                <a:lnTo>
                  <a:pt x="1524446" y="2447454"/>
                </a:lnTo>
                <a:lnTo>
                  <a:pt x="1569770" y="2435909"/>
                </a:lnTo>
                <a:lnTo>
                  <a:pt x="1614413" y="2422716"/>
                </a:lnTo>
                <a:lnTo>
                  <a:pt x="1658338" y="2407910"/>
                </a:lnTo>
                <a:lnTo>
                  <a:pt x="1701513" y="2391526"/>
                </a:lnTo>
                <a:lnTo>
                  <a:pt x="1743901" y="2373598"/>
                </a:lnTo>
                <a:lnTo>
                  <a:pt x="1785470" y="2354160"/>
                </a:lnTo>
                <a:lnTo>
                  <a:pt x="1826183" y="2333248"/>
                </a:lnTo>
                <a:lnTo>
                  <a:pt x="1866008" y="2310895"/>
                </a:lnTo>
                <a:lnTo>
                  <a:pt x="1904909" y="2287136"/>
                </a:lnTo>
                <a:lnTo>
                  <a:pt x="1942852" y="2262005"/>
                </a:lnTo>
                <a:lnTo>
                  <a:pt x="1979802" y="2235538"/>
                </a:lnTo>
                <a:lnTo>
                  <a:pt x="2015726" y="2207768"/>
                </a:lnTo>
                <a:lnTo>
                  <a:pt x="2050588" y="2178729"/>
                </a:lnTo>
                <a:lnTo>
                  <a:pt x="2084354" y="2148457"/>
                </a:lnTo>
                <a:lnTo>
                  <a:pt x="2116990" y="2116986"/>
                </a:lnTo>
                <a:lnTo>
                  <a:pt x="2148461" y="2084350"/>
                </a:lnTo>
                <a:lnTo>
                  <a:pt x="2178733" y="2050584"/>
                </a:lnTo>
                <a:lnTo>
                  <a:pt x="2207771" y="2015721"/>
                </a:lnTo>
                <a:lnTo>
                  <a:pt x="2235541" y="1979798"/>
                </a:lnTo>
                <a:lnTo>
                  <a:pt x="2262008" y="1942847"/>
                </a:lnTo>
                <a:lnTo>
                  <a:pt x="2287138" y="1904904"/>
                </a:lnTo>
                <a:lnTo>
                  <a:pt x="2310897" y="1866003"/>
                </a:lnTo>
                <a:lnTo>
                  <a:pt x="2333250" y="1826179"/>
                </a:lnTo>
                <a:lnTo>
                  <a:pt x="2354162" y="1785465"/>
                </a:lnTo>
                <a:lnTo>
                  <a:pt x="2373599" y="1743897"/>
                </a:lnTo>
                <a:lnTo>
                  <a:pt x="2391527" y="1701508"/>
                </a:lnTo>
                <a:lnTo>
                  <a:pt x="2407911" y="1658334"/>
                </a:lnTo>
                <a:lnTo>
                  <a:pt x="2422716" y="1614409"/>
                </a:lnTo>
                <a:lnTo>
                  <a:pt x="2435909" y="1569767"/>
                </a:lnTo>
                <a:lnTo>
                  <a:pt x="2447455" y="1524442"/>
                </a:lnTo>
                <a:lnTo>
                  <a:pt x="2457319" y="1478470"/>
                </a:lnTo>
                <a:lnTo>
                  <a:pt x="2465467" y="1431885"/>
                </a:lnTo>
                <a:lnTo>
                  <a:pt x="2471864" y="1384720"/>
                </a:lnTo>
                <a:lnTo>
                  <a:pt x="2476476" y="1337011"/>
                </a:lnTo>
                <a:lnTo>
                  <a:pt x="2479268" y="1288792"/>
                </a:lnTo>
                <a:lnTo>
                  <a:pt x="2480207" y="1240098"/>
                </a:lnTo>
                <a:lnTo>
                  <a:pt x="2479268" y="1191404"/>
                </a:lnTo>
                <a:lnTo>
                  <a:pt x="2476476" y="1143186"/>
                </a:lnTo>
                <a:lnTo>
                  <a:pt x="2471864" y="1095478"/>
                </a:lnTo>
                <a:lnTo>
                  <a:pt x="2465467" y="1048314"/>
                </a:lnTo>
                <a:lnTo>
                  <a:pt x="2457319" y="1001729"/>
                </a:lnTo>
                <a:lnTo>
                  <a:pt x="2447455" y="955757"/>
                </a:lnTo>
                <a:lnTo>
                  <a:pt x="2435909" y="910433"/>
                </a:lnTo>
                <a:lnTo>
                  <a:pt x="2422716" y="865792"/>
                </a:lnTo>
                <a:lnTo>
                  <a:pt x="2407911" y="821867"/>
                </a:lnTo>
                <a:lnTo>
                  <a:pt x="2391527" y="778693"/>
                </a:lnTo>
                <a:lnTo>
                  <a:pt x="2373599" y="736305"/>
                </a:lnTo>
                <a:lnTo>
                  <a:pt x="2354162" y="694737"/>
                </a:lnTo>
                <a:lnTo>
                  <a:pt x="2333250" y="654024"/>
                </a:lnTo>
                <a:lnTo>
                  <a:pt x="2310897" y="614200"/>
                </a:lnTo>
                <a:lnTo>
                  <a:pt x="2287138" y="575299"/>
                </a:lnTo>
                <a:lnTo>
                  <a:pt x="2262008" y="537356"/>
                </a:lnTo>
                <a:lnTo>
                  <a:pt x="2235541" y="500406"/>
                </a:lnTo>
                <a:lnTo>
                  <a:pt x="2207771" y="464483"/>
                </a:lnTo>
                <a:lnTo>
                  <a:pt x="2178733" y="429621"/>
                </a:lnTo>
                <a:lnTo>
                  <a:pt x="2148461" y="395855"/>
                </a:lnTo>
                <a:lnTo>
                  <a:pt x="2116990" y="363219"/>
                </a:lnTo>
                <a:lnTo>
                  <a:pt x="2084354" y="331748"/>
                </a:lnTo>
                <a:lnTo>
                  <a:pt x="2050588" y="301476"/>
                </a:lnTo>
                <a:lnTo>
                  <a:pt x="2015726" y="272438"/>
                </a:lnTo>
                <a:lnTo>
                  <a:pt x="1979802" y="244668"/>
                </a:lnTo>
                <a:lnTo>
                  <a:pt x="1942852" y="218200"/>
                </a:lnTo>
                <a:lnTo>
                  <a:pt x="1904909" y="193070"/>
                </a:lnTo>
                <a:lnTo>
                  <a:pt x="1866008" y="169311"/>
                </a:lnTo>
                <a:lnTo>
                  <a:pt x="1826183" y="146958"/>
                </a:lnTo>
                <a:lnTo>
                  <a:pt x="1785470" y="126046"/>
                </a:lnTo>
                <a:lnTo>
                  <a:pt x="1743901" y="106608"/>
                </a:lnTo>
                <a:lnTo>
                  <a:pt x="1701513" y="88680"/>
                </a:lnTo>
                <a:lnTo>
                  <a:pt x="1658338" y="72296"/>
                </a:lnTo>
                <a:lnTo>
                  <a:pt x="1614413" y="57491"/>
                </a:lnTo>
                <a:lnTo>
                  <a:pt x="1569770" y="44298"/>
                </a:lnTo>
                <a:lnTo>
                  <a:pt x="1524446" y="32752"/>
                </a:lnTo>
                <a:lnTo>
                  <a:pt x="1478473" y="22888"/>
                </a:lnTo>
                <a:lnTo>
                  <a:pt x="1431887" y="14740"/>
                </a:lnTo>
                <a:lnTo>
                  <a:pt x="1384722" y="8343"/>
                </a:lnTo>
                <a:lnTo>
                  <a:pt x="1337013" y="3731"/>
                </a:lnTo>
                <a:lnTo>
                  <a:pt x="1288793" y="938"/>
                </a:lnTo>
                <a:lnTo>
                  <a:pt x="1240098" y="0"/>
                </a:lnTo>
                <a:close/>
              </a:path>
            </a:pathLst>
          </a:custGeom>
          <a:solidFill>
            <a:srgbClr val="FFFFFF"/>
          </a:solidFill>
        </p:spPr>
        <p:txBody>
          <a:bodyPr wrap="square" lIns="0" tIns="0" rIns="0" bIns="0" rtlCol="0"/>
          <a:lstStyle/>
          <a:p>
            <a:endParaRPr/>
          </a:p>
        </p:txBody>
      </p:sp>
      <p:sp>
        <p:nvSpPr>
          <p:cNvPr id="24" name="object 24"/>
          <p:cNvSpPr txBox="1"/>
          <p:nvPr/>
        </p:nvSpPr>
        <p:spPr>
          <a:xfrm>
            <a:off x="3946501" y="3738342"/>
            <a:ext cx="514675" cy="297462"/>
          </a:xfrm>
          <a:prstGeom prst="rect">
            <a:avLst/>
          </a:prstGeom>
        </p:spPr>
        <p:txBody>
          <a:bodyPr vert="horz" wrap="square" lIns="0" tIns="6931" rIns="0" bIns="0" rtlCol="0">
            <a:spAutoFit/>
          </a:bodyPr>
          <a:lstStyle/>
          <a:p>
            <a:pPr marL="5776">
              <a:spcBef>
                <a:spcPts val="55"/>
              </a:spcBef>
            </a:pPr>
            <a:r>
              <a:rPr sz="1900" b="1" spc="7" dirty="0">
                <a:latin typeface="Helvetica Neue"/>
                <a:cs typeface="Helvetica Neue"/>
              </a:rPr>
              <a:t>21%</a:t>
            </a:r>
            <a:endParaRPr sz="1900">
              <a:latin typeface="Helvetica Neue"/>
              <a:cs typeface="Helvetica Neue"/>
            </a:endParaRPr>
          </a:p>
        </p:txBody>
      </p:sp>
      <p:sp>
        <p:nvSpPr>
          <p:cNvPr id="25" name="object 25"/>
          <p:cNvSpPr/>
          <p:nvPr/>
        </p:nvSpPr>
        <p:spPr>
          <a:xfrm>
            <a:off x="3829217" y="3494567"/>
            <a:ext cx="799161" cy="783221"/>
          </a:xfrm>
          <a:custGeom>
            <a:avLst/>
            <a:gdLst/>
            <a:ahLst/>
            <a:cxnLst/>
            <a:rect l="l" t="t" r="r" b="b"/>
            <a:pathLst>
              <a:path w="1757045" h="1722120">
                <a:moveTo>
                  <a:pt x="1756993" y="860853"/>
                </a:moveTo>
                <a:lnTo>
                  <a:pt x="1755693" y="908086"/>
                </a:lnTo>
                <a:lnTo>
                  <a:pt x="1751838" y="954653"/>
                </a:lnTo>
                <a:lnTo>
                  <a:pt x="1745495" y="1000489"/>
                </a:lnTo>
                <a:lnTo>
                  <a:pt x="1736731" y="1045528"/>
                </a:lnTo>
                <a:lnTo>
                  <a:pt x="1725612" y="1089704"/>
                </a:lnTo>
                <a:lnTo>
                  <a:pt x="1712207" y="1132952"/>
                </a:lnTo>
                <a:lnTo>
                  <a:pt x="1696581" y="1175206"/>
                </a:lnTo>
                <a:lnTo>
                  <a:pt x="1678802" y="1216400"/>
                </a:lnTo>
                <a:lnTo>
                  <a:pt x="1658937" y="1256469"/>
                </a:lnTo>
                <a:lnTo>
                  <a:pt x="1637052" y="1295347"/>
                </a:lnTo>
                <a:lnTo>
                  <a:pt x="1613216" y="1332968"/>
                </a:lnTo>
                <a:lnTo>
                  <a:pt x="1587494" y="1369267"/>
                </a:lnTo>
                <a:lnTo>
                  <a:pt x="1559954" y="1404179"/>
                </a:lnTo>
                <a:lnTo>
                  <a:pt x="1530662" y="1437637"/>
                </a:lnTo>
                <a:lnTo>
                  <a:pt x="1499687" y="1469575"/>
                </a:lnTo>
                <a:lnTo>
                  <a:pt x="1467094" y="1499929"/>
                </a:lnTo>
                <a:lnTo>
                  <a:pt x="1432951" y="1528632"/>
                </a:lnTo>
                <a:lnTo>
                  <a:pt x="1397324" y="1555620"/>
                </a:lnTo>
                <a:lnTo>
                  <a:pt x="1360282" y="1580825"/>
                </a:lnTo>
                <a:lnTo>
                  <a:pt x="1321890" y="1604183"/>
                </a:lnTo>
                <a:lnTo>
                  <a:pt x="1282216" y="1625628"/>
                </a:lnTo>
                <a:lnTo>
                  <a:pt x="1241326" y="1645095"/>
                </a:lnTo>
                <a:lnTo>
                  <a:pt x="1199288" y="1662517"/>
                </a:lnTo>
                <a:lnTo>
                  <a:pt x="1156169" y="1677829"/>
                </a:lnTo>
                <a:lnTo>
                  <a:pt x="1112035" y="1690966"/>
                </a:lnTo>
                <a:lnTo>
                  <a:pt x="1066954" y="1701861"/>
                </a:lnTo>
                <a:lnTo>
                  <a:pt x="1020993" y="1710449"/>
                </a:lnTo>
                <a:lnTo>
                  <a:pt x="974218" y="1716665"/>
                </a:lnTo>
                <a:lnTo>
                  <a:pt x="926697" y="1720443"/>
                </a:lnTo>
                <a:lnTo>
                  <a:pt x="878496" y="1721717"/>
                </a:lnTo>
                <a:lnTo>
                  <a:pt x="830296" y="1720443"/>
                </a:lnTo>
                <a:lnTo>
                  <a:pt x="782775" y="1716665"/>
                </a:lnTo>
                <a:lnTo>
                  <a:pt x="736000" y="1710449"/>
                </a:lnTo>
                <a:lnTo>
                  <a:pt x="690039" y="1701861"/>
                </a:lnTo>
                <a:lnTo>
                  <a:pt x="644958" y="1690966"/>
                </a:lnTo>
                <a:lnTo>
                  <a:pt x="600824" y="1677829"/>
                </a:lnTo>
                <a:lnTo>
                  <a:pt x="557705" y="1662517"/>
                </a:lnTo>
                <a:lnTo>
                  <a:pt x="515667" y="1645095"/>
                </a:lnTo>
                <a:lnTo>
                  <a:pt x="474777" y="1625628"/>
                </a:lnTo>
                <a:lnTo>
                  <a:pt x="435103" y="1604183"/>
                </a:lnTo>
                <a:lnTo>
                  <a:pt x="396711" y="1580825"/>
                </a:lnTo>
                <a:lnTo>
                  <a:pt x="359668" y="1555620"/>
                </a:lnTo>
                <a:lnTo>
                  <a:pt x="324042" y="1528632"/>
                </a:lnTo>
                <a:lnTo>
                  <a:pt x="289899" y="1499929"/>
                </a:lnTo>
                <a:lnTo>
                  <a:pt x="257306" y="1469575"/>
                </a:lnTo>
                <a:lnTo>
                  <a:pt x="226330" y="1437637"/>
                </a:lnTo>
                <a:lnTo>
                  <a:pt x="197039" y="1404179"/>
                </a:lnTo>
                <a:lnTo>
                  <a:pt x="169499" y="1369267"/>
                </a:lnTo>
                <a:lnTo>
                  <a:pt x="143777" y="1332968"/>
                </a:lnTo>
                <a:lnTo>
                  <a:pt x="119940" y="1295347"/>
                </a:lnTo>
                <a:lnTo>
                  <a:pt x="98056" y="1256469"/>
                </a:lnTo>
                <a:lnTo>
                  <a:pt x="78191" y="1216400"/>
                </a:lnTo>
                <a:lnTo>
                  <a:pt x="60412" y="1175206"/>
                </a:lnTo>
                <a:lnTo>
                  <a:pt x="44786" y="1132952"/>
                </a:lnTo>
                <a:lnTo>
                  <a:pt x="31380" y="1089704"/>
                </a:lnTo>
                <a:lnTo>
                  <a:pt x="20262" y="1045528"/>
                </a:lnTo>
                <a:lnTo>
                  <a:pt x="11498" y="1000489"/>
                </a:lnTo>
                <a:lnTo>
                  <a:pt x="5154" y="954653"/>
                </a:lnTo>
                <a:lnTo>
                  <a:pt x="1299" y="908086"/>
                </a:lnTo>
                <a:lnTo>
                  <a:pt x="0" y="860853"/>
                </a:lnTo>
                <a:lnTo>
                  <a:pt x="1299" y="813621"/>
                </a:lnTo>
                <a:lnTo>
                  <a:pt x="5154" y="767054"/>
                </a:lnTo>
                <a:lnTo>
                  <a:pt x="11498" y="721219"/>
                </a:lnTo>
                <a:lnTo>
                  <a:pt x="20262" y="676181"/>
                </a:lnTo>
                <a:lnTo>
                  <a:pt x="31380" y="632006"/>
                </a:lnTo>
                <a:lnTo>
                  <a:pt x="44786" y="588759"/>
                </a:lnTo>
                <a:lnTo>
                  <a:pt x="60412" y="546506"/>
                </a:lnTo>
                <a:lnTo>
                  <a:pt x="78191" y="505312"/>
                </a:lnTo>
                <a:lnTo>
                  <a:pt x="98056" y="465244"/>
                </a:lnTo>
                <a:lnTo>
                  <a:pt x="119940" y="426366"/>
                </a:lnTo>
                <a:lnTo>
                  <a:pt x="143777" y="388745"/>
                </a:lnTo>
                <a:lnTo>
                  <a:pt x="169499" y="352446"/>
                </a:lnTo>
                <a:lnTo>
                  <a:pt x="197039" y="317536"/>
                </a:lnTo>
                <a:lnTo>
                  <a:pt x="226330" y="284078"/>
                </a:lnTo>
                <a:lnTo>
                  <a:pt x="257306" y="252140"/>
                </a:lnTo>
                <a:lnTo>
                  <a:pt x="289899" y="221786"/>
                </a:lnTo>
                <a:lnTo>
                  <a:pt x="324042" y="193083"/>
                </a:lnTo>
                <a:lnTo>
                  <a:pt x="359668" y="166096"/>
                </a:lnTo>
                <a:lnTo>
                  <a:pt x="396711" y="140891"/>
                </a:lnTo>
                <a:lnTo>
                  <a:pt x="435103" y="117532"/>
                </a:lnTo>
                <a:lnTo>
                  <a:pt x="474777" y="96087"/>
                </a:lnTo>
                <a:lnTo>
                  <a:pt x="515667" y="76621"/>
                </a:lnTo>
                <a:lnTo>
                  <a:pt x="557705" y="59199"/>
                </a:lnTo>
                <a:lnTo>
                  <a:pt x="600824" y="43887"/>
                </a:lnTo>
                <a:lnTo>
                  <a:pt x="644958" y="30750"/>
                </a:lnTo>
                <a:lnTo>
                  <a:pt x="690039" y="19855"/>
                </a:lnTo>
                <a:lnTo>
                  <a:pt x="736000" y="11267"/>
                </a:lnTo>
                <a:lnTo>
                  <a:pt x="782775" y="5051"/>
                </a:lnTo>
                <a:lnTo>
                  <a:pt x="830296" y="1273"/>
                </a:lnTo>
                <a:lnTo>
                  <a:pt x="878496" y="0"/>
                </a:lnTo>
                <a:lnTo>
                  <a:pt x="926697" y="1273"/>
                </a:lnTo>
                <a:lnTo>
                  <a:pt x="974218" y="5051"/>
                </a:lnTo>
                <a:lnTo>
                  <a:pt x="1020993" y="11267"/>
                </a:lnTo>
                <a:lnTo>
                  <a:pt x="1066954" y="19855"/>
                </a:lnTo>
                <a:lnTo>
                  <a:pt x="1112035" y="30750"/>
                </a:lnTo>
                <a:lnTo>
                  <a:pt x="1156169" y="43887"/>
                </a:lnTo>
                <a:lnTo>
                  <a:pt x="1199288" y="59199"/>
                </a:lnTo>
                <a:lnTo>
                  <a:pt x="1241326" y="76621"/>
                </a:lnTo>
                <a:lnTo>
                  <a:pt x="1282216" y="96087"/>
                </a:lnTo>
                <a:lnTo>
                  <a:pt x="1321890" y="117532"/>
                </a:lnTo>
                <a:lnTo>
                  <a:pt x="1360282" y="140891"/>
                </a:lnTo>
                <a:lnTo>
                  <a:pt x="1397324" y="166096"/>
                </a:lnTo>
                <a:lnTo>
                  <a:pt x="1432951" y="193083"/>
                </a:lnTo>
                <a:lnTo>
                  <a:pt x="1467094" y="221786"/>
                </a:lnTo>
                <a:lnTo>
                  <a:pt x="1499687" y="252140"/>
                </a:lnTo>
                <a:lnTo>
                  <a:pt x="1530662" y="284078"/>
                </a:lnTo>
                <a:lnTo>
                  <a:pt x="1559954" y="317536"/>
                </a:lnTo>
                <a:lnTo>
                  <a:pt x="1587494" y="352446"/>
                </a:lnTo>
                <a:lnTo>
                  <a:pt x="1613216" y="388745"/>
                </a:lnTo>
                <a:lnTo>
                  <a:pt x="1637052" y="426366"/>
                </a:lnTo>
                <a:lnTo>
                  <a:pt x="1658937" y="465244"/>
                </a:lnTo>
                <a:lnTo>
                  <a:pt x="1678802" y="505312"/>
                </a:lnTo>
                <a:lnTo>
                  <a:pt x="1696581" y="546506"/>
                </a:lnTo>
                <a:lnTo>
                  <a:pt x="1712207" y="588759"/>
                </a:lnTo>
                <a:lnTo>
                  <a:pt x="1725612" y="632006"/>
                </a:lnTo>
                <a:lnTo>
                  <a:pt x="1736731" y="676181"/>
                </a:lnTo>
                <a:lnTo>
                  <a:pt x="1745495" y="721219"/>
                </a:lnTo>
                <a:lnTo>
                  <a:pt x="1751838" y="767054"/>
                </a:lnTo>
                <a:lnTo>
                  <a:pt x="1755693" y="813621"/>
                </a:lnTo>
                <a:lnTo>
                  <a:pt x="1756993" y="860853"/>
                </a:lnTo>
                <a:close/>
              </a:path>
            </a:pathLst>
          </a:custGeom>
          <a:ln w="17486">
            <a:solidFill>
              <a:srgbClr val="808080"/>
            </a:solidFill>
          </a:ln>
        </p:spPr>
        <p:txBody>
          <a:bodyPr wrap="square" lIns="0" tIns="0" rIns="0" bIns="0" rtlCol="0"/>
          <a:lstStyle/>
          <a:p>
            <a:endParaRPr/>
          </a:p>
        </p:txBody>
      </p:sp>
      <p:sp>
        <p:nvSpPr>
          <p:cNvPr id="26" name="object 26"/>
          <p:cNvSpPr/>
          <p:nvPr/>
        </p:nvSpPr>
        <p:spPr>
          <a:xfrm>
            <a:off x="4230000" y="3397679"/>
            <a:ext cx="481172" cy="430887"/>
          </a:xfrm>
          <a:custGeom>
            <a:avLst/>
            <a:gdLst/>
            <a:ahLst/>
            <a:cxnLst/>
            <a:rect l="l" t="t" r="r" b="b"/>
            <a:pathLst>
              <a:path w="1057909" h="947420">
                <a:moveTo>
                  <a:pt x="0" y="0"/>
                </a:moveTo>
                <a:lnTo>
                  <a:pt x="0" y="514183"/>
                </a:lnTo>
                <a:lnTo>
                  <a:pt x="48662" y="516229"/>
                </a:lnTo>
                <a:lnTo>
                  <a:pt x="96812" y="522324"/>
                </a:lnTo>
                <a:lnTo>
                  <a:pt x="144202" y="532403"/>
                </a:lnTo>
                <a:lnTo>
                  <a:pt x="190585" y="546404"/>
                </a:lnTo>
                <a:lnTo>
                  <a:pt x="235714" y="564260"/>
                </a:lnTo>
                <a:lnTo>
                  <a:pt x="279342" y="585908"/>
                </a:lnTo>
                <a:lnTo>
                  <a:pt x="321451" y="611405"/>
                </a:lnTo>
                <a:lnTo>
                  <a:pt x="360633" y="639861"/>
                </a:lnTo>
                <a:lnTo>
                  <a:pt x="396823" y="671052"/>
                </a:lnTo>
                <a:lnTo>
                  <a:pt x="429956" y="704752"/>
                </a:lnTo>
                <a:lnTo>
                  <a:pt x="459967" y="740739"/>
                </a:lnTo>
                <a:lnTo>
                  <a:pt x="486791" y="778786"/>
                </a:lnTo>
                <a:lnTo>
                  <a:pt x="510363" y="818671"/>
                </a:lnTo>
                <a:lnTo>
                  <a:pt x="530618" y="860168"/>
                </a:lnTo>
                <a:lnTo>
                  <a:pt x="547490" y="903053"/>
                </a:lnTo>
                <a:lnTo>
                  <a:pt x="560914" y="947102"/>
                </a:lnTo>
                <a:lnTo>
                  <a:pt x="1057863" y="814006"/>
                </a:lnTo>
                <a:lnTo>
                  <a:pt x="1044491" y="767570"/>
                </a:lnTo>
                <a:lnTo>
                  <a:pt x="1029149" y="722003"/>
                </a:lnTo>
                <a:lnTo>
                  <a:pt x="1011886" y="677356"/>
                </a:lnTo>
                <a:lnTo>
                  <a:pt x="992750" y="633678"/>
                </a:lnTo>
                <a:lnTo>
                  <a:pt x="971792" y="591018"/>
                </a:lnTo>
                <a:lnTo>
                  <a:pt x="949060" y="549426"/>
                </a:lnTo>
                <a:lnTo>
                  <a:pt x="924605" y="508951"/>
                </a:lnTo>
                <a:lnTo>
                  <a:pt x="898475" y="469642"/>
                </a:lnTo>
                <a:lnTo>
                  <a:pt x="870720" y="431550"/>
                </a:lnTo>
                <a:lnTo>
                  <a:pt x="841389" y="394722"/>
                </a:lnTo>
                <a:lnTo>
                  <a:pt x="810533" y="359210"/>
                </a:lnTo>
                <a:lnTo>
                  <a:pt x="778199" y="325062"/>
                </a:lnTo>
                <a:lnTo>
                  <a:pt x="744438" y="292327"/>
                </a:lnTo>
                <a:lnTo>
                  <a:pt x="709300" y="261055"/>
                </a:lnTo>
                <a:lnTo>
                  <a:pt x="672832" y="231296"/>
                </a:lnTo>
                <a:lnTo>
                  <a:pt x="635086" y="203099"/>
                </a:lnTo>
                <a:lnTo>
                  <a:pt x="596110" y="176513"/>
                </a:lnTo>
                <a:lnTo>
                  <a:pt x="555953" y="151587"/>
                </a:lnTo>
                <a:lnTo>
                  <a:pt x="514666" y="128372"/>
                </a:lnTo>
                <a:lnTo>
                  <a:pt x="472297" y="106916"/>
                </a:lnTo>
                <a:lnTo>
                  <a:pt x="428896" y="87269"/>
                </a:lnTo>
                <a:lnTo>
                  <a:pt x="384513" y="69480"/>
                </a:lnTo>
                <a:lnTo>
                  <a:pt x="339196" y="53599"/>
                </a:lnTo>
                <a:lnTo>
                  <a:pt x="292996" y="39675"/>
                </a:lnTo>
                <a:lnTo>
                  <a:pt x="245961" y="27758"/>
                </a:lnTo>
                <a:lnTo>
                  <a:pt x="198141" y="17897"/>
                </a:lnTo>
                <a:lnTo>
                  <a:pt x="149585" y="10141"/>
                </a:lnTo>
                <a:lnTo>
                  <a:pt x="100344" y="4540"/>
                </a:lnTo>
                <a:lnTo>
                  <a:pt x="50465" y="1143"/>
                </a:lnTo>
                <a:lnTo>
                  <a:pt x="0" y="0"/>
                </a:lnTo>
                <a:close/>
              </a:path>
            </a:pathLst>
          </a:custGeom>
          <a:solidFill>
            <a:srgbClr val="FF7900"/>
          </a:solidFill>
        </p:spPr>
        <p:txBody>
          <a:bodyPr wrap="square" lIns="0" tIns="0" rIns="0" bIns="0" rtlCol="0"/>
          <a:lstStyle/>
          <a:p>
            <a:endParaRPr/>
          </a:p>
        </p:txBody>
      </p:sp>
      <p:sp>
        <p:nvSpPr>
          <p:cNvPr id="27" name="object 27"/>
          <p:cNvSpPr txBox="1"/>
          <p:nvPr/>
        </p:nvSpPr>
        <p:spPr>
          <a:xfrm>
            <a:off x="6235596" y="4468348"/>
            <a:ext cx="1880689" cy="351926"/>
          </a:xfrm>
          <a:prstGeom prst="rect">
            <a:avLst/>
          </a:prstGeom>
        </p:spPr>
        <p:txBody>
          <a:bodyPr vert="horz" wrap="square" lIns="0" tIns="5487" rIns="0" bIns="0" rtlCol="0">
            <a:spAutoFit/>
          </a:bodyPr>
          <a:lstStyle/>
          <a:p>
            <a:pPr marL="5776" marR="2310" algn="just">
              <a:lnSpc>
                <a:spcPct val="101000"/>
              </a:lnSpc>
              <a:spcBef>
                <a:spcPts val="43"/>
              </a:spcBef>
            </a:pPr>
            <a:r>
              <a:rPr sz="1100" b="1" spc="5" dirty="0">
                <a:latin typeface="Helvetica Neue"/>
                <a:cs typeface="Helvetica Neue"/>
              </a:rPr>
              <a:t>estiment que les espèces  </a:t>
            </a:r>
            <a:r>
              <a:rPr sz="1100" b="1" dirty="0">
                <a:latin typeface="Helvetica Neue"/>
                <a:cs typeface="Helvetica Neue"/>
              </a:rPr>
              <a:t>auront </a:t>
            </a:r>
            <a:r>
              <a:rPr sz="1100" b="1" spc="5" dirty="0">
                <a:latin typeface="Helvetica Neue"/>
                <a:cs typeface="Helvetica Neue"/>
              </a:rPr>
              <a:t>disparu dans 5</a:t>
            </a:r>
            <a:r>
              <a:rPr sz="1100" b="1" spc="-16" dirty="0">
                <a:latin typeface="Helvetica Neue"/>
                <a:cs typeface="Helvetica Neue"/>
              </a:rPr>
              <a:t> </a:t>
            </a:r>
            <a:r>
              <a:rPr sz="1100" b="1" spc="5" dirty="0">
                <a:latin typeface="Helvetica Neue"/>
                <a:cs typeface="Helvetica Neue"/>
              </a:rPr>
              <a:t>an</a:t>
            </a:r>
            <a:r>
              <a:rPr lang="fr-FR" sz="1100" b="1" spc="5" dirty="0">
                <a:latin typeface="Helvetica Neue"/>
                <a:cs typeface="Helvetica Neue"/>
              </a:rPr>
              <a:t>s.</a:t>
            </a:r>
            <a:endParaRPr sz="1100" dirty="0">
              <a:latin typeface="Helvetica Neue"/>
              <a:cs typeface="Helvetica Neue"/>
            </a:endParaRPr>
          </a:p>
        </p:txBody>
      </p:sp>
      <p:sp>
        <p:nvSpPr>
          <p:cNvPr id="28" name="object 28"/>
          <p:cNvSpPr/>
          <p:nvPr/>
        </p:nvSpPr>
        <p:spPr>
          <a:xfrm>
            <a:off x="6446653" y="3331242"/>
            <a:ext cx="1128126" cy="1128047"/>
          </a:xfrm>
          <a:custGeom>
            <a:avLst/>
            <a:gdLst/>
            <a:ahLst/>
            <a:cxnLst/>
            <a:rect l="l" t="t" r="r" b="b"/>
            <a:pathLst>
              <a:path w="2480309" h="2480309">
                <a:moveTo>
                  <a:pt x="1240108" y="0"/>
                </a:moveTo>
                <a:lnTo>
                  <a:pt x="1191414" y="938"/>
                </a:lnTo>
                <a:lnTo>
                  <a:pt x="1143195" y="3731"/>
                </a:lnTo>
                <a:lnTo>
                  <a:pt x="1095486" y="8343"/>
                </a:lnTo>
                <a:lnTo>
                  <a:pt x="1048322" y="14740"/>
                </a:lnTo>
                <a:lnTo>
                  <a:pt x="1001736" y="22888"/>
                </a:lnTo>
                <a:lnTo>
                  <a:pt x="955764" y="32752"/>
                </a:lnTo>
                <a:lnTo>
                  <a:pt x="910439" y="44298"/>
                </a:lnTo>
                <a:lnTo>
                  <a:pt x="865797" y="57491"/>
                </a:lnTo>
                <a:lnTo>
                  <a:pt x="821872" y="72296"/>
                </a:lnTo>
                <a:lnTo>
                  <a:pt x="778698" y="88680"/>
                </a:lnTo>
                <a:lnTo>
                  <a:pt x="736309" y="106608"/>
                </a:lnTo>
                <a:lnTo>
                  <a:pt x="694741" y="126046"/>
                </a:lnTo>
                <a:lnTo>
                  <a:pt x="654028" y="146958"/>
                </a:lnTo>
                <a:lnTo>
                  <a:pt x="614203" y="169311"/>
                </a:lnTo>
                <a:lnTo>
                  <a:pt x="575302" y="193070"/>
                </a:lnTo>
                <a:lnTo>
                  <a:pt x="537359" y="218200"/>
                </a:lnTo>
                <a:lnTo>
                  <a:pt x="500408" y="244668"/>
                </a:lnTo>
                <a:lnTo>
                  <a:pt x="464485" y="272438"/>
                </a:lnTo>
                <a:lnTo>
                  <a:pt x="429623" y="301476"/>
                </a:lnTo>
                <a:lnTo>
                  <a:pt x="395856" y="331748"/>
                </a:lnTo>
                <a:lnTo>
                  <a:pt x="363220" y="363219"/>
                </a:lnTo>
                <a:lnTo>
                  <a:pt x="331749" y="395855"/>
                </a:lnTo>
                <a:lnTo>
                  <a:pt x="301477" y="429621"/>
                </a:lnTo>
                <a:lnTo>
                  <a:pt x="272438" y="464483"/>
                </a:lnTo>
                <a:lnTo>
                  <a:pt x="244668" y="500406"/>
                </a:lnTo>
                <a:lnTo>
                  <a:pt x="218201" y="537356"/>
                </a:lnTo>
                <a:lnTo>
                  <a:pt x="193070" y="575299"/>
                </a:lnTo>
                <a:lnTo>
                  <a:pt x="169311" y="614200"/>
                </a:lnTo>
                <a:lnTo>
                  <a:pt x="146959" y="654024"/>
                </a:lnTo>
                <a:lnTo>
                  <a:pt x="126046" y="694737"/>
                </a:lnTo>
                <a:lnTo>
                  <a:pt x="106609" y="736305"/>
                </a:lnTo>
                <a:lnTo>
                  <a:pt x="88681" y="778693"/>
                </a:lnTo>
                <a:lnTo>
                  <a:pt x="72296" y="821867"/>
                </a:lnTo>
                <a:lnTo>
                  <a:pt x="57491" y="865792"/>
                </a:lnTo>
                <a:lnTo>
                  <a:pt x="44298" y="910433"/>
                </a:lnTo>
                <a:lnTo>
                  <a:pt x="32752" y="955757"/>
                </a:lnTo>
                <a:lnTo>
                  <a:pt x="22888" y="1001729"/>
                </a:lnTo>
                <a:lnTo>
                  <a:pt x="14740" y="1048314"/>
                </a:lnTo>
                <a:lnTo>
                  <a:pt x="8343" y="1095478"/>
                </a:lnTo>
                <a:lnTo>
                  <a:pt x="3731" y="1143186"/>
                </a:lnTo>
                <a:lnTo>
                  <a:pt x="938" y="1191404"/>
                </a:lnTo>
                <a:lnTo>
                  <a:pt x="0" y="1240098"/>
                </a:lnTo>
                <a:lnTo>
                  <a:pt x="938" y="1288792"/>
                </a:lnTo>
                <a:lnTo>
                  <a:pt x="3731" y="1337011"/>
                </a:lnTo>
                <a:lnTo>
                  <a:pt x="8343" y="1384720"/>
                </a:lnTo>
                <a:lnTo>
                  <a:pt x="14740" y="1431885"/>
                </a:lnTo>
                <a:lnTo>
                  <a:pt x="22888" y="1478470"/>
                </a:lnTo>
                <a:lnTo>
                  <a:pt x="32752" y="1524442"/>
                </a:lnTo>
                <a:lnTo>
                  <a:pt x="44298" y="1569767"/>
                </a:lnTo>
                <a:lnTo>
                  <a:pt x="57491" y="1614409"/>
                </a:lnTo>
                <a:lnTo>
                  <a:pt x="72296" y="1658334"/>
                </a:lnTo>
                <a:lnTo>
                  <a:pt x="88681" y="1701508"/>
                </a:lnTo>
                <a:lnTo>
                  <a:pt x="106609" y="1743897"/>
                </a:lnTo>
                <a:lnTo>
                  <a:pt x="126046" y="1785465"/>
                </a:lnTo>
                <a:lnTo>
                  <a:pt x="146959" y="1826179"/>
                </a:lnTo>
                <a:lnTo>
                  <a:pt x="169311" y="1866003"/>
                </a:lnTo>
                <a:lnTo>
                  <a:pt x="193070" y="1904904"/>
                </a:lnTo>
                <a:lnTo>
                  <a:pt x="218201" y="1942847"/>
                </a:lnTo>
                <a:lnTo>
                  <a:pt x="244668" y="1979798"/>
                </a:lnTo>
                <a:lnTo>
                  <a:pt x="272438" y="2015721"/>
                </a:lnTo>
                <a:lnTo>
                  <a:pt x="301477" y="2050584"/>
                </a:lnTo>
                <a:lnTo>
                  <a:pt x="331749" y="2084350"/>
                </a:lnTo>
                <a:lnTo>
                  <a:pt x="363220" y="2116986"/>
                </a:lnTo>
                <a:lnTo>
                  <a:pt x="395856" y="2148457"/>
                </a:lnTo>
                <a:lnTo>
                  <a:pt x="429623" y="2178729"/>
                </a:lnTo>
                <a:lnTo>
                  <a:pt x="464485" y="2207768"/>
                </a:lnTo>
                <a:lnTo>
                  <a:pt x="500408" y="2235538"/>
                </a:lnTo>
                <a:lnTo>
                  <a:pt x="537359" y="2262005"/>
                </a:lnTo>
                <a:lnTo>
                  <a:pt x="575302" y="2287136"/>
                </a:lnTo>
                <a:lnTo>
                  <a:pt x="614203" y="2310895"/>
                </a:lnTo>
                <a:lnTo>
                  <a:pt x="654028" y="2333248"/>
                </a:lnTo>
                <a:lnTo>
                  <a:pt x="694741" y="2354160"/>
                </a:lnTo>
                <a:lnTo>
                  <a:pt x="736309" y="2373598"/>
                </a:lnTo>
                <a:lnTo>
                  <a:pt x="778698" y="2391526"/>
                </a:lnTo>
                <a:lnTo>
                  <a:pt x="821872" y="2407910"/>
                </a:lnTo>
                <a:lnTo>
                  <a:pt x="865797" y="2422716"/>
                </a:lnTo>
                <a:lnTo>
                  <a:pt x="910439" y="2435909"/>
                </a:lnTo>
                <a:lnTo>
                  <a:pt x="955764" y="2447454"/>
                </a:lnTo>
                <a:lnTo>
                  <a:pt x="1001736" y="2457318"/>
                </a:lnTo>
                <a:lnTo>
                  <a:pt x="1048322" y="2465466"/>
                </a:lnTo>
                <a:lnTo>
                  <a:pt x="1095486" y="2471864"/>
                </a:lnTo>
                <a:lnTo>
                  <a:pt x="1143195" y="2476476"/>
                </a:lnTo>
                <a:lnTo>
                  <a:pt x="1191414" y="2479268"/>
                </a:lnTo>
                <a:lnTo>
                  <a:pt x="1240108" y="2480207"/>
                </a:lnTo>
                <a:lnTo>
                  <a:pt x="1288803" y="2479268"/>
                </a:lnTo>
                <a:lnTo>
                  <a:pt x="1337022" y="2476476"/>
                </a:lnTo>
                <a:lnTo>
                  <a:pt x="1384731" y="2471864"/>
                </a:lnTo>
                <a:lnTo>
                  <a:pt x="1431895" y="2465466"/>
                </a:lnTo>
                <a:lnTo>
                  <a:pt x="1478480" y="2457318"/>
                </a:lnTo>
                <a:lnTo>
                  <a:pt x="1524452" y="2447454"/>
                </a:lnTo>
                <a:lnTo>
                  <a:pt x="1569777" y="2435909"/>
                </a:lnTo>
                <a:lnTo>
                  <a:pt x="1614418" y="2422716"/>
                </a:lnTo>
                <a:lnTo>
                  <a:pt x="1658343" y="2407910"/>
                </a:lnTo>
                <a:lnTo>
                  <a:pt x="1701517" y="2391526"/>
                </a:lnTo>
                <a:lnTo>
                  <a:pt x="1743905" y="2373598"/>
                </a:lnTo>
                <a:lnTo>
                  <a:pt x="1785473" y="2354160"/>
                </a:lnTo>
                <a:lnTo>
                  <a:pt x="1826187" y="2333248"/>
                </a:lnTo>
                <a:lnTo>
                  <a:pt x="1866011" y="2310895"/>
                </a:lnTo>
                <a:lnTo>
                  <a:pt x="1904912" y="2287136"/>
                </a:lnTo>
                <a:lnTo>
                  <a:pt x="1942854" y="2262005"/>
                </a:lnTo>
                <a:lnTo>
                  <a:pt x="1979804" y="2235538"/>
                </a:lnTo>
                <a:lnTo>
                  <a:pt x="2015728" y="2207768"/>
                </a:lnTo>
                <a:lnTo>
                  <a:pt x="2050590" y="2178729"/>
                </a:lnTo>
                <a:lnTo>
                  <a:pt x="2084356" y="2148457"/>
                </a:lnTo>
                <a:lnTo>
                  <a:pt x="2116991" y="2116986"/>
                </a:lnTo>
                <a:lnTo>
                  <a:pt x="2148462" y="2084350"/>
                </a:lnTo>
                <a:lnTo>
                  <a:pt x="2178734" y="2050584"/>
                </a:lnTo>
                <a:lnTo>
                  <a:pt x="2207772" y="2015721"/>
                </a:lnTo>
                <a:lnTo>
                  <a:pt x="2235542" y="1979798"/>
                </a:lnTo>
                <a:lnTo>
                  <a:pt x="2262009" y="1942847"/>
                </a:lnTo>
                <a:lnTo>
                  <a:pt x="2287139" y="1904904"/>
                </a:lnTo>
                <a:lnTo>
                  <a:pt x="2310898" y="1866003"/>
                </a:lnTo>
                <a:lnTo>
                  <a:pt x="2333250" y="1826179"/>
                </a:lnTo>
                <a:lnTo>
                  <a:pt x="2354162" y="1785465"/>
                </a:lnTo>
                <a:lnTo>
                  <a:pt x="2373599" y="1743897"/>
                </a:lnTo>
                <a:lnTo>
                  <a:pt x="2391527" y="1701508"/>
                </a:lnTo>
                <a:lnTo>
                  <a:pt x="2407911" y="1658334"/>
                </a:lnTo>
                <a:lnTo>
                  <a:pt x="2422717" y="1614409"/>
                </a:lnTo>
                <a:lnTo>
                  <a:pt x="2435909" y="1569767"/>
                </a:lnTo>
                <a:lnTo>
                  <a:pt x="2447455" y="1524442"/>
                </a:lnTo>
                <a:lnTo>
                  <a:pt x="2457319" y="1478470"/>
                </a:lnTo>
                <a:lnTo>
                  <a:pt x="2465467" y="1431885"/>
                </a:lnTo>
                <a:lnTo>
                  <a:pt x="2471864" y="1384720"/>
                </a:lnTo>
                <a:lnTo>
                  <a:pt x="2476476" y="1337011"/>
                </a:lnTo>
                <a:lnTo>
                  <a:pt x="2479268" y="1288792"/>
                </a:lnTo>
                <a:lnTo>
                  <a:pt x="2480207" y="1240098"/>
                </a:lnTo>
                <a:lnTo>
                  <a:pt x="2479268" y="1191404"/>
                </a:lnTo>
                <a:lnTo>
                  <a:pt x="2476476" y="1143186"/>
                </a:lnTo>
                <a:lnTo>
                  <a:pt x="2471864" y="1095478"/>
                </a:lnTo>
                <a:lnTo>
                  <a:pt x="2465467" y="1048314"/>
                </a:lnTo>
                <a:lnTo>
                  <a:pt x="2457319" y="1001729"/>
                </a:lnTo>
                <a:lnTo>
                  <a:pt x="2447455" y="955757"/>
                </a:lnTo>
                <a:lnTo>
                  <a:pt x="2435909" y="910433"/>
                </a:lnTo>
                <a:lnTo>
                  <a:pt x="2422717" y="865792"/>
                </a:lnTo>
                <a:lnTo>
                  <a:pt x="2407911" y="821867"/>
                </a:lnTo>
                <a:lnTo>
                  <a:pt x="2391527" y="778693"/>
                </a:lnTo>
                <a:lnTo>
                  <a:pt x="2373599" y="736305"/>
                </a:lnTo>
                <a:lnTo>
                  <a:pt x="2354162" y="694737"/>
                </a:lnTo>
                <a:lnTo>
                  <a:pt x="2333250" y="654024"/>
                </a:lnTo>
                <a:lnTo>
                  <a:pt x="2310898" y="614200"/>
                </a:lnTo>
                <a:lnTo>
                  <a:pt x="2287139" y="575299"/>
                </a:lnTo>
                <a:lnTo>
                  <a:pt x="2262009" y="537356"/>
                </a:lnTo>
                <a:lnTo>
                  <a:pt x="2235542" y="500406"/>
                </a:lnTo>
                <a:lnTo>
                  <a:pt x="2207772" y="464483"/>
                </a:lnTo>
                <a:lnTo>
                  <a:pt x="2178734" y="429621"/>
                </a:lnTo>
                <a:lnTo>
                  <a:pt x="2148462" y="395855"/>
                </a:lnTo>
                <a:lnTo>
                  <a:pt x="2116991" y="363219"/>
                </a:lnTo>
                <a:lnTo>
                  <a:pt x="2084356" y="331748"/>
                </a:lnTo>
                <a:lnTo>
                  <a:pt x="2050590" y="301476"/>
                </a:lnTo>
                <a:lnTo>
                  <a:pt x="2015728" y="272438"/>
                </a:lnTo>
                <a:lnTo>
                  <a:pt x="1979804" y="244668"/>
                </a:lnTo>
                <a:lnTo>
                  <a:pt x="1942854" y="218200"/>
                </a:lnTo>
                <a:lnTo>
                  <a:pt x="1904912" y="193070"/>
                </a:lnTo>
                <a:lnTo>
                  <a:pt x="1866011" y="169311"/>
                </a:lnTo>
                <a:lnTo>
                  <a:pt x="1826187" y="146958"/>
                </a:lnTo>
                <a:lnTo>
                  <a:pt x="1785473" y="126046"/>
                </a:lnTo>
                <a:lnTo>
                  <a:pt x="1743905" y="106608"/>
                </a:lnTo>
                <a:lnTo>
                  <a:pt x="1701517" y="88680"/>
                </a:lnTo>
                <a:lnTo>
                  <a:pt x="1658343" y="72296"/>
                </a:lnTo>
                <a:lnTo>
                  <a:pt x="1614418" y="57491"/>
                </a:lnTo>
                <a:lnTo>
                  <a:pt x="1569777" y="44298"/>
                </a:lnTo>
                <a:lnTo>
                  <a:pt x="1524452" y="32752"/>
                </a:lnTo>
                <a:lnTo>
                  <a:pt x="1478480" y="22888"/>
                </a:lnTo>
                <a:lnTo>
                  <a:pt x="1431895" y="14740"/>
                </a:lnTo>
                <a:lnTo>
                  <a:pt x="1384731" y="8343"/>
                </a:lnTo>
                <a:lnTo>
                  <a:pt x="1337022" y="3731"/>
                </a:lnTo>
                <a:lnTo>
                  <a:pt x="1288803" y="938"/>
                </a:lnTo>
                <a:lnTo>
                  <a:pt x="1240108" y="0"/>
                </a:lnTo>
                <a:close/>
              </a:path>
            </a:pathLst>
          </a:custGeom>
          <a:solidFill>
            <a:srgbClr val="FFFFFF"/>
          </a:solidFill>
        </p:spPr>
        <p:txBody>
          <a:bodyPr wrap="square" lIns="0" tIns="0" rIns="0" bIns="0" rtlCol="0"/>
          <a:lstStyle/>
          <a:p>
            <a:endParaRPr/>
          </a:p>
        </p:txBody>
      </p:sp>
      <p:sp>
        <p:nvSpPr>
          <p:cNvPr id="29" name="object 29"/>
          <p:cNvSpPr txBox="1"/>
          <p:nvPr/>
        </p:nvSpPr>
        <p:spPr>
          <a:xfrm>
            <a:off x="6733224" y="3738342"/>
            <a:ext cx="514675" cy="297462"/>
          </a:xfrm>
          <a:prstGeom prst="rect">
            <a:avLst/>
          </a:prstGeom>
        </p:spPr>
        <p:txBody>
          <a:bodyPr vert="horz" wrap="square" lIns="0" tIns="6931" rIns="0" bIns="0" rtlCol="0">
            <a:spAutoFit/>
          </a:bodyPr>
          <a:lstStyle/>
          <a:p>
            <a:pPr marL="5776">
              <a:spcBef>
                <a:spcPts val="55"/>
              </a:spcBef>
            </a:pPr>
            <a:r>
              <a:rPr sz="1900" b="1" spc="7" dirty="0">
                <a:latin typeface="Helvetica Neue"/>
                <a:cs typeface="Helvetica Neue"/>
              </a:rPr>
              <a:t>39%</a:t>
            </a:r>
            <a:endParaRPr sz="1900">
              <a:latin typeface="Helvetica Neue"/>
              <a:cs typeface="Helvetica Neue"/>
            </a:endParaRPr>
          </a:p>
        </p:txBody>
      </p:sp>
      <p:sp>
        <p:nvSpPr>
          <p:cNvPr id="30" name="object 30"/>
          <p:cNvSpPr/>
          <p:nvPr/>
        </p:nvSpPr>
        <p:spPr>
          <a:xfrm>
            <a:off x="6615940" y="3494567"/>
            <a:ext cx="799161" cy="783221"/>
          </a:xfrm>
          <a:custGeom>
            <a:avLst/>
            <a:gdLst/>
            <a:ahLst/>
            <a:cxnLst/>
            <a:rect l="l" t="t" r="r" b="b"/>
            <a:pathLst>
              <a:path w="1757044" h="1722120">
                <a:moveTo>
                  <a:pt x="1756993" y="860853"/>
                </a:moveTo>
                <a:lnTo>
                  <a:pt x="1755693" y="908086"/>
                </a:lnTo>
                <a:lnTo>
                  <a:pt x="1751838" y="954653"/>
                </a:lnTo>
                <a:lnTo>
                  <a:pt x="1745495" y="1000489"/>
                </a:lnTo>
                <a:lnTo>
                  <a:pt x="1736731" y="1045528"/>
                </a:lnTo>
                <a:lnTo>
                  <a:pt x="1725612" y="1089704"/>
                </a:lnTo>
                <a:lnTo>
                  <a:pt x="1712207" y="1132952"/>
                </a:lnTo>
                <a:lnTo>
                  <a:pt x="1696581" y="1175206"/>
                </a:lnTo>
                <a:lnTo>
                  <a:pt x="1678802" y="1216400"/>
                </a:lnTo>
                <a:lnTo>
                  <a:pt x="1658937" y="1256469"/>
                </a:lnTo>
                <a:lnTo>
                  <a:pt x="1637052" y="1295347"/>
                </a:lnTo>
                <a:lnTo>
                  <a:pt x="1613216" y="1332968"/>
                </a:lnTo>
                <a:lnTo>
                  <a:pt x="1587494" y="1369267"/>
                </a:lnTo>
                <a:lnTo>
                  <a:pt x="1559954" y="1404179"/>
                </a:lnTo>
                <a:lnTo>
                  <a:pt x="1530662" y="1437637"/>
                </a:lnTo>
                <a:lnTo>
                  <a:pt x="1499687" y="1469575"/>
                </a:lnTo>
                <a:lnTo>
                  <a:pt x="1467094" y="1499929"/>
                </a:lnTo>
                <a:lnTo>
                  <a:pt x="1432951" y="1528632"/>
                </a:lnTo>
                <a:lnTo>
                  <a:pt x="1397324" y="1555620"/>
                </a:lnTo>
                <a:lnTo>
                  <a:pt x="1360282" y="1580825"/>
                </a:lnTo>
                <a:lnTo>
                  <a:pt x="1321890" y="1604183"/>
                </a:lnTo>
                <a:lnTo>
                  <a:pt x="1282216" y="1625628"/>
                </a:lnTo>
                <a:lnTo>
                  <a:pt x="1241326" y="1645095"/>
                </a:lnTo>
                <a:lnTo>
                  <a:pt x="1199288" y="1662517"/>
                </a:lnTo>
                <a:lnTo>
                  <a:pt x="1156169" y="1677829"/>
                </a:lnTo>
                <a:lnTo>
                  <a:pt x="1112035" y="1690966"/>
                </a:lnTo>
                <a:lnTo>
                  <a:pt x="1066954" y="1701861"/>
                </a:lnTo>
                <a:lnTo>
                  <a:pt x="1020993" y="1710449"/>
                </a:lnTo>
                <a:lnTo>
                  <a:pt x="974218" y="1716665"/>
                </a:lnTo>
                <a:lnTo>
                  <a:pt x="926697" y="1720443"/>
                </a:lnTo>
                <a:lnTo>
                  <a:pt x="878496" y="1721717"/>
                </a:lnTo>
                <a:lnTo>
                  <a:pt x="830296" y="1720443"/>
                </a:lnTo>
                <a:lnTo>
                  <a:pt x="782775" y="1716665"/>
                </a:lnTo>
                <a:lnTo>
                  <a:pt x="736000" y="1710449"/>
                </a:lnTo>
                <a:lnTo>
                  <a:pt x="690039" y="1701861"/>
                </a:lnTo>
                <a:lnTo>
                  <a:pt x="644958" y="1690966"/>
                </a:lnTo>
                <a:lnTo>
                  <a:pt x="600824" y="1677829"/>
                </a:lnTo>
                <a:lnTo>
                  <a:pt x="557705" y="1662517"/>
                </a:lnTo>
                <a:lnTo>
                  <a:pt x="515667" y="1645095"/>
                </a:lnTo>
                <a:lnTo>
                  <a:pt x="474777" y="1625628"/>
                </a:lnTo>
                <a:lnTo>
                  <a:pt x="435103" y="1604183"/>
                </a:lnTo>
                <a:lnTo>
                  <a:pt x="396711" y="1580825"/>
                </a:lnTo>
                <a:lnTo>
                  <a:pt x="359668" y="1555620"/>
                </a:lnTo>
                <a:lnTo>
                  <a:pt x="324042" y="1528632"/>
                </a:lnTo>
                <a:lnTo>
                  <a:pt x="289899" y="1499929"/>
                </a:lnTo>
                <a:lnTo>
                  <a:pt x="257306" y="1469575"/>
                </a:lnTo>
                <a:lnTo>
                  <a:pt x="226330" y="1437637"/>
                </a:lnTo>
                <a:lnTo>
                  <a:pt x="197039" y="1404179"/>
                </a:lnTo>
                <a:lnTo>
                  <a:pt x="169499" y="1369267"/>
                </a:lnTo>
                <a:lnTo>
                  <a:pt x="143777" y="1332968"/>
                </a:lnTo>
                <a:lnTo>
                  <a:pt x="119940" y="1295347"/>
                </a:lnTo>
                <a:lnTo>
                  <a:pt x="98056" y="1256469"/>
                </a:lnTo>
                <a:lnTo>
                  <a:pt x="78191" y="1216400"/>
                </a:lnTo>
                <a:lnTo>
                  <a:pt x="60412" y="1175206"/>
                </a:lnTo>
                <a:lnTo>
                  <a:pt x="44786" y="1132952"/>
                </a:lnTo>
                <a:lnTo>
                  <a:pt x="31380" y="1089704"/>
                </a:lnTo>
                <a:lnTo>
                  <a:pt x="20262" y="1045528"/>
                </a:lnTo>
                <a:lnTo>
                  <a:pt x="11498" y="1000489"/>
                </a:lnTo>
                <a:lnTo>
                  <a:pt x="5154" y="954653"/>
                </a:lnTo>
                <a:lnTo>
                  <a:pt x="1299" y="908086"/>
                </a:lnTo>
                <a:lnTo>
                  <a:pt x="0" y="860853"/>
                </a:lnTo>
                <a:lnTo>
                  <a:pt x="1299" y="813621"/>
                </a:lnTo>
                <a:lnTo>
                  <a:pt x="5154" y="767054"/>
                </a:lnTo>
                <a:lnTo>
                  <a:pt x="11498" y="721219"/>
                </a:lnTo>
                <a:lnTo>
                  <a:pt x="20262" y="676181"/>
                </a:lnTo>
                <a:lnTo>
                  <a:pt x="31380" y="632006"/>
                </a:lnTo>
                <a:lnTo>
                  <a:pt x="44786" y="588759"/>
                </a:lnTo>
                <a:lnTo>
                  <a:pt x="60412" y="546506"/>
                </a:lnTo>
                <a:lnTo>
                  <a:pt x="78191" y="505312"/>
                </a:lnTo>
                <a:lnTo>
                  <a:pt x="98056" y="465244"/>
                </a:lnTo>
                <a:lnTo>
                  <a:pt x="119940" y="426366"/>
                </a:lnTo>
                <a:lnTo>
                  <a:pt x="143777" y="388745"/>
                </a:lnTo>
                <a:lnTo>
                  <a:pt x="169499" y="352446"/>
                </a:lnTo>
                <a:lnTo>
                  <a:pt x="197039" y="317536"/>
                </a:lnTo>
                <a:lnTo>
                  <a:pt x="226330" y="284078"/>
                </a:lnTo>
                <a:lnTo>
                  <a:pt x="257306" y="252140"/>
                </a:lnTo>
                <a:lnTo>
                  <a:pt x="289899" y="221786"/>
                </a:lnTo>
                <a:lnTo>
                  <a:pt x="324042" y="193083"/>
                </a:lnTo>
                <a:lnTo>
                  <a:pt x="359668" y="166096"/>
                </a:lnTo>
                <a:lnTo>
                  <a:pt x="396711" y="140891"/>
                </a:lnTo>
                <a:lnTo>
                  <a:pt x="435103" y="117532"/>
                </a:lnTo>
                <a:lnTo>
                  <a:pt x="474777" y="96087"/>
                </a:lnTo>
                <a:lnTo>
                  <a:pt x="515667" y="76621"/>
                </a:lnTo>
                <a:lnTo>
                  <a:pt x="557705" y="59199"/>
                </a:lnTo>
                <a:lnTo>
                  <a:pt x="600824" y="43887"/>
                </a:lnTo>
                <a:lnTo>
                  <a:pt x="644958" y="30750"/>
                </a:lnTo>
                <a:lnTo>
                  <a:pt x="690039" y="19855"/>
                </a:lnTo>
                <a:lnTo>
                  <a:pt x="736000" y="11267"/>
                </a:lnTo>
                <a:lnTo>
                  <a:pt x="782775" y="5051"/>
                </a:lnTo>
                <a:lnTo>
                  <a:pt x="830296" y="1273"/>
                </a:lnTo>
                <a:lnTo>
                  <a:pt x="878496" y="0"/>
                </a:lnTo>
                <a:lnTo>
                  <a:pt x="926697" y="1273"/>
                </a:lnTo>
                <a:lnTo>
                  <a:pt x="974218" y="5051"/>
                </a:lnTo>
                <a:lnTo>
                  <a:pt x="1020993" y="11267"/>
                </a:lnTo>
                <a:lnTo>
                  <a:pt x="1066954" y="19855"/>
                </a:lnTo>
                <a:lnTo>
                  <a:pt x="1112035" y="30750"/>
                </a:lnTo>
                <a:lnTo>
                  <a:pt x="1156169" y="43887"/>
                </a:lnTo>
                <a:lnTo>
                  <a:pt x="1199288" y="59199"/>
                </a:lnTo>
                <a:lnTo>
                  <a:pt x="1241326" y="76621"/>
                </a:lnTo>
                <a:lnTo>
                  <a:pt x="1282216" y="96087"/>
                </a:lnTo>
                <a:lnTo>
                  <a:pt x="1321890" y="117532"/>
                </a:lnTo>
                <a:lnTo>
                  <a:pt x="1360282" y="140891"/>
                </a:lnTo>
                <a:lnTo>
                  <a:pt x="1397324" y="166096"/>
                </a:lnTo>
                <a:lnTo>
                  <a:pt x="1432951" y="193083"/>
                </a:lnTo>
                <a:lnTo>
                  <a:pt x="1467094" y="221786"/>
                </a:lnTo>
                <a:lnTo>
                  <a:pt x="1499687" y="252140"/>
                </a:lnTo>
                <a:lnTo>
                  <a:pt x="1530662" y="284078"/>
                </a:lnTo>
                <a:lnTo>
                  <a:pt x="1559954" y="317536"/>
                </a:lnTo>
                <a:lnTo>
                  <a:pt x="1587494" y="352446"/>
                </a:lnTo>
                <a:lnTo>
                  <a:pt x="1613216" y="388745"/>
                </a:lnTo>
                <a:lnTo>
                  <a:pt x="1637052" y="426366"/>
                </a:lnTo>
                <a:lnTo>
                  <a:pt x="1658937" y="465244"/>
                </a:lnTo>
                <a:lnTo>
                  <a:pt x="1678802" y="505312"/>
                </a:lnTo>
                <a:lnTo>
                  <a:pt x="1696581" y="546506"/>
                </a:lnTo>
                <a:lnTo>
                  <a:pt x="1712207" y="588759"/>
                </a:lnTo>
                <a:lnTo>
                  <a:pt x="1725612" y="632006"/>
                </a:lnTo>
                <a:lnTo>
                  <a:pt x="1736731" y="676181"/>
                </a:lnTo>
                <a:lnTo>
                  <a:pt x="1745495" y="721219"/>
                </a:lnTo>
                <a:lnTo>
                  <a:pt x="1751838" y="767054"/>
                </a:lnTo>
                <a:lnTo>
                  <a:pt x="1755693" y="813621"/>
                </a:lnTo>
                <a:lnTo>
                  <a:pt x="1756993" y="860853"/>
                </a:lnTo>
                <a:close/>
              </a:path>
            </a:pathLst>
          </a:custGeom>
          <a:ln w="17486">
            <a:solidFill>
              <a:srgbClr val="808080"/>
            </a:solidFill>
          </a:ln>
        </p:spPr>
        <p:txBody>
          <a:bodyPr wrap="square" lIns="0" tIns="0" rIns="0" bIns="0" rtlCol="0"/>
          <a:lstStyle/>
          <a:p>
            <a:endParaRPr/>
          </a:p>
        </p:txBody>
      </p:sp>
      <p:sp>
        <p:nvSpPr>
          <p:cNvPr id="31" name="object 31"/>
          <p:cNvSpPr/>
          <p:nvPr/>
        </p:nvSpPr>
        <p:spPr>
          <a:xfrm>
            <a:off x="7016725" y="3397676"/>
            <a:ext cx="497635" cy="881702"/>
          </a:xfrm>
          <a:custGeom>
            <a:avLst/>
            <a:gdLst/>
            <a:ahLst/>
            <a:cxnLst/>
            <a:rect l="l" t="t" r="r" b="b"/>
            <a:pathLst>
              <a:path w="1094105" h="1938654">
                <a:moveTo>
                  <a:pt x="0" y="0"/>
                </a:moveTo>
                <a:lnTo>
                  <a:pt x="0" y="514193"/>
                </a:lnTo>
                <a:lnTo>
                  <a:pt x="48658" y="516238"/>
                </a:lnTo>
                <a:lnTo>
                  <a:pt x="96807" y="522331"/>
                </a:lnTo>
                <a:lnTo>
                  <a:pt x="144197" y="532409"/>
                </a:lnTo>
                <a:lnTo>
                  <a:pt x="190580" y="546406"/>
                </a:lnTo>
                <a:lnTo>
                  <a:pt x="235707" y="564261"/>
                </a:lnTo>
                <a:lnTo>
                  <a:pt x="279331" y="585908"/>
                </a:lnTo>
                <a:lnTo>
                  <a:pt x="320079" y="610503"/>
                </a:lnTo>
                <a:lnTo>
                  <a:pt x="358096" y="637870"/>
                </a:lnTo>
                <a:lnTo>
                  <a:pt x="393321" y="667805"/>
                </a:lnTo>
                <a:lnTo>
                  <a:pt x="425697" y="700107"/>
                </a:lnTo>
                <a:lnTo>
                  <a:pt x="455164" y="734572"/>
                </a:lnTo>
                <a:lnTo>
                  <a:pt x="481664" y="770998"/>
                </a:lnTo>
                <a:lnTo>
                  <a:pt x="505137" y="809182"/>
                </a:lnTo>
                <a:lnTo>
                  <a:pt x="525526" y="848922"/>
                </a:lnTo>
                <a:lnTo>
                  <a:pt x="542770" y="890015"/>
                </a:lnTo>
                <a:lnTo>
                  <a:pt x="556811" y="932258"/>
                </a:lnTo>
                <a:lnTo>
                  <a:pt x="567591" y="975448"/>
                </a:lnTo>
                <a:lnTo>
                  <a:pt x="575049" y="1019384"/>
                </a:lnTo>
                <a:lnTo>
                  <a:pt x="579129" y="1063862"/>
                </a:lnTo>
                <a:lnTo>
                  <a:pt x="579769" y="1108680"/>
                </a:lnTo>
                <a:lnTo>
                  <a:pt x="576913" y="1153635"/>
                </a:lnTo>
                <a:lnTo>
                  <a:pt x="570500" y="1198524"/>
                </a:lnTo>
                <a:lnTo>
                  <a:pt x="560472" y="1243145"/>
                </a:lnTo>
                <a:lnTo>
                  <a:pt x="546770" y="1287295"/>
                </a:lnTo>
                <a:lnTo>
                  <a:pt x="529336" y="1330771"/>
                </a:lnTo>
                <a:lnTo>
                  <a:pt x="508110" y="1373371"/>
                </a:lnTo>
                <a:lnTo>
                  <a:pt x="478105" y="1422161"/>
                </a:lnTo>
                <a:lnTo>
                  <a:pt x="444131" y="1466967"/>
                </a:lnTo>
                <a:lnTo>
                  <a:pt x="406543" y="1507682"/>
                </a:lnTo>
                <a:lnTo>
                  <a:pt x="365695" y="1544204"/>
                </a:lnTo>
                <a:lnTo>
                  <a:pt x="695905" y="1938234"/>
                </a:lnTo>
                <a:lnTo>
                  <a:pt x="731707" y="1907371"/>
                </a:lnTo>
                <a:lnTo>
                  <a:pt x="766137" y="1875014"/>
                </a:lnTo>
                <a:lnTo>
                  <a:pt x="799143" y="1841211"/>
                </a:lnTo>
                <a:lnTo>
                  <a:pt x="830677" y="1806013"/>
                </a:lnTo>
                <a:lnTo>
                  <a:pt x="860688" y="1769471"/>
                </a:lnTo>
                <a:lnTo>
                  <a:pt x="889126" y="1731634"/>
                </a:lnTo>
                <a:lnTo>
                  <a:pt x="915941" y="1692552"/>
                </a:lnTo>
                <a:lnTo>
                  <a:pt x="941083" y="1652275"/>
                </a:lnTo>
                <a:lnTo>
                  <a:pt x="964501" y="1610854"/>
                </a:lnTo>
                <a:lnTo>
                  <a:pt x="986146" y="1568339"/>
                </a:lnTo>
                <a:lnTo>
                  <a:pt x="1005967" y="1524780"/>
                </a:lnTo>
                <a:lnTo>
                  <a:pt x="1023915" y="1480227"/>
                </a:lnTo>
                <a:lnTo>
                  <a:pt x="1039939" y="1434729"/>
                </a:lnTo>
                <a:lnTo>
                  <a:pt x="1053989" y="1388338"/>
                </a:lnTo>
                <a:lnTo>
                  <a:pt x="1066014" y="1341104"/>
                </a:lnTo>
                <a:lnTo>
                  <a:pt x="1075966" y="1293075"/>
                </a:lnTo>
                <a:lnTo>
                  <a:pt x="1083793" y="1244304"/>
                </a:lnTo>
                <a:lnTo>
                  <a:pt x="1089446" y="1194839"/>
                </a:lnTo>
                <a:lnTo>
                  <a:pt x="1092875" y="1144730"/>
                </a:lnTo>
                <a:lnTo>
                  <a:pt x="1094029" y="1094029"/>
                </a:lnTo>
                <a:lnTo>
                  <a:pt x="1092963" y="1045297"/>
                </a:lnTo>
                <a:lnTo>
                  <a:pt x="1089795" y="997111"/>
                </a:lnTo>
                <a:lnTo>
                  <a:pt x="1084569" y="949515"/>
                </a:lnTo>
                <a:lnTo>
                  <a:pt x="1077329" y="902554"/>
                </a:lnTo>
                <a:lnTo>
                  <a:pt x="1068121" y="856272"/>
                </a:lnTo>
                <a:lnTo>
                  <a:pt x="1056988" y="810714"/>
                </a:lnTo>
                <a:lnTo>
                  <a:pt x="1043976" y="765924"/>
                </a:lnTo>
                <a:lnTo>
                  <a:pt x="1029128" y="721946"/>
                </a:lnTo>
                <a:lnTo>
                  <a:pt x="1012489" y="678826"/>
                </a:lnTo>
                <a:lnTo>
                  <a:pt x="994103" y="636607"/>
                </a:lnTo>
                <a:lnTo>
                  <a:pt x="974015" y="595335"/>
                </a:lnTo>
                <a:lnTo>
                  <a:pt x="952270" y="555053"/>
                </a:lnTo>
                <a:lnTo>
                  <a:pt x="928912" y="515806"/>
                </a:lnTo>
                <a:lnTo>
                  <a:pt x="903985" y="477638"/>
                </a:lnTo>
                <a:lnTo>
                  <a:pt x="877534" y="440594"/>
                </a:lnTo>
                <a:lnTo>
                  <a:pt x="849603" y="404719"/>
                </a:lnTo>
                <a:lnTo>
                  <a:pt x="820237" y="370057"/>
                </a:lnTo>
                <a:lnTo>
                  <a:pt x="789480" y="336652"/>
                </a:lnTo>
                <a:lnTo>
                  <a:pt x="757377" y="304549"/>
                </a:lnTo>
                <a:lnTo>
                  <a:pt x="723972" y="273792"/>
                </a:lnTo>
                <a:lnTo>
                  <a:pt x="689309" y="244426"/>
                </a:lnTo>
                <a:lnTo>
                  <a:pt x="653434" y="216495"/>
                </a:lnTo>
                <a:lnTo>
                  <a:pt x="616391" y="190044"/>
                </a:lnTo>
                <a:lnTo>
                  <a:pt x="578223" y="165117"/>
                </a:lnTo>
                <a:lnTo>
                  <a:pt x="538976" y="141758"/>
                </a:lnTo>
                <a:lnTo>
                  <a:pt x="498694" y="120013"/>
                </a:lnTo>
                <a:lnTo>
                  <a:pt x="457421" y="99925"/>
                </a:lnTo>
                <a:lnTo>
                  <a:pt x="415203" y="81540"/>
                </a:lnTo>
                <a:lnTo>
                  <a:pt x="372082" y="64901"/>
                </a:lnTo>
                <a:lnTo>
                  <a:pt x="328105" y="50053"/>
                </a:lnTo>
                <a:lnTo>
                  <a:pt x="283315" y="37040"/>
                </a:lnTo>
                <a:lnTo>
                  <a:pt x="237757" y="25907"/>
                </a:lnTo>
                <a:lnTo>
                  <a:pt x="191475" y="16699"/>
                </a:lnTo>
                <a:lnTo>
                  <a:pt x="144514" y="9460"/>
                </a:lnTo>
                <a:lnTo>
                  <a:pt x="96918" y="4234"/>
                </a:lnTo>
                <a:lnTo>
                  <a:pt x="48732" y="1065"/>
                </a:lnTo>
                <a:lnTo>
                  <a:pt x="0" y="0"/>
                </a:lnTo>
                <a:close/>
              </a:path>
            </a:pathLst>
          </a:custGeom>
          <a:solidFill>
            <a:srgbClr val="FF7900"/>
          </a:solidFill>
        </p:spPr>
        <p:txBody>
          <a:bodyPr wrap="square" lIns="0" tIns="0" rIns="0" bIns="0" rtlCol="0"/>
          <a:lstStyle/>
          <a:p>
            <a:endParaRPr/>
          </a:p>
        </p:txBody>
      </p:sp>
      <p:grpSp>
        <p:nvGrpSpPr>
          <p:cNvPr id="32" name="Groupe 31">
            <a:extLst>
              <a:ext uri="{FF2B5EF4-FFF2-40B4-BE49-F238E27FC236}">
                <a16:creationId xmlns:a16="http://schemas.microsoft.com/office/drawing/2014/main" id="{B2CE6C26-D2E3-3E47-A243-34D56610390B}"/>
              </a:ext>
            </a:extLst>
          </p:cNvPr>
          <p:cNvGrpSpPr/>
          <p:nvPr/>
        </p:nvGrpSpPr>
        <p:grpSpPr>
          <a:xfrm>
            <a:off x="190894" y="197053"/>
            <a:ext cx="422542" cy="422512"/>
            <a:chOff x="419701" y="433273"/>
            <a:chExt cx="929005" cy="929005"/>
          </a:xfrm>
        </p:grpSpPr>
        <p:sp>
          <p:nvSpPr>
            <p:cNvPr id="33" name="object 4">
              <a:extLst>
                <a:ext uri="{FF2B5EF4-FFF2-40B4-BE49-F238E27FC236}">
                  <a16:creationId xmlns:a16="http://schemas.microsoft.com/office/drawing/2014/main" id="{1259DACE-46B7-5A43-87C0-CE9000B47773}"/>
                </a:ext>
              </a:extLst>
            </p:cNvPr>
            <p:cNvSpPr/>
            <p:nvPr/>
          </p:nvSpPr>
          <p:spPr>
            <a:xfrm>
              <a:off x="419701" y="433273"/>
              <a:ext cx="929005" cy="929005"/>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4"/>
                  </a:lnTo>
                  <a:lnTo>
                    <a:pt x="20875" y="602434"/>
                  </a:lnTo>
                  <a:lnTo>
                    <a:pt x="36489" y="645096"/>
                  </a:lnTo>
                  <a:lnTo>
                    <a:pt x="56042" y="685687"/>
                  </a:lnTo>
                  <a:lnTo>
                    <a:pt x="79301" y="723972"/>
                  </a:lnTo>
                  <a:lnTo>
                    <a:pt x="106031" y="759718"/>
                  </a:lnTo>
                  <a:lnTo>
                    <a:pt x="136001" y="792693"/>
                  </a:lnTo>
                  <a:lnTo>
                    <a:pt x="168975" y="822662"/>
                  </a:lnTo>
                  <a:lnTo>
                    <a:pt x="204722" y="849392"/>
                  </a:lnTo>
                  <a:lnTo>
                    <a:pt x="243007" y="872651"/>
                  </a:lnTo>
                  <a:lnTo>
                    <a:pt x="283597" y="892204"/>
                  </a:lnTo>
                  <a:lnTo>
                    <a:pt x="326259" y="907818"/>
                  </a:lnTo>
                  <a:lnTo>
                    <a:pt x="370759" y="919260"/>
                  </a:lnTo>
                  <a:lnTo>
                    <a:pt x="416864" y="926296"/>
                  </a:lnTo>
                  <a:lnTo>
                    <a:pt x="464341" y="928694"/>
                  </a:lnTo>
                  <a:lnTo>
                    <a:pt x="511818" y="926296"/>
                  </a:lnTo>
                  <a:lnTo>
                    <a:pt x="557924" y="919260"/>
                  </a:lnTo>
                  <a:lnTo>
                    <a:pt x="602425" y="907818"/>
                  </a:lnTo>
                  <a:lnTo>
                    <a:pt x="645088" y="892204"/>
                  </a:lnTo>
                  <a:lnTo>
                    <a:pt x="685678" y="872651"/>
                  </a:lnTo>
                  <a:lnTo>
                    <a:pt x="723964" y="849392"/>
                  </a:lnTo>
                  <a:lnTo>
                    <a:pt x="759712" y="822662"/>
                  </a:lnTo>
                  <a:lnTo>
                    <a:pt x="792687" y="792693"/>
                  </a:lnTo>
                  <a:lnTo>
                    <a:pt x="822658" y="759718"/>
                  </a:lnTo>
                  <a:lnTo>
                    <a:pt x="849389" y="723972"/>
                  </a:lnTo>
                  <a:lnTo>
                    <a:pt x="872649" y="685687"/>
                  </a:lnTo>
                  <a:lnTo>
                    <a:pt x="892202" y="645096"/>
                  </a:lnTo>
                  <a:lnTo>
                    <a:pt x="907817" y="602434"/>
                  </a:lnTo>
                  <a:lnTo>
                    <a:pt x="919260" y="557934"/>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4AB4E6"/>
            </a:solidFill>
          </p:spPr>
          <p:txBody>
            <a:bodyPr wrap="square" lIns="0" tIns="0" rIns="0" bIns="0" rtlCol="0"/>
            <a:lstStyle/>
            <a:p>
              <a:endParaRPr/>
            </a:p>
          </p:txBody>
        </p:sp>
        <p:sp>
          <p:nvSpPr>
            <p:cNvPr id="34" name="object 5">
              <a:extLst>
                <a:ext uri="{FF2B5EF4-FFF2-40B4-BE49-F238E27FC236}">
                  <a16:creationId xmlns:a16="http://schemas.microsoft.com/office/drawing/2014/main" id="{1F9EC2DA-01D2-1846-85F7-515E8B2713DA}"/>
                </a:ext>
              </a:extLst>
            </p:cNvPr>
            <p:cNvSpPr/>
            <p:nvPr/>
          </p:nvSpPr>
          <p:spPr>
            <a:xfrm>
              <a:off x="664983" y="537961"/>
              <a:ext cx="568325" cy="751840"/>
            </a:xfrm>
            <a:custGeom>
              <a:avLst/>
              <a:gdLst/>
              <a:ahLst/>
              <a:cxnLst/>
              <a:rect l="l" t="t" r="r" b="b"/>
              <a:pathLst>
                <a:path w="568325" h="751840">
                  <a:moveTo>
                    <a:pt x="245217" y="0"/>
                  </a:moveTo>
                  <a:lnTo>
                    <a:pt x="0" y="624871"/>
                  </a:lnTo>
                  <a:lnTo>
                    <a:pt x="323047" y="751642"/>
                  </a:lnTo>
                  <a:lnTo>
                    <a:pt x="568265" y="126771"/>
                  </a:lnTo>
                  <a:lnTo>
                    <a:pt x="245217" y="0"/>
                  </a:lnTo>
                  <a:close/>
                </a:path>
              </a:pathLst>
            </a:custGeom>
            <a:solidFill>
              <a:srgbClr val="FFFFFF"/>
            </a:solidFill>
          </p:spPr>
          <p:txBody>
            <a:bodyPr wrap="square" lIns="0" tIns="0" rIns="0" bIns="0" rtlCol="0"/>
            <a:lstStyle/>
            <a:p>
              <a:endParaRPr/>
            </a:p>
          </p:txBody>
        </p:sp>
        <p:sp>
          <p:nvSpPr>
            <p:cNvPr id="35" name="object 6">
              <a:extLst>
                <a:ext uri="{FF2B5EF4-FFF2-40B4-BE49-F238E27FC236}">
                  <a16:creationId xmlns:a16="http://schemas.microsoft.com/office/drawing/2014/main" id="{61AFB7B1-11FD-3745-91F4-0F310AA3585E}"/>
                </a:ext>
              </a:extLst>
            </p:cNvPr>
            <p:cNvSpPr/>
            <p:nvPr/>
          </p:nvSpPr>
          <p:spPr>
            <a:xfrm>
              <a:off x="646369" y="532081"/>
              <a:ext cx="603250" cy="768350"/>
            </a:xfrm>
            <a:custGeom>
              <a:avLst/>
              <a:gdLst/>
              <a:ahLst/>
              <a:cxnLst/>
              <a:rect l="l" t="t" r="r" b="b"/>
              <a:pathLst>
                <a:path w="603250" h="768350">
                  <a:moveTo>
                    <a:pt x="256296" y="0"/>
                  </a:moveTo>
                  <a:lnTo>
                    <a:pt x="219754" y="26215"/>
                  </a:lnTo>
                  <a:lnTo>
                    <a:pt x="2651" y="596795"/>
                  </a:lnTo>
                  <a:lnTo>
                    <a:pt x="0" y="612736"/>
                  </a:lnTo>
                  <a:lnTo>
                    <a:pt x="3541" y="627926"/>
                  </a:lnTo>
                  <a:lnTo>
                    <a:pt x="12516" y="640676"/>
                  </a:lnTo>
                  <a:lnTo>
                    <a:pt x="26168" y="649296"/>
                  </a:lnTo>
                  <a:lnTo>
                    <a:pt x="330557" y="765114"/>
                  </a:lnTo>
                  <a:lnTo>
                    <a:pt x="346484" y="767754"/>
                  </a:lnTo>
                  <a:lnTo>
                    <a:pt x="361665" y="764197"/>
                  </a:lnTo>
                  <a:lnTo>
                    <a:pt x="374408" y="755203"/>
                  </a:lnTo>
                  <a:lnTo>
                    <a:pt x="383026" y="741534"/>
                  </a:lnTo>
                  <a:lnTo>
                    <a:pt x="403008" y="689022"/>
                  </a:lnTo>
                  <a:lnTo>
                    <a:pt x="359467" y="689022"/>
                  </a:lnTo>
                  <a:lnTo>
                    <a:pt x="55162" y="573235"/>
                  </a:lnTo>
                  <a:lnTo>
                    <a:pt x="250559" y="59712"/>
                  </a:lnTo>
                  <a:lnTo>
                    <a:pt x="422217" y="59712"/>
                  </a:lnTo>
                  <a:lnTo>
                    <a:pt x="272224" y="2635"/>
                  </a:lnTo>
                  <a:lnTo>
                    <a:pt x="256296" y="0"/>
                  </a:lnTo>
                  <a:close/>
                </a:path>
                <a:path w="603250" h="768350">
                  <a:moveTo>
                    <a:pt x="422217" y="59712"/>
                  </a:moveTo>
                  <a:lnTo>
                    <a:pt x="250559" y="59712"/>
                  </a:lnTo>
                  <a:lnTo>
                    <a:pt x="554864" y="175509"/>
                  </a:lnTo>
                  <a:lnTo>
                    <a:pt x="359467" y="689022"/>
                  </a:lnTo>
                  <a:lnTo>
                    <a:pt x="403008" y="689022"/>
                  </a:lnTo>
                  <a:lnTo>
                    <a:pt x="600140" y="170954"/>
                  </a:lnTo>
                  <a:lnTo>
                    <a:pt x="602785" y="155013"/>
                  </a:lnTo>
                  <a:lnTo>
                    <a:pt x="599241" y="139824"/>
                  </a:lnTo>
                  <a:lnTo>
                    <a:pt x="590264" y="127078"/>
                  </a:lnTo>
                  <a:lnTo>
                    <a:pt x="576612" y="118464"/>
                  </a:lnTo>
                  <a:lnTo>
                    <a:pt x="558149" y="111438"/>
                  </a:lnTo>
                  <a:lnTo>
                    <a:pt x="443705" y="111438"/>
                  </a:lnTo>
                  <a:lnTo>
                    <a:pt x="376189" y="85742"/>
                  </a:lnTo>
                  <a:lnTo>
                    <a:pt x="373540" y="79837"/>
                  </a:lnTo>
                  <a:lnTo>
                    <a:pt x="377519" y="69376"/>
                  </a:lnTo>
                  <a:lnTo>
                    <a:pt x="383424" y="66727"/>
                  </a:lnTo>
                  <a:lnTo>
                    <a:pt x="440653" y="66727"/>
                  </a:lnTo>
                  <a:lnTo>
                    <a:pt x="422217" y="59712"/>
                  </a:lnTo>
                  <a:close/>
                </a:path>
                <a:path w="603250" h="768350">
                  <a:moveTo>
                    <a:pt x="440653" y="66727"/>
                  </a:moveTo>
                  <a:lnTo>
                    <a:pt x="383424" y="66727"/>
                  </a:lnTo>
                  <a:lnTo>
                    <a:pt x="450941" y="92412"/>
                  </a:lnTo>
                  <a:lnTo>
                    <a:pt x="453600" y="98318"/>
                  </a:lnTo>
                  <a:lnTo>
                    <a:pt x="449611" y="108778"/>
                  </a:lnTo>
                  <a:lnTo>
                    <a:pt x="443705" y="111438"/>
                  </a:lnTo>
                  <a:lnTo>
                    <a:pt x="558149" y="111438"/>
                  </a:lnTo>
                  <a:lnTo>
                    <a:pt x="440653" y="66727"/>
                  </a:lnTo>
                  <a:close/>
                </a:path>
              </a:pathLst>
            </a:custGeom>
            <a:solidFill>
              <a:srgbClr val="000000"/>
            </a:solidFill>
          </p:spPr>
          <p:txBody>
            <a:bodyPr wrap="square" lIns="0" tIns="0" rIns="0" bIns="0" rtlCol="0"/>
            <a:lstStyle/>
            <a:p>
              <a:endParaRPr/>
            </a:p>
          </p:txBody>
        </p:sp>
        <p:sp>
          <p:nvSpPr>
            <p:cNvPr id="36" name="object 7">
              <a:extLst>
                <a:ext uri="{FF2B5EF4-FFF2-40B4-BE49-F238E27FC236}">
                  <a16:creationId xmlns:a16="http://schemas.microsoft.com/office/drawing/2014/main" id="{23F39F0F-98C6-CC48-A518-E4DFB00D8F09}"/>
                </a:ext>
              </a:extLst>
            </p:cNvPr>
            <p:cNvSpPr/>
            <p:nvPr/>
          </p:nvSpPr>
          <p:spPr>
            <a:xfrm>
              <a:off x="542803" y="617528"/>
              <a:ext cx="207645" cy="317500"/>
            </a:xfrm>
            <a:custGeom>
              <a:avLst/>
              <a:gdLst/>
              <a:ahLst/>
              <a:cxnLst/>
              <a:rect l="l" t="t" r="r" b="b"/>
              <a:pathLst>
                <a:path w="207645" h="317500">
                  <a:moveTo>
                    <a:pt x="139782" y="0"/>
                  </a:moveTo>
                  <a:lnTo>
                    <a:pt x="97716" y="24434"/>
                  </a:lnTo>
                  <a:lnTo>
                    <a:pt x="62527" y="55767"/>
                  </a:lnTo>
                  <a:lnTo>
                    <a:pt x="34688" y="92723"/>
                  </a:lnTo>
                  <a:lnTo>
                    <a:pt x="14672" y="134028"/>
                  </a:lnTo>
                  <a:lnTo>
                    <a:pt x="2952" y="178406"/>
                  </a:lnTo>
                  <a:lnTo>
                    <a:pt x="0" y="224582"/>
                  </a:lnTo>
                  <a:lnTo>
                    <a:pt x="6288" y="271280"/>
                  </a:lnTo>
                  <a:lnTo>
                    <a:pt x="22289" y="317225"/>
                  </a:lnTo>
                  <a:lnTo>
                    <a:pt x="51481" y="303980"/>
                  </a:lnTo>
                  <a:lnTo>
                    <a:pt x="36331" y="258397"/>
                  </a:lnTo>
                  <a:lnTo>
                    <a:pt x="32098" y="212166"/>
                  </a:lnTo>
                  <a:lnTo>
                    <a:pt x="38172" y="166939"/>
                  </a:lnTo>
                  <a:lnTo>
                    <a:pt x="53942" y="124363"/>
                  </a:lnTo>
                  <a:lnTo>
                    <a:pt x="78796" y="86091"/>
                  </a:lnTo>
                  <a:lnTo>
                    <a:pt x="112122" y="53772"/>
                  </a:lnTo>
                  <a:lnTo>
                    <a:pt x="153311" y="29056"/>
                  </a:lnTo>
                  <a:lnTo>
                    <a:pt x="139782" y="0"/>
                  </a:lnTo>
                  <a:close/>
                </a:path>
                <a:path w="207645" h="317500">
                  <a:moveTo>
                    <a:pt x="166839" y="58113"/>
                  </a:moveTo>
                  <a:lnTo>
                    <a:pt x="126812" y="83176"/>
                  </a:lnTo>
                  <a:lnTo>
                    <a:pt x="95957" y="116680"/>
                  </a:lnTo>
                  <a:lnTo>
                    <a:pt x="75096" y="156406"/>
                  </a:lnTo>
                  <a:lnTo>
                    <a:pt x="65049" y="200137"/>
                  </a:lnTo>
                  <a:lnTo>
                    <a:pt x="66638" y="245656"/>
                  </a:lnTo>
                  <a:lnTo>
                    <a:pt x="80685" y="290745"/>
                  </a:lnTo>
                  <a:lnTo>
                    <a:pt x="109878" y="277509"/>
                  </a:lnTo>
                  <a:lnTo>
                    <a:pt x="97333" y="233141"/>
                  </a:lnTo>
                  <a:lnTo>
                    <a:pt x="99270" y="188787"/>
                  </a:lnTo>
                  <a:lnTo>
                    <a:pt x="114529" y="147585"/>
                  </a:lnTo>
                  <a:lnTo>
                    <a:pt x="141949" y="112671"/>
                  </a:lnTo>
                  <a:lnTo>
                    <a:pt x="180368" y="87180"/>
                  </a:lnTo>
                  <a:lnTo>
                    <a:pt x="166839" y="58113"/>
                  </a:lnTo>
                  <a:close/>
                </a:path>
                <a:path w="207645" h="317500">
                  <a:moveTo>
                    <a:pt x="193906" y="116237"/>
                  </a:moveTo>
                  <a:lnTo>
                    <a:pt x="157852" y="142264"/>
                  </a:lnTo>
                  <a:lnTo>
                    <a:pt x="135519" y="178786"/>
                  </a:lnTo>
                  <a:lnTo>
                    <a:pt x="128672" y="221043"/>
                  </a:lnTo>
                  <a:lnTo>
                    <a:pt x="139070" y="264274"/>
                  </a:lnTo>
                  <a:lnTo>
                    <a:pt x="168274" y="251039"/>
                  </a:lnTo>
                  <a:lnTo>
                    <a:pt x="160843" y="220160"/>
                  </a:lnTo>
                  <a:lnTo>
                    <a:pt x="165732" y="189977"/>
                  </a:lnTo>
                  <a:lnTo>
                    <a:pt x="181682" y="163891"/>
                  </a:lnTo>
                  <a:lnTo>
                    <a:pt x="207435" y="145304"/>
                  </a:lnTo>
                  <a:lnTo>
                    <a:pt x="193906" y="116237"/>
                  </a:lnTo>
                  <a:close/>
                </a:path>
              </a:pathLst>
            </a:custGeom>
            <a:solidFill>
              <a:srgbClr val="000000"/>
            </a:solidFill>
          </p:spPr>
          <p:txBody>
            <a:bodyPr wrap="square" lIns="0" tIns="0" rIns="0" bIns="0" rtlCol="0"/>
            <a:lstStyle/>
            <a:p>
              <a:endParaRPr/>
            </a:p>
          </p:txBody>
        </p:sp>
        <p:sp>
          <p:nvSpPr>
            <p:cNvPr id="37" name="object 8">
              <a:extLst>
                <a:ext uri="{FF2B5EF4-FFF2-40B4-BE49-F238E27FC236}">
                  <a16:creationId xmlns:a16="http://schemas.microsoft.com/office/drawing/2014/main" id="{AEE71629-0FB2-D947-A6EB-839BDE5917E8}"/>
                </a:ext>
              </a:extLst>
            </p:cNvPr>
            <p:cNvSpPr/>
            <p:nvPr/>
          </p:nvSpPr>
          <p:spPr>
            <a:xfrm>
              <a:off x="816706" y="793912"/>
              <a:ext cx="251460" cy="427990"/>
            </a:xfrm>
            <a:custGeom>
              <a:avLst/>
              <a:gdLst/>
              <a:ahLst/>
              <a:cxnLst/>
              <a:rect l="l" t="t" r="r" b="b"/>
              <a:pathLst>
                <a:path w="251459" h="427990">
                  <a:moveTo>
                    <a:pt x="124482" y="0"/>
                  </a:moveTo>
                  <a:lnTo>
                    <a:pt x="78903" y="10651"/>
                  </a:lnTo>
                  <a:lnTo>
                    <a:pt x="40646" y="37616"/>
                  </a:lnTo>
                  <a:lnTo>
                    <a:pt x="14778" y="78622"/>
                  </a:lnTo>
                  <a:lnTo>
                    <a:pt x="6846" y="126453"/>
                  </a:lnTo>
                  <a:lnTo>
                    <a:pt x="17502" y="172031"/>
                  </a:lnTo>
                  <a:lnTo>
                    <a:pt x="44471" y="210289"/>
                  </a:lnTo>
                  <a:lnTo>
                    <a:pt x="85478" y="236156"/>
                  </a:lnTo>
                  <a:lnTo>
                    <a:pt x="133309" y="244094"/>
                  </a:lnTo>
                  <a:lnTo>
                    <a:pt x="178887" y="233442"/>
                  </a:lnTo>
                  <a:lnTo>
                    <a:pt x="192629" y="223755"/>
                  </a:lnTo>
                  <a:lnTo>
                    <a:pt x="132573" y="223755"/>
                  </a:lnTo>
                  <a:lnTo>
                    <a:pt x="92713" y="217141"/>
                  </a:lnTo>
                  <a:lnTo>
                    <a:pt x="58540" y="195586"/>
                  </a:lnTo>
                  <a:lnTo>
                    <a:pt x="36067" y="163703"/>
                  </a:lnTo>
                  <a:lnTo>
                    <a:pt x="27190" y="125719"/>
                  </a:lnTo>
                  <a:lnTo>
                    <a:pt x="33804" y="85857"/>
                  </a:lnTo>
                  <a:lnTo>
                    <a:pt x="55358" y="51690"/>
                  </a:lnTo>
                  <a:lnTo>
                    <a:pt x="87237" y="29219"/>
                  </a:lnTo>
                  <a:lnTo>
                    <a:pt x="125218" y="20340"/>
                  </a:lnTo>
                  <a:lnTo>
                    <a:pt x="191981" y="20340"/>
                  </a:lnTo>
                  <a:lnTo>
                    <a:pt x="172313" y="7933"/>
                  </a:lnTo>
                  <a:lnTo>
                    <a:pt x="124482" y="0"/>
                  </a:lnTo>
                  <a:close/>
                </a:path>
                <a:path w="251459" h="427990">
                  <a:moveTo>
                    <a:pt x="191981" y="20340"/>
                  </a:moveTo>
                  <a:lnTo>
                    <a:pt x="125218" y="20340"/>
                  </a:lnTo>
                  <a:lnTo>
                    <a:pt x="165077" y="26948"/>
                  </a:lnTo>
                  <a:lnTo>
                    <a:pt x="199251" y="48508"/>
                  </a:lnTo>
                  <a:lnTo>
                    <a:pt x="221724" y="80390"/>
                  </a:lnTo>
                  <a:lnTo>
                    <a:pt x="230601" y="118372"/>
                  </a:lnTo>
                  <a:lnTo>
                    <a:pt x="223987" y="158232"/>
                  </a:lnTo>
                  <a:lnTo>
                    <a:pt x="202433" y="192405"/>
                  </a:lnTo>
                  <a:lnTo>
                    <a:pt x="170554" y="214878"/>
                  </a:lnTo>
                  <a:lnTo>
                    <a:pt x="132573" y="223755"/>
                  </a:lnTo>
                  <a:lnTo>
                    <a:pt x="192629" y="223755"/>
                  </a:lnTo>
                  <a:lnTo>
                    <a:pt x="217144" y="206474"/>
                  </a:lnTo>
                  <a:lnTo>
                    <a:pt x="243012" y="165467"/>
                  </a:lnTo>
                  <a:lnTo>
                    <a:pt x="250822" y="118372"/>
                  </a:lnTo>
                  <a:lnTo>
                    <a:pt x="250929" y="117574"/>
                  </a:lnTo>
                  <a:lnTo>
                    <a:pt x="240288" y="72058"/>
                  </a:lnTo>
                  <a:lnTo>
                    <a:pt x="213320" y="33801"/>
                  </a:lnTo>
                  <a:lnTo>
                    <a:pt x="191981" y="20340"/>
                  </a:lnTo>
                  <a:close/>
                </a:path>
                <a:path w="251459" h="427990">
                  <a:moveTo>
                    <a:pt x="63457" y="104977"/>
                  </a:moveTo>
                  <a:lnTo>
                    <a:pt x="58149" y="108045"/>
                  </a:lnTo>
                  <a:lnTo>
                    <a:pt x="53898" y="119228"/>
                  </a:lnTo>
                  <a:lnTo>
                    <a:pt x="56149" y="124443"/>
                  </a:lnTo>
                  <a:lnTo>
                    <a:pt x="69719" y="129605"/>
                  </a:lnTo>
                  <a:lnTo>
                    <a:pt x="68642" y="139878"/>
                  </a:lnTo>
                  <a:lnTo>
                    <a:pt x="79434" y="177151"/>
                  </a:lnTo>
                  <a:lnTo>
                    <a:pt x="122769" y="200144"/>
                  </a:lnTo>
                  <a:lnTo>
                    <a:pt x="137578" y="199884"/>
                  </a:lnTo>
                  <a:lnTo>
                    <a:pt x="167034" y="177454"/>
                  </a:lnTo>
                  <a:lnTo>
                    <a:pt x="123514" y="177454"/>
                  </a:lnTo>
                  <a:lnTo>
                    <a:pt x="113990" y="174828"/>
                  </a:lnTo>
                  <a:lnTo>
                    <a:pt x="103244" y="169080"/>
                  </a:lnTo>
                  <a:lnTo>
                    <a:pt x="95716" y="161101"/>
                  </a:lnTo>
                  <a:lnTo>
                    <a:pt x="91647" y="150727"/>
                  </a:lnTo>
                  <a:lnTo>
                    <a:pt x="91310" y="137824"/>
                  </a:lnTo>
                  <a:lnTo>
                    <a:pt x="145967" y="137824"/>
                  </a:lnTo>
                  <a:lnTo>
                    <a:pt x="145549" y="136222"/>
                  </a:lnTo>
                  <a:lnTo>
                    <a:pt x="96545" y="117574"/>
                  </a:lnTo>
                  <a:lnTo>
                    <a:pt x="97341" y="115406"/>
                  </a:lnTo>
                  <a:lnTo>
                    <a:pt x="99373" y="110139"/>
                  </a:lnTo>
                  <a:lnTo>
                    <a:pt x="99477" y="109626"/>
                  </a:lnTo>
                  <a:lnTo>
                    <a:pt x="75677" y="109626"/>
                  </a:lnTo>
                  <a:lnTo>
                    <a:pt x="63457" y="104977"/>
                  </a:lnTo>
                  <a:close/>
                </a:path>
                <a:path w="251459" h="427990">
                  <a:moveTo>
                    <a:pt x="152764" y="163886"/>
                  </a:moveTo>
                  <a:lnTo>
                    <a:pt x="148136" y="165091"/>
                  </a:lnTo>
                  <a:lnTo>
                    <a:pt x="144252" y="169088"/>
                  </a:lnTo>
                  <a:lnTo>
                    <a:pt x="138035" y="174506"/>
                  </a:lnTo>
                  <a:lnTo>
                    <a:pt x="131325" y="177322"/>
                  </a:lnTo>
                  <a:lnTo>
                    <a:pt x="123514" y="177454"/>
                  </a:lnTo>
                  <a:lnTo>
                    <a:pt x="167034" y="177454"/>
                  </a:lnTo>
                  <a:lnTo>
                    <a:pt x="167339" y="176650"/>
                  </a:lnTo>
                  <a:lnTo>
                    <a:pt x="165392" y="170965"/>
                  </a:lnTo>
                  <a:lnTo>
                    <a:pt x="160941" y="167729"/>
                  </a:lnTo>
                  <a:lnTo>
                    <a:pt x="159779" y="166808"/>
                  </a:lnTo>
                  <a:lnTo>
                    <a:pt x="158544" y="166085"/>
                  </a:lnTo>
                  <a:lnTo>
                    <a:pt x="152764" y="163886"/>
                  </a:lnTo>
                  <a:close/>
                </a:path>
                <a:path w="251459" h="427990">
                  <a:moveTo>
                    <a:pt x="145967" y="137824"/>
                  </a:moveTo>
                  <a:lnTo>
                    <a:pt x="91310" y="137824"/>
                  </a:lnTo>
                  <a:lnTo>
                    <a:pt x="137905" y="155552"/>
                  </a:lnTo>
                  <a:lnTo>
                    <a:pt x="142743" y="152934"/>
                  </a:lnTo>
                  <a:lnTo>
                    <a:pt x="146994" y="141761"/>
                  </a:lnTo>
                  <a:lnTo>
                    <a:pt x="145967" y="137824"/>
                  </a:lnTo>
                  <a:close/>
                </a:path>
                <a:path w="251459" h="427990">
                  <a:moveTo>
                    <a:pt x="163459" y="106778"/>
                  </a:moveTo>
                  <a:lnTo>
                    <a:pt x="100650" y="106778"/>
                  </a:lnTo>
                  <a:lnTo>
                    <a:pt x="158125" y="128641"/>
                  </a:lnTo>
                  <a:lnTo>
                    <a:pt x="163339" y="125364"/>
                  </a:lnTo>
                  <a:lnTo>
                    <a:pt x="167590" y="114202"/>
                  </a:lnTo>
                  <a:lnTo>
                    <a:pt x="166156" y="107804"/>
                  </a:lnTo>
                  <a:lnTo>
                    <a:pt x="163459" y="106778"/>
                  </a:lnTo>
                  <a:close/>
                </a:path>
                <a:path w="251459" h="427990">
                  <a:moveTo>
                    <a:pt x="186842" y="70092"/>
                  </a:moveTo>
                  <a:lnTo>
                    <a:pt x="141573" y="70092"/>
                  </a:lnTo>
                  <a:lnTo>
                    <a:pt x="152900" y="72580"/>
                  </a:lnTo>
                  <a:lnTo>
                    <a:pt x="161357" y="76813"/>
                  </a:lnTo>
                  <a:lnTo>
                    <a:pt x="166998" y="82202"/>
                  </a:lnTo>
                  <a:lnTo>
                    <a:pt x="170217" y="89206"/>
                  </a:lnTo>
                  <a:lnTo>
                    <a:pt x="171412" y="98286"/>
                  </a:lnTo>
                  <a:lnTo>
                    <a:pt x="171569" y="103249"/>
                  </a:lnTo>
                  <a:lnTo>
                    <a:pt x="173988" y="107574"/>
                  </a:lnTo>
                  <a:lnTo>
                    <a:pt x="180072" y="109888"/>
                  </a:lnTo>
                  <a:lnTo>
                    <a:pt x="181684" y="110830"/>
                  </a:lnTo>
                  <a:lnTo>
                    <a:pt x="183265" y="110610"/>
                  </a:lnTo>
                  <a:lnTo>
                    <a:pt x="183504" y="110610"/>
                  </a:lnTo>
                  <a:lnTo>
                    <a:pt x="183768" y="110338"/>
                  </a:lnTo>
                  <a:lnTo>
                    <a:pt x="189056" y="110181"/>
                  </a:lnTo>
                  <a:lnTo>
                    <a:pt x="193108" y="107406"/>
                  </a:lnTo>
                  <a:lnTo>
                    <a:pt x="195272" y="101679"/>
                  </a:lnTo>
                  <a:lnTo>
                    <a:pt x="195841" y="99867"/>
                  </a:lnTo>
                  <a:lnTo>
                    <a:pt x="195631" y="97354"/>
                  </a:lnTo>
                  <a:lnTo>
                    <a:pt x="193192" y="82239"/>
                  </a:lnTo>
                  <a:lnTo>
                    <a:pt x="186842" y="70092"/>
                  </a:lnTo>
                  <a:close/>
                </a:path>
                <a:path w="251459" h="427990">
                  <a:moveTo>
                    <a:pt x="183504" y="110610"/>
                  </a:moveTo>
                  <a:lnTo>
                    <a:pt x="183265" y="110610"/>
                  </a:lnTo>
                  <a:lnTo>
                    <a:pt x="183443" y="110673"/>
                  </a:lnTo>
                  <a:close/>
                </a:path>
                <a:path w="251459" h="427990">
                  <a:moveTo>
                    <a:pt x="75593" y="73345"/>
                  </a:moveTo>
                  <a:lnTo>
                    <a:pt x="69887" y="77187"/>
                  </a:lnTo>
                  <a:lnTo>
                    <a:pt x="65667" y="88276"/>
                  </a:lnTo>
                  <a:lnTo>
                    <a:pt x="67646" y="94213"/>
                  </a:lnTo>
                  <a:lnTo>
                    <a:pt x="79782" y="98831"/>
                  </a:lnTo>
                  <a:lnTo>
                    <a:pt x="78609" y="101679"/>
                  </a:lnTo>
                  <a:lnTo>
                    <a:pt x="78462" y="102307"/>
                  </a:lnTo>
                  <a:lnTo>
                    <a:pt x="76258" y="108045"/>
                  </a:lnTo>
                  <a:lnTo>
                    <a:pt x="75677" y="109626"/>
                  </a:lnTo>
                  <a:lnTo>
                    <a:pt x="99477" y="109626"/>
                  </a:lnTo>
                  <a:lnTo>
                    <a:pt x="100650" y="106778"/>
                  </a:lnTo>
                  <a:lnTo>
                    <a:pt x="163459" y="106778"/>
                  </a:lnTo>
                  <a:lnTo>
                    <a:pt x="111477" y="86999"/>
                  </a:lnTo>
                  <a:lnTo>
                    <a:pt x="119180" y="78779"/>
                  </a:lnTo>
                  <a:lnTo>
                    <a:pt x="89886" y="78779"/>
                  </a:lnTo>
                  <a:lnTo>
                    <a:pt x="75593" y="73345"/>
                  </a:lnTo>
                  <a:close/>
                </a:path>
                <a:path w="251459" h="427990">
                  <a:moveTo>
                    <a:pt x="139987" y="47560"/>
                  </a:moveTo>
                  <a:lnTo>
                    <a:pt x="103594" y="62238"/>
                  </a:lnTo>
                  <a:lnTo>
                    <a:pt x="89886" y="78779"/>
                  </a:lnTo>
                  <a:lnTo>
                    <a:pt x="119180" y="78779"/>
                  </a:lnTo>
                  <a:lnTo>
                    <a:pt x="120737" y="77118"/>
                  </a:lnTo>
                  <a:lnTo>
                    <a:pt x="130810" y="71544"/>
                  </a:lnTo>
                  <a:lnTo>
                    <a:pt x="141573" y="70092"/>
                  </a:lnTo>
                  <a:lnTo>
                    <a:pt x="186842" y="70092"/>
                  </a:lnTo>
                  <a:lnTo>
                    <a:pt x="186616" y="69659"/>
                  </a:lnTo>
                  <a:lnTo>
                    <a:pt x="175839" y="59544"/>
                  </a:lnTo>
                  <a:lnTo>
                    <a:pt x="160795" y="51827"/>
                  </a:lnTo>
                  <a:lnTo>
                    <a:pt x="150326" y="48743"/>
                  </a:lnTo>
                  <a:lnTo>
                    <a:pt x="139987" y="47560"/>
                  </a:lnTo>
                  <a:close/>
                </a:path>
                <a:path w="251459" h="427990">
                  <a:moveTo>
                    <a:pt x="19604" y="386996"/>
                  </a:moveTo>
                  <a:lnTo>
                    <a:pt x="12010" y="388771"/>
                  </a:lnTo>
                  <a:lnTo>
                    <a:pt x="5635" y="393265"/>
                  </a:lnTo>
                  <a:lnTo>
                    <a:pt x="1323" y="400099"/>
                  </a:lnTo>
                  <a:lnTo>
                    <a:pt x="0" y="408071"/>
                  </a:lnTo>
                  <a:lnTo>
                    <a:pt x="1775" y="415668"/>
                  </a:lnTo>
                  <a:lnTo>
                    <a:pt x="6269" y="422046"/>
                  </a:lnTo>
                  <a:lnTo>
                    <a:pt x="13103" y="426360"/>
                  </a:lnTo>
                  <a:lnTo>
                    <a:pt x="21074" y="427678"/>
                  </a:lnTo>
                  <a:lnTo>
                    <a:pt x="28672" y="425899"/>
                  </a:lnTo>
                  <a:lnTo>
                    <a:pt x="35050" y="421404"/>
                  </a:lnTo>
                  <a:lnTo>
                    <a:pt x="39364" y="414570"/>
                  </a:lnTo>
                  <a:lnTo>
                    <a:pt x="40683" y="406599"/>
                  </a:lnTo>
                  <a:lnTo>
                    <a:pt x="38907" y="399002"/>
                  </a:lnTo>
                  <a:lnTo>
                    <a:pt x="34412" y="392627"/>
                  </a:lnTo>
                  <a:lnTo>
                    <a:pt x="27574" y="388319"/>
                  </a:lnTo>
                  <a:lnTo>
                    <a:pt x="19604" y="386996"/>
                  </a:lnTo>
                  <a:close/>
                </a:path>
              </a:pathLst>
            </a:custGeom>
            <a:solidFill>
              <a:srgbClr val="D9771B"/>
            </a:solidFill>
          </p:spPr>
          <p:txBody>
            <a:bodyPr wrap="square" lIns="0" tIns="0" rIns="0" bIns="0" rtlCol="0"/>
            <a:lstStyle/>
            <a:p>
              <a:endParaRPr/>
            </a:p>
          </p:txBody>
        </p:sp>
      </p:grpSp>
      <p:sp>
        <p:nvSpPr>
          <p:cNvPr id="38" name="object 22"/>
          <p:cNvSpPr txBox="1"/>
          <p:nvPr/>
        </p:nvSpPr>
        <p:spPr>
          <a:xfrm>
            <a:off x="6035787" y="2114454"/>
            <a:ext cx="1970600" cy="178733"/>
          </a:xfrm>
          <a:prstGeom prst="rect">
            <a:avLst/>
          </a:prstGeom>
        </p:spPr>
        <p:txBody>
          <a:bodyPr vert="horz" wrap="square" lIns="0" tIns="5487" rIns="0" bIns="0" rtlCol="0">
            <a:spAutoFit/>
          </a:bodyPr>
          <a:lstStyle/>
          <a:p>
            <a:pPr marL="5776" marR="2310" algn="ctr">
              <a:lnSpc>
                <a:spcPct val="101000"/>
              </a:lnSpc>
              <a:spcBef>
                <a:spcPts val="43"/>
              </a:spcBef>
            </a:pPr>
            <a:r>
              <a:rPr lang="fr-FR" sz="1100" b="1" spc="5" dirty="0">
                <a:latin typeface="Helvetica Neue"/>
                <a:cs typeface="Helvetica Neue"/>
              </a:rPr>
              <a:t>Les chèques n’existent pas</a:t>
            </a:r>
            <a:endParaRPr sz="1100" dirty="0">
              <a:latin typeface="Helvetica Neue"/>
              <a:cs typeface="Helvetica Neue"/>
            </a:endParaRPr>
          </a:p>
        </p:txBody>
      </p:sp>
    </p:spTree>
    <p:extLst>
      <p:ext uri="{BB962C8B-B14F-4D97-AF65-F5344CB8AC3E}">
        <p14:creationId xmlns:p14="http://schemas.microsoft.com/office/powerpoint/2010/main" val="40620189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516"/>
            <a:ext cx="3802968" cy="5128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ZoneTexte 3"/>
          <p:cNvSpPr txBox="1"/>
          <p:nvPr/>
        </p:nvSpPr>
        <p:spPr>
          <a:xfrm>
            <a:off x="4675975" y="215155"/>
            <a:ext cx="3751657" cy="395935"/>
          </a:xfrm>
          <a:prstGeom prst="rect">
            <a:avLst/>
          </a:prstGeom>
          <a:noFill/>
        </p:spPr>
        <p:txBody>
          <a:bodyPr wrap="none" lIns="41587" tIns="20793" rIns="41587" bIns="20793" rtlCol="0">
            <a:spAutoFit/>
          </a:bodyPr>
          <a:lstStyle/>
          <a:p>
            <a:r>
              <a:rPr lang="fr-FR" sz="2300" dirty="0">
                <a:solidFill>
                  <a:srgbClr val="FF7900"/>
                </a:solidFill>
                <a:latin typeface="Helvetica 75 Bold" panose="020B0804020202020204" pitchFamily="34" charset="0"/>
              </a:rPr>
              <a:t>Point de vue Orange Bank</a:t>
            </a:r>
          </a:p>
        </p:txBody>
      </p:sp>
      <p:sp>
        <p:nvSpPr>
          <p:cNvPr id="6" name="ZoneTexte 5"/>
          <p:cNvSpPr txBox="1"/>
          <p:nvPr/>
        </p:nvSpPr>
        <p:spPr>
          <a:xfrm>
            <a:off x="4104673" y="1849637"/>
            <a:ext cx="4938240" cy="2281625"/>
          </a:xfrm>
          <a:prstGeom prst="rect">
            <a:avLst/>
          </a:prstGeom>
          <a:noFill/>
        </p:spPr>
        <p:txBody>
          <a:bodyPr wrap="square" lIns="41587" tIns="20793" rIns="41587" bIns="20793" rtlCol="0">
            <a:spAutoFit/>
          </a:bodyPr>
          <a:lstStyle/>
          <a:p>
            <a:pPr>
              <a:buClr>
                <a:srgbClr val="FF7900"/>
              </a:buClr>
            </a:pPr>
            <a:r>
              <a:rPr lang="fr-FR" dirty="0">
                <a:latin typeface="Helvetica 75 Bold" panose="020B0804020202020204" pitchFamily="34" charset="0"/>
              </a:rPr>
              <a:t>« Le mobile deviendra central dans la consommation de demain : instrument de paiement universel, support d’une consommation plus économe et transparente. </a:t>
            </a:r>
          </a:p>
          <a:p>
            <a:pPr>
              <a:buClr>
                <a:srgbClr val="FF7900"/>
              </a:buClr>
            </a:pPr>
            <a:endParaRPr lang="fr-FR" dirty="0">
              <a:latin typeface="Helvetica 75 Bold" panose="020B0804020202020204" pitchFamily="34" charset="0"/>
            </a:endParaRPr>
          </a:p>
          <a:p>
            <a:pPr>
              <a:buClr>
                <a:srgbClr val="FF7900"/>
              </a:buClr>
            </a:pPr>
            <a:r>
              <a:rPr lang="fr-FR" dirty="0">
                <a:latin typeface="Helvetica 75 Bold" panose="020B0804020202020204" pitchFamily="34" charset="0"/>
              </a:rPr>
              <a:t>Il fait ainsi émerger une ‘consommation augmentée’, plus collaborative  »</a:t>
            </a:r>
            <a:endParaRPr lang="fr-FR" dirty="0">
              <a:solidFill>
                <a:prstClr val="black"/>
              </a:solidFill>
              <a:latin typeface="Helvetica 75 Bold" panose="020B0804020202020204" pitchFamily="34" charset="0"/>
            </a:endParaRPr>
          </a:p>
        </p:txBody>
      </p:sp>
    </p:spTree>
    <p:extLst>
      <p:ext uri="{BB962C8B-B14F-4D97-AF65-F5344CB8AC3E}">
        <p14:creationId xmlns:p14="http://schemas.microsoft.com/office/powerpoint/2010/main" val="3866491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408410" y="1228555"/>
            <a:ext cx="5305022" cy="2429637"/>
          </a:xfrm>
          <a:prstGeom prst="rect">
            <a:avLst/>
          </a:prstGeom>
        </p:spPr>
        <p:txBody>
          <a:bodyPr vert="horz" wrap="square" lIns="0" tIns="120140" rIns="0" bIns="0" rtlCol="0">
            <a:spAutoFit/>
          </a:bodyPr>
          <a:lstStyle/>
          <a:p>
            <a:pPr marL="5776" marR="2310">
              <a:lnSpc>
                <a:spcPts val="4498"/>
              </a:lnSpc>
              <a:spcBef>
                <a:spcPts val="946"/>
              </a:spcBef>
            </a:pPr>
            <a:r>
              <a:rPr sz="4500" spc="-2" dirty="0"/>
              <a:t>La relation à la  banque évolue</a:t>
            </a:r>
            <a:r>
              <a:rPr sz="4500" spc="-36" dirty="0"/>
              <a:t> </a:t>
            </a:r>
            <a:r>
              <a:rPr sz="4500" spc="-2" dirty="0"/>
              <a:t>vers  plus</a:t>
            </a:r>
            <a:r>
              <a:rPr sz="4500" spc="-11" dirty="0"/>
              <a:t> </a:t>
            </a:r>
            <a:r>
              <a:rPr sz="4500" spc="-2" dirty="0"/>
              <a:t>d’autonomie</a:t>
            </a:r>
            <a:endParaRPr sz="4500"/>
          </a:p>
        </p:txBody>
      </p:sp>
      <p:sp>
        <p:nvSpPr>
          <p:cNvPr id="3" name="object 3"/>
          <p:cNvSpPr/>
          <p:nvPr/>
        </p:nvSpPr>
        <p:spPr>
          <a:xfrm>
            <a:off x="278959" y="0"/>
            <a:ext cx="2895600" cy="5143139"/>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0133386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5669" y="113083"/>
            <a:ext cx="7643396" cy="326053"/>
          </a:xfrm>
          <a:prstGeom prst="rect">
            <a:avLst/>
          </a:prstGeom>
        </p:spPr>
        <p:txBody>
          <a:bodyPr vert="horz" wrap="square" lIns="0" tIns="7798" rIns="0" bIns="0" rtlCol="0">
            <a:spAutoFit/>
          </a:bodyPr>
          <a:lstStyle/>
          <a:p>
            <a:pPr marL="5776">
              <a:lnSpc>
                <a:spcPct val="100000"/>
              </a:lnSpc>
              <a:spcBef>
                <a:spcPts val="61"/>
              </a:spcBef>
            </a:pPr>
            <a:r>
              <a:rPr spc="-2" dirty="0"/>
              <a:t>Un </a:t>
            </a:r>
            <a:r>
              <a:rPr spc="-14" dirty="0"/>
              <a:t>Français </a:t>
            </a:r>
            <a:r>
              <a:rPr spc="-9" dirty="0"/>
              <a:t>sur deux </a:t>
            </a:r>
            <a:r>
              <a:rPr spc="-14" dirty="0"/>
              <a:t>utilise </a:t>
            </a:r>
            <a:r>
              <a:rPr spc="-7" dirty="0"/>
              <a:t>une </a:t>
            </a:r>
            <a:r>
              <a:rPr spc="-14" dirty="0"/>
              <a:t>application</a:t>
            </a:r>
            <a:r>
              <a:rPr spc="-211" dirty="0"/>
              <a:t> </a:t>
            </a:r>
            <a:r>
              <a:rPr spc="-16" dirty="0"/>
              <a:t>bancaire</a:t>
            </a:r>
          </a:p>
        </p:txBody>
      </p:sp>
      <p:sp>
        <p:nvSpPr>
          <p:cNvPr id="3" name="object 3"/>
          <p:cNvSpPr txBox="1"/>
          <p:nvPr/>
        </p:nvSpPr>
        <p:spPr>
          <a:xfrm>
            <a:off x="775669" y="570251"/>
            <a:ext cx="7504763" cy="144916"/>
          </a:xfrm>
          <a:prstGeom prst="rect">
            <a:avLst/>
          </a:prstGeom>
        </p:spPr>
        <p:txBody>
          <a:bodyPr vert="horz" wrap="square" lIns="0" tIns="6354" rIns="0" bIns="0" rtlCol="0">
            <a:spAutoFit/>
          </a:bodyPr>
          <a:lstStyle/>
          <a:p>
            <a:pPr marL="5776">
              <a:spcBef>
                <a:spcPts val="50"/>
              </a:spcBef>
            </a:pPr>
            <a:r>
              <a:rPr sz="900" b="1" spc="2" dirty="0">
                <a:latin typeface="Helvetica Neue"/>
                <a:cs typeface="Helvetica Neue"/>
              </a:rPr>
              <a:t>Avez-vous déjà </a:t>
            </a:r>
            <a:r>
              <a:rPr sz="900" b="1" dirty="0">
                <a:latin typeface="Helvetica Neue"/>
                <a:cs typeface="Helvetica Neue"/>
              </a:rPr>
              <a:t>utilisé </a:t>
            </a:r>
            <a:r>
              <a:rPr sz="900" b="1" spc="2" dirty="0">
                <a:latin typeface="Helvetica Neue"/>
                <a:cs typeface="Helvetica Neue"/>
              </a:rPr>
              <a:t>une application pour consulter vos comptes bancaires depuis un téléphone mobile ou une tablette</a:t>
            </a:r>
            <a:r>
              <a:rPr sz="900" b="1" spc="-27" dirty="0">
                <a:latin typeface="Helvetica Neue"/>
                <a:cs typeface="Helvetica Neue"/>
              </a:rPr>
              <a:t> </a:t>
            </a:r>
            <a:r>
              <a:rPr sz="900" b="1" spc="2" dirty="0">
                <a:latin typeface="Helvetica Neue"/>
                <a:cs typeface="Helvetica Neue"/>
              </a:rPr>
              <a:t>?</a:t>
            </a:r>
            <a:endParaRPr sz="900" dirty="0">
              <a:latin typeface="Helvetica Neue"/>
              <a:cs typeface="Helvetica Neue"/>
            </a:endParaRPr>
          </a:p>
        </p:txBody>
      </p:sp>
      <p:sp>
        <p:nvSpPr>
          <p:cNvPr id="9" name="object 9"/>
          <p:cNvSpPr/>
          <p:nvPr/>
        </p:nvSpPr>
        <p:spPr>
          <a:xfrm>
            <a:off x="0" y="897008"/>
            <a:ext cx="9144000" cy="4273928"/>
          </a:xfrm>
          <a:custGeom>
            <a:avLst/>
            <a:gdLst/>
            <a:ahLst/>
            <a:cxnLst/>
            <a:rect l="l" t="t" r="r" b="b"/>
            <a:pathLst>
              <a:path w="20104100" h="9397365">
                <a:moveTo>
                  <a:pt x="0" y="9397096"/>
                </a:moveTo>
                <a:lnTo>
                  <a:pt x="20104099" y="9397096"/>
                </a:lnTo>
                <a:lnTo>
                  <a:pt x="20104099" y="0"/>
                </a:lnTo>
                <a:lnTo>
                  <a:pt x="0" y="0"/>
                </a:lnTo>
                <a:lnTo>
                  <a:pt x="0" y="9397096"/>
                </a:lnTo>
                <a:close/>
              </a:path>
            </a:pathLst>
          </a:custGeom>
          <a:solidFill>
            <a:srgbClr val="D5D5D5"/>
          </a:solidFill>
        </p:spPr>
        <p:txBody>
          <a:bodyPr wrap="square" lIns="0" tIns="0" rIns="0" bIns="0" rtlCol="0"/>
          <a:lstStyle/>
          <a:p>
            <a:endParaRPr/>
          </a:p>
        </p:txBody>
      </p:sp>
      <p:sp>
        <p:nvSpPr>
          <p:cNvPr id="10" name="object 10"/>
          <p:cNvSpPr txBox="1"/>
          <p:nvPr/>
        </p:nvSpPr>
        <p:spPr>
          <a:xfrm>
            <a:off x="4419116" y="4108647"/>
            <a:ext cx="3236791" cy="449948"/>
          </a:xfrm>
          <a:prstGeom prst="rect">
            <a:avLst/>
          </a:prstGeom>
        </p:spPr>
        <p:txBody>
          <a:bodyPr vert="horz" wrap="square" lIns="0" tIns="33212" rIns="0" bIns="0" rtlCol="0">
            <a:spAutoFit/>
          </a:bodyPr>
          <a:lstStyle/>
          <a:p>
            <a:pPr marL="5776" marR="2310">
              <a:lnSpc>
                <a:spcPct val="90800"/>
              </a:lnSpc>
              <a:spcBef>
                <a:spcPts val="262"/>
              </a:spcBef>
            </a:pPr>
            <a:r>
              <a:rPr lang="fr-FR" sz="1100" b="1" spc="5" dirty="0">
                <a:solidFill>
                  <a:srgbClr val="1D1D1B"/>
                </a:solidFill>
                <a:latin typeface="Helvetica Neue"/>
                <a:cs typeface="Helvetica Neue"/>
              </a:rPr>
              <a:t>Pour </a:t>
            </a:r>
            <a:r>
              <a:rPr lang="fr-FR" sz="1900" b="1" spc="7" dirty="0">
                <a:solidFill>
                  <a:srgbClr val="FF7900"/>
                </a:solidFill>
                <a:latin typeface="Helvetica Neue"/>
                <a:cs typeface="Helvetica Neue"/>
              </a:rPr>
              <a:t>76%</a:t>
            </a:r>
            <a:r>
              <a:rPr lang="fr-FR" sz="1900" b="1" spc="-230" dirty="0">
                <a:solidFill>
                  <a:srgbClr val="FF7900"/>
                </a:solidFill>
                <a:latin typeface="Helvetica Neue"/>
                <a:cs typeface="Helvetica Neue"/>
              </a:rPr>
              <a:t> </a:t>
            </a:r>
            <a:r>
              <a:rPr lang="fr-FR" sz="1100" b="1" spc="2" dirty="0">
                <a:solidFill>
                  <a:srgbClr val="1D1D1B"/>
                </a:solidFill>
                <a:latin typeface="Helvetica Neue"/>
                <a:cs typeface="Helvetica Neue"/>
              </a:rPr>
              <a:t>d’entre eux, </a:t>
            </a:r>
            <a:r>
              <a:rPr lang="fr-FR" sz="1100" b="1" spc="5" dirty="0">
                <a:solidFill>
                  <a:srgbClr val="1D1D1B"/>
                </a:solidFill>
                <a:latin typeface="Helvetica Neue"/>
                <a:cs typeface="Helvetica Neue"/>
              </a:rPr>
              <a:t>l’application </a:t>
            </a:r>
            <a:r>
              <a:rPr lang="fr-FR" sz="1100" b="1" spc="2" dirty="0">
                <a:solidFill>
                  <a:srgbClr val="1D1D1B"/>
                </a:solidFill>
                <a:latin typeface="Helvetica Neue"/>
                <a:cs typeface="Helvetica Neue"/>
              </a:rPr>
              <a:t>bancaire  </a:t>
            </a:r>
            <a:r>
              <a:rPr lang="fr-FR" sz="1100" b="1" spc="5" dirty="0">
                <a:solidFill>
                  <a:srgbClr val="1D1D1B"/>
                </a:solidFill>
                <a:latin typeface="Helvetica Neue"/>
                <a:cs typeface="Helvetica Neue"/>
              </a:rPr>
              <a:t>mobile les aide à mieux </a:t>
            </a:r>
            <a:r>
              <a:rPr lang="fr-FR" sz="1100" b="1" dirty="0">
                <a:solidFill>
                  <a:srgbClr val="1D1D1B"/>
                </a:solidFill>
                <a:latin typeface="Helvetica Neue"/>
                <a:cs typeface="Helvetica Neue"/>
              </a:rPr>
              <a:t>gérer </a:t>
            </a:r>
            <a:r>
              <a:rPr lang="fr-FR" sz="1100" b="1" spc="5" dirty="0">
                <a:solidFill>
                  <a:srgbClr val="1D1D1B"/>
                </a:solidFill>
                <a:latin typeface="Helvetica Neue"/>
                <a:cs typeface="Helvetica Neue"/>
              </a:rPr>
              <a:t>leur</a:t>
            </a:r>
            <a:r>
              <a:rPr lang="fr-FR" sz="1100" b="1" spc="-14" dirty="0">
                <a:solidFill>
                  <a:srgbClr val="1D1D1B"/>
                </a:solidFill>
                <a:latin typeface="Helvetica Neue"/>
                <a:cs typeface="Helvetica Neue"/>
              </a:rPr>
              <a:t> </a:t>
            </a:r>
            <a:r>
              <a:rPr lang="fr-FR" sz="1100" b="1" dirty="0">
                <a:solidFill>
                  <a:srgbClr val="1D1D1B"/>
                </a:solidFill>
                <a:latin typeface="Helvetica Neue"/>
                <a:cs typeface="Helvetica Neue"/>
              </a:rPr>
              <a:t>argent</a:t>
            </a:r>
            <a:endParaRPr lang="fr-FR" sz="1100" dirty="0">
              <a:latin typeface="Helvetica Neue"/>
              <a:cs typeface="Helvetica Neue"/>
            </a:endParaRPr>
          </a:p>
        </p:txBody>
      </p:sp>
      <p:sp>
        <p:nvSpPr>
          <p:cNvPr id="11" name="object 11"/>
          <p:cNvSpPr txBox="1"/>
          <p:nvPr/>
        </p:nvSpPr>
        <p:spPr>
          <a:xfrm>
            <a:off x="5748461" y="1618878"/>
            <a:ext cx="324343" cy="103101"/>
          </a:xfrm>
          <a:prstGeom prst="rect">
            <a:avLst/>
          </a:prstGeom>
        </p:spPr>
        <p:txBody>
          <a:bodyPr vert="horz" wrap="square" lIns="0" tIns="6931" rIns="0" bIns="0" rtlCol="0">
            <a:spAutoFit/>
          </a:bodyPr>
          <a:lstStyle/>
          <a:p>
            <a:pPr marL="5776">
              <a:spcBef>
                <a:spcPts val="55"/>
              </a:spcBef>
            </a:pPr>
            <a:r>
              <a:rPr sz="600" spc="5" dirty="0">
                <a:latin typeface="Helvetica Neue"/>
                <a:cs typeface="Helvetica Neue"/>
              </a:rPr>
              <a:t>N =</a:t>
            </a:r>
            <a:r>
              <a:rPr sz="600" spc="-36" dirty="0">
                <a:latin typeface="Helvetica Neue"/>
                <a:cs typeface="Helvetica Neue"/>
              </a:rPr>
              <a:t> </a:t>
            </a:r>
            <a:r>
              <a:rPr sz="600" spc="5" dirty="0">
                <a:latin typeface="Helvetica Neue"/>
                <a:cs typeface="Helvetica Neue"/>
              </a:rPr>
              <a:t>2024</a:t>
            </a:r>
            <a:endParaRPr sz="600">
              <a:latin typeface="Helvetica Neue"/>
              <a:cs typeface="Helvetica Neue"/>
            </a:endParaRPr>
          </a:p>
        </p:txBody>
      </p:sp>
      <p:sp>
        <p:nvSpPr>
          <p:cNvPr id="12" name="object 12"/>
          <p:cNvSpPr/>
          <p:nvPr/>
        </p:nvSpPr>
        <p:spPr>
          <a:xfrm>
            <a:off x="5910327" y="1295687"/>
            <a:ext cx="101664" cy="289954"/>
          </a:xfrm>
          <a:custGeom>
            <a:avLst/>
            <a:gdLst/>
            <a:ahLst/>
            <a:cxnLst/>
            <a:rect l="l" t="t" r="r" b="b"/>
            <a:pathLst>
              <a:path w="223519" h="637539">
                <a:moveTo>
                  <a:pt x="0" y="0"/>
                </a:moveTo>
                <a:lnTo>
                  <a:pt x="0" y="637006"/>
                </a:lnTo>
                <a:lnTo>
                  <a:pt x="41970" y="618440"/>
                </a:lnTo>
                <a:lnTo>
                  <a:pt x="80733" y="594610"/>
                </a:lnTo>
                <a:lnTo>
                  <a:pt x="115828" y="565970"/>
                </a:lnTo>
                <a:lnTo>
                  <a:pt x="146793" y="532973"/>
                </a:lnTo>
                <a:lnTo>
                  <a:pt x="173163" y="496073"/>
                </a:lnTo>
                <a:lnTo>
                  <a:pt x="194479" y="455722"/>
                </a:lnTo>
                <a:lnTo>
                  <a:pt x="210276" y="412374"/>
                </a:lnTo>
                <a:lnTo>
                  <a:pt x="220094" y="366484"/>
                </a:lnTo>
                <a:lnTo>
                  <a:pt x="223469" y="318503"/>
                </a:lnTo>
                <a:lnTo>
                  <a:pt x="220094" y="270522"/>
                </a:lnTo>
                <a:lnTo>
                  <a:pt x="210276" y="224631"/>
                </a:lnTo>
                <a:lnTo>
                  <a:pt x="194479" y="181284"/>
                </a:lnTo>
                <a:lnTo>
                  <a:pt x="173163" y="140933"/>
                </a:lnTo>
                <a:lnTo>
                  <a:pt x="146793" y="104033"/>
                </a:lnTo>
                <a:lnTo>
                  <a:pt x="115828" y="71036"/>
                </a:lnTo>
                <a:lnTo>
                  <a:pt x="80733" y="42395"/>
                </a:lnTo>
                <a:lnTo>
                  <a:pt x="41970" y="18566"/>
                </a:lnTo>
                <a:lnTo>
                  <a:pt x="0" y="0"/>
                </a:lnTo>
                <a:close/>
              </a:path>
            </a:pathLst>
          </a:custGeom>
          <a:solidFill>
            <a:srgbClr val="C60E33"/>
          </a:solidFill>
        </p:spPr>
        <p:txBody>
          <a:bodyPr wrap="square" lIns="0" tIns="0" rIns="0" bIns="0" rtlCol="0"/>
          <a:lstStyle/>
          <a:p>
            <a:endParaRPr/>
          </a:p>
        </p:txBody>
      </p:sp>
      <p:sp>
        <p:nvSpPr>
          <p:cNvPr id="13" name="object 13"/>
          <p:cNvSpPr/>
          <p:nvPr/>
        </p:nvSpPr>
        <p:spPr>
          <a:xfrm>
            <a:off x="5703418" y="1295687"/>
            <a:ext cx="101664" cy="289954"/>
          </a:xfrm>
          <a:custGeom>
            <a:avLst/>
            <a:gdLst/>
            <a:ahLst/>
            <a:cxnLst/>
            <a:rect l="l" t="t" r="r" b="b"/>
            <a:pathLst>
              <a:path w="223520" h="637539">
                <a:moveTo>
                  <a:pt x="223469" y="0"/>
                </a:moveTo>
                <a:lnTo>
                  <a:pt x="181499" y="18566"/>
                </a:lnTo>
                <a:lnTo>
                  <a:pt x="142735" y="42395"/>
                </a:lnTo>
                <a:lnTo>
                  <a:pt x="107640" y="71036"/>
                </a:lnTo>
                <a:lnTo>
                  <a:pt x="76676" y="104033"/>
                </a:lnTo>
                <a:lnTo>
                  <a:pt x="50305" y="140933"/>
                </a:lnTo>
                <a:lnTo>
                  <a:pt x="28990" y="181284"/>
                </a:lnTo>
                <a:lnTo>
                  <a:pt x="13192" y="224631"/>
                </a:lnTo>
                <a:lnTo>
                  <a:pt x="3375" y="270522"/>
                </a:lnTo>
                <a:lnTo>
                  <a:pt x="0" y="318503"/>
                </a:lnTo>
                <a:lnTo>
                  <a:pt x="3375" y="366484"/>
                </a:lnTo>
                <a:lnTo>
                  <a:pt x="13192" y="412374"/>
                </a:lnTo>
                <a:lnTo>
                  <a:pt x="28990" y="455722"/>
                </a:lnTo>
                <a:lnTo>
                  <a:pt x="50305" y="496073"/>
                </a:lnTo>
                <a:lnTo>
                  <a:pt x="76676" y="532973"/>
                </a:lnTo>
                <a:lnTo>
                  <a:pt x="107640" y="565970"/>
                </a:lnTo>
                <a:lnTo>
                  <a:pt x="142735" y="594610"/>
                </a:lnTo>
                <a:lnTo>
                  <a:pt x="181499" y="618440"/>
                </a:lnTo>
                <a:lnTo>
                  <a:pt x="223469" y="637006"/>
                </a:lnTo>
                <a:lnTo>
                  <a:pt x="223469" y="0"/>
                </a:lnTo>
                <a:close/>
              </a:path>
            </a:pathLst>
          </a:custGeom>
          <a:solidFill>
            <a:srgbClr val="354083"/>
          </a:solidFill>
        </p:spPr>
        <p:txBody>
          <a:bodyPr wrap="square" lIns="0" tIns="0" rIns="0" bIns="0" rtlCol="0"/>
          <a:lstStyle/>
          <a:p>
            <a:endParaRPr/>
          </a:p>
        </p:txBody>
      </p:sp>
      <p:sp>
        <p:nvSpPr>
          <p:cNvPr id="14" name="object 14"/>
          <p:cNvSpPr/>
          <p:nvPr/>
        </p:nvSpPr>
        <p:spPr>
          <a:xfrm>
            <a:off x="5805059" y="1286279"/>
            <a:ext cx="105419" cy="308726"/>
          </a:xfrm>
          <a:custGeom>
            <a:avLst/>
            <a:gdLst/>
            <a:ahLst/>
            <a:cxnLst/>
            <a:rect l="l" t="t" r="r" b="b"/>
            <a:pathLst>
              <a:path w="231775" h="678814">
                <a:moveTo>
                  <a:pt x="115724" y="0"/>
                </a:moveTo>
                <a:lnTo>
                  <a:pt x="85551" y="1384"/>
                </a:lnTo>
                <a:lnTo>
                  <a:pt x="56154" y="5417"/>
                </a:lnTo>
                <a:lnTo>
                  <a:pt x="27610" y="11913"/>
                </a:lnTo>
                <a:lnTo>
                  <a:pt x="0" y="20690"/>
                </a:lnTo>
                <a:lnTo>
                  <a:pt x="0" y="657697"/>
                </a:lnTo>
                <a:lnTo>
                  <a:pt x="27610" y="666473"/>
                </a:lnTo>
                <a:lnTo>
                  <a:pt x="56154" y="672970"/>
                </a:lnTo>
                <a:lnTo>
                  <a:pt x="85551" y="677002"/>
                </a:lnTo>
                <a:lnTo>
                  <a:pt x="115724" y="678387"/>
                </a:lnTo>
                <a:lnTo>
                  <a:pt x="145895" y="677002"/>
                </a:lnTo>
                <a:lnTo>
                  <a:pt x="175290" y="672970"/>
                </a:lnTo>
                <a:lnTo>
                  <a:pt x="203833" y="666473"/>
                </a:lnTo>
                <a:lnTo>
                  <a:pt x="231448" y="657697"/>
                </a:lnTo>
                <a:lnTo>
                  <a:pt x="231448" y="20690"/>
                </a:lnTo>
                <a:lnTo>
                  <a:pt x="203833" y="11913"/>
                </a:lnTo>
                <a:lnTo>
                  <a:pt x="175290" y="5417"/>
                </a:lnTo>
                <a:lnTo>
                  <a:pt x="145895" y="1384"/>
                </a:lnTo>
                <a:lnTo>
                  <a:pt x="115724" y="0"/>
                </a:lnTo>
                <a:close/>
              </a:path>
            </a:pathLst>
          </a:custGeom>
          <a:solidFill>
            <a:srgbClr val="FFFFFF"/>
          </a:solidFill>
        </p:spPr>
        <p:txBody>
          <a:bodyPr wrap="square" lIns="0" tIns="0" rIns="0" bIns="0" rtlCol="0"/>
          <a:lstStyle/>
          <a:p>
            <a:endParaRPr/>
          </a:p>
        </p:txBody>
      </p:sp>
      <p:sp>
        <p:nvSpPr>
          <p:cNvPr id="15" name="object 15"/>
          <p:cNvSpPr txBox="1"/>
          <p:nvPr/>
        </p:nvSpPr>
        <p:spPr>
          <a:xfrm>
            <a:off x="4396686" y="3352825"/>
            <a:ext cx="2891653" cy="183098"/>
          </a:xfrm>
          <a:prstGeom prst="rect">
            <a:avLst/>
          </a:prstGeom>
        </p:spPr>
        <p:txBody>
          <a:bodyPr vert="horz" wrap="square" lIns="0" tIns="6931" rIns="0" bIns="0" rtlCol="0">
            <a:spAutoFit/>
          </a:bodyPr>
          <a:lstStyle/>
          <a:p>
            <a:pPr marL="5776">
              <a:spcBef>
                <a:spcPts val="55"/>
              </a:spcBef>
            </a:pPr>
            <a:r>
              <a:rPr sz="1100" b="1" spc="5" dirty="0">
                <a:latin typeface="Helvetica Neue"/>
                <a:cs typeface="Helvetica Neue"/>
              </a:rPr>
              <a:t>ont </a:t>
            </a:r>
            <a:r>
              <a:rPr sz="1100" b="1" spc="2" dirty="0">
                <a:latin typeface="Helvetica Neue"/>
                <a:cs typeface="Helvetica Neue"/>
              </a:rPr>
              <a:t>utilisé </a:t>
            </a:r>
            <a:r>
              <a:rPr sz="1100" b="1" spc="5" dirty="0">
                <a:latin typeface="Helvetica Neue"/>
                <a:cs typeface="Helvetica Neue"/>
              </a:rPr>
              <a:t>une application </a:t>
            </a:r>
            <a:r>
              <a:rPr sz="1100" b="1" spc="2" dirty="0">
                <a:latin typeface="Helvetica Neue"/>
                <a:cs typeface="Helvetica Neue"/>
              </a:rPr>
              <a:t>bancaire</a:t>
            </a:r>
            <a:r>
              <a:rPr sz="1100" b="1" spc="-9" dirty="0">
                <a:latin typeface="Helvetica Neue"/>
                <a:cs typeface="Helvetica Neue"/>
              </a:rPr>
              <a:t> </a:t>
            </a:r>
            <a:r>
              <a:rPr sz="1100" b="1" spc="5" dirty="0">
                <a:latin typeface="Helvetica Neue"/>
                <a:cs typeface="Helvetica Neue"/>
              </a:rPr>
              <a:t>mobile</a:t>
            </a:r>
            <a:endParaRPr sz="1100">
              <a:latin typeface="Helvetica Neue"/>
              <a:cs typeface="Helvetica Neue"/>
            </a:endParaRPr>
          </a:p>
        </p:txBody>
      </p:sp>
      <p:sp>
        <p:nvSpPr>
          <p:cNvPr id="16" name="object 16"/>
          <p:cNvSpPr/>
          <p:nvPr/>
        </p:nvSpPr>
        <p:spPr>
          <a:xfrm>
            <a:off x="5169604" y="1929326"/>
            <a:ext cx="1303728" cy="1303636"/>
          </a:xfrm>
          <a:custGeom>
            <a:avLst/>
            <a:gdLst/>
            <a:ahLst/>
            <a:cxnLst/>
            <a:rect l="l" t="t" r="r" b="b"/>
            <a:pathLst>
              <a:path w="2866390" h="2866390">
                <a:moveTo>
                  <a:pt x="1433066" y="0"/>
                </a:moveTo>
                <a:lnTo>
                  <a:pt x="1384800" y="797"/>
                </a:lnTo>
                <a:lnTo>
                  <a:pt x="1336934" y="3173"/>
                </a:lnTo>
                <a:lnTo>
                  <a:pt x="1289493" y="7102"/>
                </a:lnTo>
                <a:lnTo>
                  <a:pt x="1242502" y="12559"/>
                </a:lnTo>
                <a:lnTo>
                  <a:pt x="1195985" y="19519"/>
                </a:lnTo>
                <a:lnTo>
                  <a:pt x="1149968" y="27957"/>
                </a:lnTo>
                <a:lnTo>
                  <a:pt x="1104476" y="37848"/>
                </a:lnTo>
                <a:lnTo>
                  <a:pt x="1059534" y="49166"/>
                </a:lnTo>
                <a:lnTo>
                  <a:pt x="1015168" y="61888"/>
                </a:lnTo>
                <a:lnTo>
                  <a:pt x="971401" y="75987"/>
                </a:lnTo>
                <a:lnTo>
                  <a:pt x="928260" y="91438"/>
                </a:lnTo>
                <a:lnTo>
                  <a:pt x="885769" y="108217"/>
                </a:lnTo>
                <a:lnTo>
                  <a:pt x="843954" y="126299"/>
                </a:lnTo>
                <a:lnTo>
                  <a:pt x="802839" y="145658"/>
                </a:lnTo>
                <a:lnTo>
                  <a:pt x="762449" y="166269"/>
                </a:lnTo>
                <a:lnTo>
                  <a:pt x="722811" y="188107"/>
                </a:lnTo>
                <a:lnTo>
                  <a:pt x="683948" y="211147"/>
                </a:lnTo>
                <a:lnTo>
                  <a:pt x="645886" y="235364"/>
                </a:lnTo>
                <a:lnTo>
                  <a:pt x="608649" y="260734"/>
                </a:lnTo>
                <a:lnTo>
                  <a:pt x="572264" y="287230"/>
                </a:lnTo>
                <a:lnTo>
                  <a:pt x="536755" y="314827"/>
                </a:lnTo>
                <a:lnTo>
                  <a:pt x="502147" y="343502"/>
                </a:lnTo>
                <a:lnTo>
                  <a:pt x="468465" y="373228"/>
                </a:lnTo>
                <a:lnTo>
                  <a:pt x="435735" y="403981"/>
                </a:lnTo>
                <a:lnTo>
                  <a:pt x="403981" y="435735"/>
                </a:lnTo>
                <a:lnTo>
                  <a:pt x="373228" y="468465"/>
                </a:lnTo>
                <a:lnTo>
                  <a:pt x="343502" y="502147"/>
                </a:lnTo>
                <a:lnTo>
                  <a:pt x="314827" y="536755"/>
                </a:lnTo>
                <a:lnTo>
                  <a:pt x="287230" y="572264"/>
                </a:lnTo>
                <a:lnTo>
                  <a:pt x="260734" y="608649"/>
                </a:lnTo>
                <a:lnTo>
                  <a:pt x="235364" y="645886"/>
                </a:lnTo>
                <a:lnTo>
                  <a:pt x="211147" y="683948"/>
                </a:lnTo>
                <a:lnTo>
                  <a:pt x="188107" y="722811"/>
                </a:lnTo>
                <a:lnTo>
                  <a:pt x="166269" y="762449"/>
                </a:lnTo>
                <a:lnTo>
                  <a:pt x="145658" y="802839"/>
                </a:lnTo>
                <a:lnTo>
                  <a:pt x="126299" y="843954"/>
                </a:lnTo>
                <a:lnTo>
                  <a:pt x="108217" y="885769"/>
                </a:lnTo>
                <a:lnTo>
                  <a:pt x="91438" y="928260"/>
                </a:lnTo>
                <a:lnTo>
                  <a:pt x="75987" y="971401"/>
                </a:lnTo>
                <a:lnTo>
                  <a:pt x="61888" y="1015168"/>
                </a:lnTo>
                <a:lnTo>
                  <a:pt x="49166" y="1059534"/>
                </a:lnTo>
                <a:lnTo>
                  <a:pt x="37848" y="1104476"/>
                </a:lnTo>
                <a:lnTo>
                  <a:pt x="27957" y="1149968"/>
                </a:lnTo>
                <a:lnTo>
                  <a:pt x="19519" y="1195985"/>
                </a:lnTo>
                <a:lnTo>
                  <a:pt x="12559" y="1242502"/>
                </a:lnTo>
                <a:lnTo>
                  <a:pt x="7102" y="1289493"/>
                </a:lnTo>
                <a:lnTo>
                  <a:pt x="3173" y="1336934"/>
                </a:lnTo>
                <a:lnTo>
                  <a:pt x="797" y="1384800"/>
                </a:lnTo>
                <a:lnTo>
                  <a:pt x="0" y="1433066"/>
                </a:lnTo>
                <a:lnTo>
                  <a:pt x="797" y="1481331"/>
                </a:lnTo>
                <a:lnTo>
                  <a:pt x="3173" y="1529197"/>
                </a:lnTo>
                <a:lnTo>
                  <a:pt x="7102" y="1576638"/>
                </a:lnTo>
                <a:lnTo>
                  <a:pt x="12559" y="1623630"/>
                </a:lnTo>
                <a:lnTo>
                  <a:pt x="19519" y="1670147"/>
                </a:lnTo>
                <a:lnTo>
                  <a:pt x="27957" y="1716164"/>
                </a:lnTo>
                <a:lnTo>
                  <a:pt x="37848" y="1761655"/>
                </a:lnTo>
                <a:lnTo>
                  <a:pt x="49166" y="1806597"/>
                </a:lnTo>
                <a:lnTo>
                  <a:pt x="61888" y="1850964"/>
                </a:lnTo>
                <a:lnTo>
                  <a:pt x="75987" y="1894731"/>
                </a:lnTo>
                <a:lnTo>
                  <a:pt x="91438" y="1937872"/>
                </a:lnTo>
                <a:lnTo>
                  <a:pt x="108217" y="1980363"/>
                </a:lnTo>
                <a:lnTo>
                  <a:pt x="126299" y="2022178"/>
                </a:lnTo>
                <a:lnTo>
                  <a:pt x="145658" y="2063293"/>
                </a:lnTo>
                <a:lnTo>
                  <a:pt x="166269" y="2103682"/>
                </a:lnTo>
                <a:lnTo>
                  <a:pt x="188107" y="2143321"/>
                </a:lnTo>
                <a:lnTo>
                  <a:pt x="211147" y="2182184"/>
                </a:lnTo>
                <a:lnTo>
                  <a:pt x="235364" y="2220246"/>
                </a:lnTo>
                <a:lnTo>
                  <a:pt x="260734" y="2257482"/>
                </a:lnTo>
                <a:lnTo>
                  <a:pt x="287230" y="2293867"/>
                </a:lnTo>
                <a:lnTo>
                  <a:pt x="314827" y="2329377"/>
                </a:lnTo>
                <a:lnTo>
                  <a:pt x="343502" y="2363985"/>
                </a:lnTo>
                <a:lnTo>
                  <a:pt x="373228" y="2397666"/>
                </a:lnTo>
                <a:lnTo>
                  <a:pt x="403981" y="2430397"/>
                </a:lnTo>
                <a:lnTo>
                  <a:pt x="435735" y="2462151"/>
                </a:lnTo>
                <a:lnTo>
                  <a:pt x="468465" y="2492904"/>
                </a:lnTo>
                <a:lnTo>
                  <a:pt x="502147" y="2522630"/>
                </a:lnTo>
                <a:lnTo>
                  <a:pt x="536755" y="2551304"/>
                </a:lnTo>
                <a:lnTo>
                  <a:pt x="572264" y="2578902"/>
                </a:lnTo>
                <a:lnTo>
                  <a:pt x="608649" y="2605398"/>
                </a:lnTo>
                <a:lnTo>
                  <a:pt x="645886" y="2630767"/>
                </a:lnTo>
                <a:lnTo>
                  <a:pt x="683948" y="2654985"/>
                </a:lnTo>
                <a:lnTo>
                  <a:pt x="722811" y="2678025"/>
                </a:lnTo>
                <a:lnTo>
                  <a:pt x="762449" y="2699863"/>
                </a:lnTo>
                <a:lnTo>
                  <a:pt x="802839" y="2720474"/>
                </a:lnTo>
                <a:lnTo>
                  <a:pt x="843954" y="2739833"/>
                </a:lnTo>
                <a:lnTo>
                  <a:pt x="885769" y="2757914"/>
                </a:lnTo>
                <a:lnTo>
                  <a:pt x="928260" y="2774693"/>
                </a:lnTo>
                <a:lnTo>
                  <a:pt x="971401" y="2790145"/>
                </a:lnTo>
                <a:lnTo>
                  <a:pt x="1015168" y="2804244"/>
                </a:lnTo>
                <a:lnTo>
                  <a:pt x="1059534" y="2816965"/>
                </a:lnTo>
                <a:lnTo>
                  <a:pt x="1104476" y="2828284"/>
                </a:lnTo>
                <a:lnTo>
                  <a:pt x="1149968" y="2838175"/>
                </a:lnTo>
                <a:lnTo>
                  <a:pt x="1195985" y="2846613"/>
                </a:lnTo>
                <a:lnTo>
                  <a:pt x="1242502" y="2853573"/>
                </a:lnTo>
                <a:lnTo>
                  <a:pt x="1289493" y="2859030"/>
                </a:lnTo>
                <a:lnTo>
                  <a:pt x="1336934" y="2862959"/>
                </a:lnTo>
                <a:lnTo>
                  <a:pt x="1384800" y="2865335"/>
                </a:lnTo>
                <a:lnTo>
                  <a:pt x="1433066" y="2866132"/>
                </a:lnTo>
                <a:lnTo>
                  <a:pt x="1481331" y="2865335"/>
                </a:lnTo>
                <a:lnTo>
                  <a:pt x="1529197" y="2862959"/>
                </a:lnTo>
                <a:lnTo>
                  <a:pt x="1576638" y="2859030"/>
                </a:lnTo>
                <a:lnTo>
                  <a:pt x="1623630" y="2853573"/>
                </a:lnTo>
                <a:lnTo>
                  <a:pt x="1670147" y="2846613"/>
                </a:lnTo>
                <a:lnTo>
                  <a:pt x="1716164" y="2838175"/>
                </a:lnTo>
                <a:lnTo>
                  <a:pt x="1761655" y="2828284"/>
                </a:lnTo>
                <a:lnTo>
                  <a:pt x="1806597" y="2816965"/>
                </a:lnTo>
                <a:lnTo>
                  <a:pt x="1850964" y="2804244"/>
                </a:lnTo>
                <a:lnTo>
                  <a:pt x="1894731" y="2790145"/>
                </a:lnTo>
                <a:lnTo>
                  <a:pt x="1937872" y="2774693"/>
                </a:lnTo>
                <a:lnTo>
                  <a:pt x="1980363" y="2757914"/>
                </a:lnTo>
                <a:lnTo>
                  <a:pt x="2022178" y="2739833"/>
                </a:lnTo>
                <a:lnTo>
                  <a:pt x="2063293" y="2720474"/>
                </a:lnTo>
                <a:lnTo>
                  <a:pt x="2103682" y="2699863"/>
                </a:lnTo>
                <a:lnTo>
                  <a:pt x="2143321" y="2678025"/>
                </a:lnTo>
                <a:lnTo>
                  <a:pt x="2182184" y="2654985"/>
                </a:lnTo>
                <a:lnTo>
                  <a:pt x="2220246" y="2630767"/>
                </a:lnTo>
                <a:lnTo>
                  <a:pt x="2257482" y="2605398"/>
                </a:lnTo>
                <a:lnTo>
                  <a:pt x="2293867" y="2578902"/>
                </a:lnTo>
                <a:lnTo>
                  <a:pt x="2329377" y="2551304"/>
                </a:lnTo>
                <a:lnTo>
                  <a:pt x="2363985" y="2522630"/>
                </a:lnTo>
                <a:lnTo>
                  <a:pt x="2397666" y="2492904"/>
                </a:lnTo>
                <a:lnTo>
                  <a:pt x="2430397" y="2462151"/>
                </a:lnTo>
                <a:lnTo>
                  <a:pt x="2462151" y="2430397"/>
                </a:lnTo>
                <a:lnTo>
                  <a:pt x="2492904" y="2397666"/>
                </a:lnTo>
                <a:lnTo>
                  <a:pt x="2522630" y="2363985"/>
                </a:lnTo>
                <a:lnTo>
                  <a:pt x="2551304" y="2329377"/>
                </a:lnTo>
                <a:lnTo>
                  <a:pt x="2578902" y="2293867"/>
                </a:lnTo>
                <a:lnTo>
                  <a:pt x="2605398" y="2257482"/>
                </a:lnTo>
                <a:lnTo>
                  <a:pt x="2630767" y="2220246"/>
                </a:lnTo>
                <a:lnTo>
                  <a:pt x="2654985" y="2182184"/>
                </a:lnTo>
                <a:lnTo>
                  <a:pt x="2678025" y="2143321"/>
                </a:lnTo>
                <a:lnTo>
                  <a:pt x="2699863" y="2103682"/>
                </a:lnTo>
                <a:lnTo>
                  <a:pt x="2720474" y="2063293"/>
                </a:lnTo>
                <a:lnTo>
                  <a:pt x="2739833" y="2022178"/>
                </a:lnTo>
                <a:lnTo>
                  <a:pt x="2757914" y="1980363"/>
                </a:lnTo>
                <a:lnTo>
                  <a:pt x="2774693" y="1937872"/>
                </a:lnTo>
                <a:lnTo>
                  <a:pt x="2790145" y="1894731"/>
                </a:lnTo>
                <a:lnTo>
                  <a:pt x="2804244" y="1850964"/>
                </a:lnTo>
                <a:lnTo>
                  <a:pt x="2816965" y="1806597"/>
                </a:lnTo>
                <a:lnTo>
                  <a:pt x="2828284" y="1761655"/>
                </a:lnTo>
                <a:lnTo>
                  <a:pt x="2838175" y="1716164"/>
                </a:lnTo>
                <a:lnTo>
                  <a:pt x="2846613" y="1670147"/>
                </a:lnTo>
                <a:lnTo>
                  <a:pt x="2853573" y="1623630"/>
                </a:lnTo>
                <a:lnTo>
                  <a:pt x="2859030" y="1576638"/>
                </a:lnTo>
                <a:lnTo>
                  <a:pt x="2862959" y="1529197"/>
                </a:lnTo>
                <a:lnTo>
                  <a:pt x="2865335" y="1481331"/>
                </a:lnTo>
                <a:lnTo>
                  <a:pt x="2866132" y="1433066"/>
                </a:lnTo>
                <a:lnTo>
                  <a:pt x="2865335" y="1384800"/>
                </a:lnTo>
                <a:lnTo>
                  <a:pt x="2862959" y="1336934"/>
                </a:lnTo>
                <a:lnTo>
                  <a:pt x="2859030" y="1289493"/>
                </a:lnTo>
                <a:lnTo>
                  <a:pt x="2853573" y="1242502"/>
                </a:lnTo>
                <a:lnTo>
                  <a:pt x="2846613" y="1195985"/>
                </a:lnTo>
                <a:lnTo>
                  <a:pt x="2838175" y="1149968"/>
                </a:lnTo>
                <a:lnTo>
                  <a:pt x="2828284" y="1104476"/>
                </a:lnTo>
                <a:lnTo>
                  <a:pt x="2816965" y="1059534"/>
                </a:lnTo>
                <a:lnTo>
                  <a:pt x="2804244" y="1015168"/>
                </a:lnTo>
                <a:lnTo>
                  <a:pt x="2790145" y="971401"/>
                </a:lnTo>
                <a:lnTo>
                  <a:pt x="2774693" y="928260"/>
                </a:lnTo>
                <a:lnTo>
                  <a:pt x="2757914" y="885769"/>
                </a:lnTo>
                <a:lnTo>
                  <a:pt x="2739833" y="843954"/>
                </a:lnTo>
                <a:lnTo>
                  <a:pt x="2720474" y="802839"/>
                </a:lnTo>
                <a:lnTo>
                  <a:pt x="2699863" y="762449"/>
                </a:lnTo>
                <a:lnTo>
                  <a:pt x="2678025" y="722811"/>
                </a:lnTo>
                <a:lnTo>
                  <a:pt x="2654985" y="683948"/>
                </a:lnTo>
                <a:lnTo>
                  <a:pt x="2630767" y="645886"/>
                </a:lnTo>
                <a:lnTo>
                  <a:pt x="2605398" y="608649"/>
                </a:lnTo>
                <a:lnTo>
                  <a:pt x="2578902" y="572264"/>
                </a:lnTo>
                <a:lnTo>
                  <a:pt x="2551304" y="536755"/>
                </a:lnTo>
                <a:lnTo>
                  <a:pt x="2522630" y="502147"/>
                </a:lnTo>
                <a:lnTo>
                  <a:pt x="2492904" y="468465"/>
                </a:lnTo>
                <a:lnTo>
                  <a:pt x="2462151" y="435735"/>
                </a:lnTo>
                <a:lnTo>
                  <a:pt x="2430397" y="403981"/>
                </a:lnTo>
                <a:lnTo>
                  <a:pt x="2397666" y="373228"/>
                </a:lnTo>
                <a:lnTo>
                  <a:pt x="2363985" y="343502"/>
                </a:lnTo>
                <a:lnTo>
                  <a:pt x="2329377" y="314827"/>
                </a:lnTo>
                <a:lnTo>
                  <a:pt x="2293867" y="287230"/>
                </a:lnTo>
                <a:lnTo>
                  <a:pt x="2257482" y="260734"/>
                </a:lnTo>
                <a:lnTo>
                  <a:pt x="2220246" y="235364"/>
                </a:lnTo>
                <a:lnTo>
                  <a:pt x="2182184" y="211147"/>
                </a:lnTo>
                <a:lnTo>
                  <a:pt x="2143321" y="188107"/>
                </a:lnTo>
                <a:lnTo>
                  <a:pt x="2103682" y="166269"/>
                </a:lnTo>
                <a:lnTo>
                  <a:pt x="2063293" y="145658"/>
                </a:lnTo>
                <a:lnTo>
                  <a:pt x="2022178" y="126299"/>
                </a:lnTo>
                <a:lnTo>
                  <a:pt x="1980363" y="108217"/>
                </a:lnTo>
                <a:lnTo>
                  <a:pt x="1937872" y="91438"/>
                </a:lnTo>
                <a:lnTo>
                  <a:pt x="1894731" y="75987"/>
                </a:lnTo>
                <a:lnTo>
                  <a:pt x="1850964" y="61888"/>
                </a:lnTo>
                <a:lnTo>
                  <a:pt x="1806597" y="49166"/>
                </a:lnTo>
                <a:lnTo>
                  <a:pt x="1761655" y="37848"/>
                </a:lnTo>
                <a:lnTo>
                  <a:pt x="1716164" y="27957"/>
                </a:lnTo>
                <a:lnTo>
                  <a:pt x="1670147" y="19519"/>
                </a:lnTo>
                <a:lnTo>
                  <a:pt x="1623630" y="12559"/>
                </a:lnTo>
                <a:lnTo>
                  <a:pt x="1576638" y="7102"/>
                </a:lnTo>
                <a:lnTo>
                  <a:pt x="1529197" y="3173"/>
                </a:lnTo>
                <a:lnTo>
                  <a:pt x="1481331" y="797"/>
                </a:lnTo>
                <a:lnTo>
                  <a:pt x="1433066" y="0"/>
                </a:lnTo>
                <a:close/>
              </a:path>
            </a:pathLst>
          </a:custGeom>
          <a:solidFill>
            <a:srgbClr val="FFFFFF"/>
          </a:solidFill>
        </p:spPr>
        <p:txBody>
          <a:bodyPr wrap="square" lIns="0" tIns="0" rIns="0" bIns="0" rtlCol="0"/>
          <a:lstStyle/>
          <a:p>
            <a:endParaRPr/>
          </a:p>
        </p:txBody>
      </p:sp>
      <p:sp>
        <p:nvSpPr>
          <p:cNvPr id="17" name="object 17"/>
          <p:cNvSpPr/>
          <p:nvPr/>
        </p:nvSpPr>
        <p:spPr>
          <a:xfrm>
            <a:off x="5352641" y="2132746"/>
            <a:ext cx="932018" cy="913181"/>
          </a:xfrm>
          <a:custGeom>
            <a:avLst/>
            <a:gdLst/>
            <a:ahLst/>
            <a:cxnLst/>
            <a:rect l="l" t="t" r="r" b="b"/>
            <a:pathLst>
              <a:path w="2049144" h="2007870">
                <a:moveTo>
                  <a:pt x="2048639" y="1003749"/>
                </a:moveTo>
                <a:lnTo>
                  <a:pt x="2047524" y="1051001"/>
                </a:lnTo>
                <a:lnTo>
                  <a:pt x="2044212" y="1097690"/>
                </a:lnTo>
                <a:lnTo>
                  <a:pt x="2038752" y="1143768"/>
                </a:lnTo>
                <a:lnTo>
                  <a:pt x="2031194" y="1189188"/>
                </a:lnTo>
                <a:lnTo>
                  <a:pt x="2021586" y="1233901"/>
                </a:lnTo>
                <a:lnTo>
                  <a:pt x="2009977" y="1277859"/>
                </a:lnTo>
                <a:lnTo>
                  <a:pt x="1996418" y="1321013"/>
                </a:lnTo>
                <a:lnTo>
                  <a:pt x="1980957" y="1363316"/>
                </a:lnTo>
                <a:lnTo>
                  <a:pt x="1963643" y="1404719"/>
                </a:lnTo>
                <a:lnTo>
                  <a:pt x="1944525" y="1445175"/>
                </a:lnTo>
                <a:lnTo>
                  <a:pt x="1923654" y="1484634"/>
                </a:lnTo>
                <a:lnTo>
                  <a:pt x="1901077" y="1523049"/>
                </a:lnTo>
                <a:lnTo>
                  <a:pt x="1876844" y="1560371"/>
                </a:lnTo>
                <a:lnTo>
                  <a:pt x="1851004" y="1596552"/>
                </a:lnTo>
                <a:lnTo>
                  <a:pt x="1823607" y="1631545"/>
                </a:lnTo>
                <a:lnTo>
                  <a:pt x="1794701" y="1665301"/>
                </a:lnTo>
                <a:lnTo>
                  <a:pt x="1764336" y="1697771"/>
                </a:lnTo>
                <a:lnTo>
                  <a:pt x="1732561" y="1728907"/>
                </a:lnTo>
                <a:lnTo>
                  <a:pt x="1699425" y="1758662"/>
                </a:lnTo>
                <a:lnTo>
                  <a:pt x="1664978" y="1786988"/>
                </a:lnTo>
                <a:lnTo>
                  <a:pt x="1629268" y="1813834"/>
                </a:lnTo>
                <a:lnTo>
                  <a:pt x="1592344" y="1839155"/>
                </a:lnTo>
                <a:lnTo>
                  <a:pt x="1554257" y="1862901"/>
                </a:lnTo>
                <a:lnTo>
                  <a:pt x="1515055" y="1885025"/>
                </a:lnTo>
                <a:lnTo>
                  <a:pt x="1474787" y="1905477"/>
                </a:lnTo>
                <a:lnTo>
                  <a:pt x="1433502" y="1924211"/>
                </a:lnTo>
                <a:lnTo>
                  <a:pt x="1391251" y="1941177"/>
                </a:lnTo>
                <a:lnTo>
                  <a:pt x="1348081" y="1956327"/>
                </a:lnTo>
                <a:lnTo>
                  <a:pt x="1304042" y="1969614"/>
                </a:lnTo>
                <a:lnTo>
                  <a:pt x="1259183" y="1980989"/>
                </a:lnTo>
                <a:lnTo>
                  <a:pt x="1213553" y="1990404"/>
                </a:lnTo>
                <a:lnTo>
                  <a:pt x="1167203" y="1997811"/>
                </a:lnTo>
                <a:lnTo>
                  <a:pt x="1120180" y="2003161"/>
                </a:lnTo>
                <a:lnTo>
                  <a:pt x="1072534" y="2006406"/>
                </a:lnTo>
                <a:lnTo>
                  <a:pt x="1024314" y="2007499"/>
                </a:lnTo>
                <a:lnTo>
                  <a:pt x="976094" y="2006406"/>
                </a:lnTo>
                <a:lnTo>
                  <a:pt x="928448" y="2003161"/>
                </a:lnTo>
                <a:lnTo>
                  <a:pt x="881425" y="1997811"/>
                </a:lnTo>
                <a:lnTo>
                  <a:pt x="835075" y="1990404"/>
                </a:lnTo>
                <a:lnTo>
                  <a:pt x="789446" y="1980989"/>
                </a:lnTo>
                <a:lnTo>
                  <a:pt x="744587" y="1969614"/>
                </a:lnTo>
                <a:lnTo>
                  <a:pt x="700548" y="1956327"/>
                </a:lnTo>
                <a:lnTo>
                  <a:pt x="657379" y="1941177"/>
                </a:lnTo>
                <a:lnTo>
                  <a:pt x="615127" y="1924211"/>
                </a:lnTo>
                <a:lnTo>
                  <a:pt x="573843" y="1905477"/>
                </a:lnTo>
                <a:lnTo>
                  <a:pt x="533575" y="1885025"/>
                </a:lnTo>
                <a:lnTo>
                  <a:pt x="494373" y="1862901"/>
                </a:lnTo>
                <a:lnTo>
                  <a:pt x="456287" y="1839155"/>
                </a:lnTo>
                <a:lnTo>
                  <a:pt x="419364" y="1813834"/>
                </a:lnTo>
                <a:lnTo>
                  <a:pt x="383654" y="1786988"/>
                </a:lnTo>
                <a:lnTo>
                  <a:pt x="349207" y="1758662"/>
                </a:lnTo>
                <a:lnTo>
                  <a:pt x="316072" y="1728907"/>
                </a:lnTo>
                <a:lnTo>
                  <a:pt x="284297" y="1697771"/>
                </a:lnTo>
                <a:lnTo>
                  <a:pt x="253933" y="1665301"/>
                </a:lnTo>
                <a:lnTo>
                  <a:pt x="225027" y="1631545"/>
                </a:lnTo>
                <a:lnTo>
                  <a:pt x="197631" y="1596552"/>
                </a:lnTo>
                <a:lnTo>
                  <a:pt x="171791" y="1560371"/>
                </a:lnTo>
                <a:lnTo>
                  <a:pt x="147559" y="1523049"/>
                </a:lnTo>
                <a:lnTo>
                  <a:pt x="124982" y="1484634"/>
                </a:lnTo>
                <a:lnTo>
                  <a:pt x="104111" y="1445175"/>
                </a:lnTo>
                <a:lnTo>
                  <a:pt x="84994" y="1404719"/>
                </a:lnTo>
                <a:lnTo>
                  <a:pt x="67680" y="1363316"/>
                </a:lnTo>
                <a:lnTo>
                  <a:pt x="52219" y="1321013"/>
                </a:lnTo>
                <a:lnTo>
                  <a:pt x="38660" y="1277859"/>
                </a:lnTo>
                <a:lnTo>
                  <a:pt x="27052" y="1233901"/>
                </a:lnTo>
                <a:lnTo>
                  <a:pt x="17444" y="1189188"/>
                </a:lnTo>
                <a:lnTo>
                  <a:pt x="9886" y="1143768"/>
                </a:lnTo>
                <a:lnTo>
                  <a:pt x="4426" y="1097690"/>
                </a:lnTo>
                <a:lnTo>
                  <a:pt x="1114" y="1051001"/>
                </a:lnTo>
                <a:lnTo>
                  <a:pt x="0" y="1003749"/>
                </a:lnTo>
                <a:lnTo>
                  <a:pt x="1114" y="956498"/>
                </a:lnTo>
                <a:lnTo>
                  <a:pt x="4426" y="909810"/>
                </a:lnTo>
                <a:lnTo>
                  <a:pt x="9886" y="863732"/>
                </a:lnTo>
                <a:lnTo>
                  <a:pt x="17444" y="818313"/>
                </a:lnTo>
                <a:lnTo>
                  <a:pt x="27052" y="773600"/>
                </a:lnTo>
                <a:lnTo>
                  <a:pt x="38660" y="729643"/>
                </a:lnTo>
                <a:lnTo>
                  <a:pt x="52219" y="686489"/>
                </a:lnTo>
                <a:lnTo>
                  <a:pt x="67680" y="644186"/>
                </a:lnTo>
                <a:lnTo>
                  <a:pt x="84994" y="602783"/>
                </a:lnTo>
                <a:lnTo>
                  <a:pt x="104111" y="562328"/>
                </a:lnTo>
                <a:lnTo>
                  <a:pt x="124982" y="522869"/>
                </a:lnTo>
                <a:lnTo>
                  <a:pt x="147559" y="484454"/>
                </a:lnTo>
                <a:lnTo>
                  <a:pt x="171791" y="447132"/>
                </a:lnTo>
                <a:lnTo>
                  <a:pt x="197631" y="410950"/>
                </a:lnTo>
                <a:lnTo>
                  <a:pt x="225027" y="375957"/>
                </a:lnTo>
                <a:lnTo>
                  <a:pt x="253933" y="342202"/>
                </a:lnTo>
                <a:lnTo>
                  <a:pt x="284297" y="309731"/>
                </a:lnTo>
                <a:lnTo>
                  <a:pt x="316072" y="278594"/>
                </a:lnTo>
                <a:lnTo>
                  <a:pt x="349207" y="248839"/>
                </a:lnTo>
                <a:lnTo>
                  <a:pt x="383654" y="220514"/>
                </a:lnTo>
                <a:lnTo>
                  <a:pt x="419364" y="193667"/>
                </a:lnTo>
                <a:lnTo>
                  <a:pt x="456287" y="168346"/>
                </a:lnTo>
                <a:lnTo>
                  <a:pt x="494373" y="144599"/>
                </a:lnTo>
                <a:lnTo>
                  <a:pt x="533575" y="122476"/>
                </a:lnTo>
                <a:lnTo>
                  <a:pt x="573843" y="102023"/>
                </a:lnTo>
                <a:lnTo>
                  <a:pt x="615127" y="83289"/>
                </a:lnTo>
                <a:lnTo>
                  <a:pt x="657379" y="66323"/>
                </a:lnTo>
                <a:lnTo>
                  <a:pt x="700548" y="51172"/>
                </a:lnTo>
                <a:lnTo>
                  <a:pt x="744587" y="37885"/>
                </a:lnTo>
                <a:lnTo>
                  <a:pt x="789446" y="26510"/>
                </a:lnTo>
                <a:lnTo>
                  <a:pt x="835075" y="17094"/>
                </a:lnTo>
                <a:lnTo>
                  <a:pt x="881425" y="9688"/>
                </a:lnTo>
                <a:lnTo>
                  <a:pt x="928448" y="4338"/>
                </a:lnTo>
                <a:lnTo>
                  <a:pt x="976094" y="1092"/>
                </a:lnTo>
                <a:lnTo>
                  <a:pt x="1024314" y="0"/>
                </a:lnTo>
                <a:lnTo>
                  <a:pt x="1072534" y="1092"/>
                </a:lnTo>
                <a:lnTo>
                  <a:pt x="1120180" y="4338"/>
                </a:lnTo>
                <a:lnTo>
                  <a:pt x="1167203" y="9688"/>
                </a:lnTo>
                <a:lnTo>
                  <a:pt x="1213553" y="17094"/>
                </a:lnTo>
                <a:lnTo>
                  <a:pt x="1259183" y="26510"/>
                </a:lnTo>
                <a:lnTo>
                  <a:pt x="1304042" y="37885"/>
                </a:lnTo>
                <a:lnTo>
                  <a:pt x="1348081" y="51172"/>
                </a:lnTo>
                <a:lnTo>
                  <a:pt x="1391251" y="66323"/>
                </a:lnTo>
                <a:lnTo>
                  <a:pt x="1433502" y="83289"/>
                </a:lnTo>
                <a:lnTo>
                  <a:pt x="1474787" y="102023"/>
                </a:lnTo>
                <a:lnTo>
                  <a:pt x="1515055" y="122476"/>
                </a:lnTo>
                <a:lnTo>
                  <a:pt x="1554257" y="144599"/>
                </a:lnTo>
                <a:lnTo>
                  <a:pt x="1592344" y="168346"/>
                </a:lnTo>
                <a:lnTo>
                  <a:pt x="1629268" y="193667"/>
                </a:lnTo>
                <a:lnTo>
                  <a:pt x="1664978" y="220514"/>
                </a:lnTo>
                <a:lnTo>
                  <a:pt x="1699425" y="248839"/>
                </a:lnTo>
                <a:lnTo>
                  <a:pt x="1732561" y="278594"/>
                </a:lnTo>
                <a:lnTo>
                  <a:pt x="1764336" y="309731"/>
                </a:lnTo>
                <a:lnTo>
                  <a:pt x="1794701" y="342202"/>
                </a:lnTo>
                <a:lnTo>
                  <a:pt x="1823607" y="375957"/>
                </a:lnTo>
                <a:lnTo>
                  <a:pt x="1851004" y="410950"/>
                </a:lnTo>
                <a:lnTo>
                  <a:pt x="1876844" y="447132"/>
                </a:lnTo>
                <a:lnTo>
                  <a:pt x="1901077" y="484454"/>
                </a:lnTo>
                <a:lnTo>
                  <a:pt x="1923654" y="522869"/>
                </a:lnTo>
                <a:lnTo>
                  <a:pt x="1944525" y="562328"/>
                </a:lnTo>
                <a:lnTo>
                  <a:pt x="1963643" y="602783"/>
                </a:lnTo>
                <a:lnTo>
                  <a:pt x="1980957" y="644186"/>
                </a:lnTo>
                <a:lnTo>
                  <a:pt x="1996418" y="686489"/>
                </a:lnTo>
                <a:lnTo>
                  <a:pt x="2009977" y="729643"/>
                </a:lnTo>
                <a:lnTo>
                  <a:pt x="2021586" y="773600"/>
                </a:lnTo>
                <a:lnTo>
                  <a:pt x="2031194" y="818313"/>
                </a:lnTo>
                <a:lnTo>
                  <a:pt x="2038752" y="863732"/>
                </a:lnTo>
                <a:lnTo>
                  <a:pt x="2044212" y="909810"/>
                </a:lnTo>
                <a:lnTo>
                  <a:pt x="2047524" y="956498"/>
                </a:lnTo>
                <a:lnTo>
                  <a:pt x="2048639" y="1003749"/>
                </a:lnTo>
                <a:close/>
              </a:path>
            </a:pathLst>
          </a:custGeom>
          <a:ln w="20386">
            <a:solidFill>
              <a:srgbClr val="808080"/>
            </a:solidFill>
          </a:ln>
        </p:spPr>
        <p:txBody>
          <a:bodyPr wrap="square" lIns="0" tIns="0" rIns="0" bIns="0" rtlCol="0"/>
          <a:lstStyle/>
          <a:p>
            <a:endParaRPr/>
          </a:p>
        </p:txBody>
      </p:sp>
      <p:sp>
        <p:nvSpPr>
          <p:cNvPr id="18" name="object 18"/>
          <p:cNvSpPr/>
          <p:nvPr/>
        </p:nvSpPr>
        <p:spPr>
          <a:xfrm>
            <a:off x="5570227" y="2001176"/>
            <a:ext cx="821400" cy="1152017"/>
          </a:xfrm>
          <a:custGeom>
            <a:avLst/>
            <a:gdLst/>
            <a:ahLst/>
            <a:cxnLst/>
            <a:rect l="l" t="t" r="r" b="b"/>
            <a:pathLst>
              <a:path w="1805940" h="2533015">
                <a:moveTo>
                  <a:pt x="253405" y="1873586"/>
                </a:moveTo>
                <a:lnTo>
                  <a:pt x="0" y="2412104"/>
                </a:lnTo>
                <a:lnTo>
                  <a:pt x="46372" y="2432801"/>
                </a:lnTo>
                <a:lnTo>
                  <a:pt x="93450" y="2451589"/>
                </a:lnTo>
                <a:lnTo>
                  <a:pt x="141176" y="2468457"/>
                </a:lnTo>
                <a:lnTo>
                  <a:pt x="189489" y="2483390"/>
                </a:lnTo>
                <a:lnTo>
                  <a:pt x="238331" y="2496375"/>
                </a:lnTo>
                <a:lnTo>
                  <a:pt x="287642" y="2507399"/>
                </a:lnTo>
                <a:lnTo>
                  <a:pt x="337363" y="2516448"/>
                </a:lnTo>
                <a:lnTo>
                  <a:pt x="387435" y="2523510"/>
                </a:lnTo>
                <a:lnTo>
                  <a:pt x="437800" y="2528570"/>
                </a:lnTo>
                <a:lnTo>
                  <a:pt x="488396" y="2531616"/>
                </a:lnTo>
                <a:lnTo>
                  <a:pt x="539166" y="2532634"/>
                </a:lnTo>
                <a:lnTo>
                  <a:pt x="587739" y="2531720"/>
                </a:lnTo>
                <a:lnTo>
                  <a:pt x="635850" y="2528999"/>
                </a:lnTo>
                <a:lnTo>
                  <a:pt x="683465" y="2524503"/>
                </a:lnTo>
                <a:lnTo>
                  <a:pt x="730552" y="2518266"/>
                </a:lnTo>
                <a:lnTo>
                  <a:pt x="777078" y="2510320"/>
                </a:lnTo>
                <a:lnTo>
                  <a:pt x="823011" y="2500699"/>
                </a:lnTo>
                <a:lnTo>
                  <a:pt x="868317" y="2489435"/>
                </a:lnTo>
                <a:lnTo>
                  <a:pt x="912964" y="2476560"/>
                </a:lnTo>
                <a:lnTo>
                  <a:pt x="956919" y="2462108"/>
                </a:lnTo>
                <a:lnTo>
                  <a:pt x="1000149" y="2446111"/>
                </a:lnTo>
                <a:lnTo>
                  <a:pt x="1042621" y="2428603"/>
                </a:lnTo>
                <a:lnTo>
                  <a:pt x="1084303" y="2409615"/>
                </a:lnTo>
                <a:lnTo>
                  <a:pt x="1125162" y="2389182"/>
                </a:lnTo>
                <a:lnTo>
                  <a:pt x="1165164" y="2367334"/>
                </a:lnTo>
                <a:lnTo>
                  <a:pt x="1204278" y="2344106"/>
                </a:lnTo>
                <a:lnTo>
                  <a:pt x="1242470" y="2319531"/>
                </a:lnTo>
                <a:lnTo>
                  <a:pt x="1279708" y="2293640"/>
                </a:lnTo>
                <a:lnTo>
                  <a:pt x="1315959" y="2266467"/>
                </a:lnTo>
                <a:lnTo>
                  <a:pt x="1351190" y="2238044"/>
                </a:lnTo>
                <a:lnTo>
                  <a:pt x="1385368" y="2208405"/>
                </a:lnTo>
                <a:lnTo>
                  <a:pt x="1418460" y="2177581"/>
                </a:lnTo>
                <a:lnTo>
                  <a:pt x="1450435" y="2145607"/>
                </a:lnTo>
                <a:lnTo>
                  <a:pt x="1481258" y="2112514"/>
                </a:lnTo>
                <a:lnTo>
                  <a:pt x="1510897" y="2078336"/>
                </a:lnTo>
                <a:lnTo>
                  <a:pt x="1539319" y="2043105"/>
                </a:lnTo>
                <a:lnTo>
                  <a:pt x="1566492" y="2006854"/>
                </a:lnTo>
                <a:lnTo>
                  <a:pt x="1592383" y="1969616"/>
                </a:lnTo>
                <a:lnTo>
                  <a:pt x="1613080" y="1937451"/>
                </a:lnTo>
                <a:lnTo>
                  <a:pt x="523600" y="1937451"/>
                </a:lnTo>
                <a:lnTo>
                  <a:pt x="478126" y="1934866"/>
                </a:lnTo>
                <a:lnTo>
                  <a:pt x="432627" y="1929129"/>
                </a:lnTo>
                <a:lnTo>
                  <a:pt x="387254" y="1920187"/>
                </a:lnTo>
                <a:lnTo>
                  <a:pt x="342159" y="1907986"/>
                </a:lnTo>
                <a:lnTo>
                  <a:pt x="297492" y="1892470"/>
                </a:lnTo>
                <a:lnTo>
                  <a:pt x="253405" y="1873586"/>
                </a:lnTo>
                <a:close/>
              </a:path>
              <a:path w="1805940" h="2533015">
                <a:moveTo>
                  <a:pt x="539166" y="0"/>
                </a:moveTo>
                <a:lnTo>
                  <a:pt x="539166" y="595165"/>
                </a:lnTo>
                <a:lnTo>
                  <a:pt x="588429" y="596975"/>
                </a:lnTo>
                <a:lnTo>
                  <a:pt x="637296" y="602377"/>
                </a:lnTo>
                <a:lnTo>
                  <a:pt x="685573" y="611328"/>
                </a:lnTo>
                <a:lnTo>
                  <a:pt x="733066" y="623783"/>
                </a:lnTo>
                <a:lnTo>
                  <a:pt x="779582" y="639701"/>
                </a:lnTo>
                <a:lnTo>
                  <a:pt x="824927" y="659037"/>
                </a:lnTo>
                <a:lnTo>
                  <a:pt x="867579" y="680970"/>
                </a:lnTo>
                <a:lnTo>
                  <a:pt x="908006" y="705497"/>
                </a:lnTo>
                <a:lnTo>
                  <a:pt x="946152" y="732467"/>
                </a:lnTo>
                <a:lnTo>
                  <a:pt x="981963" y="761728"/>
                </a:lnTo>
                <a:lnTo>
                  <a:pt x="1015385" y="793129"/>
                </a:lnTo>
                <a:lnTo>
                  <a:pt x="1046364" y="826519"/>
                </a:lnTo>
                <a:lnTo>
                  <a:pt x="1074845" y="861748"/>
                </a:lnTo>
                <a:lnTo>
                  <a:pt x="1100774" y="898663"/>
                </a:lnTo>
                <a:lnTo>
                  <a:pt x="1124125" y="937170"/>
                </a:lnTo>
                <a:lnTo>
                  <a:pt x="1144757" y="976951"/>
                </a:lnTo>
                <a:lnTo>
                  <a:pt x="1162703" y="1018020"/>
                </a:lnTo>
                <a:lnTo>
                  <a:pt x="1177879" y="1060172"/>
                </a:lnTo>
                <a:lnTo>
                  <a:pt x="1190230" y="1103256"/>
                </a:lnTo>
                <a:lnTo>
                  <a:pt x="1199703" y="1147120"/>
                </a:lnTo>
                <a:lnTo>
                  <a:pt x="1206243" y="1191613"/>
                </a:lnTo>
                <a:lnTo>
                  <a:pt x="1209796" y="1236585"/>
                </a:lnTo>
                <a:lnTo>
                  <a:pt x="1210307" y="1281883"/>
                </a:lnTo>
                <a:lnTo>
                  <a:pt x="1207721" y="1327357"/>
                </a:lnTo>
                <a:lnTo>
                  <a:pt x="1201985" y="1372856"/>
                </a:lnTo>
                <a:lnTo>
                  <a:pt x="1193044" y="1418229"/>
                </a:lnTo>
                <a:lnTo>
                  <a:pt x="1180843" y="1463324"/>
                </a:lnTo>
                <a:lnTo>
                  <a:pt x="1165329" y="1507991"/>
                </a:lnTo>
                <a:lnTo>
                  <a:pt x="1146446" y="1552078"/>
                </a:lnTo>
                <a:lnTo>
                  <a:pt x="1124513" y="1594729"/>
                </a:lnTo>
                <a:lnTo>
                  <a:pt x="1099986" y="1635154"/>
                </a:lnTo>
                <a:lnTo>
                  <a:pt x="1073016" y="1673299"/>
                </a:lnTo>
                <a:lnTo>
                  <a:pt x="1043755" y="1709110"/>
                </a:lnTo>
                <a:lnTo>
                  <a:pt x="1012354" y="1742532"/>
                </a:lnTo>
                <a:lnTo>
                  <a:pt x="978964" y="1773510"/>
                </a:lnTo>
                <a:lnTo>
                  <a:pt x="943735" y="1801991"/>
                </a:lnTo>
                <a:lnTo>
                  <a:pt x="906820" y="1827920"/>
                </a:lnTo>
                <a:lnTo>
                  <a:pt x="868369" y="1851242"/>
                </a:lnTo>
                <a:lnTo>
                  <a:pt x="828533" y="1871903"/>
                </a:lnTo>
                <a:lnTo>
                  <a:pt x="787463" y="1889848"/>
                </a:lnTo>
                <a:lnTo>
                  <a:pt x="745311" y="1905024"/>
                </a:lnTo>
                <a:lnTo>
                  <a:pt x="702227" y="1917376"/>
                </a:lnTo>
                <a:lnTo>
                  <a:pt x="658363" y="1926849"/>
                </a:lnTo>
                <a:lnTo>
                  <a:pt x="613870" y="1933389"/>
                </a:lnTo>
                <a:lnTo>
                  <a:pt x="568899" y="1936941"/>
                </a:lnTo>
                <a:lnTo>
                  <a:pt x="523600" y="1937451"/>
                </a:lnTo>
                <a:lnTo>
                  <a:pt x="1613080" y="1937451"/>
                </a:lnTo>
                <a:lnTo>
                  <a:pt x="1640186" y="1892310"/>
                </a:lnTo>
                <a:lnTo>
                  <a:pt x="1662033" y="1852308"/>
                </a:lnTo>
                <a:lnTo>
                  <a:pt x="1682466" y="1811449"/>
                </a:lnTo>
                <a:lnTo>
                  <a:pt x="1701454" y="1769767"/>
                </a:lnTo>
                <a:lnTo>
                  <a:pt x="1718962" y="1727295"/>
                </a:lnTo>
                <a:lnTo>
                  <a:pt x="1734959" y="1684065"/>
                </a:lnTo>
                <a:lnTo>
                  <a:pt x="1749410" y="1640111"/>
                </a:lnTo>
                <a:lnTo>
                  <a:pt x="1762285" y="1595464"/>
                </a:lnTo>
                <a:lnTo>
                  <a:pt x="1773549" y="1550158"/>
                </a:lnTo>
                <a:lnTo>
                  <a:pt x="1783170" y="1504226"/>
                </a:lnTo>
                <a:lnTo>
                  <a:pt x="1791116" y="1457700"/>
                </a:lnTo>
                <a:lnTo>
                  <a:pt x="1797353" y="1410614"/>
                </a:lnTo>
                <a:lnTo>
                  <a:pt x="1801848" y="1362999"/>
                </a:lnTo>
                <a:lnTo>
                  <a:pt x="1804569" y="1314889"/>
                </a:lnTo>
                <a:lnTo>
                  <a:pt x="1805484" y="1266317"/>
                </a:lnTo>
                <a:lnTo>
                  <a:pt x="1804569" y="1217745"/>
                </a:lnTo>
                <a:lnTo>
                  <a:pt x="1801848" y="1169635"/>
                </a:lnTo>
                <a:lnTo>
                  <a:pt x="1797353" y="1122020"/>
                </a:lnTo>
                <a:lnTo>
                  <a:pt x="1791116" y="1074933"/>
                </a:lnTo>
                <a:lnTo>
                  <a:pt x="1783170" y="1028408"/>
                </a:lnTo>
                <a:lnTo>
                  <a:pt x="1773549" y="982476"/>
                </a:lnTo>
                <a:lnTo>
                  <a:pt x="1762269" y="937115"/>
                </a:lnTo>
                <a:lnTo>
                  <a:pt x="1749410" y="892523"/>
                </a:lnTo>
                <a:lnTo>
                  <a:pt x="1734959" y="848569"/>
                </a:lnTo>
                <a:lnTo>
                  <a:pt x="1718962" y="805339"/>
                </a:lnTo>
                <a:lnTo>
                  <a:pt x="1701454" y="762867"/>
                </a:lnTo>
                <a:lnTo>
                  <a:pt x="1682466" y="721185"/>
                </a:lnTo>
                <a:lnTo>
                  <a:pt x="1662033" y="680326"/>
                </a:lnTo>
                <a:lnTo>
                  <a:pt x="1640186" y="640324"/>
                </a:lnTo>
                <a:lnTo>
                  <a:pt x="1616958" y="601210"/>
                </a:lnTo>
                <a:lnTo>
                  <a:pt x="1592383" y="563017"/>
                </a:lnTo>
                <a:lnTo>
                  <a:pt x="1566492" y="525779"/>
                </a:lnTo>
                <a:lnTo>
                  <a:pt x="1539319" y="489529"/>
                </a:lnTo>
                <a:lnTo>
                  <a:pt x="1510897" y="454298"/>
                </a:lnTo>
                <a:lnTo>
                  <a:pt x="1481258" y="420120"/>
                </a:lnTo>
                <a:lnTo>
                  <a:pt x="1450435" y="387027"/>
                </a:lnTo>
                <a:lnTo>
                  <a:pt x="1418460" y="355053"/>
                </a:lnTo>
                <a:lnTo>
                  <a:pt x="1385368" y="324229"/>
                </a:lnTo>
                <a:lnTo>
                  <a:pt x="1351190" y="294590"/>
                </a:lnTo>
                <a:lnTo>
                  <a:pt x="1315959" y="266167"/>
                </a:lnTo>
                <a:lnTo>
                  <a:pt x="1279708" y="238994"/>
                </a:lnTo>
                <a:lnTo>
                  <a:pt x="1242470" y="213103"/>
                </a:lnTo>
                <a:lnTo>
                  <a:pt x="1204278" y="188528"/>
                </a:lnTo>
                <a:lnTo>
                  <a:pt x="1165164" y="165300"/>
                </a:lnTo>
                <a:lnTo>
                  <a:pt x="1125162" y="143452"/>
                </a:lnTo>
                <a:lnTo>
                  <a:pt x="1084303" y="123019"/>
                </a:lnTo>
                <a:lnTo>
                  <a:pt x="1042621" y="104031"/>
                </a:lnTo>
                <a:lnTo>
                  <a:pt x="1000149" y="86523"/>
                </a:lnTo>
                <a:lnTo>
                  <a:pt x="956919" y="70526"/>
                </a:lnTo>
                <a:lnTo>
                  <a:pt x="912964" y="56074"/>
                </a:lnTo>
                <a:lnTo>
                  <a:pt x="868317" y="43199"/>
                </a:lnTo>
                <a:lnTo>
                  <a:pt x="823011" y="31935"/>
                </a:lnTo>
                <a:lnTo>
                  <a:pt x="777078" y="22313"/>
                </a:lnTo>
                <a:lnTo>
                  <a:pt x="730552" y="14368"/>
                </a:lnTo>
                <a:lnTo>
                  <a:pt x="683465" y="8131"/>
                </a:lnTo>
                <a:lnTo>
                  <a:pt x="635850" y="3635"/>
                </a:lnTo>
                <a:lnTo>
                  <a:pt x="587739" y="914"/>
                </a:lnTo>
                <a:lnTo>
                  <a:pt x="539166" y="0"/>
                </a:lnTo>
                <a:close/>
              </a:path>
            </a:pathLst>
          </a:custGeom>
          <a:solidFill>
            <a:srgbClr val="FF7900"/>
          </a:solidFill>
        </p:spPr>
        <p:txBody>
          <a:bodyPr wrap="square" lIns="0" tIns="0" rIns="0" bIns="0" rtlCol="0"/>
          <a:lstStyle/>
          <a:p>
            <a:endParaRPr/>
          </a:p>
        </p:txBody>
      </p:sp>
      <p:sp>
        <p:nvSpPr>
          <p:cNvPr id="19" name="object 19"/>
          <p:cNvSpPr txBox="1"/>
          <p:nvPr/>
        </p:nvSpPr>
        <p:spPr>
          <a:xfrm>
            <a:off x="5490256" y="2424551"/>
            <a:ext cx="514675" cy="297462"/>
          </a:xfrm>
          <a:prstGeom prst="rect">
            <a:avLst/>
          </a:prstGeom>
        </p:spPr>
        <p:txBody>
          <a:bodyPr vert="horz" wrap="square" lIns="0" tIns="6931" rIns="0" bIns="0" rtlCol="0">
            <a:spAutoFit/>
          </a:bodyPr>
          <a:lstStyle/>
          <a:p>
            <a:pPr marL="5776">
              <a:spcBef>
                <a:spcPts val="55"/>
              </a:spcBef>
            </a:pPr>
            <a:r>
              <a:rPr sz="1900" b="1" spc="7" dirty="0">
                <a:solidFill>
                  <a:srgbClr val="FF7900"/>
                </a:solidFill>
                <a:latin typeface="Helvetica Neue"/>
                <a:cs typeface="Helvetica Neue"/>
              </a:rPr>
              <a:t>56%</a:t>
            </a:r>
            <a:endParaRPr sz="1900">
              <a:latin typeface="Helvetica Neue"/>
              <a:cs typeface="Helvetica Neue"/>
            </a:endParaRPr>
          </a:p>
        </p:txBody>
      </p:sp>
      <p:sp>
        <p:nvSpPr>
          <p:cNvPr id="20" name="object 20"/>
          <p:cNvSpPr/>
          <p:nvPr/>
        </p:nvSpPr>
        <p:spPr>
          <a:xfrm>
            <a:off x="1822865" y="3087905"/>
            <a:ext cx="902558" cy="651818"/>
          </a:xfrm>
          <a:custGeom>
            <a:avLst/>
            <a:gdLst/>
            <a:ahLst/>
            <a:cxnLst/>
            <a:rect l="l" t="t" r="r" b="b"/>
            <a:pathLst>
              <a:path w="1984375" h="1433195">
                <a:moveTo>
                  <a:pt x="1751164" y="0"/>
                </a:moveTo>
                <a:lnTo>
                  <a:pt x="1701902" y="7095"/>
                </a:lnTo>
                <a:lnTo>
                  <a:pt x="1652806" y="23197"/>
                </a:lnTo>
                <a:lnTo>
                  <a:pt x="1605269" y="48484"/>
                </a:lnTo>
                <a:lnTo>
                  <a:pt x="131366" y="1001701"/>
                </a:lnTo>
                <a:lnTo>
                  <a:pt x="88802" y="1034684"/>
                </a:lnTo>
                <a:lnTo>
                  <a:pt x="53977" y="1072856"/>
                </a:lnTo>
                <a:lnTo>
                  <a:pt x="27297" y="1114875"/>
                </a:lnTo>
                <a:lnTo>
                  <a:pt x="9169" y="1159397"/>
                </a:lnTo>
                <a:lnTo>
                  <a:pt x="0" y="1205078"/>
                </a:lnTo>
                <a:lnTo>
                  <a:pt x="194" y="1250576"/>
                </a:lnTo>
                <a:lnTo>
                  <a:pt x="10159" y="1294548"/>
                </a:lnTo>
                <a:lnTo>
                  <a:pt x="30301" y="1335649"/>
                </a:lnTo>
                <a:lnTo>
                  <a:pt x="61997" y="1374708"/>
                </a:lnTo>
                <a:lnTo>
                  <a:pt x="98012" y="1401831"/>
                </a:lnTo>
                <a:lnTo>
                  <a:pt x="139427" y="1420669"/>
                </a:lnTo>
                <a:lnTo>
                  <a:pt x="184849" y="1431043"/>
                </a:lnTo>
                <a:lnTo>
                  <a:pt x="232887" y="1432772"/>
                </a:lnTo>
                <a:lnTo>
                  <a:pt x="282149" y="1425675"/>
                </a:lnTo>
                <a:lnTo>
                  <a:pt x="331245" y="1409574"/>
                </a:lnTo>
                <a:lnTo>
                  <a:pt x="378782" y="1384286"/>
                </a:lnTo>
                <a:lnTo>
                  <a:pt x="1852685" y="431069"/>
                </a:lnTo>
                <a:lnTo>
                  <a:pt x="1895249" y="398087"/>
                </a:lnTo>
                <a:lnTo>
                  <a:pt x="1930075" y="359916"/>
                </a:lnTo>
                <a:lnTo>
                  <a:pt x="1956754" y="317899"/>
                </a:lnTo>
                <a:lnTo>
                  <a:pt x="1974883" y="273379"/>
                </a:lnTo>
                <a:lnTo>
                  <a:pt x="1984054" y="227700"/>
                </a:lnTo>
                <a:lnTo>
                  <a:pt x="1983861" y="182203"/>
                </a:lnTo>
                <a:lnTo>
                  <a:pt x="1973899" y="138233"/>
                </a:lnTo>
                <a:lnTo>
                  <a:pt x="1953761" y="97132"/>
                </a:lnTo>
                <a:lnTo>
                  <a:pt x="1922054" y="58069"/>
                </a:lnTo>
                <a:lnTo>
                  <a:pt x="1886039" y="30944"/>
                </a:lnTo>
                <a:lnTo>
                  <a:pt x="1844624" y="12104"/>
                </a:lnTo>
                <a:lnTo>
                  <a:pt x="1799203" y="1729"/>
                </a:lnTo>
                <a:lnTo>
                  <a:pt x="1751164" y="0"/>
                </a:lnTo>
                <a:close/>
              </a:path>
            </a:pathLst>
          </a:custGeom>
          <a:solidFill>
            <a:srgbClr val="DEB89C"/>
          </a:solidFill>
        </p:spPr>
        <p:txBody>
          <a:bodyPr wrap="square" lIns="0" tIns="0" rIns="0" bIns="0" rtlCol="0"/>
          <a:lstStyle/>
          <a:p>
            <a:endParaRPr/>
          </a:p>
        </p:txBody>
      </p:sp>
      <p:sp>
        <p:nvSpPr>
          <p:cNvPr id="21" name="object 21"/>
          <p:cNvSpPr/>
          <p:nvPr/>
        </p:nvSpPr>
        <p:spPr>
          <a:xfrm>
            <a:off x="1488079" y="3322899"/>
            <a:ext cx="1103287" cy="1195625"/>
          </a:xfrm>
          <a:custGeom>
            <a:avLst/>
            <a:gdLst/>
            <a:ahLst/>
            <a:cxnLst/>
            <a:rect l="l" t="t" r="r" b="b"/>
            <a:pathLst>
              <a:path w="2425700" h="2628900">
                <a:moveTo>
                  <a:pt x="1299946" y="0"/>
                </a:moveTo>
                <a:lnTo>
                  <a:pt x="1235089" y="7379"/>
                </a:lnTo>
                <a:lnTo>
                  <a:pt x="1166293" y="30624"/>
                </a:lnTo>
                <a:lnTo>
                  <a:pt x="1129864" y="48474"/>
                </a:lnTo>
                <a:lnTo>
                  <a:pt x="1091787" y="70623"/>
                </a:lnTo>
                <a:lnTo>
                  <a:pt x="1051840" y="97183"/>
                </a:lnTo>
                <a:lnTo>
                  <a:pt x="1009802" y="128265"/>
                </a:lnTo>
                <a:lnTo>
                  <a:pt x="965451" y="163979"/>
                </a:lnTo>
                <a:lnTo>
                  <a:pt x="918566" y="204437"/>
                </a:lnTo>
                <a:lnTo>
                  <a:pt x="80602" y="1108682"/>
                </a:lnTo>
                <a:lnTo>
                  <a:pt x="58653" y="1174323"/>
                </a:lnTo>
                <a:lnTo>
                  <a:pt x="40335" y="1237305"/>
                </a:lnTo>
                <a:lnTo>
                  <a:pt x="25556" y="1297663"/>
                </a:lnTo>
                <a:lnTo>
                  <a:pt x="14225" y="1355428"/>
                </a:lnTo>
                <a:lnTo>
                  <a:pt x="6249" y="1410633"/>
                </a:lnTo>
                <a:lnTo>
                  <a:pt x="1538" y="1463311"/>
                </a:lnTo>
                <a:lnTo>
                  <a:pt x="0" y="1513494"/>
                </a:lnTo>
                <a:lnTo>
                  <a:pt x="1542" y="1561215"/>
                </a:lnTo>
                <a:lnTo>
                  <a:pt x="6074" y="1606506"/>
                </a:lnTo>
                <a:lnTo>
                  <a:pt x="13504" y="1649399"/>
                </a:lnTo>
                <a:lnTo>
                  <a:pt x="23740" y="1689928"/>
                </a:lnTo>
                <a:lnTo>
                  <a:pt x="36691" y="1728125"/>
                </a:lnTo>
                <a:lnTo>
                  <a:pt x="52265" y="1764023"/>
                </a:lnTo>
                <a:lnTo>
                  <a:pt x="70370" y="1797653"/>
                </a:lnTo>
                <a:lnTo>
                  <a:pt x="113810" y="1858243"/>
                </a:lnTo>
                <a:lnTo>
                  <a:pt x="166277" y="1910156"/>
                </a:lnTo>
                <a:lnTo>
                  <a:pt x="227497" y="1956141"/>
                </a:lnTo>
                <a:lnTo>
                  <a:pt x="260224" y="1980709"/>
                </a:lnTo>
                <a:lnTo>
                  <a:pt x="403314" y="2090688"/>
                </a:lnTo>
                <a:lnTo>
                  <a:pt x="442938" y="2120622"/>
                </a:lnTo>
                <a:lnTo>
                  <a:pt x="484424" y="2151338"/>
                </a:lnTo>
                <a:lnTo>
                  <a:pt x="527934" y="2182737"/>
                </a:lnTo>
                <a:lnTo>
                  <a:pt x="573629" y="2214722"/>
                </a:lnTo>
                <a:lnTo>
                  <a:pt x="621670" y="2247195"/>
                </a:lnTo>
                <a:lnTo>
                  <a:pt x="672217" y="2280060"/>
                </a:lnTo>
                <a:lnTo>
                  <a:pt x="894684" y="2420948"/>
                </a:lnTo>
                <a:lnTo>
                  <a:pt x="942849" y="2450343"/>
                </a:lnTo>
                <a:lnTo>
                  <a:pt x="989795" y="2478127"/>
                </a:lnTo>
                <a:lnTo>
                  <a:pt x="1035556" y="2504123"/>
                </a:lnTo>
                <a:lnTo>
                  <a:pt x="1080170" y="2528153"/>
                </a:lnTo>
                <a:lnTo>
                  <a:pt x="1123672" y="2550040"/>
                </a:lnTo>
                <a:lnTo>
                  <a:pt x="1166099" y="2569607"/>
                </a:lnTo>
                <a:lnTo>
                  <a:pt x="1207487" y="2586676"/>
                </a:lnTo>
                <a:lnTo>
                  <a:pt x="1247872" y="2601070"/>
                </a:lnTo>
                <a:lnTo>
                  <a:pt x="1287291" y="2612611"/>
                </a:lnTo>
                <a:lnTo>
                  <a:pt x="1325780" y="2621123"/>
                </a:lnTo>
                <a:lnTo>
                  <a:pt x="1400111" y="2628348"/>
                </a:lnTo>
                <a:lnTo>
                  <a:pt x="1436026" y="2626707"/>
                </a:lnTo>
                <a:lnTo>
                  <a:pt x="1507611" y="2611652"/>
                </a:lnTo>
                <a:lnTo>
                  <a:pt x="1543353" y="2598281"/>
                </a:lnTo>
                <a:lnTo>
                  <a:pt x="1578474" y="2581459"/>
                </a:lnTo>
                <a:lnTo>
                  <a:pt x="1613065" y="2561429"/>
                </a:lnTo>
                <a:lnTo>
                  <a:pt x="1647219" y="2538436"/>
                </a:lnTo>
                <a:lnTo>
                  <a:pt x="1681027" y="2512723"/>
                </a:lnTo>
                <a:lnTo>
                  <a:pt x="1714581" y="2484533"/>
                </a:lnTo>
                <a:lnTo>
                  <a:pt x="1747972" y="2454112"/>
                </a:lnTo>
                <a:lnTo>
                  <a:pt x="1781293" y="2421702"/>
                </a:lnTo>
                <a:lnTo>
                  <a:pt x="1814634" y="2387547"/>
                </a:lnTo>
                <a:lnTo>
                  <a:pt x="1848087" y="2351891"/>
                </a:lnTo>
                <a:lnTo>
                  <a:pt x="1881745" y="2314979"/>
                </a:lnTo>
                <a:lnTo>
                  <a:pt x="2020251" y="2159634"/>
                </a:lnTo>
                <a:lnTo>
                  <a:pt x="2056305" y="2120093"/>
                </a:lnTo>
                <a:lnTo>
                  <a:pt x="2093113" y="2080758"/>
                </a:lnTo>
                <a:lnTo>
                  <a:pt x="2130767" y="2041873"/>
                </a:lnTo>
                <a:lnTo>
                  <a:pt x="2169358" y="2003681"/>
                </a:lnTo>
                <a:lnTo>
                  <a:pt x="2208979" y="1966427"/>
                </a:lnTo>
                <a:lnTo>
                  <a:pt x="2249721" y="1930354"/>
                </a:lnTo>
                <a:lnTo>
                  <a:pt x="2291676" y="1895705"/>
                </a:lnTo>
                <a:lnTo>
                  <a:pt x="2333438" y="1854472"/>
                </a:lnTo>
                <a:lnTo>
                  <a:pt x="2365513" y="1807166"/>
                </a:lnTo>
                <a:lnTo>
                  <a:pt x="2389171" y="1756235"/>
                </a:lnTo>
                <a:lnTo>
                  <a:pt x="2405681" y="1704127"/>
                </a:lnTo>
                <a:lnTo>
                  <a:pt x="2416313" y="1653291"/>
                </a:lnTo>
                <a:lnTo>
                  <a:pt x="2422335" y="1606174"/>
                </a:lnTo>
                <a:lnTo>
                  <a:pt x="2425018" y="1565224"/>
                </a:lnTo>
                <a:lnTo>
                  <a:pt x="2425630" y="1532889"/>
                </a:lnTo>
                <a:lnTo>
                  <a:pt x="2424496" y="1511740"/>
                </a:lnTo>
                <a:lnTo>
                  <a:pt x="2420746" y="1457886"/>
                </a:lnTo>
                <a:lnTo>
                  <a:pt x="2413857" y="1385719"/>
                </a:lnTo>
                <a:lnTo>
                  <a:pt x="2403306" y="1309629"/>
                </a:lnTo>
                <a:lnTo>
                  <a:pt x="2399754" y="1287466"/>
                </a:lnTo>
                <a:lnTo>
                  <a:pt x="2395929" y="1261969"/>
                </a:lnTo>
                <a:lnTo>
                  <a:pt x="2386426" y="1201841"/>
                </a:lnTo>
                <a:lnTo>
                  <a:pt x="2372738" y="1130984"/>
                </a:lnTo>
                <a:lnTo>
                  <a:pt x="2363682" y="1092077"/>
                </a:lnTo>
                <a:lnTo>
                  <a:pt x="2352807" y="1051141"/>
                </a:lnTo>
                <a:lnTo>
                  <a:pt x="2339857" y="1008393"/>
                </a:lnTo>
                <a:lnTo>
                  <a:pt x="2324573" y="964050"/>
                </a:lnTo>
                <a:lnTo>
                  <a:pt x="2306699" y="918332"/>
                </a:lnTo>
                <a:lnTo>
                  <a:pt x="2285977" y="871454"/>
                </a:lnTo>
                <a:lnTo>
                  <a:pt x="2262150" y="823635"/>
                </a:lnTo>
                <a:lnTo>
                  <a:pt x="2234960" y="775092"/>
                </a:lnTo>
                <a:lnTo>
                  <a:pt x="2204151" y="726043"/>
                </a:lnTo>
                <a:lnTo>
                  <a:pt x="2169463" y="676705"/>
                </a:lnTo>
                <a:lnTo>
                  <a:pt x="2130642" y="627296"/>
                </a:lnTo>
                <a:lnTo>
                  <a:pt x="2087428" y="578033"/>
                </a:lnTo>
                <a:lnTo>
                  <a:pt x="2039564" y="529134"/>
                </a:lnTo>
                <a:lnTo>
                  <a:pt x="1986794" y="480817"/>
                </a:lnTo>
                <a:lnTo>
                  <a:pt x="1839553" y="360726"/>
                </a:lnTo>
                <a:lnTo>
                  <a:pt x="1705532" y="239168"/>
                </a:lnTo>
                <a:lnTo>
                  <a:pt x="1665381" y="203325"/>
                </a:lnTo>
                <a:lnTo>
                  <a:pt x="1627123" y="170004"/>
                </a:lnTo>
                <a:lnTo>
                  <a:pt x="1590537" y="139318"/>
                </a:lnTo>
                <a:lnTo>
                  <a:pt x="1555400" y="111378"/>
                </a:lnTo>
                <a:lnTo>
                  <a:pt x="1521492" y="86293"/>
                </a:lnTo>
                <a:lnTo>
                  <a:pt x="1488591" y="64175"/>
                </a:lnTo>
                <a:lnTo>
                  <a:pt x="1424927" y="29286"/>
                </a:lnTo>
                <a:lnTo>
                  <a:pt x="1362635" y="7598"/>
                </a:lnTo>
                <a:lnTo>
                  <a:pt x="1331451" y="1982"/>
                </a:lnTo>
                <a:lnTo>
                  <a:pt x="1299946" y="0"/>
                </a:lnTo>
                <a:close/>
              </a:path>
            </a:pathLst>
          </a:custGeom>
          <a:solidFill>
            <a:srgbClr val="DEB89C"/>
          </a:solidFill>
        </p:spPr>
        <p:txBody>
          <a:bodyPr wrap="square" lIns="0" tIns="0" rIns="0" bIns="0" rtlCol="0"/>
          <a:lstStyle/>
          <a:p>
            <a:endParaRPr/>
          </a:p>
        </p:txBody>
      </p:sp>
      <p:sp>
        <p:nvSpPr>
          <p:cNvPr id="22" name="object 22"/>
          <p:cNvSpPr/>
          <p:nvPr/>
        </p:nvSpPr>
        <p:spPr>
          <a:xfrm>
            <a:off x="1202716" y="4039525"/>
            <a:ext cx="958012" cy="1003575"/>
          </a:xfrm>
          <a:custGeom>
            <a:avLst/>
            <a:gdLst/>
            <a:ahLst/>
            <a:cxnLst/>
            <a:rect l="l" t="t" r="r" b="b"/>
            <a:pathLst>
              <a:path w="2106295" h="2206625">
                <a:moveTo>
                  <a:pt x="926914" y="0"/>
                </a:moveTo>
                <a:lnTo>
                  <a:pt x="0" y="1455379"/>
                </a:lnTo>
                <a:lnTo>
                  <a:pt x="1179346" y="2206487"/>
                </a:lnTo>
                <a:lnTo>
                  <a:pt x="2106250" y="751128"/>
                </a:lnTo>
                <a:lnTo>
                  <a:pt x="926914" y="0"/>
                </a:lnTo>
                <a:close/>
              </a:path>
            </a:pathLst>
          </a:custGeom>
          <a:solidFill>
            <a:srgbClr val="DEB89C"/>
          </a:solidFill>
        </p:spPr>
        <p:txBody>
          <a:bodyPr wrap="square" lIns="0" tIns="0" rIns="0" bIns="0" rtlCol="0"/>
          <a:lstStyle/>
          <a:p>
            <a:endParaRPr/>
          </a:p>
        </p:txBody>
      </p:sp>
      <p:sp>
        <p:nvSpPr>
          <p:cNvPr id="23" name="object 23"/>
          <p:cNvSpPr/>
          <p:nvPr/>
        </p:nvSpPr>
        <p:spPr>
          <a:xfrm>
            <a:off x="1765491" y="2499544"/>
            <a:ext cx="831509" cy="1760226"/>
          </a:xfrm>
          <a:custGeom>
            <a:avLst/>
            <a:gdLst/>
            <a:ahLst/>
            <a:cxnLst/>
            <a:rect l="l" t="t" r="r" b="b"/>
            <a:pathLst>
              <a:path w="1828164" h="3870325">
                <a:moveTo>
                  <a:pt x="1550329" y="0"/>
                </a:moveTo>
                <a:lnTo>
                  <a:pt x="277750" y="0"/>
                </a:lnTo>
                <a:lnTo>
                  <a:pt x="227890" y="4484"/>
                </a:lnTo>
                <a:lnTo>
                  <a:pt x="180935" y="17410"/>
                </a:lnTo>
                <a:lnTo>
                  <a:pt x="137675" y="37987"/>
                </a:lnTo>
                <a:lnTo>
                  <a:pt x="98902" y="65424"/>
                </a:lnTo>
                <a:lnTo>
                  <a:pt x="65405" y="98931"/>
                </a:lnTo>
                <a:lnTo>
                  <a:pt x="37976" y="137717"/>
                </a:lnTo>
                <a:lnTo>
                  <a:pt x="17405" y="180992"/>
                </a:lnTo>
                <a:lnTo>
                  <a:pt x="4483" y="227965"/>
                </a:lnTo>
                <a:lnTo>
                  <a:pt x="0" y="277844"/>
                </a:lnTo>
                <a:lnTo>
                  <a:pt x="0" y="3592215"/>
                </a:lnTo>
                <a:lnTo>
                  <a:pt x="4483" y="3642081"/>
                </a:lnTo>
                <a:lnTo>
                  <a:pt x="17405" y="3689042"/>
                </a:lnTo>
                <a:lnTo>
                  <a:pt x="37976" y="3732307"/>
                </a:lnTo>
                <a:lnTo>
                  <a:pt x="65405" y="3771085"/>
                </a:lnTo>
                <a:lnTo>
                  <a:pt x="98902" y="3804585"/>
                </a:lnTo>
                <a:lnTo>
                  <a:pt x="137675" y="3832017"/>
                </a:lnTo>
                <a:lnTo>
                  <a:pt x="180935" y="3852590"/>
                </a:lnTo>
                <a:lnTo>
                  <a:pt x="227890" y="3865513"/>
                </a:lnTo>
                <a:lnTo>
                  <a:pt x="277750" y="3869997"/>
                </a:lnTo>
                <a:lnTo>
                  <a:pt x="1550329" y="3869997"/>
                </a:lnTo>
                <a:lnTo>
                  <a:pt x="1600189" y="3865513"/>
                </a:lnTo>
                <a:lnTo>
                  <a:pt x="1647143" y="3852590"/>
                </a:lnTo>
                <a:lnTo>
                  <a:pt x="1690401" y="3832017"/>
                </a:lnTo>
                <a:lnTo>
                  <a:pt x="1729173" y="3804585"/>
                </a:lnTo>
                <a:lnTo>
                  <a:pt x="1762668" y="3771085"/>
                </a:lnTo>
                <a:lnTo>
                  <a:pt x="1790095" y="3732307"/>
                </a:lnTo>
                <a:lnTo>
                  <a:pt x="1810665" y="3689042"/>
                </a:lnTo>
                <a:lnTo>
                  <a:pt x="1823587" y="3642081"/>
                </a:lnTo>
                <a:lnTo>
                  <a:pt x="1828069" y="3592215"/>
                </a:lnTo>
                <a:lnTo>
                  <a:pt x="1828069" y="277844"/>
                </a:lnTo>
                <a:lnTo>
                  <a:pt x="1823587" y="227965"/>
                </a:lnTo>
                <a:lnTo>
                  <a:pt x="1810665" y="180992"/>
                </a:lnTo>
                <a:lnTo>
                  <a:pt x="1790095" y="137717"/>
                </a:lnTo>
                <a:lnTo>
                  <a:pt x="1762668" y="98931"/>
                </a:lnTo>
                <a:lnTo>
                  <a:pt x="1729173" y="65424"/>
                </a:lnTo>
                <a:lnTo>
                  <a:pt x="1690401" y="37987"/>
                </a:lnTo>
                <a:lnTo>
                  <a:pt x="1647143" y="17410"/>
                </a:lnTo>
                <a:lnTo>
                  <a:pt x="1600189" y="4484"/>
                </a:lnTo>
                <a:lnTo>
                  <a:pt x="1550329" y="0"/>
                </a:lnTo>
                <a:close/>
              </a:path>
            </a:pathLst>
          </a:custGeom>
          <a:solidFill>
            <a:srgbClr val="313333"/>
          </a:solidFill>
        </p:spPr>
        <p:txBody>
          <a:bodyPr wrap="square" lIns="0" tIns="0" rIns="0" bIns="0" rtlCol="0"/>
          <a:lstStyle/>
          <a:p>
            <a:endParaRPr/>
          </a:p>
        </p:txBody>
      </p:sp>
      <p:sp>
        <p:nvSpPr>
          <p:cNvPr id="24" name="object 24"/>
          <p:cNvSpPr/>
          <p:nvPr/>
        </p:nvSpPr>
        <p:spPr>
          <a:xfrm>
            <a:off x="1818732" y="2935937"/>
            <a:ext cx="725224" cy="1091080"/>
          </a:xfrm>
          <a:custGeom>
            <a:avLst/>
            <a:gdLst/>
            <a:ahLst/>
            <a:cxnLst/>
            <a:rect l="l" t="t" r="r" b="b"/>
            <a:pathLst>
              <a:path w="1594485" h="2399029">
                <a:moveTo>
                  <a:pt x="0" y="2398440"/>
                </a:moveTo>
                <a:lnTo>
                  <a:pt x="1593951" y="2398440"/>
                </a:lnTo>
                <a:lnTo>
                  <a:pt x="1593951" y="0"/>
                </a:lnTo>
                <a:lnTo>
                  <a:pt x="0" y="0"/>
                </a:lnTo>
                <a:lnTo>
                  <a:pt x="0" y="2398440"/>
                </a:lnTo>
                <a:close/>
              </a:path>
            </a:pathLst>
          </a:custGeom>
          <a:solidFill>
            <a:srgbClr val="5A5A5A"/>
          </a:solidFill>
        </p:spPr>
        <p:txBody>
          <a:bodyPr wrap="square" lIns="0" tIns="0" rIns="0" bIns="0" rtlCol="0"/>
          <a:lstStyle/>
          <a:p>
            <a:endParaRPr/>
          </a:p>
        </p:txBody>
      </p:sp>
      <p:sp>
        <p:nvSpPr>
          <p:cNvPr id="25" name="object 25"/>
          <p:cNvSpPr/>
          <p:nvPr/>
        </p:nvSpPr>
        <p:spPr>
          <a:xfrm>
            <a:off x="2108510" y="2621099"/>
            <a:ext cx="145565" cy="35522"/>
          </a:xfrm>
          <a:custGeom>
            <a:avLst/>
            <a:gdLst/>
            <a:ahLst/>
            <a:cxnLst/>
            <a:rect l="l" t="t" r="r" b="b"/>
            <a:pathLst>
              <a:path w="320039" h="78104">
                <a:moveTo>
                  <a:pt x="280839" y="0"/>
                </a:moveTo>
                <a:lnTo>
                  <a:pt x="38909" y="0"/>
                </a:lnTo>
                <a:lnTo>
                  <a:pt x="23823" y="3052"/>
                </a:lnTo>
                <a:lnTo>
                  <a:pt x="11448" y="11364"/>
                </a:lnTo>
                <a:lnTo>
                  <a:pt x="3077" y="23672"/>
                </a:lnTo>
                <a:lnTo>
                  <a:pt x="0" y="38710"/>
                </a:lnTo>
                <a:lnTo>
                  <a:pt x="3077" y="53758"/>
                </a:lnTo>
                <a:lnTo>
                  <a:pt x="11448" y="66106"/>
                </a:lnTo>
                <a:lnTo>
                  <a:pt x="23823" y="74463"/>
                </a:lnTo>
                <a:lnTo>
                  <a:pt x="38909" y="77536"/>
                </a:lnTo>
                <a:lnTo>
                  <a:pt x="280839" y="77536"/>
                </a:lnTo>
                <a:lnTo>
                  <a:pt x="295929" y="74463"/>
                </a:lnTo>
                <a:lnTo>
                  <a:pt x="308299" y="66106"/>
                </a:lnTo>
                <a:lnTo>
                  <a:pt x="316664" y="53758"/>
                </a:lnTo>
                <a:lnTo>
                  <a:pt x="319738" y="38710"/>
                </a:lnTo>
                <a:lnTo>
                  <a:pt x="316664" y="23672"/>
                </a:lnTo>
                <a:lnTo>
                  <a:pt x="308299" y="11364"/>
                </a:lnTo>
                <a:lnTo>
                  <a:pt x="295929" y="3052"/>
                </a:lnTo>
                <a:lnTo>
                  <a:pt x="280839" y="0"/>
                </a:lnTo>
                <a:close/>
              </a:path>
            </a:pathLst>
          </a:custGeom>
          <a:solidFill>
            <a:srgbClr val="626A76"/>
          </a:solidFill>
        </p:spPr>
        <p:txBody>
          <a:bodyPr wrap="square" lIns="0" tIns="0" rIns="0" bIns="0" rtlCol="0"/>
          <a:lstStyle/>
          <a:p>
            <a:endParaRPr/>
          </a:p>
        </p:txBody>
      </p:sp>
      <p:sp>
        <p:nvSpPr>
          <p:cNvPr id="26" name="object 26"/>
          <p:cNvSpPr/>
          <p:nvPr/>
        </p:nvSpPr>
        <p:spPr>
          <a:xfrm>
            <a:off x="2088379" y="4119558"/>
            <a:ext cx="185710" cy="52273"/>
          </a:xfrm>
          <a:custGeom>
            <a:avLst/>
            <a:gdLst/>
            <a:ahLst/>
            <a:cxnLst/>
            <a:rect l="l" t="t" r="r" b="b"/>
            <a:pathLst>
              <a:path w="408304" h="114934">
                <a:moveTo>
                  <a:pt x="358596" y="0"/>
                </a:moveTo>
                <a:lnTo>
                  <a:pt x="49673" y="0"/>
                </a:lnTo>
                <a:lnTo>
                  <a:pt x="30413" y="4500"/>
                </a:lnTo>
                <a:lnTo>
                  <a:pt x="14616" y="16758"/>
                </a:lnTo>
                <a:lnTo>
                  <a:pt x="3928" y="34906"/>
                </a:lnTo>
                <a:lnTo>
                  <a:pt x="0" y="57076"/>
                </a:lnTo>
                <a:lnTo>
                  <a:pt x="3928" y="79264"/>
                </a:lnTo>
                <a:lnTo>
                  <a:pt x="14616" y="97470"/>
                </a:lnTo>
                <a:lnTo>
                  <a:pt x="30413" y="109791"/>
                </a:lnTo>
                <a:lnTo>
                  <a:pt x="49673" y="114321"/>
                </a:lnTo>
                <a:lnTo>
                  <a:pt x="358596" y="114321"/>
                </a:lnTo>
                <a:lnTo>
                  <a:pt x="377863" y="109791"/>
                </a:lnTo>
                <a:lnTo>
                  <a:pt x="393656" y="97470"/>
                </a:lnTo>
                <a:lnTo>
                  <a:pt x="404335" y="79264"/>
                </a:lnTo>
                <a:lnTo>
                  <a:pt x="408259" y="57076"/>
                </a:lnTo>
                <a:lnTo>
                  <a:pt x="404335" y="34906"/>
                </a:lnTo>
                <a:lnTo>
                  <a:pt x="393656" y="16758"/>
                </a:lnTo>
                <a:lnTo>
                  <a:pt x="377863" y="4500"/>
                </a:lnTo>
                <a:lnTo>
                  <a:pt x="358596" y="0"/>
                </a:lnTo>
                <a:close/>
              </a:path>
            </a:pathLst>
          </a:custGeom>
          <a:solidFill>
            <a:srgbClr val="FF7900"/>
          </a:solidFill>
        </p:spPr>
        <p:txBody>
          <a:bodyPr wrap="square" lIns="0" tIns="0" rIns="0" bIns="0" rtlCol="0"/>
          <a:lstStyle/>
          <a:p>
            <a:endParaRPr/>
          </a:p>
        </p:txBody>
      </p:sp>
      <p:sp>
        <p:nvSpPr>
          <p:cNvPr id="27" name="object 27"/>
          <p:cNvSpPr/>
          <p:nvPr/>
        </p:nvSpPr>
        <p:spPr>
          <a:xfrm>
            <a:off x="1856837" y="3287404"/>
            <a:ext cx="273222" cy="0"/>
          </a:xfrm>
          <a:custGeom>
            <a:avLst/>
            <a:gdLst/>
            <a:ahLst/>
            <a:cxnLst/>
            <a:rect l="l" t="t" r="r" b="b"/>
            <a:pathLst>
              <a:path w="600710">
                <a:moveTo>
                  <a:pt x="0" y="0"/>
                </a:moveTo>
                <a:lnTo>
                  <a:pt x="600463" y="0"/>
                </a:lnTo>
              </a:path>
            </a:pathLst>
          </a:custGeom>
          <a:ln w="30512">
            <a:solidFill>
              <a:srgbClr val="FFFFFF"/>
            </a:solidFill>
          </a:ln>
        </p:spPr>
        <p:txBody>
          <a:bodyPr wrap="square" lIns="0" tIns="0" rIns="0" bIns="0" rtlCol="0"/>
          <a:lstStyle/>
          <a:p>
            <a:endParaRPr/>
          </a:p>
        </p:txBody>
      </p:sp>
      <p:sp>
        <p:nvSpPr>
          <p:cNvPr id="28" name="object 28"/>
          <p:cNvSpPr/>
          <p:nvPr/>
        </p:nvSpPr>
        <p:spPr>
          <a:xfrm>
            <a:off x="1856832" y="3314348"/>
            <a:ext cx="178201" cy="0"/>
          </a:xfrm>
          <a:custGeom>
            <a:avLst/>
            <a:gdLst/>
            <a:ahLst/>
            <a:cxnLst/>
            <a:rect l="l" t="t" r="r" b="b"/>
            <a:pathLst>
              <a:path w="391795">
                <a:moveTo>
                  <a:pt x="0" y="0"/>
                </a:moveTo>
                <a:lnTo>
                  <a:pt x="391338" y="0"/>
                </a:lnTo>
              </a:path>
            </a:pathLst>
          </a:custGeom>
          <a:ln w="30512">
            <a:solidFill>
              <a:srgbClr val="FFFFFF"/>
            </a:solidFill>
          </a:ln>
        </p:spPr>
        <p:txBody>
          <a:bodyPr wrap="square" lIns="0" tIns="0" rIns="0" bIns="0" rtlCol="0"/>
          <a:lstStyle/>
          <a:p>
            <a:endParaRPr/>
          </a:p>
        </p:txBody>
      </p:sp>
      <p:sp>
        <p:nvSpPr>
          <p:cNvPr id="29" name="object 29"/>
          <p:cNvSpPr/>
          <p:nvPr/>
        </p:nvSpPr>
        <p:spPr>
          <a:xfrm>
            <a:off x="1856832" y="3341285"/>
            <a:ext cx="222679" cy="0"/>
          </a:xfrm>
          <a:custGeom>
            <a:avLst/>
            <a:gdLst/>
            <a:ahLst/>
            <a:cxnLst/>
            <a:rect l="l" t="t" r="r" b="b"/>
            <a:pathLst>
              <a:path w="489585">
                <a:moveTo>
                  <a:pt x="0" y="0"/>
                </a:moveTo>
                <a:lnTo>
                  <a:pt x="489168" y="0"/>
                </a:lnTo>
              </a:path>
            </a:pathLst>
          </a:custGeom>
          <a:ln w="30522">
            <a:solidFill>
              <a:srgbClr val="FFFFFF"/>
            </a:solidFill>
          </a:ln>
        </p:spPr>
        <p:txBody>
          <a:bodyPr wrap="square" lIns="0" tIns="0" rIns="0" bIns="0" rtlCol="0"/>
          <a:lstStyle/>
          <a:p>
            <a:endParaRPr/>
          </a:p>
        </p:txBody>
      </p:sp>
      <p:sp>
        <p:nvSpPr>
          <p:cNvPr id="30" name="object 30"/>
          <p:cNvSpPr/>
          <p:nvPr/>
        </p:nvSpPr>
        <p:spPr>
          <a:xfrm>
            <a:off x="2216358" y="3287404"/>
            <a:ext cx="229033" cy="0"/>
          </a:xfrm>
          <a:custGeom>
            <a:avLst/>
            <a:gdLst/>
            <a:ahLst/>
            <a:cxnLst/>
            <a:rect l="l" t="t" r="r" b="b"/>
            <a:pathLst>
              <a:path w="503554">
                <a:moveTo>
                  <a:pt x="0" y="0"/>
                </a:moveTo>
                <a:lnTo>
                  <a:pt x="503534" y="0"/>
                </a:lnTo>
              </a:path>
            </a:pathLst>
          </a:custGeom>
          <a:ln w="30512">
            <a:solidFill>
              <a:srgbClr val="FFFFFF"/>
            </a:solidFill>
          </a:ln>
        </p:spPr>
        <p:txBody>
          <a:bodyPr wrap="square" lIns="0" tIns="0" rIns="0" bIns="0" rtlCol="0"/>
          <a:lstStyle/>
          <a:p>
            <a:endParaRPr/>
          </a:p>
        </p:txBody>
      </p:sp>
      <p:sp>
        <p:nvSpPr>
          <p:cNvPr id="31" name="object 31"/>
          <p:cNvSpPr/>
          <p:nvPr/>
        </p:nvSpPr>
        <p:spPr>
          <a:xfrm>
            <a:off x="2216358" y="3314348"/>
            <a:ext cx="261381" cy="0"/>
          </a:xfrm>
          <a:custGeom>
            <a:avLst/>
            <a:gdLst/>
            <a:ahLst/>
            <a:cxnLst/>
            <a:rect l="l" t="t" r="r" b="b"/>
            <a:pathLst>
              <a:path w="574675">
                <a:moveTo>
                  <a:pt x="0" y="0"/>
                </a:moveTo>
                <a:lnTo>
                  <a:pt x="574443" y="0"/>
                </a:lnTo>
              </a:path>
            </a:pathLst>
          </a:custGeom>
          <a:ln w="30512">
            <a:solidFill>
              <a:srgbClr val="FFFFFF"/>
            </a:solidFill>
          </a:ln>
        </p:spPr>
        <p:txBody>
          <a:bodyPr wrap="square" lIns="0" tIns="0" rIns="0" bIns="0" rtlCol="0"/>
          <a:lstStyle/>
          <a:p>
            <a:endParaRPr/>
          </a:p>
        </p:txBody>
      </p:sp>
      <p:sp>
        <p:nvSpPr>
          <p:cNvPr id="32" name="object 32"/>
          <p:cNvSpPr/>
          <p:nvPr/>
        </p:nvSpPr>
        <p:spPr>
          <a:xfrm>
            <a:off x="2216353" y="3341285"/>
            <a:ext cx="166360" cy="0"/>
          </a:xfrm>
          <a:custGeom>
            <a:avLst/>
            <a:gdLst/>
            <a:ahLst/>
            <a:cxnLst/>
            <a:rect l="l" t="t" r="r" b="b"/>
            <a:pathLst>
              <a:path w="365760">
                <a:moveTo>
                  <a:pt x="0" y="0"/>
                </a:moveTo>
                <a:lnTo>
                  <a:pt x="365308" y="0"/>
                </a:lnTo>
              </a:path>
            </a:pathLst>
          </a:custGeom>
          <a:ln w="30522">
            <a:solidFill>
              <a:srgbClr val="FFFFFF"/>
            </a:solidFill>
          </a:ln>
        </p:spPr>
        <p:txBody>
          <a:bodyPr wrap="square" lIns="0" tIns="0" rIns="0" bIns="0" rtlCol="0"/>
          <a:lstStyle/>
          <a:p>
            <a:endParaRPr/>
          </a:p>
        </p:txBody>
      </p:sp>
      <p:sp>
        <p:nvSpPr>
          <p:cNvPr id="33" name="object 33"/>
          <p:cNvSpPr/>
          <p:nvPr/>
        </p:nvSpPr>
        <p:spPr>
          <a:xfrm>
            <a:off x="1856837" y="3704284"/>
            <a:ext cx="273222" cy="0"/>
          </a:xfrm>
          <a:custGeom>
            <a:avLst/>
            <a:gdLst/>
            <a:ahLst/>
            <a:cxnLst/>
            <a:rect l="l" t="t" r="r" b="b"/>
            <a:pathLst>
              <a:path w="600710">
                <a:moveTo>
                  <a:pt x="0" y="0"/>
                </a:moveTo>
                <a:lnTo>
                  <a:pt x="600463" y="0"/>
                </a:lnTo>
              </a:path>
            </a:pathLst>
          </a:custGeom>
          <a:ln w="30512">
            <a:solidFill>
              <a:srgbClr val="FFFFFF"/>
            </a:solidFill>
          </a:ln>
        </p:spPr>
        <p:txBody>
          <a:bodyPr wrap="square" lIns="0" tIns="0" rIns="0" bIns="0" rtlCol="0"/>
          <a:lstStyle/>
          <a:p>
            <a:endParaRPr/>
          </a:p>
        </p:txBody>
      </p:sp>
      <p:sp>
        <p:nvSpPr>
          <p:cNvPr id="34" name="object 34"/>
          <p:cNvSpPr/>
          <p:nvPr/>
        </p:nvSpPr>
        <p:spPr>
          <a:xfrm>
            <a:off x="1856837" y="3731228"/>
            <a:ext cx="214881" cy="0"/>
          </a:xfrm>
          <a:custGeom>
            <a:avLst/>
            <a:gdLst/>
            <a:ahLst/>
            <a:cxnLst/>
            <a:rect l="l" t="t" r="r" b="b"/>
            <a:pathLst>
              <a:path w="472439">
                <a:moveTo>
                  <a:pt x="0" y="0"/>
                </a:moveTo>
                <a:lnTo>
                  <a:pt x="472111" y="0"/>
                </a:lnTo>
              </a:path>
            </a:pathLst>
          </a:custGeom>
          <a:ln w="30512">
            <a:solidFill>
              <a:srgbClr val="FFFFFF"/>
            </a:solidFill>
          </a:ln>
        </p:spPr>
        <p:txBody>
          <a:bodyPr wrap="square" lIns="0" tIns="0" rIns="0" bIns="0" rtlCol="0"/>
          <a:lstStyle/>
          <a:p>
            <a:endParaRPr/>
          </a:p>
        </p:txBody>
      </p:sp>
      <p:sp>
        <p:nvSpPr>
          <p:cNvPr id="35" name="object 35"/>
          <p:cNvSpPr/>
          <p:nvPr/>
        </p:nvSpPr>
        <p:spPr>
          <a:xfrm>
            <a:off x="1856832" y="3758168"/>
            <a:ext cx="151630" cy="0"/>
          </a:xfrm>
          <a:custGeom>
            <a:avLst/>
            <a:gdLst/>
            <a:ahLst/>
            <a:cxnLst/>
            <a:rect l="l" t="t" r="r" b="b"/>
            <a:pathLst>
              <a:path w="333375">
                <a:moveTo>
                  <a:pt x="0" y="0"/>
                </a:moveTo>
                <a:lnTo>
                  <a:pt x="332995" y="0"/>
                </a:lnTo>
              </a:path>
            </a:pathLst>
          </a:custGeom>
          <a:ln w="30512">
            <a:solidFill>
              <a:srgbClr val="FFFFFF"/>
            </a:solidFill>
          </a:ln>
        </p:spPr>
        <p:txBody>
          <a:bodyPr wrap="square" lIns="0" tIns="0" rIns="0" bIns="0" rtlCol="0"/>
          <a:lstStyle/>
          <a:p>
            <a:endParaRPr/>
          </a:p>
        </p:txBody>
      </p:sp>
      <p:sp>
        <p:nvSpPr>
          <p:cNvPr id="36" name="object 36"/>
          <p:cNvSpPr/>
          <p:nvPr/>
        </p:nvSpPr>
        <p:spPr>
          <a:xfrm>
            <a:off x="2216358" y="3704284"/>
            <a:ext cx="273222" cy="0"/>
          </a:xfrm>
          <a:custGeom>
            <a:avLst/>
            <a:gdLst/>
            <a:ahLst/>
            <a:cxnLst/>
            <a:rect l="l" t="t" r="r" b="b"/>
            <a:pathLst>
              <a:path w="600710">
                <a:moveTo>
                  <a:pt x="0" y="0"/>
                </a:moveTo>
                <a:lnTo>
                  <a:pt x="600463" y="0"/>
                </a:lnTo>
              </a:path>
            </a:pathLst>
          </a:custGeom>
          <a:ln w="30512">
            <a:solidFill>
              <a:srgbClr val="FFFFFF"/>
            </a:solidFill>
          </a:ln>
        </p:spPr>
        <p:txBody>
          <a:bodyPr wrap="square" lIns="0" tIns="0" rIns="0" bIns="0" rtlCol="0"/>
          <a:lstStyle/>
          <a:p>
            <a:endParaRPr/>
          </a:p>
        </p:txBody>
      </p:sp>
      <p:sp>
        <p:nvSpPr>
          <p:cNvPr id="37" name="object 37"/>
          <p:cNvSpPr/>
          <p:nvPr/>
        </p:nvSpPr>
        <p:spPr>
          <a:xfrm>
            <a:off x="2216358" y="3731228"/>
            <a:ext cx="190332" cy="0"/>
          </a:xfrm>
          <a:custGeom>
            <a:avLst/>
            <a:gdLst/>
            <a:ahLst/>
            <a:cxnLst/>
            <a:rect l="l" t="t" r="r" b="b"/>
            <a:pathLst>
              <a:path w="418464">
                <a:moveTo>
                  <a:pt x="0" y="0"/>
                </a:moveTo>
                <a:lnTo>
                  <a:pt x="418269" y="0"/>
                </a:lnTo>
              </a:path>
            </a:pathLst>
          </a:custGeom>
          <a:ln w="30512">
            <a:solidFill>
              <a:srgbClr val="FFFFFF"/>
            </a:solidFill>
          </a:ln>
        </p:spPr>
        <p:txBody>
          <a:bodyPr wrap="square" lIns="0" tIns="0" rIns="0" bIns="0" rtlCol="0"/>
          <a:lstStyle/>
          <a:p>
            <a:endParaRPr/>
          </a:p>
        </p:txBody>
      </p:sp>
      <p:sp>
        <p:nvSpPr>
          <p:cNvPr id="38" name="object 38"/>
          <p:cNvSpPr/>
          <p:nvPr/>
        </p:nvSpPr>
        <p:spPr>
          <a:xfrm>
            <a:off x="2216358" y="3758168"/>
            <a:ext cx="249539" cy="0"/>
          </a:xfrm>
          <a:custGeom>
            <a:avLst/>
            <a:gdLst/>
            <a:ahLst/>
            <a:cxnLst/>
            <a:rect l="l" t="t" r="r" b="b"/>
            <a:pathLst>
              <a:path w="548639">
                <a:moveTo>
                  <a:pt x="0" y="0"/>
                </a:moveTo>
                <a:lnTo>
                  <a:pt x="548402" y="0"/>
                </a:lnTo>
              </a:path>
            </a:pathLst>
          </a:custGeom>
          <a:ln w="30512">
            <a:solidFill>
              <a:srgbClr val="FFFFFF"/>
            </a:solidFill>
          </a:ln>
        </p:spPr>
        <p:txBody>
          <a:bodyPr wrap="square" lIns="0" tIns="0" rIns="0" bIns="0" rtlCol="0"/>
          <a:lstStyle/>
          <a:p>
            <a:endParaRPr/>
          </a:p>
        </p:txBody>
      </p:sp>
      <p:sp>
        <p:nvSpPr>
          <p:cNvPr id="39" name="object 39"/>
          <p:cNvSpPr/>
          <p:nvPr/>
        </p:nvSpPr>
        <p:spPr>
          <a:xfrm>
            <a:off x="1818737" y="2739993"/>
            <a:ext cx="725224" cy="196094"/>
          </a:xfrm>
          <a:custGeom>
            <a:avLst/>
            <a:gdLst/>
            <a:ahLst/>
            <a:cxnLst/>
            <a:rect l="l" t="t" r="r" b="b"/>
            <a:pathLst>
              <a:path w="1594485" h="431164">
                <a:moveTo>
                  <a:pt x="1593951" y="430835"/>
                </a:moveTo>
                <a:lnTo>
                  <a:pt x="0" y="430835"/>
                </a:lnTo>
                <a:lnTo>
                  <a:pt x="0" y="0"/>
                </a:lnTo>
                <a:lnTo>
                  <a:pt x="1593951" y="0"/>
                </a:lnTo>
                <a:lnTo>
                  <a:pt x="1593951" y="430835"/>
                </a:lnTo>
                <a:close/>
              </a:path>
            </a:pathLst>
          </a:custGeom>
          <a:solidFill>
            <a:srgbClr val="FF7900"/>
          </a:solidFill>
        </p:spPr>
        <p:txBody>
          <a:bodyPr wrap="square" lIns="0" tIns="0" rIns="0" bIns="0" rtlCol="0"/>
          <a:lstStyle/>
          <a:p>
            <a:endParaRPr/>
          </a:p>
        </p:txBody>
      </p:sp>
      <p:sp>
        <p:nvSpPr>
          <p:cNvPr id="40" name="object 40"/>
          <p:cNvSpPr/>
          <p:nvPr/>
        </p:nvSpPr>
        <p:spPr>
          <a:xfrm>
            <a:off x="1873825" y="2781040"/>
            <a:ext cx="141810" cy="117829"/>
          </a:xfrm>
          <a:custGeom>
            <a:avLst/>
            <a:gdLst/>
            <a:ahLst/>
            <a:cxnLst/>
            <a:rect l="l" t="t" r="r" b="b"/>
            <a:pathLst>
              <a:path w="311785" h="259079">
                <a:moveTo>
                  <a:pt x="155848" y="0"/>
                </a:moveTo>
                <a:lnTo>
                  <a:pt x="92355" y="9840"/>
                </a:lnTo>
                <a:lnTo>
                  <a:pt x="48187" y="31491"/>
                </a:lnTo>
                <a:lnTo>
                  <a:pt x="22387" y="53141"/>
                </a:lnTo>
                <a:lnTo>
                  <a:pt x="13999" y="62982"/>
                </a:lnTo>
                <a:lnTo>
                  <a:pt x="297697" y="62982"/>
                </a:lnTo>
                <a:lnTo>
                  <a:pt x="287354" y="48982"/>
                </a:lnTo>
                <a:lnTo>
                  <a:pt x="148110" y="48982"/>
                </a:lnTo>
                <a:lnTo>
                  <a:pt x="141859" y="42721"/>
                </a:lnTo>
                <a:lnTo>
                  <a:pt x="141859" y="27276"/>
                </a:lnTo>
                <a:lnTo>
                  <a:pt x="148110" y="20994"/>
                </a:lnTo>
                <a:lnTo>
                  <a:pt x="263715" y="20994"/>
                </a:lnTo>
                <a:lnTo>
                  <a:pt x="247053" y="7872"/>
                </a:lnTo>
                <a:lnTo>
                  <a:pt x="213170" y="984"/>
                </a:lnTo>
                <a:lnTo>
                  <a:pt x="155848" y="0"/>
                </a:lnTo>
                <a:close/>
              </a:path>
              <a:path w="311785" h="259079">
                <a:moveTo>
                  <a:pt x="263715" y="20994"/>
                </a:moveTo>
                <a:lnTo>
                  <a:pt x="163586" y="20994"/>
                </a:lnTo>
                <a:lnTo>
                  <a:pt x="169848" y="27276"/>
                </a:lnTo>
                <a:lnTo>
                  <a:pt x="169848" y="42721"/>
                </a:lnTo>
                <a:lnTo>
                  <a:pt x="163586" y="48982"/>
                </a:lnTo>
                <a:lnTo>
                  <a:pt x="287354" y="48982"/>
                </a:lnTo>
                <a:lnTo>
                  <a:pt x="270796" y="26570"/>
                </a:lnTo>
                <a:lnTo>
                  <a:pt x="263715" y="20994"/>
                </a:lnTo>
                <a:close/>
              </a:path>
              <a:path w="311785" h="259079">
                <a:moveTo>
                  <a:pt x="304692" y="83850"/>
                </a:moveTo>
                <a:lnTo>
                  <a:pt x="6994" y="83850"/>
                </a:lnTo>
                <a:lnTo>
                  <a:pt x="6994" y="93159"/>
                </a:lnTo>
                <a:lnTo>
                  <a:pt x="8868" y="95033"/>
                </a:lnTo>
                <a:lnTo>
                  <a:pt x="302818" y="95033"/>
                </a:lnTo>
                <a:lnTo>
                  <a:pt x="304692" y="93159"/>
                </a:lnTo>
                <a:lnTo>
                  <a:pt x="304692" y="83850"/>
                </a:lnTo>
                <a:close/>
              </a:path>
              <a:path w="311785" h="259079">
                <a:moveTo>
                  <a:pt x="309812" y="67055"/>
                </a:moveTo>
                <a:lnTo>
                  <a:pt x="1884" y="67055"/>
                </a:lnTo>
                <a:lnTo>
                  <a:pt x="0" y="68929"/>
                </a:lnTo>
                <a:lnTo>
                  <a:pt x="0" y="81955"/>
                </a:lnTo>
                <a:lnTo>
                  <a:pt x="1884" y="83850"/>
                </a:lnTo>
                <a:lnTo>
                  <a:pt x="309812" y="83850"/>
                </a:lnTo>
                <a:lnTo>
                  <a:pt x="311697" y="81955"/>
                </a:lnTo>
                <a:lnTo>
                  <a:pt x="311697" y="68929"/>
                </a:lnTo>
                <a:lnTo>
                  <a:pt x="309812" y="67055"/>
                </a:lnTo>
                <a:close/>
              </a:path>
              <a:path w="311785" h="259079">
                <a:moveTo>
                  <a:pt x="294483" y="211061"/>
                </a:moveTo>
                <a:lnTo>
                  <a:pt x="252494" y="211061"/>
                </a:lnTo>
                <a:lnTo>
                  <a:pt x="252494" y="225050"/>
                </a:lnTo>
                <a:lnTo>
                  <a:pt x="294483" y="225050"/>
                </a:lnTo>
                <a:lnTo>
                  <a:pt x="294483" y="211061"/>
                </a:lnTo>
                <a:close/>
              </a:path>
              <a:path w="311785" h="259079">
                <a:moveTo>
                  <a:pt x="291676" y="204077"/>
                </a:moveTo>
                <a:lnTo>
                  <a:pt x="255290" y="204077"/>
                </a:lnTo>
                <a:lnTo>
                  <a:pt x="255290" y="211061"/>
                </a:lnTo>
                <a:lnTo>
                  <a:pt x="291676" y="211061"/>
                </a:lnTo>
                <a:lnTo>
                  <a:pt x="291676" y="204077"/>
                </a:lnTo>
                <a:close/>
              </a:path>
              <a:path w="311785" h="259079">
                <a:moveTo>
                  <a:pt x="287478" y="113106"/>
                </a:moveTo>
                <a:lnTo>
                  <a:pt x="259489" y="113106"/>
                </a:lnTo>
                <a:lnTo>
                  <a:pt x="259489" y="204077"/>
                </a:lnTo>
                <a:lnTo>
                  <a:pt x="287478" y="204077"/>
                </a:lnTo>
                <a:lnTo>
                  <a:pt x="287478" y="113106"/>
                </a:lnTo>
                <a:close/>
              </a:path>
              <a:path w="311785" h="259079">
                <a:moveTo>
                  <a:pt x="291676" y="106101"/>
                </a:moveTo>
                <a:lnTo>
                  <a:pt x="255290" y="106101"/>
                </a:lnTo>
                <a:lnTo>
                  <a:pt x="255290" y="113106"/>
                </a:lnTo>
                <a:lnTo>
                  <a:pt x="291676" y="113106"/>
                </a:lnTo>
                <a:lnTo>
                  <a:pt x="291676" y="106101"/>
                </a:lnTo>
                <a:close/>
              </a:path>
              <a:path w="311785" h="259079">
                <a:moveTo>
                  <a:pt x="294483" y="99106"/>
                </a:moveTo>
                <a:lnTo>
                  <a:pt x="252494" y="99106"/>
                </a:lnTo>
                <a:lnTo>
                  <a:pt x="252494" y="106101"/>
                </a:lnTo>
                <a:lnTo>
                  <a:pt x="294483" y="106101"/>
                </a:lnTo>
                <a:lnTo>
                  <a:pt x="294483" y="99106"/>
                </a:lnTo>
                <a:close/>
              </a:path>
              <a:path w="311785" h="259079">
                <a:moveTo>
                  <a:pt x="176842" y="211061"/>
                </a:moveTo>
                <a:lnTo>
                  <a:pt x="134865" y="211061"/>
                </a:lnTo>
                <a:lnTo>
                  <a:pt x="134865" y="225050"/>
                </a:lnTo>
                <a:lnTo>
                  <a:pt x="176842" y="225050"/>
                </a:lnTo>
                <a:lnTo>
                  <a:pt x="176842" y="211061"/>
                </a:lnTo>
                <a:close/>
              </a:path>
              <a:path w="311785" h="259079">
                <a:moveTo>
                  <a:pt x="174047" y="204077"/>
                </a:moveTo>
                <a:lnTo>
                  <a:pt x="137660" y="204077"/>
                </a:lnTo>
                <a:lnTo>
                  <a:pt x="137660" y="211061"/>
                </a:lnTo>
                <a:lnTo>
                  <a:pt x="174047" y="211061"/>
                </a:lnTo>
                <a:lnTo>
                  <a:pt x="174047" y="204077"/>
                </a:lnTo>
                <a:close/>
              </a:path>
              <a:path w="311785" h="259079">
                <a:moveTo>
                  <a:pt x="169848" y="113106"/>
                </a:moveTo>
                <a:lnTo>
                  <a:pt x="141859" y="113106"/>
                </a:lnTo>
                <a:lnTo>
                  <a:pt x="141859" y="204077"/>
                </a:lnTo>
                <a:lnTo>
                  <a:pt x="169848" y="204077"/>
                </a:lnTo>
                <a:lnTo>
                  <a:pt x="169848" y="113106"/>
                </a:lnTo>
                <a:close/>
              </a:path>
              <a:path w="311785" h="259079">
                <a:moveTo>
                  <a:pt x="174047" y="106101"/>
                </a:moveTo>
                <a:lnTo>
                  <a:pt x="137660" y="106101"/>
                </a:lnTo>
                <a:lnTo>
                  <a:pt x="137660" y="113106"/>
                </a:lnTo>
                <a:lnTo>
                  <a:pt x="174047" y="113106"/>
                </a:lnTo>
                <a:lnTo>
                  <a:pt x="174047" y="106101"/>
                </a:lnTo>
                <a:close/>
              </a:path>
              <a:path w="311785" h="259079">
                <a:moveTo>
                  <a:pt x="176842" y="99106"/>
                </a:moveTo>
                <a:lnTo>
                  <a:pt x="134865" y="99106"/>
                </a:lnTo>
                <a:lnTo>
                  <a:pt x="134865" y="106101"/>
                </a:lnTo>
                <a:lnTo>
                  <a:pt x="176842" y="106101"/>
                </a:lnTo>
                <a:lnTo>
                  <a:pt x="176842" y="99106"/>
                </a:lnTo>
                <a:close/>
              </a:path>
              <a:path w="311785" h="259079">
                <a:moveTo>
                  <a:pt x="235668" y="211061"/>
                </a:moveTo>
                <a:lnTo>
                  <a:pt x="193679" y="211061"/>
                </a:lnTo>
                <a:lnTo>
                  <a:pt x="193679" y="225050"/>
                </a:lnTo>
                <a:lnTo>
                  <a:pt x="235668" y="225050"/>
                </a:lnTo>
                <a:lnTo>
                  <a:pt x="235668" y="211061"/>
                </a:lnTo>
                <a:close/>
              </a:path>
              <a:path w="311785" h="259079">
                <a:moveTo>
                  <a:pt x="232862" y="204077"/>
                </a:moveTo>
                <a:lnTo>
                  <a:pt x="196475" y="204077"/>
                </a:lnTo>
                <a:lnTo>
                  <a:pt x="196475" y="211061"/>
                </a:lnTo>
                <a:lnTo>
                  <a:pt x="232862" y="211061"/>
                </a:lnTo>
                <a:lnTo>
                  <a:pt x="232862" y="204077"/>
                </a:lnTo>
                <a:close/>
              </a:path>
              <a:path w="311785" h="259079">
                <a:moveTo>
                  <a:pt x="228663" y="113106"/>
                </a:moveTo>
                <a:lnTo>
                  <a:pt x="200674" y="113106"/>
                </a:lnTo>
                <a:lnTo>
                  <a:pt x="200674" y="204077"/>
                </a:lnTo>
                <a:lnTo>
                  <a:pt x="228663" y="204077"/>
                </a:lnTo>
                <a:lnTo>
                  <a:pt x="228663" y="113106"/>
                </a:lnTo>
                <a:close/>
              </a:path>
              <a:path w="311785" h="259079">
                <a:moveTo>
                  <a:pt x="232862" y="106101"/>
                </a:moveTo>
                <a:lnTo>
                  <a:pt x="196475" y="106101"/>
                </a:lnTo>
                <a:lnTo>
                  <a:pt x="196475" y="113106"/>
                </a:lnTo>
                <a:lnTo>
                  <a:pt x="232862" y="113106"/>
                </a:lnTo>
                <a:lnTo>
                  <a:pt x="232862" y="106101"/>
                </a:lnTo>
                <a:close/>
              </a:path>
              <a:path w="311785" h="259079">
                <a:moveTo>
                  <a:pt x="235668" y="99106"/>
                </a:moveTo>
                <a:lnTo>
                  <a:pt x="193679" y="99106"/>
                </a:lnTo>
                <a:lnTo>
                  <a:pt x="193679" y="106101"/>
                </a:lnTo>
                <a:lnTo>
                  <a:pt x="235668" y="106101"/>
                </a:lnTo>
                <a:lnTo>
                  <a:pt x="235668" y="99106"/>
                </a:lnTo>
                <a:close/>
              </a:path>
              <a:path w="311785" h="259079">
                <a:moveTo>
                  <a:pt x="59202" y="211061"/>
                </a:moveTo>
                <a:lnTo>
                  <a:pt x="17214" y="211061"/>
                </a:lnTo>
                <a:lnTo>
                  <a:pt x="17214" y="225050"/>
                </a:lnTo>
                <a:lnTo>
                  <a:pt x="59202" y="225050"/>
                </a:lnTo>
                <a:lnTo>
                  <a:pt x="59202" y="211061"/>
                </a:lnTo>
                <a:close/>
              </a:path>
              <a:path w="311785" h="259079">
                <a:moveTo>
                  <a:pt x="56396" y="204077"/>
                </a:moveTo>
                <a:lnTo>
                  <a:pt x="20020" y="204077"/>
                </a:lnTo>
                <a:lnTo>
                  <a:pt x="20020" y="211061"/>
                </a:lnTo>
                <a:lnTo>
                  <a:pt x="56396" y="211061"/>
                </a:lnTo>
                <a:lnTo>
                  <a:pt x="56396" y="204077"/>
                </a:lnTo>
                <a:close/>
              </a:path>
              <a:path w="311785" h="259079">
                <a:moveTo>
                  <a:pt x="52207" y="113106"/>
                </a:moveTo>
                <a:lnTo>
                  <a:pt x="24219" y="113106"/>
                </a:lnTo>
                <a:lnTo>
                  <a:pt x="24219" y="204077"/>
                </a:lnTo>
                <a:lnTo>
                  <a:pt x="52207" y="204077"/>
                </a:lnTo>
                <a:lnTo>
                  <a:pt x="52207" y="113106"/>
                </a:lnTo>
                <a:close/>
              </a:path>
              <a:path w="311785" h="259079">
                <a:moveTo>
                  <a:pt x="56396" y="106101"/>
                </a:moveTo>
                <a:lnTo>
                  <a:pt x="20020" y="106101"/>
                </a:lnTo>
                <a:lnTo>
                  <a:pt x="20020" y="113106"/>
                </a:lnTo>
                <a:lnTo>
                  <a:pt x="56396" y="113106"/>
                </a:lnTo>
                <a:lnTo>
                  <a:pt x="56396" y="106101"/>
                </a:lnTo>
                <a:close/>
              </a:path>
              <a:path w="311785" h="259079">
                <a:moveTo>
                  <a:pt x="59202" y="99106"/>
                </a:moveTo>
                <a:lnTo>
                  <a:pt x="17214" y="99106"/>
                </a:lnTo>
                <a:lnTo>
                  <a:pt x="17214" y="106101"/>
                </a:lnTo>
                <a:lnTo>
                  <a:pt x="59202" y="106101"/>
                </a:lnTo>
                <a:lnTo>
                  <a:pt x="59202" y="99106"/>
                </a:lnTo>
                <a:close/>
              </a:path>
              <a:path w="311785" h="259079">
                <a:moveTo>
                  <a:pt x="118027" y="211061"/>
                </a:moveTo>
                <a:lnTo>
                  <a:pt x="76039" y="211061"/>
                </a:lnTo>
                <a:lnTo>
                  <a:pt x="76039" y="225050"/>
                </a:lnTo>
                <a:lnTo>
                  <a:pt x="118027" y="225050"/>
                </a:lnTo>
                <a:lnTo>
                  <a:pt x="118027" y="211061"/>
                </a:lnTo>
                <a:close/>
              </a:path>
              <a:path w="311785" h="259079">
                <a:moveTo>
                  <a:pt x="115232" y="204077"/>
                </a:moveTo>
                <a:lnTo>
                  <a:pt x="78835" y="204077"/>
                </a:lnTo>
                <a:lnTo>
                  <a:pt x="78835" y="211061"/>
                </a:lnTo>
                <a:lnTo>
                  <a:pt x="115232" y="211061"/>
                </a:lnTo>
                <a:lnTo>
                  <a:pt x="115232" y="204077"/>
                </a:lnTo>
                <a:close/>
              </a:path>
              <a:path w="311785" h="259079">
                <a:moveTo>
                  <a:pt x="111022" y="113106"/>
                </a:moveTo>
                <a:lnTo>
                  <a:pt x="83034" y="113106"/>
                </a:lnTo>
                <a:lnTo>
                  <a:pt x="83034" y="204077"/>
                </a:lnTo>
                <a:lnTo>
                  <a:pt x="111022" y="204077"/>
                </a:lnTo>
                <a:lnTo>
                  <a:pt x="111022" y="113106"/>
                </a:lnTo>
                <a:close/>
              </a:path>
              <a:path w="311785" h="259079">
                <a:moveTo>
                  <a:pt x="115232" y="106101"/>
                </a:moveTo>
                <a:lnTo>
                  <a:pt x="78835" y="106101"/>
                </a:lnTo>
                <a:lnTo>
                  <a:pt x="78835" y="113106"/>
                </a:lnTo>
                <a:lnTo>
                  <a:pt x="115232" y="113106"/>
                </a:lnTo>
                <a:lnTo>
                  <a:pt x="115232" y="106101"/>
                </a:lnTo>
                <a:close/>
              </a:path>
              <a:path w="311785" h="259079">
                <a:moveTo>
                  <a:pt x="118027" y="99106"/>
                </a:moveTo>
                <a:lnTo>
                  <a:pt x="76039" y="99106"/>
                </a:lnTo>
                <a:lnTo>
                  <a:pt x="76039" y="106101"/>
                </a:lnTo>
                <a:lnTo>
                  <a:pt x="118027" y="106101"/>
                </a:lnTo>
                <a:lnTo>
                  <a:pt x="118027" y="99106"/>
                </a:lnTo>
                <a:close/>
              </a:path>
              <a:path w="311785" h="259079">
                <a:moveTo>
                  <a:pt x="309812" y="229134"/>
                </a:moveTo>
                <a:lnTo>
                  <a:pt x="1884" y="229134"/>
                </a:lnTo>
                <a:lnTo>
                  <a:pt x="0" y="231008"/>
                </a:lnTo>
                <a:lnTo>
                  <a:pt x="0" y="258515"/>
                </a:lnTo>
                <a:lnTo>
                  <a:pt x="311697" y="258515"/>
                </a:lnTo>
                <a:lnTo>
                  <a:pt x="311697" y="231008"/>
                </a:lnTo>
                <a:lnTo>
                  <a:pt x="309812" y="229134"/>
                </a:lnTo>
                <a:close/>
              </a:path>
            </a:pathLst>
          </a:custGeom>
          <a:solidFill>
            <a:srgbClr val="FFFFFF"/>
          </a:solidFill>
        </p:spPr>
        <p:txBody>
          <a:bodyPr wrap="square" lIns="0" tIns="0" rIns="0" bIns="0" rtlCol="0"/>
          <a:lstStyle/>
          <a:p>
            <a:endParaRPr/>
          </a:p>
        </p:txBody>
      </p:sp>
      <p:sp>
        <p:nvSpPr>
          <p:cNvPr id="41" name="object 41"/>
          <p:cNvSpPr/>
          <p:nvPr/>
        </p:nvSpPr>
        <p:spPr>
          <a:xfrm>
            <a:off x="1856837" y="3004102"/>
            <a:ext cx="287663" cy="250099"/>
          </a:xfrm>
          <a:custGeom>
            <a:avLst/>
            <a:gdLst/>
            <a:ahLst/>
            <a:cxnLst/>
            <a:rect l="l" t="t" r="r" b="b"/>
            <a:pathLst>
              <a:path w="632460" h="549909">
                <a:moveTo>
                  <a:pt x="631865" y="549313"/>
                </a:moveTo>
                <a:lnTo>
                  <a:pt x="0" y="549313"/>
                </a:lnTo>
                <a:lnTo>
                  <a:pt x="0" y="0"/>
                </a:lnTo>
                <a:lnTo>
                  <a:pt x="631865" y="0"/>
                </a:lnTo>
                <a:lnTo>
                  <a:pt x="631865" y="549313"/>
                </a:lnTo>
                <a:close/>
              </a:path>
            </a:pathLst>
          </a:custGeom>
          <a:solidFill>
            <a:srgbClr val="4AB4E6"/>
          </a:solidFill>
        </p:spPr>
        <p:txBody>
          <a:bodyPr wrap="square" lIns="0" tIns="0" rIns="0" bIns="0" rtlCol="0"/>
          <a:lstStyle/>
          <a:p>
            <a:endParaRPr/>
          </a:p>
        </p:txBody>
      </p:sp>
      <p:sp>
        <p:nvSpPr>
          <p:cNvPr id="42" name="object 42"/>
          <p:cNvSpPr/>
          <p:nvPr/>
        </p:nvSpPr>
        <p:spPr>
          <a:xfrm>
            <a:off x="1911731" y="3071749"/>
            <a:ext cx="177623" cy="114653"/>
          </a:xfrm>
          <a:custGeom>
            <a:avLst/>
            <a:gdLst/>
            <a:ahLst/>
            <a:cxnLst/>
            <a:rect l="l" t="t" r="r" b="b"/>
            <a:pathLst>
              <a:path w="390525" h="252095">
                <a:moveTo>
                  <a:pt x="80060" y="171052"/>
                </a:moveTo>
                <a:lnTo>
                  <a:pt x="70039" y="171052"/>
                </a:lnTo>
                <a:lnTo>
                  <a:pt x="70071" y="251856"/>
                </a:lnTo>
                <a:lnTo>
                  <a:pt x="390480" y="251751"/>
                </a:lnTo>
                <a:lnTo>
                  <a:pt x="390476" y="241846"/>
                </a:lnTo>
                <a:lnTo>
                  <a:pt x="80091" y="241846"/>
                </a:lnTo>
                <a:lnTo>
                  <a:pt x="80060" y="171052"/>
                </a:lnTo>
                <a:close/>
              </a:path>
              <a:path w="390525" h="252095">
                <a:moveTo>
                  <a:pt x="390421" y="101557"/>
                </a:moveTo>
                <a:lnTo>
                  <a:pt x="380396" y="101557"/>
                </a:lnTo>
                <a:lnTo>
                  <a:pt x="380459" y="241741"/>
                </a:lnTo>
                <a:lnTo>
                  <a:pt x="80091" y="241846"/>
                </a:lnTo>
                <a:lnTo>
                  <a:pt x="390476" y="241846"/>
                </a:lnTo>
                <a:lnTo>
                  <a:pt x="390421" y="101557"/>
                </a:lnTo>
                <a:close/>
              </a:path>
              <a:path w="390525" h="252095">
                <a:moveTo>
                  <a:pt x="123514" y="171041"/>
                </a:moveTo>
                <a:lnTo>
                  <a:pt x="93400" y="171041"/>
                </a:lnTo>
                <a:lnTo>
                  <a:pt x="93421" y="208464"/>
                </a:lnTo>
                <a:lnTo>
                  <a:pt x="101215" y="210032"/>
                </a:lnTo>
                <a:lnTo>
                  <a:pt x="107583" y="214319"/>
                </a:lnTo>
                <a:lnTo>
                  <a:pt x="111877" y="220681"/>
                </a:lnTo>
                <a:lnTo>
                  <a:pt x="113452" y="228474"/>
                </a:lnTo>
                <a:lnTo>
                  <a:pt x="347078" y="228390"/>
                </a:lnTo>
                <a:lnTo>
                  <a:pt x="348645" y="220600"/>
                </a:lnTo>
                <a:lnTo>
                  <a:pt x="352355" y="215092"/>
                </a:lnTo>
                <a:lnTo>
                  <a:pt x="230265" y="215092"/>
                </a:lnTo>
                <a:lnTo>
                  <a:pt x="213345" y="211671"/>
                </a:lnTo>
                <a:lnTo>
                  <a:pt x="199557" y="202366"/>
                </a:lnTo>
                <a:lnTo>
                  <a:pt x="190274" y="188603"/>
                </a:lnTo>
                <a:lnTo>
                  <a:pt x="190238" y="188423"/>
                </a:lnTo>
                <a:lnTo>
                  <a:pt x="130917" y="188423"/>
                </a:lnTo>
                <a:lnTo>
                  <a:pt x="123441" y="180957"/>
                </a:lnTo>
                <a:lnTo>
                  <a:pt x="123514" y="171041"/>
                </a:lnTo>
                <a:close/>
              </a:path>
              <a:path w="390525" h="252095">
                <a:moveTo>
                  <a:pt x="303749" y="170968"/>
                </a:moveTo>
                <a:lnTo>
                  <a:pt x="273604" y="170979"/>
                </a:lnTo>
                <a:lnTo>
                  <a:pt x="273629" y="171712"/>
                </a:lnTo>
                <a:lnTo>
                  <a:pt x="270275" y="188350"/>
                </a:lnTo>
                <a:lnTo>
                  <a:pt x="270210" y="188603"/>
                </a:lnTo>
                <a:lnTo>
                  <a:pt x="260934" y="202366"/>
                </a:lnTo>
                <a:lnTo>
                  <a:pt x="247145" y="211671"/>
                </a:lnTo>
                <a:lnTo>
                  <a:pt x="230265" y="215092"/>
                </a:lnTo>
                <a:lnTo>
                  <a:pt x="352355" y="215092"/>
                </a:lnTo>
                <a:lnTo>
                  <a:pt x="352934" y="214233"/>
                </a:lnTo>
                <a:lnTo>
                  <a:pt x="359299" y="209936"/>
                </a:lnTo>
                <a:lnTo>
                  <a:pt x="367098" y="208360"/>
                </a:lnTo>
                <a:lnTo>
                  <a:pt x="367090" y="188360"/>
                </a:lnTo>
                <a:lnTo>
                  <a:pt x="311142" y="188350"/>
                </a:lnTo>
                <a:lnTo>
                  <a:pt x="303749" y="180957"/>
                </a:lnTo>
                <a:lnTo>
                  <a:pt x="303749" y="170968"/>
                </a:lnTo>
                <a:close/>
              </a:path>
              <a:path w="390525" h="252095">
                <a:moveTo>
                  <a:pt x="186894" y="171010"/>
                </a:moveTo>
                <a:lnTo>
                  <a:pt x="156749" y="171020"/>
                </a:lnTo>
                <a:lnTo>
                  <a:pt x="156801" y="180957"/>
                </a:lnTo>
                <a:lnTo>
                  <a:pt x="149346" y="188423"/>
                </a:lnTo>
                <a:lnTo>
                  <a:pt x="190238" y="188423"/>
                </a:lnTo>
                <a:lnTo>
                  <a:pt x="186863" y="171712"/>
                </a:lnTo>
                <a:lnTo>
                  <a:pt x="186894" y="171010"/>
                </a:lnTo>
                <a:close/>
              </a:path>
              <a:path w="390525" h="252095">
                <a:moveTo>
                  <a:pt x="347036" y="114917"/>
                </a:moveTo>
                <a:lnTo>
                  <a:pt x="331225" y="114917"/>
                </a:lnTo>
                <a:lnTo>
                  <a:pt x="331225" y="159094"/>
                </a:lnTo>
                <a:lnTo>
                  <a:pt x="334764" y="162162"/>
                </a:lnTo>
                <a:lnTo>
                  <a:pt x="337047" y="166623"/>
                </a:lnTo>
                <a:lnTo>
                  <a:pt x="336974" y="180957"/>
                </a:lnTo>
                <a:lnTo>
                  <a:pt x="329581" y="188350"/>
                </a:lnTo>
                <a:lnTo>
                  <a:pt x="311152" y="188360"/>
                </a:lnTo>
                <a:lnTo>
                  <a:pt x="367090" y="188360"/>
                </a:lnTo>
                <a:lnTo>
                  <a:pt x="367067" y="134938"/>
                </a:lnTo>
                <a:lnTo>
                  <a:pt x="359277" y="133365"/>
                </a:lnTo>
                <a:lnTo>
                  <a:pt x="352893" y="129050"/>
                </a:lnTo>
                <a:lnTo>
                  <a:pt x="348607" y="122686"/>
                </a:lnTo>
                <a:lnTo>
                  <a:pt x="347036" y="114917"/>
                </a:lnTo>
                <a:close/>
              </a:path>
              <a:path w="390525" h="252095">
                <a:moveTo>
                  <a:pt x="320409" y="0"/>
                </a:moveTo>
                <a:lnTo>
                  <a:pt x="0" y="104"/>
                </a:lnTo>
                <a:lnTo>
                  <a:pt x="62" y="160309"/>
                </a:lnTo>
                <a:lnTo>
                  <a:pt x="320471" y="160204"/>
                </a:lnTo>
                <a:lnTo>
                  <a:pt x="320468" y="150299"/>
                </a:lnTo>
                <a:lnTo>
                  <a:pt x="10072" y="150299"/>
                </a:lnTo>
                <a:lnTo>
                  <a:pt x="10020" y="10114"/>
                </a:lnTo>
                <a:lnTo>
                  <a:pt x="320413" y="10020"/>
                </a:lnTo>
                <a:lnTo>
                  <a:pt x="320409" y="0"/>
                </a:lnTo>
                <a:close/>
              </a:path>
              <a:path w="390525" h="252095">
                <a:moveTo>
                  <a:pt x="320413" y="10020"/>
                </a:moveTo>
                <a:lnTo>
                  <a:pt x="310388" y="10020"/>
                </a:lnTo>
                <a:lnTo>
                  <a:pt x="310451" y="150183"/>
                </a:lnTo>
                <a:lnTo>
                  <a:pt x="10072" y="150299"/>
                </a:lnTo>
                <a:lnTo>
                  <a:pt x="320468" y="150299"/>
                </a:lnTo>
                <a:lnTo>
                  <a:pt x="320413" y="10020"/>
                </a:lnTo>
                <a:close/>
              </a:path>
              <a:path w="390525" h="252095">
                <a:moveTo>
                  <a:pt x="277028" y="23371"/>
                </a:moveTo>
                <a:lnTo>
                  <a:pt x="43401" y="23465"/>
                </a:lnTo>
                <a:lnTo>
                  <a:pt x="41830" y="31258"/>
                </a:lnTo>
                <a:lnTo>
                  <a:pt x="37542" y="37621"/>
                </a:lnTo>
                <a:lnTo>
                  <a:pt x="31178" y="41912"/>
                </a:lnTo>
                <a:lnTo>
                  <a:pt x="23381" y="43485"/>
                </a:lnTo>
                <a:lnTo>
                  <a:pt x="23412" y="116917"/>
                </a:lnTo>
                <a:lnTo>
                  <a:pt x="31207" y="118486"/>
                </a:lnTo>
                <a:lnTo>
                  <a:pt x="37574" y="122776"/>
                </a:lnTo>
                <a:lnTo>
                  <a:pt x="41868" y="129139"/>
                </a:lnTo>
                <a:lnTo>
                  <a:pt x="43443" y="136927"/>
                </a:lnTo>
                <a:lnTo>
                  <a:pt x="277070" y="136844"/>
                </a:lnTo>
                <a:lnTo>
                  <a:pt x="278637" y="129050"/>
                </a:lnTo>
                <a:lnTo>
                  <a:pt x="282352" y="123535"/>
                </a:lnTo>
                <a:lnTo>
                  <a:pt x="160256" y="123535"/>
                </a:lnTo>
                <a:lnTo>
                  <a:pt x="143352" y="120124"/>
                </a:lnTo>
                <a:lnTo>
                  <a:pt x="129556" y="110822"/>
                </a:lnTo>
                <a:lnTo>
                  <a:pt x="120261" y="97050"/>
                </a:lnTo>
                <a:lnTo>
                  <a:pt x="120226" y="96876"/>
                </a:lnTo>
                <a:lnTo>
                  <a:pt x="60909" y="96876"/>
                </a:lnTo>
                <a:lnTo>
                  <a:pt x="53432" y="89410"/>
                </a:lnTo>
                <a:lnTo>
                  <a:pt x="53516" y="70898"/>
                </a:lnTo>
                <a:lnTo>
                  <a:pt x="60898" y="63495"/>
                </a:lnTo>
                <a:lnTo>
                  <a:pt x="120205" y="63484"/>
                </a:lnTo>
                <a:lnTo>
                  <a:pt x="120264" y="63248"/>
                </a:lnTo>
                <a:lnTo>
                  <a:pt x="129541" y="49480"/>
                </a:lnTo>
                <a:lnTo>
                  <a:pt x="143329" y="40178"/>
                </a:lnTo>
                <a:lnTo>
                  <a:pt x="160215" y="36763"/>
                </a:lnTo>
                <a:lnTo>
                  <a:pt x="282384" y="36763"/>
                </a:lnTo>
                <a:lnTo>
                  <a:pt x="278603" y="31162"/>
                </a:lnTo>
                <a:lnTo>
                  <a:pt x="277028" y="23371"/>
                </a:lnTo>
                <a:close/>
              </a:path>
              <a:path w="390525" h="252095">
                <a:moveTo>
                  <a:pt x="282384" y="36763"/>
                </a:moveTo>
                <a:lnTo>
                  <a:pt x="160215" y="36763"/>
                </a:lnTo>
                <a:lnTo>
                  <a:pt x="177124" y="40178"/>
                </a:lnTo>
                <a:lnTo>
                  <a:pt x="190913" y="49480"/>
                </a:lnTo>
                <a:lnTo>
                  <a:pt x="200201" y="63248"/>
                </a:lnTo>
                <a:lnTo>
                  <a:pt x="203610" y="80165"/>
                </a:lnTo>
                <a:lnTo>
                  <a:pt x="200202" y="97050"/>
                </a:lnTo>
                <a:lnTo>
                  <a:pt x="190901" y="110838"/>
                </a:lnTo>
                <a:lnTo>
                  <a:pt x="177137" y="120124"/>
                </a:lnTo>
                <a:lnTo>
                  <a:pt x="160256" y="123535"/>
                </a:lnTo>
                <a:lnTo>
                  <a:pt x="282352" y="123535"/>
                </a:lnTo>
                <a:lnTo>
                  <a:pt x="282924" y="122686"/>
                </a:lnTo>
                <a:lnTo>
                  <a:pt x="289287" y="118392"/>
                </a:lnTo>
                <a:lnTo>
                  <a:pt x="297079" y="116813"/>
                </a:lnTo>
                <a:lnTo>
                  <a:pt x="297074" y="96813"/>
                </a:lnTo>
                <a:lnTo>
                  <a:pt x="241134" y="96803"/>
                </a:lnTo>
                <a:lnTo>
                  <a:pt x="233741" y="89410"/>
                </a:lnTo>
                <a:lnTo>
                  <a:pt x="233678" y="70898"/>
                </a:lnTo>
                <a:lnTo>
                  <a:pt x="241123" y="63432"/>
                </a:lnTo>
                <a:lnTo>
                  <a:pt x="297064" y="63432"/>
                </a:lnTo>
                <a:lnTo>
                  <a:pt x="297059" y="43380"/>
                </a:lnTo>
                <a:lnTo>
                  <a:pt x="289264" y="41809"/>
                </a:lnTo>
                <a:lnTo>
                  <a:pt x="282897" y="37522"/>
                </a:lnTo>
                <a:lnTo>
                  <a:pt x="282384" y="36763"/>
                </a:lnTo>
                <a:close/>
              </a:path>
              <a:path w="390525" h="252095">
                <a:moveTo>
                  <a:pt x="390417" y="91546"/>
                </a:moveTo>
                <a:lnTo>
                  <a:pt x="331215" y="91557"/>
                </a:lnTo>
                <a:lnTo>
                  <a:pt x="331215" y="101567"/>
                </a:lnTo>
                <a:lnTo>
                  <a:pt x="390421" y="101557"/>
                </a:lnTo>
                <a:lnTo>
                  <a:pt x="390417" y="91546"/>
                </a:lnTo>
                <a:close/>
              </a:path>
              <a:path w="390525" h="252095">
                <a:moveTo>
                  <a:pt x="120205" y="63484"/>
                </a:moveTo>
                <a:lnTo>
                  <a:pt x="79327" y="63484"/>
                </a:lnTo>
                <a:lnTo>
                  <a:pt x="86740" y="70898"/>
                </a:lnTo>
                <a:lnTo>
                  <a:pt x="86793" y="89410"/>
                </a:lnTo>
                <a:lnTo>
                  <a:pt x="79337" y="96866"/>
                </a:lnTo>
                <a:lnTo>
                  <a:pt x="60909" y="96876"/>
                </a:lnTo>
                <a:lnTo>
                  <a:pt x="120226" y="96876"/>
                </a:lnTo>
                <a:lnTo>
                  <a:pt x="116850" y="80133"/>
                </a:lnTo>
                <a:lnTo>
                  <a:pt x="120205" y="63484"/>
                </a:lnTo>
                <a:close/>
              </a:path>
              <a:path w="390525" h="252095">
                <a:moveTo>
                  <a:pt x="297064" y="63432"/>
                </a:moveTo>
                <a:lnTo>
                  <a:pt x="259562" y="63432"/>
                </a:lnTo>
                <a:lnTo>
                  <a:pt x="267038" y="70898"/>
                </a:lnTo>
                <a:lnTo>
                  <a:pt x="266965" y="89410"/>
                </a:lnTo>
                <a:lnTo>
                  <a:pt x="259562" y="96803"/>
                </a:lnTo>
                <a:lnTo>
                  <a:pt x="241144" y="96813"/>
                </a:lnTo>
                <a:lnTo>
                  <a:pt x="297074" y="96813"/>
                </a:lnTo>
                <a:lnTo>
                  <a:pt x="297064" y="63432"/>
                </a:lnTo>
                <a:close/>
              </a:path>
            </a:pathLst>
          </a:custGeom>
          <a:solidFill>
            <a:srgbClr val="FFFFFF"/>
          </a:solidFill>
        </p:spPr>
        <p:txBody>
          <a:bodyPr wrap="square" lIns="0" tIns="0" rIns="0" bIns="0" rtlCol="0"/>
          <a:lstStyle/>
          <a:p>
            <a:endParaRPr/>
          </a:p>
        </p:txBody>
      </p:sp>
      <p:sp>
        <p:nvSpPr>
          <p:cNvPr id="43" name="object 43"/>
          <p:cNvSpPr/>
          <p:nvPr/>
        </p:nvSpPr>
        <p:spPr>
          <a:xfrm>
            <a:off x="1856832" y="3420988"/>
            <a:ext cx="287663" cy="250099"/>
          </a:xfrm>
          <a:custGeom>
            <a:avLst/>
            <a:gdLst/>
            <a:ahLst/>
            <a:cxnLst/>
            <a:rect l="l" t="t" r="r" b="b"/>
            <a:pathLst>
              <a:path w="632460" h="549909">
                <a:moveTo>
                  <a:pt x="631876" y="549313"/>
                </a:moveTo>
                <a:lnTo>
                  <a:pt x="0" y="549313"/>
                </a:lnTo>
                <a:lnTo>
                  <a:pt x="0" y="0"/>
                </a:lnTo>
                <a:lnTo>
                  <a:pt x="631876" y="0"/>
                </a:lnTo>
                <a:lnTo>
                  <a:pt x="631876" y="549313"/>
                </a:lnTo>
                <a:close/>
              </a:path>
            </a:pathLst>
          </a:custGeom>
          <a:solidFill>
            <a:srgbClr val="DFA4C4"/>
          </a:solidFill>
        </p:spPr>
        <p:txBody>
          <a:bodyPr wrap="square" lIns="0" tIns="0" rIns="0" bIns="0" rtlCol="0"/>
          <a:lstStyle/>
          <a:p>
            <a:endParaRPr/>
          </a:p>
        </p:txBody>
      </p:sp>
      <p:sp>
        <p:nvSpPr>
          <p:cNvPr id="44" name="object 44"/>
          <p:cNvSpPr/>
          <p:nvPr/>
        </p:nvSpPr>
        <p:spPr>
          <a:xfrm>
            <a:off x="1923794" y="3471551"/>
            <a:ext cx="153652" cy="148731"/>
          </a:xfrm>
          <a:custGeom>
            <a:avLst/>
            <a:gdLst/>
            <a:ahLst/>
            <a:cxnLst/>
            <a:rect l="l" t="t" r="r" b="b"/>
            <a:pathLst>
              <a:path w="337820" h="327025">
                <a:moveTo>
                  <a:pt x="237280" y="242589"/>
                </a:moveTo>
                <a:lnTo>
                  <a:pt x="197931" y="267196"/>
                </a:lnTo>
                <a:lnTo>
                  <a:pt x="237280" y="291802"/>
                </a:lnTo>
                <a:lnTo>
                  <a:pt x="237280" y="277038"/>
                </a:lnTo>
                <a:lnTo>
                  <a:pt x="313697" y="277038"/>
                </a:lnTo>
                <a:lnTo>
                  <a:pt x="316241" y="275991"/>
                </a:lnTo>
                <a:lnTo>
                  <a:pt x="319906" y="272326"/>
                </a:lnTo>
                <a:lnTo>
                  <a:pt x="320964" y="269792"/>
                </a:lnTo>
                <a:lnTo>
                  <a:pt x="320964" y="257363"/>
                </a:lnTo>
                <a:lnTo>
                  <a:pt x="237280" y="257363"/>
                </a:lnTo>
                <a:lnTo>
                  <a:pt x="237280" y="242589"/>
                </a:lnTo>
                <a:close/>
              </a:path>
              <a:path w="337820" h="327025">
                <a:moveTo>
                  <a:pt x="320964" y="193376"/>
                </a:moveTo>
                <a:lnTo>
                  <a:pt x="301268" y="193376"/>
                </a:lnTo>
                <a:lnTo>
                  <a:pt x="301268" y="257363"/>
                </a:lnTo>
                <a:lnTo>
                  <a:pt x="320964" y="257363"/>
                </a:lnTo>
                <a:lnTo>
                  <a:pt x="320964" y="193376"/>
                </a:lnTo>
                <a:close/>
              </a:path>
              <a:path w="337820" h="327025">
                <a:moveTo>
                  <a:pt x="106488" y="24690"/>
                </a:moveTo>
                <a:lnTo>
                  <a:pt x="106488" y="39454"/>
                </a:lnTo>
                <a:lnTo>
                  <a:pt x="30082" y="39454"/>
                </a:lnTo>
                <a:lnTo>
                  <a:pt x="27548" y="40501"/>
                </a:lnTo>
                <a:lnTo>
                  <a:pt x="23884" y="44176"/>
                </a:lnTo>
                <a:lnTo>
                  <a:pt x="22847" y="46700"/>
                </a:lnTo>
                <a:lnTo>
                  <a:pt x="22847" y="123116"/>
                </a:lnTo>
                <a:lnTo>
                  <a:pt x="42522" y="123116"/>
                </a:lnTo>
                <a:lnTo>
                  <a:pt x="42522" y="59139"/>
                </a:lnTo>
                <a:lnTo>
                  <a:pt x="130111" y="59139"/>
                </a:lnTo>
                <a:lnTo>
                  <a:pt x="145859" y="49296"/>
                </a:lnTo>
                <a:lnTo>
                  <a:pt x="106488" y="24690"/>
                </a:lnTo>
                <a:close/>
              </a:path>
              <a:path w="337820" h="327025">
                <a:moveTo>
                  <a:pt x="130111" y="59139"/>
                </a:moveTo>
                <a:lnTo>
                  <a:pt x="106488" y="59139"/>
                </a:lnTo>
                <a:lnTo>
                  <a:pt x="106488" y="73903"/>
                </a:lnTo>
                <a:lnTo>
                  <a:pt x="130111" y="59139"/>
                </a:lnTo>
                <a:close/>
              </a:path>
              <a:path w="337820" h="327025">
                <a:moveTo>
                  <a:pt x="316136" y="73903"/>
                </a:moveTo>
                <a:lnTo>
                  <a:pt x="297006" y="73903"/>
                </a:lnTo>
                <a:lnTo>
                  <a:pt x="289499" y="76929"/>
                </a:lnTo>
                <a:lnTo>
                  <a:pt x="275750" y="110802"/>
                </a:lnTo>
                <a:lnTo>
                  <a:pt x="276265" y="119629"/>
                </a:lnTo>
                <a:lnTo>
                  <a:pt x="297111" y="147796"/>
                </a:lnTo>
                <a:lnTo>
                  <a:pt x="316241" y="147796"/>
                </a:lnTo>
                <a:lnTo>
                  <a:pt x="323696" y="144791"/>
                </a:lnTo>
                <a:lnTo>
                  <a:pt x="329194" y="138749"/>
                </a:lnTo>
                <a:lnTo>
                  <a:pt x="332805" y="133604"/>
                </a:lnTo>
                <a:lnTo>
                  <a:pt x="333273" y="132446"/>
                </a:lnTo>
                <a:lnTo>
                  <a:pt x="303561" y="132446"/>
                </a:lnTo>
                <a:lnTo>
                  <a:pt x="301373" y="131263"/>
                </a:lnTo>
                <a:lnTo>
                  <a:pt x="297666" y="125860"/>
                </a:lnTo>
                <a:lnTo>
                  <a:pt x="296629" y="119807"/>
                </a:lnTo>
                <a:lnTo>
                  <a:pt x="296629" y="101619"/>
                </a:lnTo>
                <a:lnTo>
                  <a:pt x="297666" y="95525"/>
                </a:lnTo>
                <a:lnTo>
                  <a:pt x="301299" y="90101"/>
                </a:lnTo>
                <a:lnTo>
                  <a:pt x="303488" y="88971"/>
                </a:lnTo>
                <a:lnTo>
                  <a:pt x="333157" y="88971"/>
                </a:lnTo>
                <a:lnTo>
                  <a:pt x="332805" y="88103"/>
                </a:lnTo>
                <a:lnTo>
                  <a:pt x="329194" y="82971"/>
                </a:lnTo>
                <a:lnTo>
                  <a:pt x="323696" y="76929"/>
                </a:lnTo>
                <a:lnTo>
                  <a:pt x="316136" y="73903"/>
                </a:lnTo>
                <a:close/>
              </a:path>
              <a:path w="337820" h="327025">
                <a:moveTo>
                  <a:pt x="306357" y="0"/>
                </a:moveTo>
                <a:lnTo>
                  <a:pt x="287090" y="0"/>
                </a:lnTo>
                <a:lnTo>
                  <a:pt x="212621" y="147524"/>
                </a:lnTo>
                <a:lnTo>
                  <a:pt x="232464" y="147524"/>
                </a:lnTo>
                <a:lnTo>
                  <a:pt x="306357" y="0"/>
                </a:lnTo>
                <a:close/>
              </a:path>
              <a:path w="337820" h="327025">
                <a:moveTo>
                  <a:pt x="333157" y="88971"/>
                </a:moveTo>
                <a:lnTo>
                  <a:pt x="309226" y="88971"/>
                </a:lnTo>
                <a:lnTo>
                  <a:pt x="311435" y="90101"/>
                </a:lnTo>
                <a:lnTo>
                  <a:pt x="313027" y="92395"/>
                </a:lnTo>
                <a:lnTo>
                  <a:pt x="315068" y="95525"/>
                </a:lnTo>
                <a:lnTo>
                  <a:pt x="316074" y="101619"/>
                </a:lnTo>
                <a:lnTo>
                  <a:pt x="316074" y="119807"/>
                </a:lnTo>
                <a:lnTo>
                  <a:pt x="315037" y="125901"/>
                </a:lnTo>
                <a:lnTo>
                  <a:pt x="311414" y="131304"/>
                </a:lnTo>
                <a:lnTo>
                  <a:pt x="309226" y="132446"/>
                </a:lnTo>
                <a:lnTo>
                  <a:pt x="333273" y="132446"/>
                </a:lnTo>
                <a:lnTo>
                  <a:pt x="335379" y="127230"/>
                </a:lnTo>
                <a:lnTo>
                  <a:pt x="336921" y="119629"/>
                </a:lnTo>
                <a:lnTo>
                  <a:pt x="337434" y="110802"/>
                </a:lnTo>
                <a:lnTo>
                  <a:pt x="336921" y="102019"/>
                </a:lnTo>
                <a:lnTo>
                  <a:pt x="335379" y="94452"/>
                </a:lnTo>
                <a:lnTo>
                  <a:pt x="333157" y="88971"/>
                </a:lnTo>
                <a:close/>
              </a:path>
              <a:path w="337820" h="327025">
                <a:moveTo>
                  <a:pt x="221773" y="0"/>
                </a:moveTo>
                <a:lnTo>
                  <a:pt x="202632" y="0"/>
                </a:lnTo>
                <a:lnTo>
                  <a:pt x="195177" y="3015"/>
                </a:lnTo>
                <a:lnTo>
                  <a:pt x="181429" y="36899"/>
                </a:lnTo>
                <a:lnTo>
                  <a:pt x="181944" y="45687"/>
                </a:lnTo>
                <a:lnTo>
                  <a:pt x="202800" y="73819"/>
                </a:lnTo>
                <a:lnTo>
                  <a:pt x="221930" y="73819"/>
                </a:lnTo>
                <a:lnTo>
                  <a:pt x="229385" y="70793"/>
                </a:lnTo>
                <a:lnTo>
                  <a:pt x="234882" y="64751"/>
                </a:lnTo>
                <a:lnTo>
                  <a:pt x="238491" y="59609"/>
                </a:lnTo>
                <a:lnTo>
                  <a:pt x="238962" y="58448"/>
                </a:lnTo>
                <a:lnTo>
                  <a:pt x="209239" y="58448"/>
                </a:lnTo>
                <a:lnTo>
                  <a:pt x="207051" y="57317"/>
                </a:lnTo>
                <a:lnTo>
                  <a:pt x="205470" y="55034"/>
                </a:lnTo>
                <a:lnTo>
                  <a:pt x="203365" y="51904"/>
                </a:lnTo>
                <a:lnTo>
                  <a:pt x="202328" y="45820"/>
                </a:lnTo>
                <a:lnTo>
                  <a:pt x="202328" y="27632"/>
                </a:lnTo>
                <a:lnTo>
                  <a:pt x="203365" y="21528"/>
                </a:lnTo>
                <a:lnTo>
                  <a:pt x="207051" y="16114"/>
                </a:lnTo>
                <a:lnTo>
                  <a:pt x="209239" y="14973"/>
                </a:lnTo>
                <a:lnTo>
                  <a:pt x="238834" y="14973"/>
                </a:lnTo>
                <a:lnTo>
                  <a:pt x="238491" y="14126"/>
                </a:lnTo>
                <a:lnTo>
                  <a:pt x="234882" y="9004"/>
                </a:lnTo>
                <a:lnTo>
                  <a:pt x="229385" y="3005"/>
                </a:lnTo>
                <a:lnTo>
                  <a:pt x="221773" y="0"/>
                </a:lnTo>
                <a:close/>
              </a:path>
              <a:path w="337820" h="327025">
                <a:moveTo>
                  <a:pt x="238834" y="14973"/>
                </a:moveTo>
                <a:lnTo>
                  <a:pt x="214904" y="14973"/>
                </a:lnTo>
                <a:lnTo>
                  <a:pt x="217134" y="16156"/>
                </a:lnTo>
                <a:lnTo>
                  <a:pt x="220747" y="21559"/>
                </a:lnTo>
                <a:lnTo>
                  <a:pt x="221773" y="27632"/>
                </a:lnTo>
                <a:lnTo>
                  <a:pt x="221773" y="45820"/>
                </a:lnTo>
                <a:lnTo>
                  <a:pt x="220747" y="51904"/>
                </a:lnTo>
                <a:lnTo>
                  <a:pt x="218715" y="55034"/>
                </a:lnTo>
                <a:lnTo>
                  <a:pt x="217134" y="57317"/>
                </a:lnTo>
                <a:lnTo>
                  <a:pt x="214904" y="58448"/>
                </a:lnTo>
                <a:lnTo>
                  <a:pt x="238962" y="58448"/>
                </a:lnTo>
                <a:lnTo>
                  <a:pt x="241069" y="53256"/>
                </a:lnTo>
                <a:lnTo>
                  <a:pt x="242617" y="45687"/>
                </a:lnTo>
                <a:lnTo>
                  <a:pt x="243133" y="36899"/>
                </a:lnTo>
                <a:lnTo>
                  <a:pt x="242620" y="28119"/>
                </a:lnTo>
                <a:lnTo>
                  <a:pt x="241069" y="20486"/>
                </a:lnTo>
                <a:lnTo>
                  <a:pt x="238834" y="14973"/>
                </a:lnTo>
                <a:close/>
              </a:path>
              <a:path w="337820" h="327025">
                <a:moveTo>
                  <a:pt x="84353" y="158225"/>
                </a:moveTo>
                <a:lnTo>
                  <a:pt x="51520" y="164856"/>
                </a:lnTo>
                <a:lnTo>
                  <a:pt x="24707" y="182938"/>
                </a:lnTo>
                <a:lnTo>
                  <a:pt x="6629" y="209754"/>
                </a:lnTo>
                <a:lnTo>
                  <a:pt x="0" y="242589"/>
                </a:lnTo>
                <a:lnTo>
                  <a:pt x="6629" y="275433"/>
                </a:lnTo>
                <a:lnTo>
                  <a:pt x="24707" y="302248"/>
                </a:lnTo>
                <a:lnTo>
                  <a:pt x="51520" y="320325"/>
                </a:lnTo>
                <a:lnTo>
                  <a:pt x="84353" y="326953"/>
                </a:lnTo>
                <a:lnTo>
                  <a:pt x="117182" y="320325"/>
                </a:lnTo>
                <a:lnTo>
                  <a:pt x="119092" y="319037"/>
                </a:lnTo>
                <a:lnTo>
                  <a:pt x="84353" y="319037"/>
                </a:lnTo>
                <a:lnTo>
                  <a:pt x="54611" y="313020"/>
                </a:lnTo>
                <a:lnTo>
                  <a:pt x="30302" y="296621"/>
                </a:lnTo>
                <a:lnTo>
                  <a:pt x="13901" y="272318"/>
                </a:lnTo>
                <a:lnTo>
                  <a:pt x="7884" y="242589"/>
                </a:lnTo>
                <a:lnTo>
                  <a:pt x="13901" y="212864"/>
                </a:lnTo>
                <a:lnTo>
                  <a:pt x="30302" y="188561"/>
                </a:lnTo>
                <a:lnTo>
                  <a:pt x="54611" y="172159"/>
                </a:lnTo>
                <a:lnTo>
                  <a:pt x="84353" y="166141"/>
                </a:lnTo>
                <a:lnTo>
                  <a:pt x="119088" y="166141"/>
                </a:lnTo>
                <a:lnTo>
                  <a:pt x="117182" y="164856"/>
                </a:lnTo>
                <a:lnTo>
                  <a:pt x="84353" y="158225"/>
                </a:lnTo>
                <a:close/>
              </a:path>
              <a:path w="337820" h="327025">
                <a:moveTo>
                  <a:pt x="119088" y="166141"/>
                </a:moveTo>
                <a:lnTo>
                  <a:pt x="84353" y="166141"/>
                </a:lnTo>
                <a:lnTo>
                  <a:pt x="114082" y="172159"/>
                </a:lnTo>
                <a:lnTo>
                  <a:pt x="138385" y="188561"/>
                </a:lnTo>
                <a:lnTo>
                  <a:pt x="154784" y="212864"/>
                </a:lnTo>
                <a:lnTo>
                  <a:pt x="160801" y="242589"/>
                </a:lnTo>
                <a:lnTo>
                  <a:pt x="154784" y="272318"/>
                </a:lnTo>
                <a:lnTo>
                  <a:pt x="138385" y="296621"/>
                </a:lnTo>
                <a:lnTo>
                  <a:pt x="114082" y="313020"/>
                </a:lnTo>
                <a:lnTo>
                  <a:pt x="84353" y="319037"/>
                </a:lnTo>
                <a:lnTo>
                  <a:pt x="119092" y="319037"/>
                </a:lnTo>
                <a:lnTo>
                  <a:pt x="143995" y="302248"/>
                </a:lnTo>
                <a:lnTo>
                  <a:pt x="162076" y="275433"/>
                </a:lnTo>
                <a:lnTo>
                  <a:pt x="168706" y="242589"/>
                </a:lnTo>
                <a:lnTo>
                  <a:pt x="162076" y="209754"/>
                </a:lnTo>
                <a:lnTo>
                  <a:pt x="143995" y="182938"/>
                </a:lnTo>
                <a:lnTo>
                  <a:pt x="119088" y="166141"/>
                </a:lnTo>
                <a:close/>
              </a:path>
              <a:path w="337820" h="327025">
                <a:moveTo>
                  <a:pt x="84353" y="173806"/>
                </a:moveTo>
                <a:lnTo>
                  <a:pt x="57600" y="179221"/>
                </a:lnTo>
                <a:lnTo>
                  <a:pt x="35730" y="193979"/>
                </a:lnTo>
                <a:lnTo>
                  <a:pt x="20974" y="215846"/>
                </a:lnTo>
                <a:lnTo>
                  <a:pt x="15559" y="242589"/>
                </a:lnTo>
                <a:lnTo>
                  <a:pt x="20974" y="269339"/>
                </a:lnTo>
                <a:lnTo>
                  <a:pt x="35730" y="291201"/>
                </a:lnTo>
                <a:lnTo>
                  <a:pt x="57600" y="305951"/>
                </a:lnTo>
                <a:lnTo>
                  <a:pt x="84353" y="311362"/>
                </a:lnTo>
                <a:lnTo>
                  <a:pt x="111102" y="305951"/>
                </a:lnTo>
                <a:lnTo>
                  <a:pt x="132972" y="291201"/>
                </a:lnTo>
                <a:lnTo>
                  <a:pt x="147731" y="269339"/>
                </a:lnTo>
                <a:lnTo>
                  <a:pt x="153147" y="242589"/>
                </a:lnTo>
                <a:lnTo>
                  <a:pt x="147731" y="215846"/>
                </a:lnTo>
                <a:lnTo>
                  <a:pt x="132972" y="193979"/>
                </a:lnTo>
                <a:lnTo>
                  <a:pt x="111102" y="179221"/>
                </a:lnTo>
                <a:lnTo>
                  <a:pt x="84353" y="173806"/>
                </a:lnTo>
                <a:close/>
              </a:path>
            </a:pathLst>
          </a:custGeom>
          <a:solidFill>
            <a:srgbClr val="FFFFFF"/>
          </a:solidFill>
        </p:spPr>
        <p:txBody>
          <a:bodyPr wrap="square" lIns="0" tIns="0" rIns="0" bIns="0" rtlCol="0"/>
          <a:lstStyle/>
          <a:p>
            <a:endParaRPr/>
          </a:p>
        </p:txBody>
      </p:sp>
      <p:sp>
        <p:nvSpPr>
          <p:cNvPr id="45" name="object 45"/>
          <p:cNvSpPr/>
          <p:nvPr/>
        </p:nvSpPr>
        <p:spPr>
          <a:xfrm>
            <a:off x="2216358" y="3004102"/>
            <a:ext cx="287663" cy="250099"/>
          </a:xfrm>
          <a:custGeom>
            <a:avLst/>
            <a:gdLst/>
            <a:ahLst/>
            <a:cxnLst/>
            <a:rect l="l" t="t" r="r" b="b"/>
            <a:pathLst>
              <a:path w="632460" h="549909">
                <a:moveTo>
                  <a:pt x="631876" y="549313"/>
                </a:moveTo>
                <a:lnTo>
                  <a:pt x="0" y="549313"/>
                </a:lnTo>
                <a:lnTo>
                  <a:pt x="0" y="0"/>
                </a:lnTo>
                <a:lnTo>
                  <a:pt x="631876" y="0"/>
                </a:lnTo>
                <a:lnTo>
                  <a:pt x="631876" y="549313"/>
                </a:lnTo>
                <a:close/>
              </a:path>
            </a:pathLst>
          </a:custGeom>
          <a:solidFill>
            <a:srgbClr val="50BD86"/>
          </a:solidFill>
        </p:spPr>
        <p:txBody>
          <a:bodyPr wrap="square" lIns="0" tIns="0" rIns="0" bIns="0" rtlCol="0"/>
          <a:lstStyle/>
          <a:p>
            <a:endParaRPr/>
          </a:p>
        </p:txBody>
      </p:sp>
      <p:sp>
        <p:nvSpPr>
          <p:cNvPr id="46" name="object 46"/>
          <p:cNvSpPr/>
          <p:nvPr/>
        </p:nvSpPr>
        <p:spPr>
          <a:xfrm>
            <a:off x="2284124" y="3063623"/>
            <a:ext cx="151919" cy="130248"/>
          </a:xfrm>
          <a:custGeom>
            <a:avLst/>
            <a:gdLst/>
            <a:ahLst/>
            <a:cxnLst/>
            <a:rect l="l" t="t" r="r" b="b"/>
            <a:pathLst>
              <a:path w="334010" h="286384">
                <a:moveTo>
                  <a:pt x="322482" y="139733"/>
                </a:moveTo>
                <a:lnTo>
                  <a:pt x="11392" y="139733"/>
                </a:lnTo>
                <a:lnTo>
                  <a:pt x="43192" y="278326"/>
                </a:lnTo>
                <a:lnTo>
                  <a:pt x="44061" y="282745"/>
                </a:lnTo>
                <a:lnTo>
                  <a:pt x="48427" y="286315"/>
                </a:lnTo>
                <a:lnTo>
                  <a:pt x="285446" y="286315"/>
                </a:lnTo>
                <a:lnTo>
                  <a:pt x="289823" y="282745"/>
                </a:lnTo>
                <a:lnTo>
                  <a:pt x="290703" y="278326"/>
                </a:lnTo>
                <a:lnTo>
                  <a:pt x="291673" y="274096"/>
                </a:lnTo>
                <a:lnTo>
                  <a:pt x="65369" y="274096"/>
                </a:lnTo>
                <a:lnTo>
                  <a:pt x="61945" y="271363"/>
                </a:lnTo>
                <a:lnTo>
                  <a:pt x="61212" y="267457"/>
                </a:lnTo>
                <a:lnTo>
                  <a:pt x="36773" y="157513"/>
                </a:lnTo>
                <a:lnTo>
                  <a:pt x="35946" y="153073"/>
                </a:lnTo>
                <a:lnTo>
                  <a:pt x="38867" y="148843"/>
                </a:lnTo>
                <a:lnTo>
                  <a:pt x="47705" y="147189"/>
                </a:lnTo>
                <a:lnTo>
                  <a:pt x="320772" y="147189"/>
                </a:lnTo>
                <a:lnTo>
                  <a:pt x="322482" y="139733"/>
                </a:lnTo>
                <a:close/>
              </a:path>
              <a:path w="334010" h="286384">
                <a:moveTo>
                  <a:pt x="286169" y="147189"/>
                </a:moveTo>
                <a:lnTo>
                  <a:pt x="47705" y="147189"/>
                </a:lnTo>
                <a:lnTo>
                  <a:pt x="51967" y="150100"/>
                </a:lnTo>
                <a:lnTo>
                  <a:pt x="52783" y="154529"/>
                </a:lnTo>
                <a:lnTo>
                  <a:pt x="77222" y="264442"/>
                </a:lnTo>
                <a:lnTo>
                  <a:pt x="78049" y="268871"/>
                </a:lnTo>
                <a:lnTo>
                  <a:pt x="75139" y="273122"/>
                </a:lnTo>
                <a:lnTo>
                  <a:pt x="70217" y="274054"/>
                </a:lnTo>
                <a:lnTo>
                  <a:pt x="69715" y="274096"/>
                </a:lnTo>
                <a:lnTo>
                  <a:pt x="113923" y="274096"/>
                </a:lnTo>
                <a:lnTo>
                  <a:pt x="110363" y="270923"/>
                </a:lnTo>
                <a:lnTo>
                  <a:pt x="109724" y="264442"/>
                </a:lnTo>
                <a:lnTo>
                  <a:pt x="97766" y="156780"/>
                </a:lnTo>
                <a:lnTo>
                  <a:pt x="97326" y="152299"/>
                </a:lnTo>
                <a:lnTo>
                  <a:pt x="100635" y="148320"/>
                </a:lnTo>
                <a:lnTo>
                  <a:pt x="109588" y="147492"/>
                </a:lnTo>
                <a:lnTo>
                  <a:pt x="285726" y="147492"/>
                </a:lnTo>
                <a:lnTo>
                  <a:pt x="286169" y="147189"/>
                </a:lnTo>
                <a:close/>
              </a:path>
              <a:path w="334010" h="286384">
                <a:moveTo>
                  <a:pt x="224296" y="147492"/>
                </a:moveTo>
                <a:lnTo>
                  <a:pt x="109588" y="147492"/>
                </a:lnTo>
                <a:lnTo>
                  <a:pt x="113546" y="150770"/>
                </a:lnTo>
                <a:lnTo>
                  <a:pt x="113975" y="155241"/>
                </a:lnTo>
                <a:lnTo>
                  <a:pt x="126195" y="265196"/>
                </a:lnTo>
                <a:lnTo>
                  <a:pt x="126603" y="269677"/>
                </a:lnTo>
                <a:lnTo>
                  <a:pt x="123326" y="273635"/>
                </a:lnTo>
                <a:lnTo>
                  <a:pt x="118844" y="274064"/>
                </a:lnTo>
                <a:lnTo>
                  <a:pt x="118321" y="274096"/>
                </a:lnTo>
                <a:lnTo>
                  <a:pt x="162445" y="274096"/>
                </a:lnTo>
                <a:lnTo>
                  <a:pt x="158801" y="270452"/>
                </a:lnTo>
                <a:lnTo>
                  <a:pt x="158801" y="151513"/>
                </a:lnTo>
                <a:lnTo>
                  <a:pt x="162445" y="147859"/>
                </a:lnTo>
                <a:lnTo>
                  <a:pt x="223853" y="147859"/>
                </a:lnTo>
                <a:lnTo>
                  <a:pt x="224296" y="147492"/>
                </a:lnTo>
                <a:close/>
              </a:path>
              <a:path w="334010" h="286384">
                <a:moveTo>
                  <a:pt x="223853" y="147859"/>
                </a:moveTo>
                <a:lnTo>
                  <a:pt x="171439" y="147859"/>
                </a:lnTo>
                <a:lnTo>
                  <a:pt x="175094" y="151513"/>
                </a:lnTo>
                <a:lnTo>
                  <a:pt x="175094" y="270452"/>
                </a:lnTo>
                <a:lnTo>
                  <a:pt x="171439" y="274096"/>
                </a:lnTo>
                <a:lnTo>
                  <a:pt x="219972" y="274096"/>
                </a:lnTo>
                <a:lnTo>
                  <a:pt x="215302" y="274085"/>
                </a:lnTo>
                <a:lnTo>
                  <a:pt x="210569" y="273635"/>
                </a:lnTo>
                <a:lnTo>
                  <a:pt x="207281" y="269677"/>
                </a:lnTo>
                <a:lnTo>
                  <a:pt x="207784" y="264442"/>
                </a:lnTo>
                <a:lnTo>
                  <a:pt x="219976" y="154529"/>
                </a:lnTo>
                <a:lnTo>
                  <a:pt x="220328" y="150770"/>
                </a:lnTo>
                <a:lnTo>
                  <a:pt x="223853" y="147859"/>
                </a:lnTo>
                <a:close/>
              </a:path>
              <a:path w="334010" h="286384">
                <a:moveTo>
                  <a:pt x="285726" y="147492"/>
                </a:moveTo>
                <a:lnTo>
                  <a:pt x="224296" y="147492"/>
                </a:lnTo>
                <a:lnTo>
                  <a:pt x="233259" y="148320"/>
                </a:lnTo>
                <a:lnTo>
                  <a:pt x="236558" y="152299"/>
                </a:lnTo>
                <a:lnTo>
                  <a:pt x="236047" y="157513"/>
                </a:lnTo>
                <a:lnTo>
                  <a:pt x="223846" y="267457"/>
                </a:lnTo>
                <a:lnTo>
                  <a:pt x="223511" y="270923"/>
                </a:lnTo>
                <a:lnTo>
                  <a:pt x="219972" y="274096"/>
                </a:lnTo>
                <a:lnTo>
                  <a:pt x="264180" y="274096"/>
                </a:lnTo>
                <a:lnTo>
                  <a:pt x="263667" y="274054"/>
                </a:lnTo>
                <a:lnTo>
                  <a:pt x="258746" y="273122"/>
                </a:lnTo>
                <a:lnTo>
                  <a:pt x="255835" y="268871"/>
                </a:lnTo>
                <a:lnTo>
                  <a:pt x="256662" y="264442"/>
                </a:lnTo>
                <a:lnTo>
                  <a:pt x="281101" y="154529"/>
                </a:lnTo>
                <a:lnTo>
                  <a:pt x="281928" y="150100"/>
                </a:lnTo>
                <a:lnTo>
                  <a:pt x="285726" y="147492"/>
                </a:lnTo>
                <a:close/>
              </a:path>
              <a:path w="334010" h="286384">
                <a:moveTo>
                  <a:pt x="320772" y="147189"/>
                </a:moveTo>
                <a:lnTo>
                  <a:pt x="286169" y="147189"/>
                </a:lnTo>
                <a:lnTo>
                  <a:pt x="295006" y="148843"/>
                </a:lnTo>
                <a:lnTo>
                  <a:pt x="297928" y="153073"/>
                </a:lnTo>
                <a:lnTo>
                  <a:pt x="297111" y="157513"/>
                </a:lnTo>
                <a:lnTo>
                  <a:pt x="272672" y="267457"/>
                </a:lnTo>
                <a:lnTo>
                  <a:pt x="271928" y="271363"/>
                </a:lnTo>
                <a:lnTo>
                  <a:pt x="268515" y="274096"/>
                </a:lnTo>
                <a:lnTo>
                  <a:pt x="291673" y="274096"/>
                </a:lnTo>
                <a:lnTo>
                  <a:pt x="320772" y="147189"/>
                </a:lnTo>
                <a:close/>
              </a:path>
              <a:path w="334010" h="286384">
                <a:moveTo>
                  <a:pt x="98761" y="99012"/>
                </a:moveTo>
                <a:lnTo>
                  <a:pt x="3664" y="99012"/>
                </a:lnTo>
                <a:lnTo>
                  <a:pt x="0" y="102677"/>
                </a:lnTo>
                <a:lnTo>
                  <a:pt x="0" y="136048"/>
                </a:lnTo>
                <a:lnTo>
                  <a:pt x="3664" y="139733"/>
                </a:lnTo>
                <a:lnTo>
                  <a:pt x="330230" y="139733"/>
                </a:lnTo>
                <a:lnTo>
                  <a:pt x="333885" y="136048"/>
                </a:lnTo>
                <a:lnTo>
                  <a:pt x="333885" y="123441"/>
                </a:lnTo>
                <a:lnTo>
                  <a:pt x="113996" y="123441"/>
                </a:lnTo>
                <a:lnTo>
                  <a:pt x="111965" y="123095"/>
                </a:lnTo>
                <a:lnTo>
                  <a:pt x="110017" y="122415"/>
                </a:lnTo>
                <a:lnTo>
                  <a:pt x="103768" y="118712"/>
                </a:lnTo>
                <a:lnTo>
                  <a:pt x="99559" y="113089"/>
                </a:lnTo>
                <a:lnTo>
                  <a:pt x="97757" y="106301"/>
                </a:lnTo>
                <a:lnTo>
                  <a:pt x="98729" y="99106"/>
                </a:lnTo>
                <a:close/>
              </a:path>
              <a:path w="334010" h="286384">
                <a:moveTo>
                  <a:pt x="196318" y="99012"/>
                </a:moveTo>
                <a:lnTo>
                  <a:pt x="137566" y="99012"/>
                </a:lnTo>
                <a:lnTo>
                  <a:pt x="130791" y="118488"/>
                </a:lnTo>
                <a:lnTo>
                  <a:pt x="123818" y="123441"/>
                </a:lnTo>
                <a:lnTo>
                  <a:pt x="210056" y="123441"/>
                </a:lnTo>
                <a:lnTo>
                  <a:pt x="203093" y="118488"/>
                </a:lnTo>
                <a:lnTo>
                  <a:pt x="196318" y="99012"/>
                </a:lnTo>
                <a:close/>
              </a:path>
              <a:path w="334010" h="286384">
                <a:moveTo>
                  <a:pt x="330230" y="99012"/>
                </a:moveTo>
                <a:lnTo>
                  <a:pt x="235123" y="99012"/>
                </a:lnTo>
                <a:lnTo>
                  <a:pt x="236757" y="103724"/>
                </a:lnTo>
                <a:lnTo>
                  <a:pt x="236474" y="108698"/>
                </a:lnTo>
                <a:lnTo>
                  <a:pt x="232202" y="117504"/>
                </a:lnTo>
                <a:lnTo>
                  <a:pt x="228485" y="120802"/>
                </a:lnTo>
                <a:lnTo>
                  <a:pt x="221930" y="123095"/>
                </a:lnTo>
                <a:lnTo>
                  <a:pt x="219899" y="123441"/>
                </a:lnTo>
                <a:lnTo>
                  <a:pt x="333885" y="123441"/>
                </a:lnTo>
                <a:lnTo>
                  <a:pt x="333885" y="102677"/>
                </a:lnTo>
                <a:lnTo>
                  <a:pt x="330230" y="99012"/>
                </a:lnTo>
                <a:close/>
              </a:path>
              <a:path w="334010" h="286384">
                <a:moveTo>
                  <a:pt x="146655" y="0"/>
                </a:moveTo>
                <a:lnTo>
                  <a:pt x="140854" y="2806"/>
                </a:lnTo>
                <a:lnTo>
                  <a:pt x="104572" y="107085"/>
                </a:lnTo>
                <a:lnTo>
                  <a:pt x="107389" y="112886"/>
                </a:lnTo>
                <a:lnTo>
                  <a:pt x="113797" y="115106"/>
                </a:lnTo>
                <a:lnTo>
                  <a:pt x="114928" y="115294"/>
                </a:lnTo>
                <a:lnTo>
                  <a:pt x="120247" y="115294"/>
                </a:lnTo>
                <a:lnTo>
                  <a:pt x="124195" y="112656"/>
                </a:lnTo>
                <a:lnTo>
                  <a:pt x="160068" y="9497"/>
                </a:lnTo>
                <a:lnTo>
                  <a:pt x="157272" y="3696"/>
                </a:lnTo>
                <a:lnTo>
                  <a:pt x="146655" y="0"/>
                </a:lnTo>
                <a:close/>
              </a:path>
              <a:path w="334010" h="286384">
                <a:moveTo>
                  <a:pt x="187240" y="0"/>
                </a:moveTo>
                <a:lnTo>
                  <a:pt x="176612" y="3696"/>
                </a:lnTo>
                <a:lnTo>
                  <a:pt x="173806" y="9497"/>
                </a:lnTo>
                <a:lnTo>
                  <a:pt x="209689" y="112656"/>
                </a:lnTo>
                <a:lnTo>
                  <a:pt x="213627" y="115294"/>
                </a:lnTo>
                <a:lnTo>
                  <a:pt x="218956" y="115294"/>
                </a:lnTo>
                <a:lnTo>
                  <a:pt x="220077" y="115106"/>
                </a:lnTo>
                <a:lnTo>
                  <a:pt x="226506" y="112876"/>
                </a:lnTo>
                <a:lnTo>
                  <a:pt x="229301" y="107085"/>
                </a:lnTo>
                <a:lnTo>
                  <a:pt x="193041" y="2806"/>
                </a:lnTo>
                <a:lnTo>
                  <a:pt x="187240" y="0"/>
                </a:lnTo>
                <a:close/>
              </a:path>
            </a:pathLst>
          </a:custGeom>
          <a:solidFill>
            <a:srgbClr val="FFFFFF"/>
          </a:solidFill>
        </p:spPr>
        <p:txBody>
          <a:bodyPr wrap="square" lIns="0" tIns="0" rIns="0" bIns="0" rtlCol="0"/>
          <a:lstStyle/>
          <a:p>
            <a:endParaRPr/>
          </a:p>
        </p:txBody>
      </p:sp>
      <p:sp>
        <p:nvSpPr>
          <p:cNvPr id="47" name="object 47"/>
          <p:cNvSpPr/>
          <p:nvPr/>
        </p:nvSpPr>
        <p:spPr>
          <a:xfrm>
            <a:off x="2216358" y="3420988"/>
            <a:ext cx="287663" cy="250099"/>
          </a:xfrm>
          <a:custGeom>
            <a:avLst/>
            <a:gdLst/>
            <a:ahLst/>
            <a:cxnLst/>
            <a:rect l="l" t="t" r="r" b="b"/>
            <a:pathLst>
              <a:path w="632460" h="549909">
                <a:moveTo>
                  <a:pt x="631876" y="549313"/>
                </a:moveTo>
                <a:lnTo>
                  <a:pt x="0" y="549313"/>
                </a:lnTo>
                <a:lnTo>
                  <a:pt x="0" y="0"/>
                </a:lnTo>
                <a:lnTo>
                  <a:pt x="631876" y="0"/>
                </a:lnTo>
                <a:lnTo>
                  <a:pt x="631876" y="549313"/>
                </a:lnTo>
                <a:close/>
              </a:path>
            </a:pathLst>
          </a:custGeom>
          <a:solidFill>
            <a:srgbClr val="A885D7"/>
          </a:solidFill>
        </p:spPr>
        <p:txBody>
          <a:bodyPr wrap="square" lIns="0" tIns="0" rIns="0" bIns="0" rtlCol="0"/>
          <a:lstStyle/>
          <a:p>
            <a:endParaRPr/>
          </a:p>
        </p:txBody>
      </p:sp>
      <p:sp>
        <p:nvSpPr>
          <p:cNvPr id="48" name="object 48"/>
          <p:cNvSpPr/>
          <p:nvPr/>
        </p:nvSpPr>
        <p:spPr>
          <a:xfrm>
            <a:off x="2283409" y="3497681"/>
            <a:ext cx="153363" cy="96459"/>
          </a:xfrm>
          <a:custGeom>
            <a:avLst/>
            <a:gdLst/>
            <a:ahLst/>
            <a:cxnLst/>
            <a:rect l="l" t="t" r="r" b="b"/>
            <a:pathLst>
              <a:path w="337185" h="212090">
                <a:moveTo>
                  <a:pt x="330932" y="0"/>
                </a:moveTo>
                <a:lnTo>
                  <a:pt x="13298" y="1270"/>
                </a:lnTo>
                <a:lnTo>
                  <a:pt x="5989" y="1270"/>
                </a:lnTo>
                <a:lnTo>
                  <a:pt x="0" y="6350"/>
                </a:lnTo>
                <a:lnTo>
                  <a:pt x="104" y="207010"/>
                </a:lnTo>
                <a:lnTo>
                  <a:pt x="6083" y="212090"/>
                </a:lnTo>
                <a:lnTo>
                  <a:pt x="331026" y="212090"/>
                </a:lnTo>
                <a:lnTo>
                  <a:pt x="337015" y="207010"/>
                </a:lnTo>
                <a:lnTo>
                  <a:pt x="337010" y="195580"/>
                </a:lnTo>
                <a:lnTo>
                  <a:pt x="249123" y="195580"/>
                </a:lnTo>
                <a:lnTo>
                  <a:pt x="247008" y="194310"/>
                </a:lnTo>
                <a:lnTo>
                  <a:pt x="247005" y="189230"/>
                </a:lnTo>
                <a:lnTo>
                  <a:pt x="35234" y="189230"/>
                </a:lnTo>
                <a:lnTo>
                  <a:pt x="35234" y="176530"/>
                </a:lnTo>
                <a:lnTo>
                  <a:pt x="246999" y="176530"/>
                </a:lnTo>
                <a:lnTo>
                  <a:pt x="246987" y="149860"/>
                </a:lnTo>
                <a:lnTo>
                  <a:pt x="249123" y="148590"/>
                </a:lnTo>
                <a:lnTo>
                  <a:pt x="336987" y="148590"/>
                </a:lnTo>
                <a:lnTo>
                  <a:pt x="336980" y="134620"/>
                </a:lnTo>
                <a:lnTo>
                  <a:pt x="24889" y="134620"/>
                </a:lnTo>
                <a:lnTo>
                  <a:pt x="23475" y="133350"/>
                </a:lnTo>
                <a:lnTo>
                  <a:pt x="23475" y="114300"/>
                </a:lnTo>
                <a:lnTo>
                  <a:pt x="24889" y="113030"/>
                </a:lnTo>
                <a:lnTo>
                  <a:pt x="336970" y="113030"/>
                </a:lnTo>
                <a:lnTo>
                  <a:pt x="336960" y="93980"/>
                </a:lnTo>
                <a:lnTo>
                  <a:pt x="27308" y="93980"/>
                </a:lnTo>
                <a:lnTo>
                  <a:pt x="22931" y="88900"/>
                </a:lnTo>
                <a:lnTo>
                  <a:pt x="22931" y="83820"/>
                </a:lnTo>
                <a:lnTo>
                  <a:pt x="39663" y="83820"/>
                </a:lnTo>
                <a:lnTo>
                  <a:pt x="39663" y="81280"/>
                </a:lnTo>
                <a:lnTo>
                  <a:pt x="22931" y="81280"/>
                </a:lnTo>
                <a:lnTo>
                  <a:pt x="22931" y="68580"/>
                </a:lnTo>
                <a:lnTo>
                  <a:pt x="39663" y="68580"/>
                </a:lnTo>
                <a:lnTo>
                  <a:pt x="39663" y="67310"/>
                </a:lnTo>
                <a:lnTo>
                  <a:pt x="22931" y="67310"/>
                </a:lnTo>
                <a:lnTo>
                  <a:pt x="22931" y="54610"/>
                </a:lnTo>
                <a:lnTo>
                  <a:pt x="39663" y="54610"/>
                </a:lnTo>
                <a:lnTo>
                  <a:pt x="39663" y="52070"/>
                </a:lnTo>
                <a:lnTo>
                  <a:pt x="22931" y="52070"/>
                </a:lnTo>
                <a:lnTo>
                  <a:pt x="22931" y="46990"/>
                </a:lnTo>
                <a:lnTo>
                  <a:pt x="27308" y="41910"/>
                </a:lnTo>
                <a:lnTo>
                  <a:pt x="336935" y="41910"/>
                </a:lnTo>
                <a:lnTo>
                  <a:pt x="336931" y="34290"/>
                </a:lnTo>
                <a:lnTo>
                  <a:pt x="213260" y="34290"/>
                </a:lnTo>
                <a:lnTo>
                  <a:pt x="213260" y="21590"/>
                </a:lnTo>
                <a:lnTo>
                  <a:pt x="336925" y="21590"/>
                </a:lnTo>
                <a:lnTo>
                  <a:pt x="336921" y="6350"/>
                </a:lnTo>
                <a:lnTo>
                  <a:pt x="330932" y="0"/>
                </a:lnTo>
                <a:close/>
              </a:path>
              <a:path w="337185" h="212090">
                <a:moveTo>
                  <a:pt x="336987" y="148590"/>
                </a:moveTo>
                <a:lnTo>
                  <a:pt x="320335" y="148590"/>
                </a:lnTo>
                <a:lnTo>
                  <a:pt x="322461" y="149860"/>
                </a:lnTo>
                <a:lnTo>
                  <a:pt x="322492" y="193040"/>
                </a:lnTo>
                <a:lnTo>
                  <a:pt x="320367" y="195580"/>
                </a:lnTo>
                <a:lnTo>
                  <a:pt x="337010" y="195580"/>
                </a:lnTo>
                <a:lnTo>
                  <a:pt x="336987" y="148590"/>
                </a:lnTo>
                <a:close/>
              </a:path>
              <a:path w="337185" h="212090">
                <a:moveTo>
                  <a:pt x="137556" y="176530"/>
                </a:moveTo>
                <a:lnTo>
                  <a:pt x="115472" y="176530"/>
                </a:lnTo>
                <a:lnTo>
                  <a:pt x="115472" y="189230"/>
                </a:lnTo>
                <a:lnTo>
                  <a:pt x="137556" y="189230"/>
                </a:lnTo>
                <a:lnTo>
                  <a:pt x="137556" y="176530"/>
                </a:lnTo>
                <a:close/>
              </a:path>
              <a:path w="337185" h="212090">
                <a:moveTo>
                  <a:pt x="246999" y="176530"/>
                </a:moveTo>
                <a:lnTo>
                  <a:pt x="192203" y="176530"/>
                </a:lnTo>
                <a:lnTo>
                  <a:pt x="192203" y="189230"/>
                </a:lnTo>
                <a:lnTo>
                  <a:pt x="247005" y="189230"/>
                </a:lnTo>
                <a:lnTo>
                  <a:pt x="246999" y="176530"/>
                </a:lnTo>
                <a:close/>
              </a:path>
              <a:path w="337185" h="212090">
                <a:moveTo>
                  <a:pt x="42187" y="113030"/>
                </a:moveTo>
                <a:lnTo>
                  <a:pt x="36407" y="113030"/>
                </a:lnTo>
                <a:lnTo>
                  <a:pt x="37831" y="114300"/>
                </a:lnTo>
                <a:lnTo>
                  <a:pt x="37841" y="133350"/>
                </a:lnTo>
                <a:lnTo>
                  <a:pt x="36417" y="134620"/>
                </a:lnTo>
                <a:lnTo>
                  <a:pt x="42208" y="134620"/>
                </a:lnTo>
                <a:lnTo>
                  <a:pt x="40784" y="133350"/>
                </a:lnTo>
                <a:lnTo>
                  <a:pt x="40784" y="114300"/>
                </a:lnTo>
                <a:lnTo>
                  <a:pt x="42187" y="113030"/>
                </a:lnTo>
                <a:close/>
              </a:path>
              <a:path w="337185" h="212090">
                <a:moveTo>
                  <a:pt x="59495" y="113030"/>
                </a:moveTo>
                <a:lnTo>
                  <a:pt x="53705" y="113030"/>
                </a:lnTo>
                <a:lnTo>
                  <a:pt x="55129" y="114300"/>
                </a:lnTo>
                <a:lnTo>
                  <a:pt x="55139" y="133350"/>
                </a:lnTo>
                <a:lnTo>
                  <a:pt x="53715" y="134620"/>
                </a:lnTo>
                <a:lnTo>
                  <a:pt x="59506" y="134620"/>
                </a:lnTo>
                <a:lnTo>
                  <a:pt x="58082" y="133350"/>
                </a:lnTo>
                <a:lnTo>
                  <a:pt x="58071" y="114300"/>
                </a:lnTo>
                <a:lnTo>
                  <a:pt x="59495" y="113030"/>
                </a:lnTo>
                <a:close/>
              </a:path>
              <a:path w="337185" h="212090">
                <a:moveTo>
                  <a:pt x="76803" y="113030"/>
                </a:moveTo>
                <a:lnTo>
                  <a:pt x="71024" y="113030"/>
                </a:lnTo>
                <a:lnTo>
                  <a:pt x="72437" y="114300"/>
                </a:lnTo>
                <a:lnTo>
                  <a:pt x="72448" y="133350"/>
                </a:lnTo>
                <a:lnTo>
                  <a:pt x="71024" y="134620"/>
                </a:lnTo>
                <a:lnTo>
                  <a:pt x="76803" y="134620"/>
                </a:lnTo>
                <a:lnTo>
                  <a:pt x="75400" y="133350"/>
                </a:lnTo>
                <a:lnTo>
                  <a:pt x="75390" y="114300"/>
                </a:lnTo>
                <a:lnTo>
                  <a:pt x="76803" y="113030"/>
                </a:lnTo>
                <a:close/>
              </a:path>
              <a:path w="337185" h="212090">
                <a:moveTo>
                  <a:pt x="99504" y="113030"/>
                </a:moveTo>
                <a:lnTo>
                  <a:pt x="88332" y="113030"/>
                </a:lnTo>
                <a:lnTo>
                  <a:pt x="89735" y="114300"/>
                </a:lnTo>
                <a:lnTo>
                  <a:pt x="89756" y="133350"/>
                </a:lnTo>
                <a:lnTo>
                  <a:pt x="88332" y="134620"/>
                </a:lnTo>
                <a:lnTo>
                  <a:pt x="99504" y="134620"/>
                </a:lnTo>
                <a:lnTo>
                  <a:pt x="98091" y="133350"/>
                </a:lnTo>
                <a:lnTo>
                  <a:pt x="98080" y="114300"/>
                </a:lnTo>
                <a:lnTo>
                  <a:pt x="99504" y="113030"/>
                </a:lnTo>
                <a:close/>
              </a:path>
              <a:path w="337185" h="212090">
                <a:moveTo>
                  <a:pt x="116792" y="113030"/>
                </a:moveTo>
                <a:lnTo>
                  <a:pt x="111012" y="113030"/>
                </a:lnTo>
                <a:lnTo>
                  <a:pt x="112436" y="114300"/>
                </a:lnTo>
                <a:lnTo>
                  <a:pt x="112446" y="133350"/>
                </a:lnTo>
                <a:lnTo>
                  <a:pt x="111022" y="134620"/>
                </a:lnTo>
                <a:lnTo>
                  <a:pt x="116813" y="134620"/>
                </a:lnTo>
                <a:lnTo>
                  <a:pt x="115389" y="133350"/>
                </a:lnTo>
                <a:lnTo>
                  <a:pt x="115378" y="114300"/>
                </a:lnTo>
                <a:lnTo>
                  <a:pt x="116792" y="113030"/>
                </a:lnTo>
                <a:close/>
              </a:path>
              <a:path w="337185" h="212090">
                <a:moveTo>
                  <a:pt x="134111" y="113030"/>
                </a:moveTo>
                <a:lnTo>
                  <a:pt x="128331" y="113030"/>
                </a:lnTo>
                <a:lnTo>
                  <a:pt x="129734" y="114300"/>
                </a:lnTo>
                <a:lnTo>
                  <a:pt x="129755" y="133350"/>
                </a:lnTo>
                <a:lnTo>
                  <a:pt x="128331" y="134620"/>
                </a:lnTo>
                <a:lnTo>
                  <a:pt x="134111" y="134620"/>
                </a:lnTo>
                <a:lnTo>
                  <a:pt x="132708" y="133350"/>
                </a:lnTo>
                <a:lnTo>
                  <a:pt x="132687" y="114300"/>
                </a:lnTo>
                <a:lnTo>
                  <a:pt x="134111" y="113030"/>
                </a:lnTo>
                <a:close/>
              </a:path>
              <a:path w="337185" h="212090">
                <a:moveTo>
                  <a:pt x="151409" y="113030"/>
                </a:moveTo>
                <a:lnTo>
                  <a:pt x="145639" y="113030"/>
                </a:lnTo>
                <a:lnTo>
                  <a:pt x="147042" y="114300"/>
                </a:lnTo>
                <a:lnTo>
                  <a:pt x="147063" y="133350"/>
                </a:lnTo>
                <a:lnTo>
                  <a:pt x="145639" y="134620"/>
                </a:lnTo>
                <a:lnTo>
                  <a:pt x="151429" y="134620"/>
                </a:lnTo>
                <a:lnTo>
                  <a:pt x="150005" y="133350"/>
                </a:lnTo>
                <a:lnTo>
                  <a:pt x="149995" y="114300"/>
                </a:lnTo>
                <a:lnTo>
                  <a:pt x="151409" y="113030"/>
                </a:lnTo>
                <a:close/>
              </a:path>
              <a:path w="337185" h="212090">
                <a:moveTo>
                  <a:pt x="174099" y="113030"/>
                </a:moveTo>
                <a:lnTo>
                  <a:pt x="162937" y="113030"/>
                </a:lnTo>
                <a:lnTo>
                  <a:pt x="164361" y="114300"/>
                </a:lnTo>
                <a:lnTo>
                  <a:pt x="164361" y="133350"/>
                </a:lnTo>
                <a:lnTo>
                  <a:pt x="162947" y="134620"/>
                </a:lnTo>
                <a:lnTo>
                  <a:pt x="174109" y="134620"/>
                </a:lnTo>
                <a:lnTo>
                  <a:pt x="172696" y="133350"/>
                </a:lnTo>
                <a:lnTo>
                  <a:pt x="172685" y="114300"/>
                </a:lnTo>
                <a:lnTo>
                  <a:pt x="174099" y="113030"/>
                </a:lnTo>
                <a:close/>
              </a:path>
              <a:path w="337185" h="212090">
                <a:moveTo>
                  <a:pt x="191418" y="113030"/>
                </a:moveTo>
                <a:lnTo>
                  <a:pt x="185617" y="113030"/>
                </a:lnTo>
                <a:lnTo>
                  <a:pt x="187051" y="114300"/>
                </a:lnTo>
                <a:lnTo>
                  <a:pt x="187051" y="133350"/>
                </a:lnTo>
                <a:lnTo>
                  <a:pt x="185638" y="134620"/>
                </a:lnTo>
                <a:lnTo>
                  <a:pt x="191418" y="134620"/>
                </a:lnTo>
                <a:lnTo>
                  <a:pt x="190004" y="133350"/>
                </a:lnTo>
                <a:lnTo>
                  <a:pt x="189994" y="114300"/>
                </a:lnTo>
                <a:lnTo>
                  <a:pt x="191418" y="113030"/>
                </a:lnTo>
                <a:close/>
              </a:path>
              <a:path w="337185" h="212090">
                <a:moveTo>
                  <a:pt x="208716" y="113030"/>
                </a:moveTo>
                <a:lnTo>
                  <a:pt x="202936" y="113030"/>
                </a:lnTo>
                <a:lnTo>
                  <a:pt x="204360" y="114300"/>
                </a:lnTo>
                <a:lnTo>
                  <a:pt x="204360" y="133350"/>
                </a:lnTo>
                <a:lnTo>
                  <a:pt x="202946" y="134620"/>
                </a:lnTo>
                <a:lnTo>
                  <a:pt x="208737" y="134620"/>
                </a:lnTo>
                <a:lnTo>
                  <a:pt x="207313" y="133350"/>
                </a:lnTo>
                <a:lnTo>
                  <a:pt x="207302" y="114300"/>
                </a:lnTo>
                <a:lnTo>
                  <a:pt x="208716" y="113030"/>
                </a:lnTo>
                <a:close/>
              </a:path>
              <a:path w="337185" h="212090">
                <a:moveTo>
                  <a:pt x="226024" y="113030"/>
                </a:moveTo>
                <a:lnTo>
                  <a:pt x="220234" y="113030"/>
                </a:lnTo>
                <a:lnTo>
                  <a:pt x="221658" y="114300"/>
                </a:lnTo>
                <a:lnTo>
                  <a:pt x="221658" y="133350"/>
                </a:lnTo>
                <a:lnTo>
                  <a:pt x="220244" y="134620"/>
                </a:lnTo>
                <a:lnTo>
                  <a:pt x="226024" y="134620"/>
                </a:lnTo>
                <a:lnTo>
                  <a:pt x="224621" y="133350"/>
                </a:lnTo>
                <a:lnTo>
                  <a:pt x="224590" y="114300"/>
                </a:lnTo>
                <a:lnTo>
                  <a:pt x="226024" y="113030"/>
                </a:lnTo>
                <a:close/>
              </a:path>
              <a:path w="337185" h="212090">
                <a:moveTo>
                  <a:pt x="248704" y="113030"/>
                </a:moveTo>
                <a:lnTo>
                  <a:pt x="237542" y="113030"/>
                </a:lnTo>
                <a:lnTo>
                  <a:pt x="238956" y="114300"/>
                </a:lnTo>
                <a:lnTo>
                  <a:pt x="238966" y="133350"/>
                </a:lnTo>
                <a:lnTo>
                  <a:pt x="237563" y="134620"/>
                </a:lnTo>
                <a:lnTo>
                  <a:pt x="248714" y="134620"/>
                </a:lnTo>
                <a:lnTo>
                  <a:pt x="247311" y="133350"/>
                </a:lnTo>
                <a:lnTo>
                  <a:pt x="247290" y="114300"/>
                </a:lnTo>
                <a:lnTo>
                  <a:pt x="248704" y="113030"/>
                </a:lnTo>
                <a:close/>
              </a:path>
              <a:path w="337185" h="212090">
                <a:moveTo>
                  <a:pt x="266012" y="113030"/>
                </a:moveTo>
                <a:lnTo>
                  <a:pt x="260243" y="113030"/>
                </a:lnTo>
                <a:lnTo>
                  <a:pt x="261646" y="114300"/>
                </a:lnTo>
                <a:lnTo>
                  <a:pt x="261667" y="133350"/>
                </a:lnTo>
                <a:lnTo>
                  <a:pt x="260243" y="134620"/>
                </a:lnTo>
                <a:lnTo>
                  <a:pt x="266033" y="134620"/>
                </a:lnTo>
                <a:lnTo>
                  <a:pt x="264620" y="133350"/>
                </a:lnTo>
                <a:lnTo>
                  <a:pt x="264599" y="114300"/>
                </a:lnTo>
                <a:lnTo>
                  <a:pt x="266012" y="113030"/>
                </a:lnTo>
                <a:close/>
              </a:path>
              <a:path w="337185" h="212090">
                <a:moveTo>
                  <a:pt x="283331" y="113030"/>
                </a:moveTo>
                <a:lnTo>
                  <a:pt x="277541" y="113030"/>
                </a:lnTo>
                <a:lnTo>
                  <a:pt x="278965" y="114300"/>
                </a:lnTo>
                <a:lnTo>
                  <a:pt x="278965" y="133350"/>
                </a:lnTo>
                <a:lnTo>
                  <a:pt x="277541" y="134620"/>
                </a:lnTo>
                <a:lnTo>
                  <a:pt x="283331" y="134620"/>
                </a:lnTo>
                <a:lnTo>
                  <a:pt x="281907" y="133350"/>
                </a:lnTo>
                <a:lnTo>
                  <a:pt x="281907" y="114300"/>
                </a:lnTo>
                <a:lnTo>
                  <a:pt x="283331" y="113030"/>
                </a:lnTo>
                <a:close/>
              </a:path>
              <a:path w="337185" h="212090">
                <a:moveTo>
                  <a:pt x="300619" y="113030"/>
                </a:moveTo>
                <a:lnTo>
                  <a:pt x="294860" y="113030"/>
                </a:lnTo>
                <a:lnTo>
                  <a:pt x="296252" y="114300"/>
                </a:lnTo>
                <a:lnTo>
                  <a:pt x="296273" y="133350"/>
                </a:lnTo>
                <a:lnTo>
                  <a:pt x="294860" y="134620"/>
                </a:lnTo>
                <a:lnTo>
                  <a:pt x="300629" y="134620"/>
                </a:lnTo>
                <a:lnTo>
                  <a:pt x="299226" y="133350"/>
                </a:lnTo>
                <a:lnTo>
                  <a:pt x="299205" y="114300"/>
                </a:lnTo>
                <a:lnTo>
                  <a:pt x="300619" y="113030"/>
                </a:lnTo>
                <a:close/>
              </a:path>
              <a:path w="337185" h="212090">
                <a:moveTo>
                  <a:pt x="336970" y="113030"/>
                </a:moveTo>
                <a:lnTo>
                  <a:pt x="312158" y="113030"/>
                </a:lnTo>
                <a:lnTo>
                  <a:pt x="313571" y="114300"/>
                </a:lnTo>
                <a:lnTo>
                  <a:pt x="313571" y="133350"/>
                </a:lnTo>
                <a:lnTo>
                  <a:pt x="312158" y="134620"/>
                </a:lnTo>
                <a:lnTo>
                  <a:pt x="336980" y="134620"/>
                </a:lnTo>
                <a:lnTo>
                  <a:pt x="336970" y="113030"/>
                </a:lnTo>
                <a:close/>
              </a:path>
              <a:path w="337185" h="212090">
                <a:moveTo>
                  <a:pt x="39663" y="83820"/>
                </a:moveTo>
                <a:lnTo>
                  <a:pt x="38040" y="83820"/>
                </a:lnTo>
                <a:lnTo>
                  <a:pt x="38040" y="93980"/>
                </a:lnTo>
                <a:lnTo>
                  <a:pt x="39663" y="93980"/>
                </a:lnTo>
                <a:lnTo>
                  <a:pt x="39663" y="83820"/>
                </a:lnTo>
                <a:close/>
              </a:path>
              <a:path w="337185" h="212090">
                <a:moveTo>
                  <a:pt x="336935" y="41910"/>
                </a:moveTo>
                <a:lnTo>
                  <a:pt x="69819" y="41910"/>
                </a:lnTo>
                <a:lnTo>
                  <a:pt x="74186" y="46990"/>
                </a:lnTo>
                <a:lnTo>
                  <a:pt x="74186" y="52070"/>
                </a:lnTo>
                <a:lnTo>
                  <a:pt x="57464" y="52070"/>
                </a:lnTo>
                <a:lnTo>
                  <a:pt x="57464" y="93980"/>
                </a:lnTo>
                <a:lnTo>
                  <a:pt x="59087" y="93980"/>
                </a:lnTo>
                <a:lnTo>
                  <a:pt x="59087" y="83820"/>
                </a:lnTo>
                <a:lnTo>
                  <a:pt x="336955" y="83820"/>
                </a:lnTo>
                <a:lnTo>
                  <a:pt x="336954" y="81280"/>
                </a:lnTo>
                <a:lnTo>
                  <a:pt x="59087" y="81280"/>
                </a:lnTo>
                <a:lnTo>
                  <a:pt x="59087" y="68580"/>
                </a:lnTo>
                <a:lnTo>
                  <a:pt x="336948" y="68580"/>
                </a:lnTo>
                <a:lnTo>
                  <a:pt x="336947" y="67310"/>
                </a:lnTo>
                <a:lnTo>
                  <a:pt x="59087" y="67310"/>
                </a:lnTo>
                <a:lnTo>
                  <a:pt x="59087" y="54610"/>
                </a:lnTo>
                <a:lnTo>
                  <a:pt x="336941" y="54610"/>
                </a:lnTo>
                <a:lnTo>
                  <a:pt x="336935" y="41910"/>
                </a:lnTo>
                <a:close/>
              </a:path>
              <a:path w="337185" h="212090">
                <a:moveTo>
                  <a:pt x="336955" y="83820"/>
                </a:moveTo>
                <a:lnTo>
                  <a:pt x="74186" y="83820"/>
                </a:lnTo>
                <a:lnTo>
                  <a:pt x="74186" y="88900"/>
                </a:lnTo>
                <a:lnTo>
                  <a:pt x="69819" y="93980"/>
                </a:lnTo>
                <a:lnTo>
                  <a:pt x="336960" y="93980"/>
                </a:lnTo>
                <a:lnTo>
                  <a:pt x="336955" y="83820"/>
                </a:lnTo>
                <a:close/>
              </a:path>
              <a:path w="337185" h="212090">
                <a:moveTo>
                  <a:pt x="39663" y="68580"/>
                </a:moveTo>
                <a:lnTo>
                  <a:pt x="38040" y="68580"/>
                </a:lnTo>
                <a:lnTo>
                  <a:pt x="38040" y="81280"/>
                </a:lnTo>
                <a:lnTo>
                  <a:pt x="39663" y="81280"/>
                </a:lnTo>
                <a:lnTo>
                  <a:pt x="39663" y="68580"/>
                </a:lnTo>
                <a:close/>
              </a:path>
              <a:path w="337185" h="212090">
                <a:moveTo>
                  <a:pt x="336948" y="68580"/>
                </a:moveTo>
                <a:lnTo>
                  <a:pt x="74186" y="68580"/>
                </a:lnTo>
                <a:lnTo>
                  <a:pt x="74186" y="81280"/>
                </a:lnTo>
                <a:lnTo>
                  <a:pt x="336954" y="81280"/>
                </a:lnTo>
                <a:lnTo>
                  <a:pt x="336948" y="68580"/>
                </a:lnTo>
                <a:close/>
              </a:path>
              <a:path w="337185" h="212090">
                <a:moveTo>
                  <a:pt x="39663" y="54610"/>
                </a:moveTo>
                <a:lnTo>
                  <a:pt x="38040" y="54610"/>
                </a:lnTo>
                <a:lnTo>
                  <a:pt x="38040" y="67310"/>
                </a:lnTo>
                <a:lnTo>
                  <a:pt x="39663" y="67310"/>
                </a:lnTo>
                <a:lnTo>
                  <a:pt x="39663" y="54610"/>
                </a:lnTo>
                <a:close/>
              </a:path>
              <a:path w="337185" h="212090">
                <a:moveTo>
                  <a:pt x="336941" y="54610"/>
                </a:moveTo>
                <a:lnTo>
                  <a:pt x="74186" y="54610"/>
                </a:lnTo>
                <a:lnTo>
                  <a:pt x="74186" y="67310"/>
                </a:lnTo>
                <a:lnTo>
                  <a:pt x="336947" y="67310"/>
                </a:lnTo>
                <a:lnTo>
                  <a:pt x="336941" y="54610"/>
                </a:lnTo>
                <a:close/>
              </a:path>
              <a:path w="337185" h="212090">
                <a:moveTo>
                  <a:pt x="39663" y="41910"/>
                </a:moveTo>
                <a:lnTo>
                  <a:pt x="38040" y="41910"/>
                </a:lnTo>
                <a:lnTo>
                  <a:pt x="38040" y="52070"/>
                </a:lnTo>
                <a:lnTo>
                  <a:pt x="39663" y="52070"/>
                </a:lnTo>
                <a:lnTo>
                  <a:pt x="39663" y="41910"/>
                </a:lnTo>
                <a:close/>
              </a:path>
              <a:path w="337185" h="212090">
                <a:moveTo>
                  <a:pt x="284462" y="21590"/>
                </a:moveTo>
                <a:lnTo>
                  <a:pt x="269080" y="21590"/>
                </a:lnTo>
                <a:lnTo>
                  <a:pt x="269080" y="34290"/>
                </a:lnTo>
                <a:lnTo>
                  <a:pt x="284462" y="34290"/>
                </a:lnTo>
                <a:lnTo>
                  <a:pt x="284462" y="21590"/>
                </a:lnTo>
                <a:close/>
              </a:path>
              <a:path w="337185" h="212090">
                <a:moveTo>
                  <a:pt x="336925" y="21590"/>
                </a:moveTo>
                <a:lnTo>
                  <a:pt x="322492" y="21590"/>
                </a:lnTo>
                <a:lnTo>
                  <a:pt x="322492" y="34290"/>
                </a:lnTo>
                <a:lnTo>
                  <a:pt x="336931" y="34290"/>
                </a:lnTo>
                <a:lnTo>
                  <a:pt x="336925" y="21590"/>
                </a:lnTo>
                <a:close/>
              </a:path>
            </a:pathLst>
          </a:custGeom>
          <a:solidFill>
            <a:srgbClr val="FFFFFF"/>
          </a:solidFill>
        </p:spPr>
        <p:txBody>
          <a:bodyPr wrap="square" lIns="0" tIns="0" rIns="0" bIns="0" rtlCol="0"/>
          <a:lstStyle/>
          <a:p>
            <a:endParaRPr/>
          </a:p>
        </p:txBody>
      </p:sp>
      <p:sp>
        <p:nvSpPr>
          <p:cNvPr id="49" name="object 49"/>
          <p:cNvSpPr/>
          <p:nvPr/>
        </p:nvSpPr>
        <p:spPr>
          <a:xfrm>
            <a:off x="1970884" y="3095381"/>
            <a:ext cx="23972" cy="26569"/>
          </a:xfrm>
          <a:custGeom>
            <a:avLst/>
            <a:gdLst/>
            <a:ahLst/>
            <a:cxnLst/>
            <a:rect l="l" t="t" r="r" b="b"/>
            <a:pathLst>
              <a:path w="52704" h="58420">
                <a:moveTo>
                  <a:pt x="22617" y="40962"/>
                </a:moveTo>
                <a:lnTo>
                  <a:pt x="12114" y="40962"/>
                </a:lnTo>
                <a:lnTo>
                  <a:pt x="13057" y="44710"/>
                </a:lnTo>
                <a:lnTo>
                  <a:pt x="14544" y="47935"/>
                </a:lnTo>
                <a:lnTo>
                  <a:pt x="20418" y="55788"/>
                </a:lnTo>
                <a:lnTo>
                  <a:pt x="25726" y="58354"/>
                </a:lnTo>
                <a:lnTo>
                  <a:pt x="37904" y="58354"/>
                </a:lnTo>
                <a:lnTo>
                  <a:pt x="42365" y="56448"/>
                </a:lnTo>
                <a:lnTo>
                  <a:pt x="49317" y="48836"/>
                </a:lnTo>
                <a:lnTo>
                  <a:pt x="49556" y="48291"/>
                </a:lnTo>
                <a:lnTo>
                  <a:pt x="28983" y="48291"/>
                </a:lnTo>
                <a:lnTo>
                  <a:pt x="26219" y="46742"/>
                </a:lnTo>
                <a:lnTo>
                  <a:pt x="23496" y="42836"/>
                </a:lnTo>
                <a:lnTo>
                  <a:pt x="23025" y="41946"/>
                </a:lnTo>
                <a:lnTo>
                  <a:pt x="22617" y="40962"/>
                </a:lnTo>
                <a:close/>
              </a:path>
              <a:path w="52704" h="58420">
                <a:moveTo>
                  <a:pt x="52343" y="37820"/>
                </a:moveTo>
                <a:lnTo>
                  <a:pt x="42668" y="37820"/>
                </a:lnTo>
                <a:lnTo>
                  <a:pt x="42009" y="40700"/>
                </a:lnTo>
                <a:lnTo>
                  <a:pt x="41181" y="42857"/>
                </a:lnTo>
                <a:lnTo>
                  <a:pt x="40166" y="44281"/>
                </a:lnTo>
                <a:lnTo>
                  <a:pt x="38375" y="46951"/>
                </a:lnTo>
                <a:lnTo>
                  <a:pt x="35758" y="48291"/>
                </a:lnTo>
                <a:lnTo>
                  <a:pt x="49556" y="48291"/>
                </a:lnTo>
                <a:lnTo>
                  <a:pt x="51485" y="43893"/>
                </a:lnTo>
                <a:lnTo>
                  <a:pt x="52343" y="37820"/>
                </a:lnTo>
                <a:close/>
              </a:path>
              <a:path w="52704" h="58420">
                <a:moveTo>
                  <a:pt x="34909" y="33360"/>
                </a:moveTo>
                <a:lnTo>
                  <a:pt x="1591" y="33360"/>
                </a:lnTo>
                <a:lnTo>
                  <a:pt x="0" y="40962"/>
                </a:lnTo>
                <a:lnTo>
                  <a:pt x="33328" y="40962"/>
                </a:lnTo>
                <a:lnTo>
                  <a:pt x="34909" y="33360"/>
                </a:lnTo>
                <a:close/>
              </a:path>
              <a:path w="52704" h="58420">
                <a:moveTo>
                  <a:pt x="20910" y="25831"/>
                </a:moveTo>
                <a:lnTo>
                  <a:pt x="10900" y="25831"/>
                </a:lnTo>
                <a:lnTo>
                  <a:pt x="10826" y="32093"/>
                </a:lnTo>
                <a:lnTo>
                  <a:pt x="10931" y="33360"/>
                </a:lnTo>
                <a:lnTo>
                  <a:pt x="20910" y="33360"/>
                </a:lnTo>
                <a:lnTo>
                  <a:pt x="20910" y="25831"/>
                </a:lnTo>
                <a:close/>
              </a:path>
              <a:path w="52704" h="58420">
                <a:moveTo>
                  <a:pt x="37443" y="18229"/>
                </a:moveTo>
                <a:lnTo>
                  <a:pt x="1591" y="18229"/>
                </a:lnTo>
                <a:lnTo>
                  <a:pt x="0" y="25831"/>
                </a:lnTo>
                <a:lnTo>
                  <a:pt x="35862" y="25831"/>
                </a:lnTo>
                <a:lnTo>
                  <a:pt x="37443" y="18229"/>
                </a:lnTo>
                <a:close/>
              </a:path>
              <a:path w="52704" h="58420">
                <a:moveTo>
                  <a:pt x="49612" y="9947"/>
                </a:moveTo>
                <a:lnTo>
                  <a:pt x="35810" y="9947"/>
                </a:lnTo>
                <a:lnTo>
                  <a:pt x="38438" y="11161"/>
                </a:lnTo>
                <a:lnTo>
                  <a:pt x="41213" y="14952"/>
                </a:lnTo>
                <a:lnTo>
                  <a:pt x="42019" y="16962"/>
                </a:lnTo>
                <a:lnTo>
                  <a:pt x="42668" y="19632"/>
                </a:lnTo>
                <a:lnTo>
                  <a:pt x="52448" y="19632"/>
                </a:lnTo>
                <a:lnTo>
                  <a:pt x="52328" y="16962"/>
                </a:lnTo>
                <a:lnTo>
                  <a:pt x="52255" y="16030"/>
                </a:lnTo>
                <a:lnTo>
                  <a:pt x="51213" y="12690"/>
                </a:lnTo>
                <a:lnTo>
                  <a:pt x="49612" y="9947"/>
                </a:lnTo>
                <a:close/>
              </a:path>
              <a:path w="52704" h="58420">
                <a:moveTo>
                  <a:pt x="39778" y="0"/>
                </a:moveTo>
                <a:lnTo>
                  <a:pt x="26030" y="0"/>
                </a:lnTo>
                <a:lnTo>
                  <a:pt x="21161" y="2303"/>
                </a:lnTo>
                <a:lnTo>
                  <a:pt x="14811" y="9947"/>
                </a:lnTo>
                <a:lnTo>
                  <a:pt x="13004" y="13716"/>
                </a:lnTo>
                <a:lnTo>
                  <a:pt x="11957" y="18229"/>
                </a:lnTo>
                <a:lnTo>
                  <a:pt x="22428" y="18229"/>
                </a:lnTo>
                <a:lnTo>
                  <a:pt x="22888" y="16962"/>
                </a:lnTo>
                <a:lnTo>
                  <a:pt x="23308" y="16030"/>
                </a:lnTo>
                <a:lnTo>
                  <a:pt x="25925" y="11675"/>
                </a:lnTo>
                <a:lnTo>
                  <a:pt x="28753" y="9947"/>
                </a:lnTo>
                <a:lnTo>
                  <a:pt x="49612" y="9947"/>
                </a:lnTo>
                <a:lnTo>
                  <a:pt x="45537" y="3078"/>
                </a:lnTo>
                <a:lnTo>
                  <a:pt x="39778" y="0"/>
                </a:lnTo>
                <a:close/>
              </a:path>
            </a:pathLst>
          </a:custGeom>
          <a:solidFill>
            <a:srgbClr val="FFFFFF"/>
          </a:solidFill>
        </p:spPr>
        <p:txBody>
          <a:bodyPr wrap="square" lIns="0" tIns="0" rIns="0" bIns="0" rtlCol="0"/>
          <a:lstStyle/>
          <a:p>
            <a:endParaRPr/>
          </a:p>
        </p:txBody>
      </p:sp>
      <p:sp>
        <p:nvSpPr>
          <p:cNvPr id="50" name="object 50"/>
          <p:cNvSpPr/>
          <p:nvPr/>
        </p:nvSpPr>
        <p:spPr>
          <a:xfrm>
            <a:off x="1943135" y="3563996"/>
            <a:ext cx="32147" cy="35764"/>
          </a:xfrm>
          <a:prstGeom prst="rect">
            <a:avLst/>
          </a:prstGeom>
          <a:blipFill>
            <a:blip r:embed="rId2" cstate="print"/>
            <a:stretch>
              <a:fillRect/>
            </a:stretch>
          </a:blipFill>
        </p:spPr>
        <p:txBody>
          <a:bodyPr wrap="square" lIns="0" tIns="0" rIns="0" bIns="0" rtlCol="0"/>
          <a:lstStyle/>
          <a:p>
            <a:endParaRPr/>
          </a:p>
        </p:txBody>
      </p:sp>
      <p:sp>
        <p:nvSpPr>
          <p:cNvPr id="51" name="object 51"/>
          <p:cNvSpPr txBox="1"/>
          <p:nvPr/>
        </p:nvSpPr>
        <p:spPr>
          <a:xfrm>
            <a:off x="1818732" y="2794942"/>
            <a:ext cx="725224" cy="99332"/>
          </a:xfrm>
          <a:prstGeom prst="rect">
            <a:avLst/>
          </a:prstGeom>
        </p:spPr>
        <p:txBody>
          <a:bodyPr vert="horz" wrap="square" lIns="0" tIns="6931" rIns="0" bIns="0" rtlCol="0">
            <a:spAutoFit/>
          </a:bodyPr>
          <a:lstStyle/>
          <a:p>
            <a:pPr marL="221797">
              <a:spcBef>
                <a:spcPts val="55"/>
              </a:spcBef>
            </a:pPr>
            <a:r>
              <a:rPr sz="600" b="1" spc="2" dirty="0">
                <a:solidFill>
                  <a:srgbClr val="FFFFFF"/>
                </a:solidFill>
                <a:latin typeface="Helvetica"/>
                <a:cs typeface="Helvetica"/>
              </a:rPr>
              <a:t>Banque</a:t>
            </a:r>
            <a:endParaRPr sz="600">
              <a:latin typeface="Helvetica"/>
              <a:cs typeface="Helvetica"/>
            </a:endParaRPr>
          </a:p>
        </p:txBody>
      </p:sp>
      <p:sp>
        <p:nvSpPr>
          <p:cNvPr id="52" name="object 52"/>
          <p:cNvSpPr/>
          <p:nvPr/>
        </p:nvSpPr>
        <p:spPr>
          <a:xfrm>
            <a:off x="1265586" y="4332131"/>
            <a:ext cx="731289" cy="563735"/>
          </a:xfrm>
          <a:custGeom>
            <a:avLst/>
            <a:gdLst/>
            <a:ahLst/>
            <a:cxnLst/>
            <a:rect l="l" t="t" r="r" b="b"/>
            <a:pathLst>
              <a:path w="1607820" h="1239520">
                <a:moveTo>
                  <a:pt x="228048" y="0"/>
                </a:moveTo>
                <a:lnTo>
                  <a:pt x="2641" y="327667"/>
                </a:lnTo>
                <a:lnTo>
                  <a:pt x="0" y="334366"/>
                </a:lnTo>
                <a:lnTo>
                  <a:pt x="127" y="341317"/>
                </a:lnTo>
                <a:lnTo>
                  <a:pt x="2852" y="347711"/>
                </a:lnTo>
                <a:lnTo>
                  <a:pt x="8002" y="352744"/>
                </a:lnTo>
                <a:lnTo>
                  <a:pt x="1372924" y="1236717"/>
                </a:lnTo>
                <a:lnTo>
                  <a:pt x="1379624" y="1239358"/>
                </a:lnTo>
                <a:lnTo>
                  <a:pt x="1386574" y="1239226"/>
                </a:lnTo>
                <a:lnTo>
                  <a:pt x="1392969" y="1236498"/>
                </a:lnTo>
                <a:lnTo>
                  <a:pt x="1398002" y="1231346"/>
                </a:lnTo>
                <a:lnTo>
                  <a:pt x="1605032" y="911680"/>
                </a:lnTo>
                <a:lnTo>
                  <a:pt x="1607674" y="904980"/>
                </a:lnTo>
                <a:lnTo>
                  <a:pt x="1607547" y="898030"/>
                </a:lnTo>
                <a:lnTo>
                  <a:pt x="1604822" y="891635"/>
                </a:lnTo>
                <a:lnTo>
                  <a:pt x="1599671" y="886602"/>
                </a:lnTo>
                <a:lnTo>
                  <a:pt x="234749" y="2640"/>
                </a:lnTo>
                <a:lnTo>
                  <a:pt x="228048" y="0"/>
                </a:lnTo>
                <a:close/>
              </a:path>
            </a:pathLst>
          </a:custGeom>
          <a:solidFill>
            <a:srgbClr val="E4E3E3"/>
          </a:solidFill>
        </p:spPr>
        <p:txBody>
          <a:bodyPr wrap="square" lIns="0" tIns="0" rIns="0" bIns="0" rtlCol="0"/>
          <a:lstStyle/>
          <a:p>
            <a:endParaRPr/>
          </a:p>
        </p:txBody>
      </p:sp>
      <p:sp>
        <p:nvSpPr>
          <p:cNvPr id="53" name="object 53"/>
          <p:cNvSpPr/>
          <p:nvPr/>
        </p:nvSpPr>
        <p:spPr>
          <a:xfrm>
            <a:off x="1355056" y="4406470"/>
            <a:ext cx="58878" cy="58873"/>
          </a:xfrm>
          <a:prstGeom prst="rect">
            <a:avLst/>
          </a:prstGeom>
          <a:blipFill>
            <a:blip r:embed="rId3" cstate="print"/>
            <a:stretch>
              <a:fillRect/>
            </a:stretch>
          </a:blipFill>
        </p:spPr>
        <p:txBody>
          <a:bodyPr wrap="square" lIns="0" tIns="0" rIns="0" bIns="0" rtlCol="0"/>
          <a:lstStyle/>
          <a:p>
            <a:endParaRPr/>
          </a:p>
        </p:txBody>
      </p:sp>
      <p:sp>
        <p:nvSpPr>
          <p:cNvPr id="54" name="object 54"/>
          <p:cNvSpPr/>
          <p:nvPr/>
        </p:nvSpPr>
        <p:spPr>
          <a:xfrm>
            <a:off x="735406" y="4440753"/>
            <a:ext cx="1209284" cy="696582"/>
          </a:xfrm>
          <a:custGeom>
            <a:avLst/>
            <a:gdLst/>
            <a:ahLst/>
            <a:cxnLst/>
            <a:rect l="l" t="t" r="r" b="b"/>
            <a:pathLst>
              <a:path w="2658745" h="1531620">
                <a:moveTo>
                  <a:pt x="1157522" y="0"/>
                </a:moveTo>
                <a:lnTo>
                  <a:pt x="1144469" y="293"/>
                </a:lnTo>
                <a:lnTo>
                  <a:pt x="1132438" y="5477"/>
                </a:lnTo>
                <a:lnTo>
                  <a:pt x="1122944" y="15220"/>
                </a:lnTo>
                <a:lnTo>
                  <a:pt x="0" y="1530244"/>
                </a:lnTo>
                <a:lnTo>
                  <a:pt x="2274902" y="1531125"/>
                </a:lnTo>
                <a:lnTo>
                  <a:pt x="2653222" y="1006279"/>
                </a:lnTo>
                <a:lnTo>
                  <a:pt x="2658229" y="993629"/>
                </a:lnTo>
                <a:lnTo>
                  <a:pt x="2658036" y="980530"/>
                </a:lnTo>
                <a:lnTo>
                  <a:pt x="2652963" y="968497"/>
                </a:lnTo>
                <a:lnTo>
                  <a:pt x="2643327" y="959045"/>
                </a:lnTo>
                <a:lnTo>
                  <a:pt x="1170084" y="4928"/>
                </a:lnTo>
                <a:lnTo>
                  <a:pt x="1157522" y="0"/>
                </a:lnTo>
                <a:close/>
              </a:path>
            </a:pathLst>
          </a:custGeom>
          <a:solidFill>
            <a:srgbClr val="4AB4E6"/>
          </a:solidFill>
        </p:spPr>
        <p:txBody>
          <a:bodyPr wrap="square" lIns="0" tIns="0" rIns="0" bIns="0" rtlCol="0"/>
          <a:lstStyle/>
          <a:p>
            <a:endParaRPr/>
          </a:p>
        </p:txBody>
      </p:sp>
      <p:sp>
        <p:nvSpPr>
          <p:cNvPr id="55" name="object 55"/>
          <p:cNvSpPr/>
          <p:nvPr/>
        </p:nvSpPr>
        <p:spPr>
          <a:xfrm>
            <a:off x="1515441" y="3280744"/>
            <a:ext cx="280443" cy="787553"/>
          </a:xfrm>
          <a:custGeom>
            <a:avLst/>
            <a:gdLst/>
            <a:ahLst/>
            <a:cxnLst/>
            <a:rect l="l" t="t" r="r" b="b"/>
            <a:pathLst>
              <a:path w="616585" h="1731645">
                <a:moveTo>
                  <a:pt x="397861" y="0"/>
                </a:moveTo>
                <a:lnTo>
                  <a:pt x="353862" y="2"/>
                </a:lnTo>
                <a:lnTo>
                  <a:pt x="313009" y="5688"/>
                </a:lnTo>
                <a:lnTo>
                  <a:pt x="275890" y="19004"/>
                </a:lnTo>
                <a:lnTo>
                  <a:pt x="243092" y="41892"/>
                </a:lnTo>
                <a:lnTo>
                  <a:pt x="215203" y="76297"/>
                </a:lnTo>
                <a:lnTo>
                  <a:pt x="192810" y="124165"/>
                </a:lnTo>
                <a:lnTo>
                  <a:pt x="176501" y="187438"/>
                </a:lnTo>
                <a:lnTo>
                  <a:pt x="1679" y="1478519"/>
                </a:lnTo>
                <a:lnTo>
                  <a:pt x="0" y="1523059"/>
                </a:lnTo>
                <a:lnTo>
                  <a:pt x="6694" y="1566433"/>
                </a:lnTo>
                <a:lnTo>
                  <a:pt x="21209" y="1607373"/>
                </a:lnTo>
                <a:lnTo>
                  <a:pt x="42989" y="1644614"/>
                </a:lnTo>
                <a:lnTo>
                  <a:pt x="71481" y="1676887"/>
                </a:lnTo>
                <a:lnTo>
                  <a:pt x="106130" y="1702926"/>
                </a:lnTo>
                <a:lnTo>
                  <a:pt x="146382" y="1721464"/>
                </a:lnTo>
                <a:lnTo>
                  <a:pt x="191683" y="1731234"/>
                </a:lnTo>
                <a:lnTo>
                  <a:pt x="205882" y="1731182"/>
                </a:lnTo>
                <a:lnTo>
                  <a:pt x="253329" y="1729983"/>
                </a:lnTo>
                <a:lnTo>
                  <a:pt x="299512" y="1717573"/>
                </a:lnTo>
                <a:lnTo>
                  <a:pt x="343120" y="1695620"/>
                </a:lnTo>
                <a:lnTo>
                  <a:pt x="382841" y="1665790"/>
                </a:lnTo>
                <a:lnTo>
                  <a:pt x="417364" y="1629752"/>
                </a:lnTo>
                <a:lnTo>
                  <a:pt x="445377" y="1589173"/>
                </a:lnTo>
                <a:lnTo>
                  <a:pt x="465569" y="1545720"/>
                </a:lnTo>
                <a:lnTo>
                  <a:pt x="476628" y="1501063"/>
                </a:lnTo>
                <a:lnTo>
                  <a:pt x="613335" y="415484"/>
                </a:lnTo>
                <a:lnTo>
                  <a:pt x="616351" y="368407"/>
                </a:lnTo>
                <a:lnTo>
                  <a:pt x="615403" y="319025"/>
                </a:lnTo>
                <a:lnTo>
                  <a:pt x="612520" y="270198"/>
                </a:lnTo>
                <a:lnTo>
                  <a:pt x="607111" y="222797"/>
                </a:lnTo>
                <a:lnTo>
                  <a:pt x="598588" y="177696"/>
                </a:lnTo>
                <a:lnTo>
                  <a:pt x="586361" y="135766"/>
                </a:lnTo>
                <a:lnTo>
                  <a:pt x="569842" y="97879"/>
                </a:lnTo>
                <a:lnTo>
                  <a:pt x="548441" y="64909"/>
                </a:lnTo>
                <a:lnTo>
                  <a:pt x="521570" y="37728"/>
                </a:lnTo>
                <a:lnTo>
                  <a:pt x="488638" y="17207"/>
                </a:lnTo>
                <a:lnTo>
                  <a:pt x="449058" y="4219"/>
                </a:lnTo>
                <a:lnTo>
                  <a:pt x="397861" y="0"/>
                </a:lnTo>
                <a:close/>
              </a:path>
            </a:pathLst>
          </a:custGeom>
          <a:solidFill>
            <a:srgbClr val="CF9F82"/>
          </a:solidFill>
        </p:spPr>
        <p:txBody>
          <a:bodyPr wrap="square" lIns="0" tIns="0" rIns="0" bIns="0" rtlCol="0"/>
          <a:lstStyle/>
          <a:p>
            <a:endParaRPr/>
          </a:p>
        </p:txBody>
      </p:sp>
      <p:sp>
        <p:nvSpPr>
          <p:cNvPr id="56" name="object 56"/>
          <p:cNvSpPr/>
          <p:nvPr/>
        </p:nvSpPr>
        <p:spPr>
          <a:xfrm>
            <a:off x="1490703" y="3272553"/>
            <a:ext cx="305281" cy="802570"/>
          </a:xfrm>
          <a:custGeom>
            <a:avLst/>
            <a:gdLst/>
            <a:ahLst/>
            <a:cxnLst/>
            <a:rect l="l" t="t" r="r" b="b"/>
            <a:pathLst>
              <a:path w="671195" h="1764665">
                <a:moveTo>
                  <a:pt x="408681" y="0"/>
                </a:moveTo>
                <a:lnTo>
                  <a:pt x="365073" y="4057"/>
                </a:lnTo>
                <a:lnTo>
                  <a:pt x="324103" y="13845"/>
                </a:lnTo>
                <a:lnTo>
                  <a:pt x="287540" y="30478"/>
                </a:lnTo>
                <a:lnTo>
                  <a:pt x="257155" y="55066"/>
                </a:lnTo>
                <a:lnTo>
                  <a:pt x="234721" y="88725"/>
                </a:lnTo>
                <a:lnTo>
                  <a:pt x="222006" y="132565"/>
                </a:lnTo>
                <a:lnTo>
                  <a:pt x="220784" y="187700"/>
                </a:lnTo>
                <a:lnTo>
                  <a:pt x="226729" y="320099"/>
                </a:lnTo>
                <a:lnTo>
                  <a:pt x="205988" y="502096"/>
                </a:lnTo>
                <a:lnTo>
                  <a:pt x="138113" y="857770"/>
                </a:lnTo>
                <a:lnTo>
                  <a:pt x="2654" y="1511199"/>
                </a:lnTo>
                <a:lnTo>
                  <a:pt x="0" y="1556391"/>
                </a:lnTo>
                <a:lnTo>
                  <a:pt x="6616" y="1599647"/>
                </a:lnTo>
                <a:lnTo>
                  <a:pt x="21720" y="1639959"/>
                </a:lnTo>
                <a:lnTo>
                  <a:pt x="44531" y="1676318"/>
                </a:lnTo>
                <a:lnTo>
                  <a:pt x="74266" y="1707716"/>
                </a:lnTo>
                <a:lnTo>
                  <a:pt x="110143" y="1733143"/>
                </a:lnTo>
                <a:lnTo>
                  <a:pt x="151379" y="1751590"/>
                </a:lnTo>
                <a:lnTo>
                  <a:pt x="197193" y="1762050"/>
                </a:lnTo>
                <a:lnTo>
                  <a:pt x="249158" y="1764119"/>
                </a:lnTo>
                <a:lnTo>
                  <a:pt x="294643" y="1756784"/>
                </a:lnTo>
                <a:lnTo>
                  <a:pt x="337244" y="1741411"/>
                </a:lnTo>
                <a:lnTo>
                  <a:pt x="375884" y="1718772"/>
                </a:lnTo>
                <a:lnTo>
                  <a:pt x="409488" y="1689639"/>
                </a:lnTo>
                <a:lnTo>
                  <a:pt x="436981" y="1654781"/>
                </a:lnTo>
                <a:lnTo>
                  <a:pt x="457287" y="1614970"/>
                </a:lnTo>
                <a:lnTo>
                  <a:pt x="469331" y="1570977"/>
                </a:lnTo>
                <a:lnTo>
                  <a:pt x="663828" y="412646"/>
                </a:lnTo>
                <a:lnTo>
                  <a:pt x="669277" y="369157"/>
                </a:lnTo>
                <a:lnTo>
                  <a:pt x="670770" y="321461"/>
                </a:lnTo>
                <a:lnTo>
                  <a:pt x="667983" y="271365"/>
                </a:lnTo>
                <a:lnTo>
                  <a:pt x="660591" y="220674"/>
                </a:lnTo>
                <a:lnTo>
                  <a:pt x="648271" y="171196"/>
                </a:lnTo>
                <a:lnTo>
                  <a:pt x="630697" y="124738"/>
                </a:lnTo>
                <a:lnTo>
                  <a:pt x="607547" y="83104"/>
                </a:lnTo>
                <a:lnTo>
                  <a:pt x="578496" y="48103"/>
                </a:lnTo>
                <a:lnTo>
                  <a:pt x="543219" y="21541"/>
                </a:lnTo>
                <a:lnTo>
                  <a:pt x="501393" y="5224"/>
                </a:lnTo>
                <a:lnTo>
                  <a:pt x="453154" y="560"/>
                </a:lnTo>
                <a:lnTo>
                  <a:pt x="408681" y="0"/>
                </a:lnTo>
                <a:close/>
              </a:path>
            </a:pathLst>
          </a:custGeom>
          <a:solidFill>
            <a:srgbClr val="DEB89C"/>
          </a:solidFill>
        </p:spPr>
        <p:txBody>
          <a:bodyPr wrap="square" lIns="0" tIns="0" rIns="0" bIns="0" rtlCol="0"/>
          <a:lstStyle/>
          <a:p>
            <a:endParaRPr/>
          </a:p>
        </p:txBody>
      </p:sp>
      <p:sp>
        <p:nvSpPr>
          <p:cNvPr id="57" name="object 57"/>
          <p:cNvSpPr/>
          <p:nvPr/>
        </p:nvSpPr>
        <p:spPr>
          <a:xfrm>
            <a:off x="1585068" y="3275982"/>
            <a:ext cx="95599" cy="172990"/>
          </a:xfrm>
          <a:custGeom>
            <a:avLst/>
            <a:gdLst/>
            <a:ahLst/>
            <a:cxnLst/>
            <a:rect l="l" t="t" r="r" b="b"/>
            <a:pathLst>
              <a:path w="210185" h="380365">
                <a:moveTo>
                  <a:pt x="125192" y="0"/>
                </a:moveTo>
                <a:lnTo>
                  <a:pt x="85695" y="9993"/>
                </a:lnTo>
                <a:lnTo>
                  <a:pt x="42319" y="42839"/>
                </a:lnTo>
                <a:lnTo>
                  <a:pt x="15561" y="108378"/>
                </a:lnTo>
                <a:lnTo>
                  <a:pt x="9438" y="168621"/>
                </a:lnTo>
                <a:lnTo>
                  <a:pt x="3979" y="232524"/>
                </a:lnTo>
                <a:lnTo>
                  <a:pt x="422" y="291493"/>
                </a:lnTo>
                <a:lnTo>
                  <a:pt x="0" y="336938"/>
                </a:lnTo>
                <a:lnTo>
                  <a:pt x="3949" y="360265"/>
                </a:lnTo>
                <a:lnTo>
                  <a:pt x="18434" y="371412"/>
                </a:lnTo>
                <a:lnTo>
                  <a:pt x="43945" y="379081"/>
                </a:lnTo>
                <a:lnTo>
                  <a:pt x="78114" y="379887"/>
                </a:lnTo>
                <a:lnTo>
                  <a:pt x="118573" y="370443"/>
                </a:lnTo>
                <a:lnTo>
                  <a:pt x="176235" y="341586"/>
                </a:lnTo>
                <a:lnTo>
                  <a:pt x="201503" y="294424"/>
                </a:lnTo>
                <a:lnTo>
                  <a:pt x="207644" y="254331"/>
                </a:lnTo>
                <a:lnTo>
                  <a:pt x="210054" y="197448"/>
                </a:lnTo>
                <a:lnTo>
                  <a:pt x="209762" y="137259"/>
                </a:lnTo>
                <a:lnTo>
                  <a:pt x="207798" y="87250"/>
                </a:lnTo>
                <a:lnTo>
                  <a:pt x="200887" y="45595"/>
                </a:lnTo>
                <a:lnTo>
                  <a:pt x="171803" y="9413"/>
                </a:lnTo>
                <a:lnTo>
                  <a:pt x="125192" y="0"/>
                </a:lnTo>
                <a:close/>
              </a:path>
            </a:pathLst>
          </a:custGeom>
          <a:solidFill>
            <a:srgbClr val="D6CFC5"/>
          </a:solidFill>
        </p:spPr>
        <p:txBody>
          <a:bodyPr wrap="square" lIns="0" tIns="0" rIns="0" bIns="0" rtlCol="0"/>
          <a:lstStyle/>
          <a:p>
            <a:endParaRPr/>
          </a:p>
        </p:txBody>
      </p:sp>
      <p:sp>
        <p:nvSpPr>
          <p:cNvPr id="58" name="object 58"/>
          <p:cNvSpPr/>
          <p:nvPr/>
        </p:nvSpPr>
        <p:spPr>
          <a:xfrm>
            <a:off x="2392670" y="3442400"/>
            <a:ext cx="321744" cy="250388"/>
          </a:xfrm>
          <a:custGeom>
            <a:avLst/>
            <a:gdLst/>
            <a:ahLst/>
            <a:cxnLst/>
            <a:rect l="l" t="t" r="r" b="b"/>
            <a:pathLst>
              <a:path w="707389" h="550545">
                <a:moveTo>
                  <a:pt x="509174" y="0"/>
                </a:moveTo>
                <a:lnTo>
                  <a:pt x="462949" y="2181"/>
                </a:lnTo>
                <a:lnTo>
                  <a:pt x="417121" y="15507"/>
                </a:lnTo>
                <a:lnTo>
                  <a:pt x="125455" y="136509"/>
                </a:lnTo>
                <a:lnTo>
                  <a:pt x="83932" y="160247"/>
                </a:lnTo>
                <a:lnTo>
                  <a:pt x="49971" y="192090"/>
                </a:lnTo>
                <a:lnTo>
                  <a:pt x="24226" y="230368"/>
                </a:lnTo>
                <a:lnTo>
                  <a:pt x="7351" y="273413"/>
                </a:lnTo>
                <a:lnTo>
                  <a:pt x="0" y="319558"/>
                </a:lnTo>
                <a:lnTo>
                  <a:pt x="2826" y="367132"/>
                </a:lnTo>
                <a:lnTo>
                  <a:pt x="16484" y="414469"/>
                </a:lnTo>
                <a:lnTo>
                  <a:pt x="41847" y="461511"/>
                </a:lnTo>
                <a:lnTo>
                  <a:pt x="73332" y="496923"/>
                </a:lnTo>
                <a:lnTo>
                  <a:pt x="110950" y="523985"/>
                </a:lnTo>
                <a:lnTo>
                  <a:pt x="153069" y="541998"/>
                </a:lnTo>
                <a:lnTo>
                  <a:pt x="198057" y="550264"/>
                </a:lnTo>
                <a:lnTo>
                  <a:pt x="244281" y="548083"/>
                </a:lnTo>
                <a:lnTo>
                  <a:pt x="290109" y="534758"/>
                </a:lnTo>
                <a:lnTo>
                  <a:pt x="581776" y="413746"/>
                </a:lnTo>
                <a:lnTo>
                  <a:pt x="623299" y="390008"/>
                </a:lnTo>
                <a:lnTo>
                  <a:pt x="657260" y="358165"/>
                </a:lnTo>
                <a:lnTo>
                  <a:pt x="683005" y="319888"/>
                </a:lnTo>
                <a:lnTo>
                  <a:pt x="699882" y="276843"/>
                </a:lnTo>
                <a:lnTo>
                  <a:pt x="707235" y="230701"/>
                </a:lnTo>
                <a:lnTo>
                  <a:pt x="704411" y="183129"/>
                </a:lnTo>
                <a:lnTo>
                  <a:pt x="690757" y="135797"/>
                </a:lnTo>
                <a:lnTo>
                  <a:pt x="665383" y="88750"/>
                </a:lnTo>
                <a:lnTo>
                  <a:pt x="633899" y="53337"/>
                </a:lnTo>
                <a:lnTo>
                  <a:pt x="596281" y="26275"/>
                </a:lnTo>
                <a:lnTo>
                  <a:pt x="554162" y="8264"/>
                </a:lnTo>
                <a:lnTo>
                  <a:pt x="509174" y="0"/>
                </a:lnTo>
                <a:close/>
              </a:path>
            </a:pathLst>
          </a:custGeom>
          <a:solidFill>
            <a:srgbClr val="DEB89C"/>
          </a:solidFill>
        </p:spPr>
        <p:txBody>
          <a:bodyPr wrap="square" lIns="0" tIns="0" rIns="0" bIns="0" rtlCol="0"/>
          <a:lstStyle/>
          <a:p>
            <a:endParaRPr/>
          </a:p>
        </p:txBody>
      </p:sp>
      <p:sp>
        <p:nvSpPr>
          <p:cNvPr id="59" name="object 59"/>
          <p:cNvSpPr/>
          <p:nvPr/>
        </p:nvSpPr>
        <p:spPr>
          <a:xfrm>
            <a:off x="2395893" y="3525374"/>
            <a:ext cx="157117" cy="150464"/>
          </a:xfrm>
          <a:custGeom>
            <a:avLst/>
            <a:gdLst/>
            <a:ahLst/>
            <a:cxnLst/>
            <a:rect l="l" t="t" r="r" b="b"/>
            <a:pathLst>
              <a:path w="345439" h="330834">
                <a:moveTo>
                  <a:pt x="208126" y="0"/>
                </a:moveTo>
                <a:lnTo>
                  <a:pt x="159719" y="11971"/>
                </a:lnTo>
                <a:lnTo>
                  <a:pt x="83439" y="43541"/>
                </a:lnTo>
                <a:lnTo>
                  <a:pt x="39425" y="69821"/>
                </a:lnTo>
                <a:lnTo>
                  <a:pt x="12189" y="103541"/>
                </a:lnTo>
                <a:lnTo>
                  <a:pt x="0" y="142816"/>
                </a:lnTo>
                <a:lnTo>
                  <a:pt x="1123" y="185763"/>
                </a:lnTo>
                <a:lnTo>
                  <a:pt x="13828" y="230499"/>
                </a:lnTo>
                <a:lnTo>
                  <a:pt x="36399" y="274346"/>
                </a:lnTo>
                <a:lnTo>
                  <a:pt x="64965" y="305960"/>
                </a:lnTo>
                <a:lnTo>
                  <a:pt x="100566" y="325482"/>
                </a:lnTo>
                <a:lnTo>
                  <a:pt x="143154" y="330322"/>
                </a:lnTo>
                <a:lnTo>
                  <a:pt x="192681" y="317889"/>
                </a:lnTo>
                <a:lnTo>
                  <a:pt x="268962" y="286319"/>
                </a:lnTo>
                <a:lnTo>
                  <a:pt x="311855" y="260501"/>
                </a:lnTo>
                <a:lnTo>
                  <a:pt x="336408" y="227882"/>
                </a:lnTo>
                <a:lnTo>
                  <a:pt x="345395" y="189921"/>
                </a:lnTo>
                <a:lnTo>
                  <a:pt x="341586" y="148075"/>
                </a:lnTo>
                <a:lnTo>
                  <a:pt x="327756" y="103801"/>
                </a:lnTo>
                <a:lnTo>
                  <a:pt x="306315" y="59483"/>
                </a:lnTo>
                <a:lnTo>
                  <a:pt x="280434" y="26771"/>
                </a:lnTo>
                <a:lnTo>
                  <a:pt x="248035" y="5938"/>
                </a:lnTo>
                <a:lnTo>
                  <a:pt x="208126" y="0"/>
                </a:lnTo>
                <a:close/>
              </a:path>
            </a:pathLst>
          </a:custGeom>
          <a:solidFill>
            <a:srgbClr val="D6CFC5"/>
          </a:solidFill>
        </p:spPr>
        <p:txBody>
          <a:bodyPr wrap="square" lIns="0" tIns="0" rIns="0" bIns="0" rtlCol="0"/>
          <a:lstStyle/>
          <a:p>
            <a:endParaRPr/>
          </a:p>
        </p:txBody>
      </p:sp>
      <p:sp>
        <p:nvSpPr>
          <p:cNvPr id="60" name="object 60"/>
          <p:cNvSpPr/>
          <p:nvPr/>
        </p:nvSpPr>
        <p:spPr>
          <a:xfrm>
            <a:off x="2390525" y="3673193"/>
            <a:ext cx="326943" cy="251543"/>
          </a:xfrm>
          <a:custGeom>
            <a:avLst/>
            <a:gdLst/>
            <a:ahLst/>
            <a:cxnLst/>
            <a:rect l="l" t="t" r="r" b="b"/>
            <a:pathLst>
              <a:path w="718820" h="553084">
                <a:moveTo>
                  <a:pt x="517210" y="0"/>
                </a:moveTo>
                <a:lnTo>
                  <a:pt x="470259" y="2191"/>
                </a:lnTo>
                <a:lnTo>
                  <a:pt x="423710" y="15582"/>
                </a:lnTo>
                <a:lnTo>
                  <a:pt x="127436" y="137212"/>
                </a:lnTo>
                <a:lnTo>
                  <a:pt x="85259" y="161072"/>
                </a:lnTo>
                <a:lnTo>
                  <a:pt x="50763" y="193075"/>
                </a:lnTo>
                <a:lnTo>
                  <a:pt x="24612" y="231545"/>
                </a:lnTo>
                <a:lnTo>
                  <a:pt x="7469" y="274805"/>
                </a:lnTo>
                <a:lnTo>
                  <a:pt x="0" y="321180"/>
                </a:lnTo>
                <a:lnTo>
                  <a:pt x="2868" y="368992"/>
                </a:lnTo>
                <a:lnTo>
                  <a:pt x="16738" y="416565"/>
                </a:lnTo>
                <a:lnTo>
                  <a:pt x="42507" y="463858"/>
                </a:lnTo>
                <a:lnTo>
                  <a:pt x="74488" y="499450"/>
                </a:lnTo>
                <a:lnTo>
                  <a:pt x="112698" y="526649"/>
                </a:lnTo>
                <a:lnTo>
                  <a:pt x="155481" y="544753"/>
                </a:lnTo>
                <a:lnTo>
                  <a:pt x="201176" y="553059"/>
                </a:lnTo>
                <a:lnTo>
                  <a:pt x="248128" y="550866"/>
                </a:lnTo>
                <a:lnTo>
                  <a:pt x="294677" y="537472"/>
                </a:lnTo>
                <a:lnTo>
                  <a:pt x="590951" y="415853"/>
                </a:lnTo>
                <a:lnTo>
                  <a:pt x="633128" y="391992"/>
                </a:lnTo>
                <a:lnTo>
                  <a:pt x="667625" y="359988"/>
                </a:lnTo>
                <a:lnTo>
                  <a:pt x="693778" y="321516"/>
                </a:lnTo>
                <a:lnTo>
                  <a:pt x="710922" y="278253"/>
                </a:lnTo>
                <a:lnTo>
                  <a:pt x="718392" y="231876"/>
                </a:lnTo>
                <a:lnTo>
                  <a:pt x="715522" y="184063"/>
                </a:lnTo>
                <a:lnTo>
                  <a:pt x="701649" y="136489"/>
                </a:lnTo>
                <a:lnTo>
                  <a:pt x="675880" y="89197"/>
                </a:lnTo>
                <a:lnTo>
                  <a:pt x="643899" y="53606"/>
                </a:lnTo>
                <a:lnTo>
                  <a:pt x="605688" y="26408"/>
                </a:lnTo>
                <a:lnTo>
                  <a:pt x="562906" y="8306"/>
                </a:lnTo>
                <a:lnTo>
                  <a:pt x="517210" y="0"/>
                </a:lnTo>
                <a:close/>
              </a:path>
            </a:pathLst>
          </a:custGeom>
          <a:solidFill>
            <a:srgbClr val="DEB89C"/>
          </a:solidFill>
        </p:spPr>
        <p:txBody>
          <a:bodyPr wrap="square" lIns="0" tIns="0" rIns="0" bIns="0" rtlCol="0"/>
          <a:lstStyle/>
          <a:p>
            <a:endParaRPr/>
          </a:p>
        </p:txBody>
      </p:sp>
      <p:sp>
        <p:nvSpPr>
          <p:cNvPr id="61" name="object 61"/>
          <p:cNvSpPr/>
          <p:nvPr/>
        </p:nvSpPr>
        <p:spPr>
          <a:xfrm>
            <a:off x="2393520" y="3758659"/>
            <a:ext cx="154807" cy="146710"/>
          </a:xfrm>
          <a:custGeom>
            <a:avLst/>
            <a:gdLst/>
            <a:ahLst/>
            <a:cxnLst/>
            <a:rect l="l" t="t" r="r" b="b"/>
            <a:pathLst>
              <a:path w="340360" h="322579">
                <a:moveTo>
                  <a:pt x="205072" y="0"/>
                </a:moveTo>
                <a:lnTo>
                  <a:pt x="157377" y="11669"/>
                </a:lnTo>
                <a:lnTo>
                  <a:pt x="82217" y="42453"/>
                </a:lnTo>
                <a:lnTo>
                  <a:pt x="38846" y="68071"/>
                </a:lnTo>
                <a:lnTo>
                  <a:pt x="12009" y="100943"/>
                </a:lnTo>
                <a:lnTo>
                  <a:pt x="0" y="139230"/>
                </a:lnTo>
                <a:lnTo>
                  <a:pt x="1110" y="181098"/>
                </a:lnTo>
                <a:lnTo>
                  <a:pt x="13633" y="224709"/>
                </a:lnTo>
                <a:lnTo>
                  <a:pt x="35867" y="267470"/>
                </a:lnTo>
                <a:lnTo>
                  <a:pt x="64012" y="298287"/>
                </a:lnTo>
                <a:lnTo>
                  <a:pt x="99090" y="317315"/>
                </a:lnTo>
                <a:lnTo>
                  <a:pt x="141054" y="322031"/>
                </a:lnTo>
                <a:lnTo>
                  <a:pt x="189858" y="309911"/>
                </a:lnTo>
                <a:lnTo>
                  <a:pt x="265018" y="279127"/>
                </a:lnTo>
                <a:lnTo>
                  <a:pt x="307276" y="253962"/>
                </a:lnTo>
                <a:lnTo>
                  <a:pt x="331467" y="222164"/>
                </a:lnTo>
                <a:lnTo>
                  <a:pt x="340321" y="185155"/>
                </a:lnTo>
                <a:lnTo>
                  <a:pt x="336569" y="144357"/>
                </a:lnTo>
                <a:lnTo>
                  <a:pt x="322943" y="101195"/>
                </a:lnTo>
                <a:lnTo>
                  <a:pt x="301812" y="57988"/>
                </a:lnTo>
                <a:lnTo>
                  <a:pt x="276314" y="26100"/>
                </a:lnTo>
                <a:lnTo>
                  <a:pt x="205072" y="0"/>
                </a:lnTo>
                <a:close/>
              </a:path>
            </a:pathLst>
          </a:custGeom>
          <a:solidFill>
            <a:srgbClr val="D6CFC5"/>
          </a:solidFill>
        </p:spPr>
        <p:txBody>
          <a:bodyPr wrap="square" lIns="0" tIns="0" rIns="0" bIns="0" rtlCol="0"/>
          <a:lstStyle/>
          <a:p>
            <a:endParaRPr/>
          </a:p>
        </p:txBody>
      </p:sp>
      <p:sp>
        <p:nvSpPr>
          <p:cNvPr id="62" name="object 62"/>
          <p:cNvSpPr/>
          <p:nvPr/>
        </p:nvSpPr>
        <p:spPr>
          <a:xfrm>
            <a:off x="2403807" y="3903109"/>
            <a:ext cx="328098" cy="238836"/>
          </a:xfrm>
          <a:custGeom>
            <a:avLst/>
            <a:gdLst/>
            <a:ahLst/>
            <a:cxnLst/>
            <a:rect l="l" t="t" r="r" b="b"/>
            <a:pathLst>
              <a:path w="721360" h="525145">
                <a:moveTo>
                  <a:pt x="526406" y="0"/>
                </a:moveTo>
                <a:lnTo>
                  <a:pt x="479389" y="3374"/>
                </a:lnTo>
                <a:lnTo>
                  <a:pt x="432454" y="17180"/>
                </a:lnTo>
                <a:lnTo>
                  <a:pt x="132694" y="138957"/>
                </a:lnTo>
                <a:lnTo>
                  <a:pt x="89833" y="162392"/>
                </a:lnTo>
                <a:lnTo>
                  <a:pt x="54422" y="193202"/>
                </a:lnTo>
                <a:lnTo>
                  <a:pt x="27171" y="229805"/>
                </a:lnTo>
                <a:lnTo>
                  <a:pt x="8793" y="270619"/>
                </a:lnTo>
                <a:lnTo>
                  <a:pt x="0" y="314063"/>
                </a:lnTo>
                <a:lnTo>
                  <a:pt x="1503" y="358553"/>
                </a:lnTo>
                <a:lnTo>
                  <a:pt x="14017" y="402509"/>
                </a:lnTo>
                <a:lnTo>
                  <a:pt x="38433" y="445861"/>
                </a:lnTo>
                <a:lnTo>
                  <a:pt x="69399" y="478134"/>
                </a:lnTo>
                <a:lnTo>
                  <a:pt x="106836" y="502406"/>
                </a:lnTo>
                <a:lnTo>
                  <a:pt x="149105" y="518071"/>
                </a:lnTo>
                <a:lnTo>
                  <a:pt x="194568" y="524520"/>
                </a:lnTo>
                <a:lnTo>
                  <a:pt x="241586" y="521146"/>
                </a:lnTo>
                <a:lnTo>
                  <a:pt x="288521" y="507343"/>
                </a:lnTo>
                <a:lnTo>
                  <a:pt x="588282" y="385567"/>
                </a:lnTo>
                <a:lnTo>
                  <a:pt x="631143" y="362132"/>
                </a:lnTo>
                <a:lnTo>
                  <a:pt x="666556" y="331322"/>
                </a:lnTo>
                <a:lnTo>
                  <a:pt x="693808" y="294718"/>
                </a:lnTo>
                <a:lnTo>
                  <a:pt x="712187" y="253903"/>
                </a:lnTo>
                <a:lnTo>
                  <a:pt x="720981" y="210457"/>
                </a:lnTo>
                <a:lnTo>
                  <a:pt x="719475" y="165964"/>
                </a:lnTo>
                <a:lnTo>
                  <a:pt x="706959" y="122004"/>
                </a:lnTo>
                <a:lnTo>
                  <a:pt x="682539" y="78662"/>
                </a:lnTo>
                <a:lnTo>
                  <a:pt x="651572" y="46388"/>
                </a:lnTo>
                <a:lnTo>
                  <a:pt x="614135" y="22114"/>
                </a:lnTo>
                <a:lnTo>
                  <a:pt x="571867" y="6449"/>
                </a:lnTo>
                <a:lnTo>
                  <a:pt x="526406" y="0"/>
                </a:lnTo>
                <a:close/>
              </a:path>
            </a:pathLst>
          </a:custGeom>
          <a:solidFill>
            <a:srgbClr val="DEB89C"/>
          </a:solidFill>
        </p:spPr>
        <p:txBody>
          <a:bodyPr wrap="square" lIns="0" tIns="0" rIns="0" bIns="0" rtlCol="0"/>
          <a:lstStyle/>
          <a:p>
            <a:endParaRPr/>
          </a:p>
        </p:txBody>
      </p:sp>
      <p:sp>
        <p:nvSpPr>
          <p:cNvPr id="63" name="object 63"/>
          <p:cNvSpPr/>
          <p:nvPr/>
        </p:nvSpPr>
        <p:spPr>
          <a:xfrm>
            <a:off x="2407684" y="3993790"/>
            <a:ext cx="140366" cy="131692"/>
          </a:xfrm>
          <a:custGeom>
            <a:avLst/>
            <a:gdLst/>
            <a:ahLst/>
            <a:cxnLst/>
            <a:rect l="l" t="t" r="r" b="b"/>
            <a:pathLst>
              <a:path w="308610" h="289559">
                <a:moveTo>
                  <a:pt x="196344" y="0"/>
                </a:moveTo>
                <a:lnTo>
                  <a:pt x="143365" y="10546"/>
                </a:lnTo>
                <a:lnTo>
                  <a:pt x="75022" y="38189"/>
                </a:lnTo>
                <a:lnTo>
                  <a:pt x="28143" y="68036"/>
                </a:lnTo>
                <a:lnTo>
                  <a:pt x="4147" y="107416"/>
                </a:lnTo>
                <a:lnTo>
                  <a:pt x="0" y="153108"/>
                </a:lnTo>
                <a:lnTo>
                  <a:pt x="12668" y="201891"/>
                </a:lnTo>
                <a:lnTo>
                  <a:pt x="13641" y="204288"/>
                </a:lnTo>
                <a:lnTo>
                  <a:pt x="38685" y="248076"/>
                </a:lnTo>
                <a:lnTo>
                  <a:pt x="73630" y="277976"/>
                </a:lnTo>
                <a:lnTo>
                  <a:pt x="118394" y="289561"/>
                </a:lnTo>
                <a:lnTo>
                  <a:pt x="172893" y="278401"/>
                </a:lnTo>
                <a:lnTo>
                  <a:pt x="241226" y="250769"/>
                </a:lnTo>
                <a:lnTo>
                  <a:pt x="286591" y="221527"/>
                </a:lnTo>
                <a:lnTo>
                  <a:pt x="307258" y="183480"/>
                </a:lnTo>
                <a:lnTo>
                  <a:pt x="308076" y="139123"/>
                </a:lnTo>
                <a:lnTo>
                  <a:pt x="293895" y="90952"/>
                </a:lnTo>
                <a:lnTo>
                  <a:pt x="292910" y="88554"/>
                </a:lnTo>
                <a:lnTo>
                  <a:pt x="269386" y="44159"/>
                </a:lnTo>
                <a:lnTo>
                  <a:pt x="237775" y="12923"/>
                </a:lnTo>
                <a:lnTo>
                  <a:pt x="196344" y="0"/>
                </a:lnTo>
                <a:close/>
              </a:path>
            </a:pathLst>
          </a:custGeom>
          <a:solidFill>
            <a:srgbClr val="D6CFC5"/>
          </a:solidFill>
        </p:spPr>
        <p:txBody>
          <a:bodyPr wrap="square" lIns="0" tIns="0" rIns="0" bIns="0" rtlCol="0"/>
          <a:lstStyle/>
          <a:p>
            <a:endParaRPr/>
          </a:p>
        </p:txBody>
      </p:sp>
      <p:grpSp>
        <p:nvGrpSpPr>
          <p:cNvPr id="64" name="Groupe 63">
            <a:extLst>
              <a:ext uri="{FF2B5EF4-FFF2-40B4-BE49-F238E27FC236}">
                <a16:creationId xmlns:a16="http://schemas.microsoft.com/office/drawing/2014/main" id="{ADBAF111-DBA3-7344-961B-440CA9305616}"/>
              </a:ext>
            </a:extLst>
          </p:cNvPr>
          <p:cNvGrpSpPr/>
          <p:nvPr/>
        </p:nvGrpSpPr>
        <p:grpSpPr>
          <a:xfrm>
            <a:off x="190894" y="197053"/>
            <a:ext cx="422542" cy="422512"/>
            <a:chOff x="419701" y="433273"/>
            <a:chExt cx="929005" cy="929005"/>
          </a:xfrm>
        </p:grpSpPr>
        <p:sp>
          <p:nvSpPr>
            <p:cNvPr id="65" name="object 4">
              <a:extLst>
                <a:ext uri="{FF2B5EF4-FFF2-40B4-BE49-F238E27FC236}">
                  <a16:creationId xmlns:a16="http://schemas.microsoft.com/office/drawing/2014/main" id="{6897FBAA-04DB-B540-9CB2-C8BBACB94872}"/>
                </a:ext>
              </a:extLst>
            </p:cNvPr>
            <p:cNvSpPr/>
            <p:nvPr/>
          </p:nvSpPr>
          <p:spPr>
            <a:xfrm>
              <a:off x="419701" y="433273"/>
              <a:ext cx="929005" cy="929005"/>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4"/>
                  </a:lnTo>
                  <a:lnTo>
                    <a:pt x="20875" y="602434"/>
                  </a:lnTo>
                  <a:lnTo>
                    <a:pt x="36489" y="645096"/>
                  </a:lnTo>
                  <a:lnTo>
                    <a:pt x="56042" y="685687"/>
                  </a:lnTo>
                  <a:lnTo>
                    <a:pt x="79301" y="723972"/>
                  </a:lnTo>
                  <a:lnTo>
                    <a:pt x="106031" y="759718"/>
                  </a:lnTo>
                  <a:lnTo>
                    <a:pt x="136001" y="792693"/>
                  </a:lnTo>
                  <a:lnTo>
                    <a:pt x="168975" y="822662"/>
                  </a:lnTo>
                  <a:lnTo>
                    <a:pt x="204722" y="849392"/>
                  </a:lnTo>
                  <a:lnTo>
                    <a:pt x="243007" y="872651"/>
                  </a:lnTo>
                  <a:lnTo>
                    <a:pt x="283597" y="892204"/>
                  </a:lnTo>
                  <a:lnTo>
                    <a:pt x="326259" y="907818"/>
                  </a:lnTo>
                  <a:lnTo>
                    <a:pt x="370759" y="919260"/>
                  </a:lnTo>
                  <a:lnTo>
                    <a:pt x="416864" y="926296"/>
                  </a:lnTo>
                  <a:lnTo>
                    <a:pt x="464341" y="928694"/>
                  </a:lnTo>
                  <a:lnTo>
                    <a:pt x="511818" y="926296"/>
                  </a:lnTo>
                  <a:lnTo>
                    <a:pt x="557924" y="919260"/>
                  </a:lnTo>
                  <a:lnTo>
                    <a:pt x="602425" y="907818"/>
                  </a:lnTo>
                  <a:lnTo>
                    <a:pt x="645088" y="892204"/>
                  </a:lnTo>
                  <a:lnTo>
                    <a:pt x="685678" y="872651"/>
                  </a:lnTo>
                  <a:lnTo>
                    <a:pt x="723964" y="849392"/>
                  </a:lnTo>
                  <a:lnTo>
                    <a:pt x="759712" y="822662"/>
                  </a:lnTo>
                  <a:lnTo>
                    <a:pt x="792687" y="792693"/>
                  </a:lnTo>
                  <a:lnTo>
                    <a:pt x="822658" y="759718"/>
                  </a:lnTo>
                  <a:lnTo>
                    <a:pt x="849389" y="723972"/>
                  </a:lnTo>
                  <a:lnTo>
                    <a:pt x="872649" y="685687"/>
                  </a:lnTo>
                  <a:lnTo>
                    <a:pt x="892202" y="645096"/>
                  </a:lnTo>
                  <a:lnTo>
                    <a:pt x="907817" y="602434"/>
                  </a:lnTo>
                  <a:lnTo>
                    <a:pt x="919260" y="557934"/>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4AB4E6"/>
            </a:solidFill>
          </p:spPr>
          <p:txBody>
            <a:bodyPr wrap="square" lIns="0" tIns="0" rIns="0" bIns="0" rtlCol="0"/>
            <a:lstStyle/>
            <a:p>
              <a:endParaRPr/>
            </a:p>
          </p:txBody>
        </p:sp>
        <p:sp>
          <p:nvSpPr>
            <p:cNvPr id="66" name="object 5">
              <a:extLst>
                <a:ext uri="{FF2B5EF4-FFF2-40B4-BE49-F238E27FC236}">
                  <a16:creationId xmlns:a16="http://schemas.microsoft.com/office/drawing/2014/main" id="{5DB31E30-599A-BF4A-852C-418DE706BD56}"/>
                </a:ext>
              </a:extLst>
            </p:cNvPr>
            <p:cNvSpPr/>
            <p:nvPr/>
          </p:nvSpPr>
          <p:spPr>
            <a:xfrm>
              <a:off x="664983" y="537961"/>
              <a:ext cx="568325" cy="751840"/>
            </a:xfrm>
            <a:custGeom>
              <a:avLst/>
              <a:gdLst/>
              <a:ahLst/>
              <a:cxnLst/>
              <a:rect l="l" t="t" r="r" b="b"/>
              <a:pathLst>
                <a:path w="568325" h="751840">
                  <a:moveTo>
                    <a:pt x="245217" y="0"/>
                  </a:moveTo>
                  <a:lnTo>
                    <a:pt x="0" y="624871"/>
                  </a:lnTo>
                  <a:lnTo>
                    <a:pt x="323047" y="751642"/>
                  </a:lnTo>
                  <a:lnTo>
                    <a:pt x="568265" y="126771"/>
                  </a:lnTo>
                  <a:lnTo>
                    <a:pt x="245217" y="0"/>
                  </a:lnTo>
                  <a:close/>
                </a:path>
              </a:pathLst>
            </a:custGeom>
            <a:solidFill>
              <a:srgbClr val="FFFFFF"/>
            </a:solidFill>
          </p:spPr>
          <p:txBody>
            <a:bodyPr wrap="square" lIns="0" tIns="0" rIns="0" bIns="0" rtlCol="0"/>
            <a:lstStyle/>
            <a:p>
              <a:endParaRPr/>
            </a:p>
          </p:txBody>
        </p:sp>
        <p:sp>
          <p:nvSpPr>
            <p:cNvPr id="67" name="object 6">
              <a:extLst>
                <a:ext uri="{FF2B5EF4-FFF2-40B4-BE49-F238E27FC236}">
                  <a16:creationId xmlns:a16="http://schemas.microsoft.com/office/drawing/2014/main" id="{ECA344D3-B93E-6A43-9421-143F214A1F0A}"/>
                </a:ext>
              </a:extLst>
            </p:cNvPr>
            <p:cNvSpPr/>
            <p:nvPr/>
          </p:nvSpPr>
          <p:spPr>
            <a:xfrm>
              <a:off x="646369" y="532081"/>
              <a:ext cx="603250" cy="768350"/>
            </a:xfrm>
            <a:custGeom>
              <a:avLst/>
              <a:gdLst/>
              <a:ahLst/>
              <a:cxnLst/>
              <a:rect l="l" t="t" r="r" b="b"/>
              <a:pathLst>
                <a:path w="603250" h="768350">
                  <a:moveTo>
                    <a:pt x="256296" y="0"/>
                  </a:moveTo>
                  <a:lnTo>
                    <a:pt x="219754" y="26215"/>
                  </a:lnTo>
                  <a:lnTo>
                    <a:pt x="2651" y="596795"/>
                  </a:lnTo>
                  <a:lnTo>
                    <a:pt x="0" y="612736"/>
                  </a:lnTo>
                  <a:lnTo>
                    <a:pt x="3541" y="627926"/>
                  </a:lnTo>
                  <a:lnTo>
                    <a:pt x="12516" y="640676"/>
                  </a:lnTo>
                  <a:lnTo>
                    <a:pt x="26168" y="649296"/>
                  </a:lnTo>
                  <a:lnTo>
                    <a:pt x="330557" y="765114"/>
                  </a:lnTo>
                  <a:lnTo>
                    <a:pt x="346484" y="767754"/>
                  </a:lnTo>
                  <a:lnTo>
                    <a:pt x="361665" y="764197"/>
                  </a:lnTo>
                  <a:lnTo>
                    <a:pt x="374408" y="755203"/>
                  </a:lnTo>
                  <a:lnTo>
                    <a:pt x="383026" y="741534"/>
                  </a:lnTo>
                  <a:lnTo>
                    <a:pt x="403008" y="689022"/>
                  </a:lnTo>
                  <a:lnTo>
                    <a:pt x="359467" y="689022"/>
                  </a:lnTo>
                  <a:lnTo>
                    <a:pt x="55162" y="573235"/>
                  </a:lnTo>
                  <a:lnTo>
                    <a:pt x="250559" y="59712"/>
                  </a:lnTo>
                  <a:lnTo>
                    <a:pt x="422217" y="59712"/>
                  </a:lnTo>
                  <a:lnTo>
                    <a:pt x="272224" y="2635"/>
                  </a:lnTo>
                  <a:lnTo>
                    <a:pt x="256296" y="0"/>
                  </a:lnTo>
                  <a:close/>
                </a:path>
                <a:path w="603250" h="768350">
                  <a:moveTo>
                    <a:pt x="422217" y="59712"/>
                  </a:moveTo>
                  <a:lnTo>
                    <a:pt x="250559" y="59712"/>
                  </a:lnTo>
                  <a:lnTo>
                    <a:pt x="554864" y="175509"/>
                  </a:lnTo>
                  <a:lnTo>
                    <a:pt x="359467" y="689022"/>
                  </a:lnTo>
                  <a:lnTo>
                    <a:pt x="403008" y="689022"/>
                  </a:lnTo>
                  <a:lnTo>
                    <a:pt x="600140" y="170954"/>
                  </a:lnTo>
                  <a:lnTo>
                    <a:pt x="602785" y="155013"/>
                  </a:lnTo>
                  <a:lnTo>
                    <a:pt x="599241" y="139824"/>
                  </a:lnTo>
                  <a:lnTo>
                    <a:pt x="590264" y="127078"/>
                  </a:lnTo>
                  <a:lnTo>
                    <a:pt x="576612" y="118464"/>
                  </a:lnTo>
                  <a:lnTo>
                    <a:pt x="558149" y="111438"/>
                  </a:lnTo>
                  <a:lnTo>
                    <a:pt x="443705" y="111438"/>
                  </a:lnTo>
                  <a:lnTo>
                    <a:pt x="376189" y="85742"/>
                  </a:lnTo>
                  <a:lnTo>
                    <a:pt x="373540" y="79837"/>
                  </a:lnTo>
                  <a:lnTo>
                    <a:pt x="377519" y="69376"/>
                  </a:lnTo>
                  <a:lnTo>
                    <a:pt x="383424" y="66727"/>
                  </a:lnTo>
                  <a:lnTo>
                    <a:pt x="440653" y="66727"/>
                  </a:lnTo>
                  <a:lnTo>
                    <a:pt x="422217" y="59712"/>
                  </a:lnTo>
                  <a:close/>
                </a:path>
                <a:path w="603250" h="768350">
                  <a:moveTo>
                    <a:pt x="440653" y="66727"/>
                  </a:moveTo>
                  <a:lnTo>
                    <a:pt x="383424" y="66727"/>
                  </a:lnTo>
                  <a:lnTo>
                    <a:pt x="450941" y="92412"/>
                  </a:lnTo>
                  <a:lnTo>
                    <a:pt x="453600" y="98318"/>
                  </a:lnTo>
                  <a:lnTo>
                    <a:pt x="449611" y="108778"/>
                  </a:lnTo>
                  <a:lnTo>
                    <a:pt x="443705" y="111438"/>
                  </a:lnTo>
                  <a:lnTo>
                    <a:pt x="558149" y="111438"/>
                  </a:lnTo>
                  <a:lnTo>
                    <a:pt x="440653" y="66727"/>
                  </a:lnTo>
                  <a:close/>
                </a:path>
              </a:pathLst>
            </a:custGeom>
            <a:solidFill>
              <a:srgbClr val="000000"/>
            </a:solidFill>
          </p:spPr>
          <p:txBody>
            <a:bodyPr wrap="square" lIns="0" tIns="0" rIns="0" bIns="0" rtlCol="0"/>
            <a:lstStyle/>
            <a:p>
              <a:endParaRPr/>
            </a:p>
          </p:txBody>
        </p:sp>
        <p:sp>
          <p:nvSpPr>
            <p:cNvPr id="68" name="object 7">
              <a:extLst>
                <a:ext uri="{FF2B5EF4-FFF2-40B4-BE49-F238E27FC236}">
                  <a16:creationId xmlns:a16="http://schemas.microsoft.com/office/drawing/2014/main" id="{88CA1EB7-9BD9-1A44-B784-5CD19D40100B}"/>
                </a:ext>
              </a:extLst>
            </p:cNvPr>
            <p:cNvSpPr/>
            <p:nvPr/>
          </p:nvSpPr>
          <p:spPr>
            <a:xfrm>
              <a:off x="542803" y="617528"/>
              <a:ext cx="207645" cy="317500"/>
            </a:xfrm>
            <a:custGeom>
              <a:avLst/>
              <a:gdLst/>
              <a:ahLst/>
              <a:cxnLst/>
              <a:rect l="l" t="t" r="r" b="b"/>
              <a:pathLst>
                <a:path w="207645" h="317500">
                  <a:moveTo>
                    <a:pt x="139782" y="0"/>
                  </a:moveTo>
                  <a:lnTo>
                    <a:pt x="97716" y="24434"/>
                  </a:lnTo>
                  <a:lnTo>
                    <a:pt x="62527" y="55767"/>
                  </a:lnTo>
                  <a:lnTo>
                    <a:pt x="34688" y="92723"/>
                  </a:lnTo>
                  <a:lnTo>
                    <a:pt x="14672" y="134028"/>
                  </a:lnTo>
                  <a:lnTo>
                    <a:pt x="2952" y="178406"/>
                  </a:lnTo>
                  <a:lnTo>
                    <a:pt x="0" y="224582"/>
                  </a:lnTo>
                  <a:lnTo>
                    <a:pt x="6288" y="271280"/>
                  </a:lnTo>
                  <a:lnTo>
                    <a:pt x="22289" y="317225"/>
                  </a:lnTo>
                  <a:lnTo>
                    <a:pt x="51481" y="303980"/>
                  </a:lnTo>
                  <a:lnTo>
                    <a:pt x="36331" y="258397"/>
                  </a:lnTo>
                  <a:lnTo>
                    <a:pt x="32098" y="212166"/>
                  </a:lnTo>
                  <a:lnTo>
                    <a:pt x="38172" y="166939"/>
                  </a:lnTo>
                  <a:lnTo>
                    <a:pt x="53942" y="124363"/>
                  </a:lnTo>
                  <a:lnTo>
                    <a:pt x="78796" y="86091"/>
                  </a:lnTo>
                  <a:lnTo>
                    <a:pt x="112122" y="53772"/>
                  </a:lnTo>
                  <a:lnTo>
                    <a:pt x="153311" y="29056"/>
                  </a:lnTo>
                  <a:lnTo>
                    <a:pt x="139782" y="0"/>
                  </a:lnTo>
                  <a:close/>
                </a:path>
                <a:path w="207645" h="317500">
                  <a:moveTo>
                    <a:pt x="166839" y="58113"/>
                  </a:moveTo>
                  <a:lnTo>
                    <a:pt x="126812" y="83176"/>
                  </a:lnTo>
                  <a:lnTo>
                    <a:pt x="95957" y="116680"/>
                  </a:lnTo>
                  <a:lnTo>
                    <a:pt x="75096" y="156406"/>
                  </a:lnTo>
                  <a:lnTo>
                    <a:pt x="65049" y="200137"/>
                  </a:lnTo>
                  <a:lnTo>
                    <a:pt x="66638" y="245656"/>
                  </a:lnTo>
                  <a:lnTo>
                    <a:pt x="80685" y="290745"/>
                  </a:lnTo>
                  <a:lnTo>
                    <a:pt x="109878" y="277509"/>
                  </a:lnTo>
                  <a:lnTo>
                    <a:pt x="97333" y="233141"/>
                  </a:lnTo>
                  <a:lnTo>
                    <a:pt x="99270" y="188787"/>
                  </a:lnTo>
                  <a:lnTo>
                    <a:pt x="114529" y="147585"/>
                  </a:lnTo>
                  <a:lnTo>
                    <a:pt x="141949" y="112671"/>
                  </a:lnTo>
                  <a:lnTo>
                    <a:pt x="180368" y="87180"/>
                  </a:lnTo>
                  <a:lnTo>
                    <a:pt x="166839" y="58113"/>
                  </a:lnTo>
                  <a:close/>
                </a:path>
                <a:path w="207645" h="317500">
                  <a:moveTo>
                    <a:pt x="193906" y="116237"/>
                  </a:moveTo>
                  <a:lnTo>
                    <a:pt x="157852" y="142264"/>
                  </a:lnTo>
                  <a:lnTo>
                    <a:pt x="135519" y="178786"/>
                  </a:lnTo>
                  <a:lnTo>
                    <a:pt x="128672" y="221043"/>
                  </a:lnTo>
                  <a:lnTo>
                    <a:pt x="139070" y="264274"/>
                  </a:lnTo>
                  <a:lnTo>
                    <a:pt x="168274" y="251039"/>
                  </a:lnTo>
                  <a:lnTo>
                    <a:pt x="160843" y="220160"/>
                  </a:lnTo>
                  <a:lnTo>
                    <a:pt x="165732" y="189977"/>
                  </a:lnTo>
                  <a:lnTo>
                    <a:pt x="181682" y="163891"/>
                  </a:lnTo>
                  <a:lnTo>
                    <a:pt x="207435" y="145304"/>
                  </a:lnTo>
                  <a:lnTo>
                    <a:pt x="193906" y="116237"/>
                  </a:lnTo>
                  <a:close/>
                </a:path>
              </a:pathLst>
            </a:custGeom>
            <a:solidFill>
              <a:srgbClr val="000000"/>
            </a:solidFill>
          </p:spPr>
          <p:txBody>
            <a:bodyPr wrap="square" lIns="0" tIns="0" rIns="0" bIns="0" rtlCol="0"/>
            <a:lstStyle/>
            <a:p>
              <a:endParaRPr/>
            </a:p>
          </p:txBody>
        </p:sp>
        <p:sp>
          <p:nvSpPr>
            <p:cNvPr id="69" name="object 8">
              <a:extLst>
                <a:ext uri="{FF2B5EF4-FFF2-40B4-BE49-F238E27FC236}">
                  <a16:creationId xmlns:a16="http://schemas.microsoft.com/office/drawing/2014/main" id="{0D4ED265-5710-5E44-AAAD-9BF8D7F330F0}"/>
                </a:ext>
              </a:extLst>
            </p:cNvPr>
            <p:cNvSpPr/>
            <p:nvPr/>
          </p:nvSpPr>
          <p:spPr>
            <a:xfrm>
              <a:off x="816706" y="793912"/>
              <a:ext cx="251460" cy="427990"/>
            </a:xfrm>
            <a:custGeom>
              <a:avLst/>
              <a:gdLst/>
              <a:ahLst/>
              <a:cxnLst/>
              <a:rect l="l" t="t" r="r" b="b"/>
              <a:pathLst>
                <a:path w="251459" h="427990">
                  <a:moveTo>
                    <a:pt x="124482" y="0"/>
                  </a:moveTo>
                  <a:lnTo>
                    <a:pt x="78903" y="10651"/>
                  </a:lnTo>
                  <a:lnTo>
                    <a:pt x="40646" y="37616"/>
                  </a:lnTo>
                  <a:lnTo>
                    <a:pt x="14778" y="78622"/>
                  </a:lnTo>
                  <a:lnTo>
                    <a:pt x="6846" y="126453"/>
                  </a:lnTo>
                  <a:lnTo>
                    <a:pt x="17502" y="172031"/>
                  </a:lnTo>
                  <a:lnTo>
                    <a:pt x="44471" y="210289"/>
                  </a:lnTo>
                  <a:lnTo>
                    <a:pt x="85478" y="236156"/>
                  </a:lnTo>
                  <a:lnTo>
                    <a:pt x="133309" y="244094"/>
                  </a:lnTo>
                  <a:lnTo>
                    <a:pt x="178887" y="233442"/>
                  </a:lnTo>
                  <a:lnTo>
                    <a:pt x="192629" y="223755"/>
                  </a:lnTo>
                  <a:lnTo>
                    <a:pt x="132573" y="223755"/>
                  </a:lnTo>
                  <a:lnTo>
                    <a:pt x="92713" y="217141"/>
                  </a:lnTo>
                  <a:lnTo>
                    <a:pt x="58540" y="195586"/>
                  </a:lnTo>
                  <a:lnTo>
                    <a:pt x="36067" y="163703"/>
                  </a:lnTo>
                  <a:lnTo>
                    <a:pt x="27190" y="125719"/>
                  </a:lnTo>
                  <a:lnTo>
                    <a:pt x="33804" y="85857"/>
                  </a:lnTo>
                  <a:lnTo>
                    <a:pt x="55358" y="51690"/>
                  </a:lnTo>
                  <a:lnTo>
                    <a:pt x="87237" y="29219"/>
                  </a:lnTo>
                  <a:lnTo>
                    <a:pt x="125218" y="20340"/>
                  </a:lnTo>
                  <a:lnTo>
                    <a:pt x="191981" y="20340"/>
                  </a:lnTo>
                  <a:lnTo>
                    <a:pt x="172313" y="7933"/>
                  </a:lnTo>
                  <a:lnTo>
                    <a:pt x="124482" y="0"/>
                  </a:lnTo>
                  <a:close/>
                </a:path>
                <a:path w="251459" h="427990">
                  <a:moveTo>
                    <a:pt x="191981" y="20340"/>
                  </a:moveTo>
                  <a:lnTo>
                    <a:pt x="125218" y="20340"/>
                  </a:lnTo>
                  <a:lnTo>
                    <a:pt x="165077" y="26948"/>
                  </a:lnTo>
                  <a:lnTo>
                    <a:pt x="199251" y="48508"/>
                  </a:lnTo>
                  <a:lnTo>
                    <a:pt x="221724" y="80390"/>
                  </a:lnTo>
                  <a:lnTo>
                    <a:pt x="230601" y="118372"/>
                  </a:lnTo>
                  <a:lnTo>
                    <a:pt x="223987" y="158232"/>
                  </a:lnTo>
                  <a:lnTo>
                    <a:pt x="202433" y="192405"/>
                  </a:lnTo>
                  <a:lnTo>
                    <a:pt x="170554" y="214878"/>
                  </a:lnTo>
                  <a:lnTo>
                    <a:pt x="132573" y="223755"/>
                  </a:lnTo>
                  <a:lnTo>
                    <a:pt x="192629" y="223755"/>
                  </a:lnTo>
                  <a:lnTo>
                    <a:pt x="217144" y="206474"/>
                  </a:lnTo>
                  <a:lnTo>
                    <a:pt x="243012" y="165467"/>
                  </a:lnTo>
                  <a:lnTo>
                    <a:pt x="250822" y="118372"/>
                  </a:lnTo>
                  <a:lnTo>
                    <a:pt x="250929" y="117574"/>
                  </a:lnTo>
                  <a:lnTo>
                    <a:pt x="240288" y="72058"/>
                  </a:lnTo>
                  <a:lnTo>
                    <a:pt x="213320" y="33801"/>
                  </a:lnTo>
                  <a:lnTo>
                    <a:pt x="191981" y="20340"/>
                  </a:lnTo>
                  <a:close/>
                </a:path>
                <a:path w="251459" h="427990">
                  <a:moveTo>
                    <a:pt x="63457" y="104977"/>
                  </a:moveTo>
                  <a:lnTo>
                    <a:pt x="58149" y="108045"/>
                  </a:lnTo>
                  <a:lnTo>
                    <a:pt x="53898" y="119228"/>
                  </a:lnTo>
                  <a:lnTo>
                    <a:pt x="56149" y="124443"/>
                  </a:lnTo>
                  <a:lnTo>
                    <a:pt x="69719" y="129605"/>
                  </a:lnTo>
                  <a:lnTo>
                    <a:pt x="68642" y="139878"/>
                  </a:lnTo>
                  <a:lnTo>
                    <a:pt x="79434" y="177151"/>
                  </a:lnTo>
                  <a:lnTo>
                    <a:pt x="122769" y="200144"/>
                  </a:lnTo>
                  <a:lnTo>
                    <a:pt x="137578" y="199884"/>
                  </a:lnTo>
                  <a:lnTo>
                    <a:pt x="167034" y="177454"/>
                  </a:lnTo>
                  <a:lnTo>
                    <a:pt x="123514" y="177454"/>
                  </a:lnTo>
                  <a:lnTo>
                    <a:pt x="113990" y="174828"/>
                  </a:lnTo>
                  <a:lnTo>
                    <a:pt x="103244" y="169080"/>
                  </a:lnTo>
                  <a:lnTo>
                    <a:pt x="95716" y="161101"/>
                  </a:lnTo>
                  <a:lnTo>
                    <a:pt x="91647" y="150727"/>
                  </a:lnTo>
                  <a:lnTo>
                    <a:pt x="91310" y="137824"/>
                  </a:lnTo>
                  <a:lnTo>
                    <a:pt x="145967" y="137824"/>
                  </a:lnTo>
                  <a:lnTo>
                    <a:pt x="145549" y="136222"/>
                  </a:lnTo>
                  <a:lnTo>
                    <a:pt x="96545" y="117574"/>
                  </a:lnTo>
                  <a:lnTo>
                    <a:pt x="97341" y="115406"/>
                  </a:lnTo>
                  <a:lnTo>
                    <a:pt x="99373" y="110139"/>
                  </a:lnTo>
                  <a:lnTo>
                    <a:pt x="99477" y="109626"/>
                  </a:lnTo>
                  <a:lnTo>
                    <a:pt x="75677" y="109626"/>
                  </a:lnTo>
                  <a:lnTo>
                    <a:pt x="63457" y="104977"/>
                  </a:lnTo>
                  <a:close/>
                </a:path>
                <a:path w="251459" h="427990">
                  <a:moveTo>
                    <a:pt x="152764" y="163886"/>
                  </a:moveTo>
                  <a:lnTo>
                    <a:pt x="148136" y="165091"/>
                  </a:lnTo>
                  <a:lnTo>
                    <a:pt x="144252" y="169088"/>
                  </a:lnTo>
                  <a:lnTo>
                    <a:pt x="138035" y="174506"/>
                  </a:lnTo>
                  <a:lnTo>
                    <a:pt x="131325" y="177322"/>
                  </a:lnTo>
                  <a:lnTo>
                    <a:pt x="123514" y="177454"/>
                  </a:lnTo>
                  <a:lnTo>
                    <a:pt x="167034" y="177454"/>
                  </a:lnTo>
                  <a:lnTo>
                    <a:pt x="167339" y="176650"/>
                  </a:lnTo>
                  <a:lnTo>
                    <a:pt x="165392" y="170965"/>
                  </a:lnTo>
                  <a:lnTo>
                    <a:pt x="160941" y="167729"/>
                  </a:lnTo>
                  <a:lnTo>
                    <a:pt x="159779" y="166808"/>
                  </a:lnTo>
                  <a:lnTo>
                    <a:pt x="158544" y="166085"/>
                  </a:lnTo>
                  <a:lnTo>
                    <a:pt x="152764" y="163886"/>
                  </a:lnTo>
                  <a:close/>
                </a:path>
                <a:path w="251459" h="427990">
                  <a:moveTo>
                    <a:pt x="145967" y="137824"/>
                  </a:moveTo>
                  <a:lnTo>
                    <a:pt x="91310" y="137824"/>
                  </a:lnTo>
                  <a:lnTo>
                    <a:pt x="137905" y="155552"/>
                  </a:lnTo>
                  <a:lnTo>
                    <a:pt x="142743" y="152934"/>
                  </a:lnTo>
                  <a:lnTo>
                    <a:pt x="146994" y="141761"/>
                  </a:lnTo>
                  <a:lnTo>
                    <a:pt x="145967" y="137824"/>
                  </a:lnTo>
                  <a:close/>
                </a:path>
                <a:path w="251459" h="427990">
                  <a:moveTo>
                    <a:pt x="163459" y="106778"/>
                  </a:moveTo>
                  <a:lnTo>
                    <a:pt x="100650" y="106778"/>
                  </a:lnTo>
                  <a:lnTo>
                    <a:pt x="158125" y="128641"/>
                  </a:lnTo>
                  <a:lnTo>
                    <a:pt x="163339" y="125364"/>
                  </a:lnTo>
                  <a:lnTo>
                    <a:pt x="167590" y="114202"/>
                  </a:lnTo>
                  <a:lnTo>
                    <a:pt x="166156" y="107804"/>
                  </a:lnTo>
                  <a:lnTo>
                    <a:pt x="163459" y="106778"/>
                  </a:lnTo>
                  <a:close/>
                </a:path>
                <a:path w="251459" h="427990">
                  <a:moveTo>
                    <a:pt x="186842" y="70092"/>
                  </a:moveTo>
                  <a:lnTo>
                    <a:pt x="141573" y="70092"/>
                  </a:lnTo>
                  <a:lnTo>
                    <a:pt x="152900" y="72580"/>
                  </a:lnTo>
                  <a:lnTo>
                    <a:pt x="161357" y="76813"/>
                  </a:lnTo>
                  <a:lnTo>
                    <a:pt x="166998" y="82202"/>
                  </a:lnTo>
                  <a:lnTo>
                    <a:pt x="170217" y="89206"/>
                  </a:lnTo>
                  <a:lnTo>
                    <a:pt x="171412" y="98286"/>
                  </a:lnTo>
                  <a:lnTo>
                    <a:pt x="171569" y="103249"/>
                  </a:lnTo>
                  <a:lnTo>
                    <a:pt x="173988" y="107574"/>
                  </a:lnTo>
                  <a:lnTo>
                    <a:pt x="180072" y="109888"/>
                  </a:lnTo>
                  <a:lnTo>
                    <a:pt x="181684" y="110830"/>
                  </a:lnTo>
                  <a:lnTo>
                    <a:pt x="183265" y="110610"/>
                  </a:lnTo>
                  <a:lnTo>
                    <a:pt x="183504" y="110610"/>
                  </a:lnTo>
                  <a:lnTo>
                    <a:pt x="183768" y="110338"/>
                  </a:lnTo>
                  <a:lnTo>
                    <a:pt x="189056" y="110181"/>
                  </a:lnTo>
                  <a:lnTo>
                    <a:pt x="193108" y="107406"/>
                  </a:lnTo>
                  <a:lnTo>
                    <a:pt x="195272" y="101679"/>
                  </a:lnTo>
                  <a:lnTo>
                    <a:pt x="195841" y="99867"/>
                  </a:lnTo>
                  <a:lnTo>
                    <a:pt x="195631" y="97354"/>
                  </a:lnTo>
                  <a:lnTo>
                    <a:pt x="193192" y="82239"/>
                  </a:lnTo>
                  <a:lnTo>
                    <a:pt x="186842" y="70092"/>
                  </a:lnTo>
                  <a:close/>
                </a:path>
                <a:path w="251459" h="427990">
                  <a:moveTo>
                    <a:pt x="183504" y="110610"/>
                  </a:moveTo>
                  <a:lnTo>
                    <a:pt x="183265" y="110610"/>
                  </a:lnTo>
                  <a:lnTo>
                    <a:pt x="183443" y="110673"/>
                  </a:lnTo>
                  <a:close/>
                </a:path>
                <a:path w="251459" h="427990">
                  <a:moveTo>
                    <a:pt x="75593" y="73345"/>
                  </a:moveTo>
                  <a:lnTo>
                    <a:pt x="69887" y="77187"/>
                  </a:lnTo>
                  <a:lnTo>
                    <a:pt x="65667" y="88276"/>
                  </a:lnTo>
                  <a:lnTo>
                    <a:pt x="67646" y="94213"/>
                  </a:lnTo>
                  <a:lnTo>
                    <a:pt x="79782" y="98831"/>
                  </a:lnTo>
                  <a:lnTo>
                    <a:pt x="78609" y="101679"/>
                  </a:lnTo>
                  <a:lnTo>
                    <a:pt x="78462" y="102307"/>
                  </a:lnTo>
                  <a:lnTo>
                    <a:pt x="76258" y="108045"/>
                  </a:lnTo>
                  <a:lnTo>
                    <a:pt x="75677" y="109626"/>
                  </a:lnTo>
                  <a:lnTo>
                    <a:pt x="99477" y="109626"/>
                  </a:lnTo>
                  <a:lnTo>
                    <a:pt x="100650" y="106778"/>
                  </a:lnTo>
                  <a:lnTo>
                    <a:pt x="163459" y="106778"/>
                  </a:lnTo>
                  <a:lnTo>
                    <a:pt x="111477" y="86999"/>
                  </a:lnTo>
                  <a:lnTo>
                    <a:pt x="119180" y="78779"/>
                  </a:lnTo>
                  <a:lnTo>
                    <a:pt x="89886" y="78779"/>
                  </a:lnTo>
                  <a:lnTo>
                    <a:pt x="75593" y="73345"/>
                  </a:lnTo>
                  <a:close/>
                </a:path>
                <a:path w="251459" h="427990">
                  <a:moveTo>
                    <a:pt x="139987" y="47560"/>
                  </a:moveTo>
                  <a:lnTo>
                    <a:pt x="103594" y="62238"/>
                  </a:lnTo>
                  <a:lnTo>
                    <a:pt x="89886" y="78779"/>
                  </a:lnTo>
                  <a:lnTo>
                    <a:pt x="119180" y="78779"/>
                  </a:lnTo>
                  <a:lnTo>
                    <a:pt x="120737" y="77118"/>
                  </a:lnTo>
                  <a:lnTo>
                    <a:pt x="130810" y="71544"/>
                  </a:lnTo>
                  <a:lnTo>
                    <a:pt x="141573" y="70092"/>
                  </a:lnTo>
                  <a:lnTo>
                    <a:pt x="186842" y="70092"/>
                  </a:lnTo>
                  <a:lnTo>
                    <a:pt x="186616" y="69659"/>
                  </a:lnTo>
                  <a:lnTo>
                    <a:pt x="175839" y="59544"/>
                  </a:lnTo>
                  <a:lnTo>
                    <a:pt x="160795" y="51827"/>
                  </a:lnTo>
                  <a:lnTo>
                    <a:pt x="150326" y="48743"/>
                  </a:lnTo>
                  <a:lnTo>
                    <a:pt x="139987" y="47560"/>
                  </a:lnTo>
                  <a:close/>
                </a:path>
                <a:path w="251459" h="427990">
                  <a:moveTo>
                    <a:pt x="19604" y="386996"/>
                  </a:moveTo>
                  <a:lnTo>
                    <a:pt x="12010" y="388771"/>
                  </a:lnTo>
                  <a:lnTo>
                    <a:pt x="5635" y="393265"/>
                  </a:lnTo>
                  <a:lnTo>
                    <a:pt x="1323" y="400099"/>
                  </a:lnTo>
                  <a:lnTo>
                    <a:pt x="0" y="408071"/>
                  </a:lnTo>
                  <a:lnTo>
                    <a:pt x="1775" y="415668"/>
                  </a:lnTo>
                  <a:lnTo>
                    <a:pt x="6269" y="422046"/>
                  </a:lnTo>
                  <a:lnTo>
                    <a:pt x="13103" y="426360"/>
                  </a:lnTo>
                  <a:lnTo>
                    <a:pt x="21074" y="427678"/>
                  </a:lnTo>
                  <a:lnTo>
                    <a:pt x="28672" y="425899"/>
                  </a:lnTo>
                  <a:lnTo>
                    <a:pt x="35050" y="421404"/>
                  </a:lnTo>
                  <a:lnTo>
                    <a:pt x="39364" y="414570"/>
                  </a:lnTo>
                  <a:lnTo>
                    <a:pt x="40683" y="406599"/>
                  </a:lnTo>
                  <a:lnTo>
                    <a:pt x="38907" y="399002"/>
                  </a:lnTo>
                  <a:lnTo>
                    <a:pt x="34412" y="392627"/>
                  </a:lnTo>
                  <a:lnTo>
                    <a:pt x="27574" y="388319"/>
                  </a:lnTo>
                  <a:lnTo>
                    <a:pt x="19604" y="386996"/>
                  </a:lnTo>
                  <a:close/>
                </a:path>
              </a:pathLst>
            </a:custGeom>
            <a:solidFill>
              <a:srgbClr val="D9771B"/>
            </a:solidFill>
          </p:spPr>
          <p:txBody>
            <a:bodyPr wrap="square" lIns="0" tIns="0" rIns="0" bIns="0" rtlCol="0"/>
            <a:lstStyle/>
            <a:p>
              <a:endParaRPr/>
            </a:p>
          </p:txBody>
        </p:sp>
      </p:grpSp>
    </p:spTree>
    <p:extLst>
      <p:ext uri="{BB962C8B-B14F-4D97-AF65-F5344CB8AC3E}">
        <p14:creationId xmlns:p14="http://schemas.microsoft.com/office/powerpoint/2010/main" val="23621109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28650" y="457451"/>
            <a:ext cx="7886700" cy="626957"/>
          </a:xfrm>
          <a:prstGeom prst="rect">
            <a:avLst/>
          </a:prstGeom>
        </p:spPr>
        <p:txBody>
          <a:bodyPr vert="horz" wrap="square" lIns="0" tIns="5198" rIns="0" bIns="0" rtlCol="0">
            <a:spAutoFit/>
          </a:bodyPr>
          <a:lstStyle/>
          <a:p>
            <a:pPr marL="246056" marR="2310">
              <a:lnSpc>
                <a:spcPct val="100800"/>
              </a:lnSpc>
              <a:spcBef>
                <a:spcPts val="41"/>
              </a:spcBef>
            </a:pPr>
            <a:r>
              <a:rPr spc="-14" dirty="0"/>
              <a:t>Internet </a:t>
            </a:r>
            <a:r>
              <a:rPr spc="-9" dirty="0"/>
              <a:t>est </a:t>
            </a:r>
            <a:r>
              <a:rPr spc="-7" dirty="0"/>
              <a:t>la </a:t>
            </a:r>
            <a:r>
              <a:rPr spc="-11" dirty="0"/>
              <a:t>source </a:t>
            </a:r>
            <a:r>
              <a:rPr spc="-14" dirty="0"/>
              <a:t>principale d’information </a:t>
            </a:r>
            <a:r>
              <a:rPr spc="-9" dirty="0"/>
              <a:t>sur les</a:t>
            </a:r>
            <a:r>
              <a:rPr spc="-227" dirty="0"/>
              <a:t> </a:t>
            </a:r>
            <a:r>
              <a:rPr spc="-16" dirty="0"/>
              <a:t>services  bancaires</a:t>
            </a:r>
          </a:p>
        </p:txBody>
      </p:sp>
      <p:sp>
        <p:nvSpPr>
          <p:cNvPr id="3" name="object 3"/>
          <p:cNvSpPr txBox="1"/>
          <p:nvPr/>
        </p:nvSpPr>
        <p:spPr>
          <a:xfrm>
            <a:off x="775669" y="1029475"/>
            <a:ext cx="6742282" cy="144916"/>
          </a:xfrm>
          <a:prstGeom prst="rect">
            <a:avLst/>
          </a:prstGeom>
        </p:spPr>
        <p:txBody>
          <a:bodyPr vert="horz" wrap="square" lIns="0" tIns="6354" rIns="0" bIns="0" rtlCol="0">
            <a:spAutoFit/>
          </a:bodyPr>
          <a:lstStyle/>
          <a:p>
            <a:pPr marL="5776">
              <a:spcBef>
                <a:spcPts val="50"/>
              </a:spcBef>
            </a:pPr>
            <a:r>
              <a:rPr sz="900" b="1" spc="2" dirty="0">
                <a:latin typeface="Helvetica Neue"/>
                <a:cs typeface="Helvetica Neue"/>
              </a:rPr>
              <a:t>Quelles sont les principales sources que vous </a:t>
            </a:r>
            <a:r>
              <a:rPr sz="900" b="1" dirty="0">
                <a:latin typeface="Helvetica Neue"/>
                <a:cs typeface="Helvetica Neue"/>
              </a:rPr>
              <a:t>utilisez </a:t>
            </a:r>
            <a:r>
              <a:rPr sz="900" b="1" spc="2" dirty="0">
                <a:latin typeface="Helvetica Neue"/>
                <a:cs typeface="Helvetica Neue"/>
              </a:rPr>
              <a:t>pour vous informer sur les services bancaires en général</a:t>
            </a:r>
            <a:r>
              <a:rPr sz="900" b="1" spc="-32" dirty="0">
                <a:latin typeface="Helvetica Neue"/>
                <a:cs typeface="Helvetica Neue"/>
              </a:rPr>
              <a:t> </a:t>
            </a:r>
            <a:r>
              <a:rPr sz="900" b="1" spc="2" dirty="0">
                <a:latin typeface="Helvetica Neue"/>
                <a:cs typeface="Helvetica Neue"/>
              </a:rPr>
              <a:t>?</a:t>
            </a:r>
            <a:endParaRPr sz="900" dirty="0">
              <a:latin typeface="Helvetica Neue"/>
              <a:cs typeface="Helvetica Neue"/>
            </a:endParaRPr>
          </a:p>
        </p:txBody>
      </p:sp>
      <p:sp>
        <p:nvSpPr>
          <p:cNvPr id="4" name="object 4"/>
          <p:cNvSpPr/>
          <p:nvPr/>
        </p:nvSpPr>
        <p:spPr>
          <a:xfrm>
            <a:off x="0" y="1220173"/>
            <a:ext cx="9144000" cy="3960004"/>
          </a:xfrm>
          <a:custGeom>
            <a:avLst/>
            <a:gdLst/>
            <a:ahLst/>
            <a:cxnLst/>
            <a:rect l="l" t="t" r="r" b="b"/>
            <a:pathLst>
              <a:path w="20104100" h="8707120">
                <a:moveTo>
                  <a:pt x="0" y="8706750"/>
                </a:moveTo>
                <a:lnTo>
                  <a:pt x="20104099" y="8706750"/>
                </a:lnTo>
                <a:lnTo>
                  <a:pt x="20104099" y="0"/>
                </a:lnTo>
                <a:lnTo>
                  <a:pt x="0" y="0"/>
                </a:lnTo>
                <a:lnTo>
                  <a:pt x="0" y="8706750"/>
                </a:lnTo>
                <a:close/>
              </a:path>
            </a:pathLst>
          </a:custGeom>
          <a:solidFill>
            <a:srgbClr val="D5D5D5"/>
          </a:solidFill>
        </p:spPr>
        <p:txBody>
          <a:bodyPr wrap="square" lIns="0" tIns="0" rIns="0" bIns="0" rtlCol="0"/>
          <a:lstStyle/>
          <a:p>
            <a:endParaRPr/>
          </a:p>
        </p:txBody>
      </p:sp>
      <p:sp>
        <p:nvSpPr>
          <p:cNvPr id="5" name="object 5"/>
          <p:cNvSpPr/>
          <p:nvPr/>
        </p:nvSpPr>
        <p:spPr>
          <a:xfrm>
            <a:off x="188470" y="214001"/>
            <a:ext cx="427740" cy="427710"/>
          </a:xfrm>
          <a:custGeom>
            <a:avLst/>
            <a:gdLst/>
            <a:ahLst/>
            <a:cxnLst/>
            <a:rect l="l" t="t" r="r" b="b"/>
            <a:pathLst>
              <a:path w="940435" h="940435">
                <a:moveTo>
                  <a:pt x="469996" y="0"/>
                </a:moveTo>
                <a:lnTo>
                  <a:pt x="421941" y="2426"/>
                </a:lnTo>
                <a:lnTo>
                  <a:pt x="375275" y="9548"/>
                </a:lnTo>
                <a:lnTo>
                  <a:pt x="330233" y="21129"/>
                </a:lnTo>
                <a:lnTo>
                  <a:pt x="287051" y="36934"/>
                </a:lnTo>
                <a:lnTo>
                  <a:pt x="245967" y="56725"/>
                </a:lnTo>
                <a:lnTo>
                  <a:pt x="207216" y="80267"/>
                </a:lnTo>
                <a:lnTo>
                  <a:pt x="171034" y="107322"/>
                </a:lnTo>
                <a:lnTo>
                  <a:pt x="137658" y="137656"/>
                </a:lnTo>
                <a:lnTo>
                  <a:pt x="107323" y="171032"/>
                </a:lnTo>
                <a:lnTo>
                  <a:pt x="80267" y="207213"/>
                </a:lnTo>
                <a:lnTo>
                  <a:pt x="56725" y="245963"/>
                </a:lnTo>
                <a:lnTo>
                  <a:pt x="36934" y="287047"/>
                </a:lnTo>
                <a:lnTo>
                  <a:pt x="21129" y="330227"/>
                </a:lnTo>
                <a:lnTo>
                  <a:pt x="9548" y="375268"/>
                </a:lnTo>
                <a:lnTo>
                  <a:pt x="2426" y="421932"/>
                </a:lnTo>
                <a:lnTo>
                  <a:pt x="0" y="469985"/>
                </a:lnTo>
                <a:lnTo>
                  <a:pt x="2426" y="518040"/>
                </a:lnTo>
                <a:lnTo>
                  <a:pt x="9548" y="564706"/>
                </a:lnTo>
                <a:lnTo>
                  <a:pt x="21129" y="609748"/>
                </a:lnTo>
                <a:lnTo>
                  <a:pt x="36934" y="652930"/>
                </a:lnTo>
                <a:lnTo>
                  <a:pt x="56725" y="694014"/>
                </a:lnTo>
                <a:lnTo>
                  <a:pt x="80267" y="732765"/>
                </a:lnTo>
                <a:lnTo>
                  <a:pt x="107323" y="768947"/>
                </a:lnTo>
                <a:lnTo>
                  <a:pt x="137658" y="802323"/>
                </a:lnTo>
                <a:lnTo>
                  <a:pt x="171034" y="832658"/>
                </a:lnTo>
                <a:lnTo>
                  <a:pt x="207216" y="859714"/>
                </a:lnTo>
                <a:lnTo>
                  <a:pt x="245967" y="883256"/>
                </a:lnTo>
                <a:lnTo>
                  <a:pt x="287051" y="903047"/>
                </a:lnTo>
                <a:lnTo>
                  <a:pt x="330233" y="918851"/>
                </a:lnTo>
                <a:lnTo>
                  <a:pt x="375275" y="930433"/>
                </a:lnTo>
                <a:lnTo>
                  <a:pt x="421941" y="937555"/>
                </a:lnTo>
                <a:lnTo>
                  <a:pt x="469996" y="939981"/>
                </a:lnTo>
                <a:lnTo>
                  <a:pt x="518048" y="937555"/>
                </a:lnTo>
                <a:lnTo>
                  <a:pt x="564713" y="930433"/>
                </a:lnTo>
                <a:lnTo>
                  <a:pt x="609754" y="918851"/>
                </a:lnTo>
                <a:lnTo>
                  <a:pt x="652934" y="903047"/>
                </a:lnTo>
                <a:lnTo>
                  <a:pt x="694017" y="883256"/>
                </a:lnTo>
                <a:lnTo>
                  <a:pt x="732768" y="859714"/>
                </a:lnTo>
                <a:lnTo>
                  <a:pt x="768949" y="832658"/>
                </a:lnTo>
                <a:lnTo>
                  <a:pt x="802325" y="802323"/>
                </a:lnTo>
                <a:lnTo>
                  <a:pt x="832658" y="768947"/>
                </a:lnTo>
                <a:lnTo>
                  <a:pt x="859714" y="732765"/>
                </a:lnTo>
                <a:lnTo>
                  <a:pt x="883256" y="694014"/>
                </a:lnTo>
                <a:lnTo>
                  <a:pt x="903047" y="652930"/>
                </a:lnTo>
                <a:lnTo>
                  <a:pt x="918851" y="609748"/>
                </a:lnTo>
                <a:lnTo>
                  <a:pt x="930433" y="564706"/>
                </a:lnTo>
                <a:lnTo>
                  <a:pt x="937555" y="518040"/>
                </a:lnTo>
                <a:lnTo>
                  <a:pt x="939981" y="469985"/>
                </a:lnTo>
                <a:lnTo>
                  <a:pt x="937555" y="421932"/>
                </a:lnTo>
                <a:lnTo>
                  <a:pt x="930433" y="375268"/>
                </a:lnTo>
                <a:lnTo>
                  <a:pt x="918851" y="330227"/>
                </a:lnTo>
                <a:lnTo>
                  <a:pt x="903047" y="287047"/>
                </a:lnTo>
                <a:lnTo>
                  <a:pt x="883256" y="245963"/>
                </a:lnTo>
                <a:lnTo>
                  <a:pt x="859714" y="207213"/>
                </a:lnTo>
                <a:lnTo>
                  <a:pt x="832658" y="171032"/>
                </a:lnTo>
                <a:lnTo>
                  <a:pt x="802325" y="137656"/>
                </a:lnTo>
                <a:lnTo>
                  <a:pt x="768949" y="107322"/>
                </a:lnTo>
                <a:lnTo>
                  <a:pt x="732768" y="80267"/>
                </a:lnTo>
                <a:lnTo>
                  <a:pt x="694017" y="56725"/>
                </a:lnTo>
                <a:lnTo>
                  <a:pt x="652934" y="36934"/>
                </a:lnTo>
                <a:lnTo>
                  <a:pt x="609754" y="21129"/>
                </a:lnTo>
                <a:lnTo>
                  <a:pt x="564713" y="9548"/>
                </a:lnTo>
                <a:lnTo>
                  <a:pt x="518048" y="2426"/>
                </a:lnTo>
                <a:lnTo>
                  <a:pt x="469996" y="0"/>
                </a:lnTo>
                <a:close/>
              </a:path>
            </a:pathLst>
          </a:custGeom>
          <a:solidFill>
            <a:srgbClr val="A885D7"/>
          </a:solidFill>
        </p:spPr>
        <p:txBody>
          <a:bodyPr wrap="square" lIns="0" tIns="0" rIns="0" bIns="0" rtlCol="0"/>
          <a:lstStyle/>
          <a:p>
            <a:endParaRPr/>
          </a:p>
        </p:txBody>
      </p:sp>
      <p:sp>
        <p:nvSpPr>
          <p:cNvPr id="6" name="object 6"/>
          <p:cNvSpPr/>
          <p:nvPr/>
        </p:nvSpPr>
        <p:spPr>
          <a:xfrm>
            <a:off x="315387" y="279282"/>
            <a:ext cx="174735" cy="297174"/>
          </a:xfrm>
          <a:custGeom>
            <a:avLst/>
            <a:gdLst/>
            <a:ahLst/>
            <a:cxnLst/>
            <a:rect l="l" t="t" r="r" b="b"/>
            <a:pathLst>
              <a:path w="384175" h="653415">
                <a:moveTo>
                  <a:pt x="345696" y="0"/>
                </a:moveTo>
                <a:lnTo>
                  <a:pt x="38375" y="0"/>
                </a:lnTo>
                <a:lnTo>
                  <a:pt x="23438" y="3019"/>
                </a:lnTo>
                <a:lnTo>
                  <a:pt x="11240" y="11252"/>
                </a:lnTo>
                <a:lnTo>
                  <a:pt x="3015" y="23460"/>
                </a:lnTo>
                <a:lnTo>
                  <a:pt x="0" y="38407"/>
                </a:lnTo>
                <a:lnTo>
                  <a:pt x="0" y="614494"/>
                </a:lnTo>
                <a:lnTo>
                  <a:pt x="3015" y="629445"/>
                </a:lnTo>
                <a:lnTo>
                  <a:pt x="11240" y="641653"/>
                </a:lnTo>
                <a:lnTo>
                  <a:pt x="23438" y="649883"/>
                </a:lnTo>
                <a:lnTo>
                  <a:pt x="38375" y="652901"/>
                </a:lnTo>
                <a:lnTo>
                  <a:pt x="345696" y="652901"/>
                </a:lnTo>
                <a:lnTo>
                  <a:pt x="360631" y="649883"/>
                </a:lnTo>
                <a:lnTo>
                  <a:pt x="372826" y="641653"/>
                </a:lnTo>
                <a:lnTo>
                  <a:pt x="378183" y="633697"/>
                </a:lnTo>
                <a:lnTo>
                  <a:pt x="192036" y="633697"/>
                </a:lnTo>
                <a:lnTo>
                  <a:pt x="184560" y="632189"/>
                </a:lnTo>
                <a:lnTo>
                  <a:pt x="178456" y="628073"/>
                </a:lnTo>
                <a:lnTo>
                  <a:pt x="174341" y="621969"/>
                </a:lnTo>
                <a:lnTo>
                  <a:pt x="172832" y="614494"/>
                </a:lnTo>
                <a:lnTo>
                  <a:pt x="174341" y="607023"/>
                </a:lnTo>
                <a:lnTo>
                  <a:pt x="178456" y="600918"/>
                </a:lnTo>
                <a:lnTo>
                  <a:pt x="184560" y="596801"/>
                </a:lnTo>
                <a:lnTo>
                  <a:pt x="192036" y="595290"/>
                </a:lnTo>
                <a:lnTo>
                  <a:pt x="384061" y="595290"/>
                </a:lnTo>
                <a:lnTo>
                  <a:pt x="384061" y="576087"/>
                </a:lnTo>
                <a:lnTo>
                  <a:pt x="38407" y="576087"/>
                </a:lnTo>
                <a:lnTo>
                  <a:pt x="38407" y="57610"/>
                </a:lnTo>
                <a:lnTo>
                  <a:pt x="384061" y="57610"/>
                </a:lnTo>
                <a:lnTo>
                  <a:pt x="384061" y="38407"/>
                </a:lnTo>
                <a:lnTo>
                  <a:pt x="157942" y="38407"/>
                </a:lnTo>
                <a:lnTo>
                  <a:pt x="153628" y="34093"/>
                </a:lnTo>
                <a:lnTo>
                  <a:pt x="153695" y="23460"/>
                </a:lnTo>
                <a:lnTo>
                  <a:pt x="157942" y="19203"/>
                </a:lnTo>
                <a:lnTo>
                  <a:pt x="378180" y="19203"/>
                </a:lnTo>
                <a:lnTo>
                  <a:pt x="372826" y="11252"/>
                </a:lnTo>
                <a:lnTo>
                  <a:pt x="360631" y="3019"/>
                </a:lnTo>
                <a:lnTo>
                  <a:pt x="345696" y="0"/>
                </a:lnTo>
                <a:close/>
              </a:path>
              <a:path w="384175" h="653415">
                <a:moveTo>
                  <a:pt x="384061" y="595290"/>
                </a:moveTo>
                <a:lnTo>
                  <a:pt x="192036" y="595290"/>
                </a:lnTo>
                <a:lnTo>
                  <a:pt x="199511" y="596801"/>
                </a:lnTo>
                <a:lnTo>
                  <a:pt x="205615" y="600918"/>
                </a:lnTo>
                <a:lnTo>
                  <a:pt x="209730" y="607023"/>
                </a:lnTo>
                <a:lnTo>
                  <a:pt x="211239" y="614494"/>
                </a:lnTo>
                <a:lnTo>
                  <a:pt x="209730" y="621969"/>
                </a:lnTo>
                <a:lnTo>
                  <a:pt x="205615" y="628073"/>
                </a:lnTo>
                <a:lnTo>
                  <a:pt x="199511" y="632189"/>
                </a:lnTo>
                <a:lnTo>
                  <a:pt x="192036" y="633697"/>
                </a:lnTo>
                <a:lnTo>
                  <a:pt x="378183" y="633697"/>
                </a:lnTo>
                <a:lnTo>
                  <a:pt x="381047" y="629445"/>
                </a:lnTo>
                <a:lnTo>
                  <a:pt x="384061" y="614494"/>
                </a:lnTo>
                <a:lnTo>
                  <a:pt x="384061" y="595290"/>
                </a:lnTo>
                <a:close/>
              </a:path>
              <a:path w="384175" h="653415">
                <a:moveTo>
                  <a:pt x="384061" y="57610"/>
                </a:moveTo>
                <a:lnTo>
                  <a:pt x="345654" y="57610"/>
                </a:lnTo>
                <a:lnTo>
                  <a:pt x="345654" y="576087"/>
                </a:lnTo>
                <a:lnTo>
                  <a:pt x="384061" y="576087"/>
                </a:lnTo>
                <a:lnTo>
                  <a:pt x="384061" y="57610"/>
                </a:lnTo>
                <a:close/>
              </a:path>
              <a:path w="384175" h="653415">
                <a:moveTo>
                  <a:pt x="222757" y="268850"/>
                </a:moveTo>
                <a:lnTo>
                  <a:pt x="135189" y="268850"/>
                </a:lnTo>
                <a:lnTo>
                  <a:pt x="135189" y="282672"/>
                </a:lnTo>
                <a:lnTo>
                  <a:pt x="143252" y="283164"/>
                </a:lnTo>
                <a:lnTo>
                  <a:pt x="154518" y="284839"/>
                </a:lnTo>
                <a:lnTo>
                  <a:pt x="158948" y="290148"/>
                </a:lnTo>
                <a:lnTo>
                  <a:pt x="161303" y="296064"/>
                </a:lnTo>
                <a:lnTo>
                  <a:pt x="161303" y="438981"/>
                </a:lnTo>
                <a:lnTo>
                  <a:pt x="159084" y="441986"/>
                </a:lnTo>
                <a:lnTo>
                  <a:pt x="154330" y="447410"/>
                </a:lnTo>
                <a:lnTo>
                  <a:pt x="142718" y="449881"/>
                </a:lnTo>
                <a:lnTo>
                  <a:pt x="135189" y="450122"/>
                </a:lnTo>
                <a:lnTo>
                  <a:pt x="135189" y="460876"/>
                </a:lnTo>
                <a:lnTo>
                  <a:pt x="250411" y="460876"/>
                </a:lnTo>
                <a:lnTo>
                  <a:pt x="250411" y="450122"/>
                </a:lnTo>
                <a:lnTo>
                  <a:pt x="242202" y="449619"/>
                </a:lnTo>
                <a:lnTo>
                  <a:pt x="229438" y="447483"/>
                </a:lnTo>
                <a:lnTo>
                  <a:pt x="225019" y="442195"/>
                </a:lnTo>
                <a:lnTo>
                  <a:pt x="222757" y="438196"/>
                </a:lnTo>
                <a:lnTo>
                  <a:pt x="222757" y="268850"/>
                </a:lnTo>
                <a:close/>
              </a:path>
              <a:path w="384175" h="653415">
                <a:moveTo>
                  <a:pt x="191952" y="182224"/>
                </a:moveTo>
                <a:lnTo>
                  <a:pt x="158907" y="209431"/>
                </a:lnTo>
                <a:lnTo>
                  <a:pt x="158288" y="216171"/>
                </a:lnTo>
                <a:lnTo>
                  <a:pt x="158907" y="222905"/>
                </a:lnTo>
                <a:lnTo>
                  <a:pt x="191952" y="249908"/>
                </a:lnTo>
                <a:lnTo>
                  <a:pt x="198669" y="249289"/>
                </a:lnTo>
                <a:lnTo>
                  <a:pt x="225804" y="216171"/>
                </a:lnTo>
                <a:lnTo>
                  <a:pt x="225185" y="209431"/>
                </a:lnTo>
                <a:lnTo>
                  <a:pt x="191952" y="182224"/>
                </a:lnTo>
                <a:close/>
              </a:path>
              <a:path w="384175" h="653415">
                <a:moveTo>
                  <a:pt x="378180" y="19203"/>
                </a:moveTo>
                <a:lnTo>
                  <a:pt x="226118" y="19203"/>
                </a:lnTo>
                <a:lnTo>
                  <a:pt x="230365" y="23460"/>
                </a:lnTo>
                <a:lnTo>
                  <a:pt x="230432" y="34093"/>
                </a:lnTo>
                <a:lnTo>
                  <a:pt x="226118" y="38407"/>
                </a:lnTo>
                <a:lnTo>
                  <a:pt x="384061" y="38407"/>
                </a:lnTo>
                <a:lnTo>
                  <a:pt x="381047" y="23460"/>
                </a:lnTo>
                <a:lnTo>
                  <a:pt x="378180" y="19203"/>
                </a:lnTo>
                <a:close/>
              </a:path>
            </a:pathLst>
          </a:custGeom>
          <a:solidFill>
            <a:srgbClr val="FFFFFF"/>
          </a:solidFill>
        </p:spPr>
        <p:txBody>
          <a:bodyPr wrap="square" lIns="0" tIns="0" rIns="0" bIns="0" rtlCol="0"/>
          <a:lstStyle/>
          <a:p>
            <a:endParaRPr/>
          </a:p>
        </p:txBody>
      </p:sp>
      <p:sp>
        <p:nvSpPr>
          <p:cNvPr id="7" name="object 7"/>
          <p:cNvSpPr/>
          <p:nvPr/>
        </p:nvSpPr>
        <p:spPr>
          <a:xfrm>
            <a:off x="3624197" y="2060763"/>
            <a:ext cx="194375" cy="165481"/>
          </a:xfrm>
          <a:custGeom>
            <a:avLst/>
            <a:gdLst/>
            <a:ahLst/>
            <a:cxnLst/>
            <a:rect l="l" t="t" r="r" b="b"/>
            <a:pathLst>
              <a:path w="427354" h="363854">
                <a:moveTo>
                  <a:pt x="347528" y="0"/>
                </a:moveTo>
                <a:lnTo>
                  <a:pt x="276838" y="17362"/>
                </a:lnTo>
                <a:lnTo>
                  <a:pt x="37683" y="192948"/>
                </a:lnTo>
                <a:lnTo>
                  <a:pt x="0" y="255151"/>
                </a:lnTo>
                <a:lnTo>
                  <a:pt x="1485" y="291537"/>
                </a:lnTo>
                <a:lnTo>
                  <a:pt x="17390" y="325750"/>
                </a:lnTo>
                <a:lnTo>
                  <a:pt x="45339" y="351119"/>
                </a:lnTo>
                <a:lnTo>
                  <a:pt x="79670" y="363388"/>
                </a:lnTo>
                <a:lnTo>
                  <a:pt x="116103" y="361905"/>
                </a:lnTo>
                <a:lnTo>
                  <a:pt x="150360" y="346022"/>
                </a:lnTo>
                <a:lnTo>
                  <a:pt x="389515" y="170435"/>
                </a:lnTo>
                <a:lnTo>
                  <a:pt x="414916" y="142519"/>
                </a:lnTo>
                <a:lnTo>
                  <a:pt x="427199" y="108232"/>
                </a:lnTo>
                <a:lnTo>
                  <a:pt x="425713" y="71846"/>
                </a:lnTo>
                <a:lnTo>
                  <a:pt x="409808" y="37633"/>
                </a:lnTo>
                <a:lnTo>
                  <a:pt x="381859" y="12268"/>
                </a:lnTo>
                <a:lnTo>
                  <a:pt x="347528" y="0"/>
                </a:lnTo>
                <a:close/>
              </a:path>
            </a:pathLst>
          </a:custGeom>
          <a:solidFill>
            <a:srgbClr val="F4CFB1"/>
          </a:solidFill>
        </p:spPr>
        <p:txBody>
          <a:bodyPr wrap="square" lIns="0" tIns="0" rIns="0" bIns="0" rtlCol="0"/>
          <a:lstStyle/>
          <a:p>
            <a:endParaRPr/>
          </a:p>
        </p:txBody>
      </p:sp>
      <p:sp>
        <p:nvSpPr>
          <p:cNvPr id="8" name="object 8"/>
          <p:cNvSpPr/>
          <p:nvPr/>
        </p:nvSpPr>
        <p:spPr>
          <a:xfrm>
            <a:off x="3099738" y="2396503"/>
            <a:ext cx="576771" cy="562579"/>
          </a:xfrm>
          <a:custGeom>
            <a:avLst/>
            <a:gdLst/>
            <a:ahLst/>
            <a:cxnLst/>
            <a:rect l="l" t="t" r="r" b="b"/>
            <a:pathLst>
              <a:path w="1268095" h="1236979">
                <a:moveTo>
                  <a:pt x="483775" y="0"/>
                </a:moveTo>
                <a:lnTo>
                  <a:pt x="408224" y="19116"/>
                </a:lnTo>
                <a:lnTo>
                  <a:pt x="350410" y="35864"/>
                </a:lnTo>
                <a:lnTo>
                  <a:pt x="313443" y="47744"/>
                </a:lnTo>
                <a:lnTo>
                  <a:pt x="300430" y="52260"/>
                </a:lnTo>
                <a:lnTo>
                  <a:pt x="307690" y="165096"/>
                </a:lnTo>
                <a:lnTo>
                  <a:pt x="330572" y="362689"/>
                </a:lnTo>
                <a:lnTo>
                  <a:pt x="354783" y="550541"/>
                </a:lnTo>
                <a:lnTo>
                  <a:pt x="366030" y="634158"/>
                </a:lnTo>
                <a:lnTo>
                  <a:pt x="0" y="1236622"/>
                </a:lnTo>
                <a:lnTo>
                  <a:pt x="690670" y="1236622"/>
                </a:lnTo>
                <a:lnTo>
                  <a:pt x="931866" y="760521"/>
                </a:lnTo>
                <a:lnTo>
                  <a:pt x="981690" y="732843"/>
                </a:lnTo>
                <a:lnTo>
                  <a:pt x="1025373" y="700284"/>
                </a:lnTo>
                <a:lnTo>
                  <a:pt x="1063458" y="663717"/>
                </a:lnTo>
                <a:lnTo>
                  <a:pt x="1096483" y="624014"/>
                </a:lnTo>
                <a:lnTo>
                  <a:pt x="1124991" y="582049"/>
                </a:lnTo>
                <a:lnTo>
                  <a:pt x="1149522" y="538693"/>
                </a:lnTo>
                <a:lnTo>
                  <a:pt x="1170617" y="494821"/>
                </a:lnTo>
                <a:lnTo>
                  <a:pt x="1188817" y="451304"/>
                </a:lnTo>
                <a:lnTo>
                  <a:pt x="1204662" y="409015"/>
                </a:lnTo>
                <a:lnTo>
                  <a:pt x="1218694" y="368828"/>
                </a:lnTo>
                <a:lnTo>
                  <a:pt x="1231452" y="331615"/>
                </a:lnTo>
                <a:lnTo>
                  <a:pt x="1243479" y="298248"/>
                </a:lnTo>
                <a:lnTo>
                  <a:pt x="1255315" y="269601"/>
                </a:lnTo>
                <a:lnTo>
                  <a:pt x="1267500" y="246547"/>
                </a:lnTo>
                <a:lnTo>
                  <a:pt x="483775" y="0"/>
                </a:lnTo>
                <a:close/>
              </a:path>
            </a:pathLst>
          </a:custGeom>
          <a:solidFill>
            <a:srgbClr val="F4CFB1"/>
          </a:solidFill>
        </p:spPr>
        <p:txBody>
          <a:bodyPr wrap="square" lIns="0" tIns="0" rIns="0" bIns="0" rtlCol="0"/>
          <a:lstStyle/>
          <a:p>
            <a:endParaRPr/>
          </a:p>
        </p:txBody>
      </p:sp>
      <p:sp>
        <p:nvSpPr>
          <p:cNvPr id="9" name="object 9"/>
          <p:cNvSpPr/>
          <p:nvPr/>
        </p:nvSpPr>
        <p:spPr>
          <a:xfrm>
            <a:off x="3337379" y="2499927"/>
            <a:ext cx="338856" cy="458992"/>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3236373" y="1610345"/>
            <a:ext cx="1175901" cy="1379087"/>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3005299" y="2719899"/>
            <a:ext cx="483483" cy="269449"/>
          </a:xfrm>
          <a:custGeom>
            <a:avLst/>
            <a:gdLst/>
            <a:ahLst/>
            <a:cxnLst/>
            <a:rect l="l" t="t" r="r" b="b"/>
            <a:pathLst>
              <a:path w="1062990" h="592454">
                <a:moveTo>
                  <a:pt x="476132" y="0"/>
                </a:moveTo>
                <a:lnTo>
                  <a:pt x="0" y="591898"/>
                </a:lnTo>
                <a:lnTo>
                  <a:pt x="911186" y="590839"/>
                </a:lnTo>
                <a:lnTo>
                  <a:pt x="920348" y="590714"/>
                </a:lnTo>
                <a:lnTo>
                  <a:pt x="1062847" y="247981"/>
                </a:lnTo>
                <a:lnTo>
                  <a:pt x="476132" y="0"/>
                </a:lnTo>
                <a:close/>
              </a:path>
            </a:pathLst>
          </a:custGeom>
          <a:solidFill>
            <a:srgbClr val="FF7900"/>
          </a:solidFill>
        </p:spPr>
        <p:txBody>
          <a:bodyPr wrap="square" lIns="0" tIns="0" rIns="0" bIns="0" rtlCol="0"/>
          <a:lstStyle/>
          <a:p>
            <a:endParaRPr/>
          </a:p>
        </p:txBody>
      </p:sp>
      <p:sp>
        <p:nvSpPr>
          <p:cNvPr id="12" name="object 12"/>
          <p:cNvSpPr/>
          <p:nvPr/>
        </p:nvSpPr>
        <p:spPr>
          <a:xfrm>
            <a:off x="1973188" y="2094667"/>
            <a:ext cx="20506" cy="20505"/>
          </a:xfrm>
          <a:custGeom>
            <a:avLst/>
            <a:gdLst/>
            <a:ahLst/>
            <a:cxnLst/>
            <a:rect l="l" t="t" r="r" b="b"/>
            <a:pathLst>
              <a:path w="45085" h="45085">
                <a:moveTo>
                  <a:pt x="22407" y="0"/>
                </a:moveTo>
                <a:lnTo>
                  <a:pt x="13685" y="1762"/>
                </a:lnTo>
                <a:lnTo>
                  <a:pt x="6562" y="6567"/>
                </a:lnTo>
                <a:lnTo>
                  <a:pt x="1760" y="13693"/>
                </a:lnTo>
                <a:lnTo>
                  <a:pt x="0" y="22418"/>
                </a:lnTo>
                <a:lnTo>
                  <a:pt x="1760" y="31140"/>
                </a:lnTo>
                <a:lnTo>
                  <a:pt x="6562" y="38263"/>
                </a:lnTo>
                <a:lnTo>
                  <a:pt x="13685" y="43065"/>
                </a:lnTo>
                <a:lnTo>
                  <a:pt x="22407" y="44825"/>
                </a:lnTo>
                <a:lnTo>
                  <a:pt x="31131" y="43065"/>
                </a:lnTo>
                <a:lnTo>
                  <a:pt x="38257" y="38263"/>
                </a:lnTo>
                <a:lnTo>
                  <a:pt x="43063" y="31140"/>
                </a:lnTo>
                <a:lnTo>
                  <a:pt x="44825" y="22418"/>
                </a:lnTo>
                <a:lnTo>
                  <a:pt x="43063" y="13693"/>
                </a:lnTo>
                <a:lnTo>
                  <a:pt x="38257" y="6567"/>
                </a:lnTo>
                <a:lnTo>
                  <a:pt x="31131" y="1762"/>
                </a:lnTo>
                <a:lnTo>
                  <a:pt x="22407" y="0"/>
                </a:lnTo>
                <a:close/>
              </a:path>
            </a:pathLst>
          </a:custGeom>
          <a:solidFill>
            <a:srgbClr val="FFFFFF">
              <a:alpha val="39999"/>
            </a:srgbClr>
          </a:solidFill>
        </p:spPr>
        <p:txBody>
          <a:bodyPr wrap="square" lIns="0" tIns="0" rIns="0" bIns="0" rtlCol="0"/>
          <a:lstStyle/>
          <a:p>
            <a:endParaRPr/>
          </a:p>
        </p:txBody>
      </p:sp>
      <p:sp>
        <p:nvSpPr>
          <p:cNvPr id="13" name="object 13"/>
          <p:cNvSpPr/>
          <p:nvPr/>
        </p:nvSpPr>
        <p:spPr>
          <a:xfrm>
            <a:off x="1938178" y="2094667"/>
            <a:ext cx="20506" cy="20505"/>
          </a:xfrm>
          <a:custGeom>
            <a:avLst/>
            <a:gdLst/>
            <a:ahLst/>
            <a:cxnLst/>
            <a:rect l="l" t="t" r="r" b="b"/>
            <a:pathLst>
              <a:path w="45085" h="45085">
                <a:moveTo>
                  <a:pt x="22407" y="0"/>
                </a:moveTo>
                <a:lnTo>
                  <a:pt x="13685" y="1762"/>
                </a:lnTo>
                <a:lnTo>
                  <a:pt x="6562" y="6567"/>
                </a:lnTo>
                <a:lnTo>
                  <a:pt x="1760" y="13693"/>
                </a:lnTo>
                <a:lnTo>
                  <a:pt x="0" y="22418"/>
                </a:lnTo>
                <a:lnTo>
                  <a:pt x="1760" y="31140"/>
                </a:lnTo>
                <a:lnTo>
                  <a:pt x="6562" y="38263"/>
                </a:lnTo>
                <a:lnTo>
                  <a:pt x="13685" y="43065"/>
                </a:lnTo>
                <a:lnTo>
                  <a:pt x="22407" y="44825"/>
                </a:lnTo>
                <a:lnTo>
                  <a:pt x="31131" y="43065"/>
                </a:lnTo>
                <a:lnTo>
                  <a:pt x="38257" y="38263"/>
                </a:lnTo>
                <a:lnTo>
                  <a:pt x="43063" y="31140"/>
                </a:lnTo>
                <a:lnTo>
                  <a:pt x="44825" y="22418"/>
                </a:lnTo>
                <a:lnTo>
                  <a:pt x="43063" y="13693"/>
                </a:lnTo>
                <a:lnTo>
                  <a:pt x="38257" y="6567"/>
                </a:lnTo>
                <a:lnTo>
                  <a:pt x="31131" y="1762"/>
                </a:lnTo>
                <a:lnTo>
                  <a:pt x="22407" y="0"/>
                </a:lnTo>
                <a:close/>
              </a:path>
            </a:pathLst>
          </a:custGeom>
          <a:solidFill>
            <a:srgbClr val="FFFFFF">
              <a:alpha val="69999"/>
            </a:srgbClr>
          </a:solidFill>
        </p:spPr>
        <p:txBody>
          <a:bodyPr wrap="square" lIns="0" tIns="0" rIns="0" bIns="0" rtlCol="0"/>
          <a:lstStyle/>
          <a:p>
            <a:endParaRPr/>
          </a:p>
        </p:txBody>
      </p:sp>
      <p:sp>
        <p:nvSpPr>
          <p:cNvPr id="14" name="object 14"/>
          <p:cNvSpPr/>
          <p:nvPr/>
        </p:nvSpPr>
        <p:spPr>
          <a:xfrm>
            <a:off x="1903164" y="2094667"/>
            <a:ext cx="20506" cy="20505"/>
          </a:xfrm>
          <a:custGeom>
            <a:avLst/>
            <a:gdLst/>
            <a:ahLst/>
            <a:cxnLst/>
            <a:rect l="l" t="t" r="r" b="b"/>
            <a:pathLst>
              <a:path w="45085" h="45085">
                <a:moveTo>
                  <a:pt x="22418" y="0"/>
                </a:moveTo>
                <a:lnTo>
                  <a:pt x="13693" y="1762"/>
                </a:lnTo>
                <a:lnTo>
                  <a:pt x="6567" y="6567"/>
                </a:lnTo>
                <a:lnTo>
                  <a:pt x="1762" y="13693"/>
                </a:lnTo>
                <a:lnTo>
                  <a:pt x="0" y="22418"/>
                </a:lnTo>
                <a:lnTo>
                  <a:pt x="1762" y="31140"/>
                </a:lnTo>
                <a:lnTo>
                  <a:pt x="6567" y="38263"/>
                </a:lnTo>
                <a:lnTo>
                  <a:pt x="13693" y="43065"/>
                </a:lnTo>
                <a:lnTo>
                  <a:pt x="22418" y="44825"/>
                </a:lnTo>
                <a:lnTo>
                  <a:pt x="31142" y="43065"/>
                </a:lnTo>
                <a:lnTo>
                  <a:pt x="38268" y="38263"/>
                </a:lnTo>
                <a:lnTo>
                  <a:pt x="43073" y="31140"/>
                </a:lnTo>
                <a:lnTo>
                  <a:pt x="44836" y="22418"/>
                </a:lnTo>
                <a:lnTo>
                  <a:pt x="43073" y="13693"/>
                </a:lnTo>
                <a:lnTo>
                  <a:pt x="38268" y="6567"/>
                </a:lnTo>
                <a:lnTo>
                  <a:pt x="31142" y="1762"/>
                </a:lnTo>
                <a:lnTo>
                  <a:pt x="22418" y="0"/>
                </a:lnTo>
                <a:close/>
              </a:path>
            </a:pathLst>
          </a:custGeom>
          <a:solidFill>
            <a:srgbClr val="FFFFFF"/>
          </a:solidFill>
        </p:spPr>
        <p:txBody>
          <a:bodyPr wrap="square" lIns="0" tIns="0" rIns="0" bIns="0" rtlCol="0"/>
          <a:lstStyle/>
          <a:p>
            <a:endParaRPr/>
          </a:p>
        </p:txBody>
      </p:sp>
      <p:sp>
        <p:nvSpPr>
          <p:cNvPr id="15" name="object 15"/>
          <p:cNvSpPr/>
          <p:nvPr/>
        </p:nvSpPr>
        <p:spPr>
          <a:xfrm>
            <a:off x="2522273" y="2297869"/>
            <a:ext cx="108843" cy="35066"/>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2508491" y="2325048"/>
            <a:ext cx="43900" cy="186275"/>
          </a:xfrm>
          <a:custGeom>
            <a:avLst/>
            <a:gdLst/>
            <a:ahLst/>
            <a:cxnLst/>
            <a:rect l="l" t="t" r="r" b="b"/>
            <a:pathLst>
              <a:path w="96520" h="409575">
                <a:moveTo>
                  <a:pt x="65819" y="0"/>
                </a:moveTo>
                <a:lnTo>
                  <a:pt x="0" y="400835"/>
                </a:lnTo>
                <a:lnTo>
                  <a:pt x="34721" y="409380"/>
                </a:lnTo>
                <a:lnTo>
                  <a:pt x="96175" y="9654"/>
                </a:lnTo>
                <a:lnTo>
                  <a:pt x="65819" y="0"/>
                </a:lnTo>
                <a:close/>
              </a:path>
            </a:pathLst>
          </a:custGeom>
          <a:solidFill>
            <a:srgbClr val="FF7900"/>
          </a:solidFill>
        </p:spPr>
        <p:txBody>
          <a:bodyPr wrap="square" lIns="0" tIns="0" rIns="0" bIns="0" rtlCol="0"/>
          <a:lstStyle/>
          <a:p>
            <a:endParaRPr/>
          </a:p>
        </p:txBody>
      </p:sp>
      <p:sp>
        <p:nvSpPr>
          <p:cNvPr id="17" name="object 17"/>
          <p:cNvSpPr/>
          <p:nvPr/>
        </p:nvSpPr>
        <p:spPr>
          <a:xfrm>
            <a:off x="2629672" y="2358816"/>
            <a:ext cx="74804" cy="284178"/>
          </a:xfrm>
          <a:custGeom>
            <a:avLst/>
            <a:gdLst/>
            <a:ahLst/>
            <a:cxnLst/>
            <a:rect l="l" t="t" r="r" b="b"/>
            <a:pathLst>
              <a:path w="164464" h="624839">
                <a:moveTo>
                  <a:pt x="136712" y="611133"/>
                </a:moveTo>
                <a:lnTo>
                  <a:pt x="124488" y="611133"/>
                </a:lnTo>
                <a:lnTo>
                  <a:pt x="124069" y="612599"/>
                </a:lnTo>
                <a:lnTo>
                  <a:pt x="121650" y="621740"/>
                </a:lnTo>
                <a:lnTo>
                  <a:pt x="129985" y="624305"/>
                </a:lnTo>
                <a:lnTo>
                  <a:pt x="136712" y="611133"/>
                </a:lnTo>
                <a:close/>
              </a:path>
              <a:path w="164464" h="624839">
                <a:moveTo>
                  <a:pt x="160228" y="581678"/>
                </a:moveTo>
                <a:lnTo>
                  <a:pt x="119807" y="581678"/>
                </a:lnTo>
                <a:lnTo>
                  <a:pt x="119755" y="585092"/>
                </a:lnTo>
                <a:lnTo>
                  <a:pt x="114876" y="607363"/>
                </a:lnTo>
                <a:lnTo>
                  <a:pt x="113043" y="616358"/>
                </a:lnTo>
                <a:lnTo>
                  <a:pt x="120362" y="619153"/>
                </a:lnTo>
                <a:lnTo>
                  <a:pt x="124488" y="611133"/>
                </a:lnTo>
                <a:lnTo>
                  <a:pt x="136712" y="611133"/>
                </a:lnTo>
                <a:lnTo>
                  <a:pt x="144990" y="594924"/>
                </a:lnTo>
                <a:lnTo>
                  <a:pt x="158741" y="594924"/>
                </a:lnTo>
                <a:lnTo>
                  <a:pt x="160228" y="581678"/>
                </a:lnTo>
                <a:close/>
              </a:path>
              <a:path w="164464" h="624839">
                <a:moveTo>
                  <a:pt x="158741" y="594924"/>
                </a:moveTo>
                <a:lnTo>
                  <a:pt x="144990" y="594924"/>
                </a:lnTo>
                <a:lnTo>
                  <a:pt x="142602" y="605855"/>
                </a:lnTo>
                <a:lnTo>
                  <a:pt x="140781" y="614839"/>
                </a:lnTo>
                <a:lnTo>
                  <a:pt x="148089" y="617656"/>
                </a:lnTo>
                <a:lnTo>
                  <a:pt x="158455" y="597468"/>
                </a:lnTo>
                <a:lnTo>
                  <a:pt x="158741" y="594924"/>
                </a:lnTo>
                <a:close/>
              </a:path>
              <a:path w="164464" h="624839">
                <a:moveTo>
                  <a:pt x="0" y="0"/>
                </a:moveTo>
                <a:lnTo>
                  <a:pt x="43831" y="282054"/>
                </a:lnTo>
                <a:lnTo>
                  <a:pt x="53103" y="332497"/>
                </a:lnTo>
                <a:lnTo>
                  <a:pt x="67564" y="378832"/>
                </a:lnTo>
                <a:lnTo>
                  <a:pt x="96102" y="444318"/>
                </a:lnTo>
                <a:lnTo>
                  <a:pt x="109975" y="474058"/>
                </a:lnTo>
                <a:lnTo>
                  <a:pt x="107963" y="482519"/>
                </a:lnTo>
                <a:lnTo>
                  <a:pt x="105920" y="493155"/>
                </a:lnTo>
                <a:lnTo>
                  <a:pt x="104754" y="503732"/>
                </a:lnTo>
                <a:lnTo>
                  <a:pt x="105368" y="512015"/>
                </a:lnTo>
                <a:lnTo>
                  <a:pt x="107449" y="521285"/>
                </a:lnTo>
                <a:lnTo>
                  <a:pt x="109517" y="533030"/>
                </a:lnTo>
                <a:lnTo>
                  <a:pt x="111267" y="544289"/>
                </a:lnTo>
                <a:lnTo>
                  <a:pt x="112394" y="552098"/>
                </a:lnTo>
                <a:lnTo>
                  <a:pt x="110227" y="566642"/>
                </a:lnTo>
                <a:lnTo>
                  <a:pt x="101242" y="587521"/>
                </a:lnTo>
                <a:lnTo>
                  <a:pt x="97756" y="595981"/>
                </a:lnTo>
                <a:lnTo>
                  <a:pt x="104405" y="600180"/>
                </a:lnTo>
                <a:lnTo>
                  <a:pt x="119807" y="581678"/>
                </a:lnTo>
                <a:lnTo>
                  <a:pt x="160228" y="581678"/>
                </a:lnTo>
                <a:lnTo>
                  <a:pt x="163869" y="549250"/>
                </a:lnTo>
                <a:lnTo>
                  <a:pt x="163440" y="549239"/>
                </a:lnTo>
                <a:lnTo>
                  <a:pt x="163701" y="548318"/>
                </a:lnTo>
                <a:lnTo>
                  <a:pt x="163743" y="546475"/>
                </a:lnTo>
                <a:lnTo>
                  <a:pt x="163198" y="538639"/>
                </a:lnTo>
                <a:lnTo>
                  <a:pt x="162552" y="526542"/>
                </a:lnTo>
                <a:lnTo>
                  <a:pt x="151705" y="485206"/>
                </a:lnTo>
                <a:lnTo>
                  <a:pt x="148697" y="478802"/>
                </a:lnTo>
                <a:lnTo>
                  <a:pt x="107661" y="283007"/>
                </a:lnTo>
                <a:lnTo>
                  <a:pt x="86583" y="2764"/>
                </a:lnTo>
                <a:lnTo>
                  <a:pt x="0" y="0"/>
                </a:lnTo>
                <a:close/>
              </a:path>
            </a:pathLst>
          </a:custGeom>
          <a:solidFill>
            <a:srgbClr val="F4CFB1"/>
          </a:solidFill>
        </p:spPr>
        <p:txBody>
          <a:bodyPr wrap="square" lIns="0" tIns="0" rIns="0" bIns="0" rtlCol="0"/>
          <a:lstStyle/>
          <a:p>
            <a:endParaRPr/>
          </a:p>
        </p:txBody>
      </p:sp>
      <p:sp>
        <p:nvSpPr>
          <p:cNvPr id="18" name="object 18"/>
          <p:cNvSpPr/>
          <p:nvPr/>
        </p:nvSpPr>
        <p:spPr>
          <a:xfrm>
            <a:off x="2629672" y="2358812"/>
            <a:ext cx="66428" cy="206202"/>
          </a:xfrm>
          <a:custGeom>
            <a:avLst/>
            <a:gdLst/>
            <a:ahLst/>
            <a:cxnLst/>
            <a:rect l="l" t="t" r="r" b="b"/>
            <a:pathLst>
              <a:path w="146050" h="453389">
                <a:moveTo>
                  <a:pt x="0" y="0"/>
                </a:moveTo>
                <a:lnTo>
                  <a:pt x="43831" y="282064"/>
                </a:lnTo>
                <a:lnTo>
                  <a:pt x="53103" y="332506"/>
                </a:lnTo>
                <a:lnTo>
                  <a:pt x="58574" y="353821"/>
                </a:lnTo>
                <a:lnTo>
                  <a:pt x="65130" y="380599"/>
                </a:lnTo>
                <a:lnTo>
                  <a:pt x="74110" y="415103"/>
                </a:lnTo>
                <a:lnTo>
                  <a:pt x="85685" y="443720"/>
                </a:lnTo>
                <a:lnTo>
                  <a:pt x="100028" y="452834"/>
                </a:lnTo>
                <a:lnTo>
                  <a:pt x="111702" y="452931"/>
                </a:lnTo>
                <a:lnTo>
                  <a:pt x="124306" y="452333"/>
                </a:lnTo>
                <a:lnTo>
                  <a:pt x="136134" y="449843"/>
                </a:lnTo>
                <a:lnTo>
                  <a:pt x="145482" y="444269"/>
                </a:lnTo>
                <a:lnTo>
                  <a:pt x="145881" y="412792"/>
                </a:lnTo>
                <a:lnTo>
                  <a:pt x="132179" y="358059"/>
                </a:lnTo>
                <a:lnTo>
                  <a:pt x="115673" y="306119"/>
                </a:lnTo>
                <a:lnTo>
                  <a:pt x="107661" y="283017"/>
                </a:lnTo>
                <a:lnTo>
                  <a:pt x="86583" y="2774"/>
                </a:lnTo>
                <a:lnTo>
                  <a:pt x="0" y="0"/>
                </a:lnTo>
                <a:close/>
              </a:path>
            </a:pathLst>
          </a:custGeom>
          <a:solidFill>
            <a:srgbClr val="FFFFFF"/>
          </a:solidFill>
        </p:spPr>
        <p:txBody>
          <a:bodyPr wrap="square" lIns="0" tIns="0" rIns="0" bIns="0" rtlCol="0"/>
          <a:lstStyle/>
          <a:p>
            <a:endParaRPr/>
          </a:p>
        </p:txBody>
      </p:sp>
      <p:sp>
        <p:nvSpPr>
          <p:cNvPr id="19" name="object 19"/>
          <p:cNvSpPr/>
          <p:nvPr/>
        </p:nvSpPr>
        <p:spPr>
          <a:xfrm>
            <a:off x="2629672" y="2358815"/>
            <a:ext cx="66428" cy="206202"/>
          </a:xfrm>
          <a:custGeom>
            <a:avLst/>
            <a:gdLst/>
            <a:ahLst/>
            <a:cxnLst/>
            <a:rect l="l" t="t" r="r" b="b"/>
            <a:pathLst>
              <a:path w="146050" h="453389">
                <a:moveTo>
                  <a:pt x="0" y="0"/>
                </a:moveTo>
                <a:lnTo>
                  <a:pt x="43831" y="282054"/>
                </a:lnTo>
                <a:lnTo>
                  <a:pt x="53103" y="332497"/>
                </a:lnTo>
                <a:lnTo>
                  <a:pt x="58574" y="353821"/>
                </a:lnTo>
                <a:lnTo>
                  <a:pt x="65131" y="380598"/>
                </a:lnTo>
                <a:lnTo>
                  <a:pt x="74111" y="415099"/>
                </a:lnTo>
                <a:lnTo>
                  <a:pt x="85689" y="443715"/>
                </a:lnTo>
                <a:lnTo>
                  <a:pt x="100038" y="452834"/>
                </a:lnTo>
                <a:lnTo>
                  <a:pt x="111707" y="452930"/>
                </a:lnTo>
                <a:lnTo>
                  <a:pt x="124307" y="452327"/>
                </a:lnTo>
                <a:lnTo>
                  <a:pt x="136134" y="449834"/>
                </a:lnTo>
                <a:lnTo>
                  <a:pt x="139479" y="447839"/>
                </a:lnTo>
                <a:lnTo>
                  <a:pt x="131137" y="447839"/>
                </a:lnTo>
                <a:lnTo>
                  <a:pt x="122749" y="443976"/>
                </a:lnTo>
                <a:lnTo>
                  <a:pt x="95523" y="415550"/>
                </a:lnTo>
                <a:lnTo>
                  <a:pt x="82719" y="376993"/>
                </a:lnTo>
                <a:lnTo>
                  <a:pt x="70457" y="315386"/>
                </a:lnTo>
                <a:lnTo>
                  <a:pt x="62835" y="252924"/>
                </a:lnTo>
                <a:lnTo>
                  <a:pt x="54960" y="183337"/>
                </a:lnTo>
                <a:lnTo>
                  <a:pt x="50521" y="148579"/>
                </a:lnTo>
                <a:lnTo>
                  <a:pt x="44721" y="114143"/>
                </a:lnTo>
                <a:lnTo>
                  <a:pt x="40629" y="85458"/>
                </a:lnTo>
                <a:lnTo>
                  <a:pt x="39590" y="57409"/>
                </a:lnTo>
                <a:lnTo>
                  <a:pt x="41237" y="29552"/>
                </a:lnTo>
                <a:lnTo>
                  <a:pt x="45202" y="1444"/>
                </a:lnTo>
                <a:lnTo>
                  <a:pt x="0" y="0"/>
                </a:lnTo>
                <a:close/>
              </a:path>
              <a:path w="146050" h="453389">
                <a:moveTo>
                  <a:pt x="145775" y="443850"/>
                </a:moveTo>
                <a:lnTo>
                  <a:pt x="139147" y="447117"/>
                </a:lnTo>
                <a:lnTo>
                  <a:pt x="131137" y="447839"/>
                </a:lnTo>
                <a:lnTo>
                  <a:pt x="139479" y="447839"/>
                </a:lnTo>
                <a:lnTo>
                  <a:pt x="145482" y="444258"/>
                </a:lnTo>
                <a:lnTo>
                  <a:pt x="145670" y="443976"/>
                </a:lnTo>
                <a:close/>
              </a:path>
            </a:pathLst>
          </a:custGeom>
          <a:solidFill>
            <a:srgbClr val="000000">
              <a:alpha val="9999"/>
            </a:srgbClr>
          </a:solidFill>
        </p:spPr>
        <p:txBody>
          <a:bodyPr wrap="square" lIns="0" tIns="0" rIns="0" bIns="0" rtlCol="0"/>
          <a:lstStyle/>
          <a:p>
            <a:endParaRPr/>
          </a:p>
        </p:txBody>
      </p:sp>
      <p:sp>
        <p:nvSpPr>
          <p:cNvPr id="20" name="object 20"/>
          <p:cNvSpPr/>
          <p:nvPr/>
        </p:nvSpPr>
        <p:spPr>
          <a:xfrm>
            <a:off x="2590079" y="2559843"/>
            <a:ext cx="63540" cy="401430"/>
          </a:xfrm>
          <a:custGeom>
            <a:avLst/>
            <a:gdLst/>
            <a:ahLst/>
            <a:cxnLst/>
            <a:rect l="l" t="t" r="r" b="b"/>
            <a:pathLst>
              <a:path w="139700" h="882650">
                <a:moveTo>
                  <a:pt x="131912" y="0"/>
                </a:moveTo>
                <a:lnTo>
                  <a:pt x="0" y="1130"/>
                </a:lnTo>
                <a:lnTo>
                  <a:pt x="24135" y="402102"/>
                </a:lnTo>
                <a:lnTo>
                  <a:pt x="22069" y="442887"/>
                </a:lnTo>
                <a:lnTo>
                  <a:pt x="20420" y="468459"/>
                </a:lnTo>
                <a:lnTo>
                  <a:pt x="18257" y="490639"/>
                </a:lnTo>
                <a:lnTo>
                  <a:pt x="14711" y="520256"/>
                </a:lnTo>
                <a:lnTo>
                  <a:pt x="11274" y="618140"/>
                </a:lnTo>
                <a:lnTo>
                  <a:pt x="15494" y="737336"/>
                </a:lnTo>
                <a:lnTo>
                  <a:pt x="21979" y="838041"/>
                </a:lnTo>
                <a:lnTo>
                  <a:pt x="25339" y="880454"/>
                </a:lnTo>
                <a:lnTo>
                  <a:pt x="79180" y="882433"/>
                </a:lnTo>
                <a:lnTo>
                  <a:pt x="130781" y="442887"/>
                </a:lnTo>
                <a:lnTo>
                  <a:pt x="136399" y="286326"/>
                </a:lnTo>
                <a:lnTo>
                  <a:pt x="139055" y="201338"/>
                </a:lnTo>
                <a:lnTo>
                  <a:pt x="139454" y="158401"/>
                </a:lnTo>
                <a:lnTo>
                  <a:pt x="138299" y="127996"/>
                </a:lnTo>
                <a:lnTo>
                  <a:pt x="136672" y="92220"/>
                </a:lnTo>
                <a:lnTo>
                  <a:pt x="134991" y="53019"/>
                </a:lnTo>
                <a:lnTo>
                  <a:pt x="133368" y="19307"/>
                </a:lnTo>
                <a:lnTo>
                  <a:pt x="131912" y="0"/>
                </a:lnTo>
                <a:close/>
              </a:path>
            </a:pathLst>
          </a:custGeom>
          <a:solidFill>
            <a:srgbClr val="F4CFB1"/>
          </a:solidFill>
        </p:spPr>
        <p:txBody>
          <a:bodyPr wrap="square" lIns="0" tIns="0" rIns="0" bIns="0" rtlCol="0"/>
          <a:lstStyle/>
          <a:p>
            <a:endParaRPr/>
          </a:p>
        </p:txBody>
      </p:sp>
      <p:sp>
        <p:nvSpPr>
          <p:cNvPr id="21" name="object 21"/>
          <p:cNvSpPr/>
          <p:nvPr/>
        </p:nvSpPr>
        <p:spPr>
          <a:xfrm>
            <a:off x="2590079" y="2559844"/>
            <a:ext cx="63251" cy="381791"/>
          </a:xfrm>
          <a:custGeom>
            <a:avLst/>
            <a:gdLst/>
            <a:ahLst/>
            <a:cxnLst/>
            <a:rect l="l" t="t" r="r" b="b"/>
            <a:pathLst>
              <a:path w="139064" h="839470">
                <a:moveTo>
                  <a:pt x="131912" y="0"/>
                </a:moveTo>
                <a:lnTo>
                  <a:pt x="0" y="1130"/>
                </a:lnTo>
                <a:lnTo>
                  <a:pt x="24135" y="402102"/>
                </a:lnTo>
                <a:lnTo>
                  <a:pt x="22085" y="442639"/>
                </a:lnTo>
                <a:lnTo>
                  <a:pt x="20420" y="468459"/>
                </a:lnTo>
                <a:lnTo>
                  <a:pt x="18257" y="490639"/>
                </a:lnTo>
                <a:lnTo>
                  <a:pt x="14711" y="520256"/>
                </a:lnTo>
                <a:lnTo>
                  <a:pt x="11688" y="564343"/>
                </a:lnTo>
                <a:lnTo>
                  <a:pt x="11280" y="618824"/>
                </a:lnTo>
                <a:lnTo>
                  <a:pt x="12801" y="678635"/>
                </a:lnTo>
                <a:lnTo>
                  <a:pt x="15567" y="738711"/>
                </a:lnTo>
                <a:lnTo>
                  <a:pt x="18889" y="793990"/>
                </a:lnTo>
                <a:lnTo>
                  <a:pt x="22083" y="839408"/>
                </a:lnTo>
                <a:lnTo>
                  <a:pt x="24336" y="802595"/>
                </a:lnTo>
                <a:lnTo>
                  <a:pt x="25396" y="784173"/>
                </a:lnTo>
                <a:lnTo>
                  <a:pt x="26292" y="765735"/>
                </a:lnTo>
                <a:lnTo>
                  <a:pt x="27710" y="715345"/>
                </a:lnTo>
                <a:lnTo>
                  <a:pt x="28578" y="664928"/>
                </a:lnTo>
                <a:lnTo>
                  <a:pt x="30207" y="614553"/>
                </a:lnTo>
                <a:lnTo>
                  <a:pt x="33904" y="564286"/>
                </a:lnTo>
                <a:lnTo>
                  <a:pt x="39035" y="525491"/>
                </a:lnTo>
                <a:lnTo>
                  <a:pt x="41155" y="474428"/>
                </a:lnTo>
                <a:lnTo>
                  <a:pt x="43675" y="423330"/>
                </a:lnTo>
                <a:lnTo>
                  <a:pt x="45875" y="372196"/>
                </a:lnTo>
                <a:lnTo>
                  <a:pt x="47035" y="321026"/>
                </a:lnTo>
                <a:lnTo>
                  <a:pt x="46665" y="308922"/>
                </a:lnTo>
                <a:lnTo>
                  <a:pt x="47264" y="296950"/>
                </a:lnTo>
                <a:lnTo>
                  <a:pt x="70351" y="256655"/>
                </a:lnTo>
                <a:lnTo>
                  <a:pt x="113516" y="239747"/>
                </a:lnTo>
                <a:lnTo>
                  <a:pt x="135912" y="232736"/>
                </a:lnTo>
                <a:lnTo>
                  <a:pt x="136383" y="232547"/>
                </a:lnTo>
                <a:lnTo>
                  <a:pt x="136823" y="232464"/>
                </a:lnTo>
                <a:lnTo>
                  <a:pt x="137294" y="232307"/>
                </a:lnTo>
                <a:lnTo>
                  <a:pt x="138044" y="198039"/>
                </a:lnTo>
                <a:lnTo>
                  <a:pt x="138515" y="168022"/>
                </a:lnTo>
                <a:lnTo>
                  <a:pt x="138626" y="144069"/>
                </a:lnTo>
                <a:lnTo>
                  <a:pt x="138299" y="127996"/>
                </a:lnTo>
                <a:lnTo>
                  <a:pt x="136672" y="92220"/>
                </a:lnTo>
                <a:lnTo>
                  <a:pt x="134991" y="53019"/>
                </a:lnTo>
                <a:lnTo>
                  <a:pt x="133368" y="19307"/>
                </a:lnTo>
                <a:lnTo>
                  <a:pt x="131912" y="0"/>
                </a:lnTo>
                <a:close/>
              </a:path>
            </a:pathLst>
          </a:custGeom>
          <a:solidFill>
            <a:srgbClr val="000000">
              <a:alpha val="5999"/>
            </a:srgbClr>
          </a:solidFill>
        </p:spPr>
        <p:txBody>
          <a:bodyPr wrap="square" lIns="0" tIns="0" rIns="0" bIns="0" rtlCol="0"/>
          <a:lstStyle/>
          <a:p>
            <a:endParaRPr/>
          </a:p>
        </p:txBody>
      </p:sp>
      <p:sp>
        <p:nvSpPr>
          <p:cNvPr id="22" name="object 22"/>
          <p:cNvSpPr/>
          <p:nvPr/>
        </p:nvSpPr>
        <p:spPr>
          <a:xfrm>
            <a:off x="2519046" y="2560357"/>
            <a:ext cx="82602" cy="400275"/>
          </a:xfrm>
          <a:custGeom>
            <a:avLst/>
            <a:gdLst/>
            <a:ahLst/>
            <a:cxnLst/>
            <a:rect l="l" t="t" r="r" b="b"/>
            <a:pathLst>
              <a:path w="181610" h="880109">
                <a:moveTo>
                  <a:pt x="181376" y="0"/>
                </a:moveTo>
                <a:lnTo>
                  <a:pt x="43632" y="0"/>
                </a:lnTo>
                <a:lnTo>
                  <a:pt x="31284" y="42553"/>
                </a:lnTo>
                <a:lnTo>
                  <a:pt x="23758" y="99682"/>
                </a:lnTo>
                <a:lnTo>
                  <a:pt x="24229" y="146477"/>
                </a:lnTo>
                <a:lnTo>
                  <a:pt x="25354" y="215327"/>
                </a:lnTo>
                <a:lnTo>
                  <a:pt x="27820" y="348838"/>
                </a:lnTo>
                <a:lnTo>
                  <a:pt x="28292" y="378323"/>
                </a:lnTo>
                <a:lnTo>
                  <a:pt x="26773" y="408967"/>
                </a:lnTo>
                <a:lnTo>
                  <a:pt x="23079" y="448741"/>
                </a:lnTo>
                <a:lnTo>
                  <a:pt x="18498" y="490771"/>
                </a:lnTo>
                <a:lnTo>
                  <a:pt x="14324" y="528182"/>
                </a:lnTo>
                <a:lnTo>
                  <a:pt x="10919" y="592114"/>
                </a:lnTo>
                <a:lnTo>
                  <a:pt x="6125" y="707720"/>
                </a:lnTo>
                <a:lnTo>
                  <a:pt x="1849" y="818510"/>
                </a:lnTo>
                <a:lnTo>
                  <a:pt x="0" y="867994"/>
                </a:lnTo>
                <a:lnTo>
                  <a:pt x="53328" y="879826"/>
                </a:lnTo>
                <a:lnTo>
                  <a:pt x="137597" y="422133"/>
                </a:lnTo>
                <a:lnTo>
                  <a:pt x="168476" y="115546"/>
                </a:lnTo>
                <a:lnTo>
                  <a:pt x="181376" y="0"/>
                </a:lnTo>
                <a:close/>
              </a:path>
            </a:pathLst>
          </a:custGeom>
          <a:solidFill>
            <a:srgbClr val="F4CFB1"/>
          </a:solidFill>
        </p:spPr>
        <p:txBody>
          <a:bodyPr wrap="square" lIns="0" tIns="0" rIns="0" bIns="0" rtlCol="0"/>
          <a:lstStyle/>
          <a:p>
            <a:endParaRPr/>
          </a:p>
        </p:txBody>
      </p:sp>
      <p:sp>
        <p:nvSpPr>
          <p:cNvPr id="23" name="object 23"/>
          <p:cNvSpPr/>
          <p:nvPr/>
        </p:nvSpPr>
        <p:spPr>
          <a:xfrm>
            <a:off x="2519046" y="2560357"/>
            <a:ext cx="82602" cy="394787"/>
          </a:xfrm>
          <a:custGeom>
            <a:avLst/>
            <a:gdLst/>
            <a:ahLst/>
            <a:cxnLst/>
            <a:rect l="l" t="t" r="r" b="b"/>
            <a:pathLst>
              <a:path w="181610" h="868045">
                <a:moveTo>
                  <a:pt x="181376" y="0"/>
                </a:moveTo>
                <a:lnTo>
                  <a:pt x="43632" y="0"/>
                </a:lnTo>
                <a:lnTo>
                  <a:pt x="31284" y="42553"/>
                </a:lnTo>
                <a:lnTo>
                  <a:pt x="23758" y="99682"/>
                </a:lnTo>
                <a:lnTo>
                  <a:pt x="24229" y="146477"/>
                </a:lnTo>
                <a:lnTo>
                  <a:pt x="25354" y="215327"/>
                </a:lnTo>
                <a:lnTo>
                  <a:pt x="27865" y="351660"/>
                </a:lnTo>
                <a:lnTo>
                  <a:pt x="28292" y="378323"/>
                </a:lnTo>
                <a:lnTo>
                  <a:pt x="26773" y="408967"/>
                </a:lnTo>
                <a:lnTo>
                  <a:pt x="23079" y="448741"/>
                </a:lnTo>
                <a:lnTo>
                  <a:pt x="18498" y="490771"/>
                </a:lnTo>
                <a:lnTo>
                  <a:pt x="14324" y="528182"/>
                </a:lnTo>
                <a:lnTo>
                  <a:pt x="13243" y="546784"/>
                </a:lnTo>
                <a:lnTo>
                  <a:pt x="11430" y="586451"/>
                </a:lnTo>
                <a:lnTo>
                  <a:pt x="9131" y="640532"/>
                </a:lnTo>
                <a:lnTo>
                  <a:pt x="6592" y="702378"/>
                </a:lnTo>
                <a:lnTo>
                  <a:pt x="4060" y="765338"/>
                </a:lnTo>
                <a:lnTo>
                  <a:pt x="0" y="867994"/>
                </a:lnTo>
                <a:lnTo>
                  <a:pt x="4313" y="831257"/>
                </a:lnTo>
                <a:lnTo>
                  <a:pt x="9636" y="778459"/>
                </a:lnTo>
                <a:lnTo>
                  <a:pt x="15547" y="717648"/>
                </a:lnTo>
                <a:lnTo>
                  <a:pt x="21629" y="656868"/>
                </a:lnTo>
                <a:lnTo>
                  <a:pt x="27462" y="604165"/>
                </a:lnTo>
                <a:lnTo>
                  <a:pt x="32627" y="567584"/>
                </a:lnTo>
                <a:lnTo>
                  <a:pt x="37860" y="526785"/>
                </a:lnTo>
                <a:lnTo>
                  <a:pt x="40722" y="486152"/>
                </a:lnTo>
                <a:lnTo>
                  <a:pt x="44199" y="445826"/>
                </a:lnTo>
                <a:lnTo>
                  <a:pt x="51275" y="405945"/>
                </a:lnTo>
                <a:lnTo>
                  <a:pt x="51813" y="378323"/>
                </a:lnTo>
                <a:lnTo>
                  <a:pt x="54968" y="324884"/>
                </a:lnTo>
                <a:lnTo>
                  <a:pt x="74242" y="278385"/>
                </a:lnTo>
                <a:lnTo>
                  <a:pt x="108696" y="246432"/>
                </a:lnTo>
                <a:lnTo>
                  <a:pt x="136330" y="239144"/>
                </a:lnTo>
                <a:lnTo>
                  <a:pt x="156025" y="239144"/>
                </a:lnTo>
                <a:lnTo>
                  <a:pt x="168476" y="115546"/>
                </a:lnTo>
                <a:lnTo>
                  <a:pt x="181376" y="0"/>
                </a:lnTo>
                <a:close/>
              </a:path>
              <a:path w="181610" h="868045">
                <a:moveTo>
                  <a:pt x="156015" y="239249"/>
                </a:moveTo>
                <a:lnTo>
                  <a:pt x="149126" y="239249"/>
                </a:lnTo>
                <a:lnTo>
                  <a:pt x="152644" y="239500"/>
                </a:lnTo>
                <a:lnTo>
                  <a:pt x="155890" y="240484"/>
                </a:lnTo>
                <a:lnTo>
                  <a:pt x="156015" y="239249"/>
                </a:lnTo>
                <a:close/>
              </a:path>
              <a:path w="181610" h="868045">
                <a:moveTo>
                  <a:pt x="156025" y="239144"/>
                </a:moveTo>
                <a:lnTo>
                  <a:pt x="136330" y="239144"/>
                </a:lnTo>
                <a:lnTo>
                  <a:pt x="141126" y="239333"/>
                </a:lnTo>
                <a:lnTo>
                  <a:pt x="145461" y="240024"/>
                </a:lnTo>
                <a:lnTo>
                  <a:pt x="149126" y="239249"/>
                </a:lnTo>
                <a:lnTo>
                  <a:pt x="156015" y="239249"/>
                </a:lnTo>
                <a:close/>
              </a:path>
            </a:pathLst>
          </a:custGeom>
          <a:solidFill>
            <a:srgbClr val="000000">
              <a:alpha val="5999"/>
            </a:srgbClr>
          </a:solidFill>
        </p:spPr>
        <p:txBody>
          <a:bodyPr wrap="square" lIns="0" tIns="0" rIns="0" bIns="0" rtlCol="0"/>
          <a:lstStyle/>
          <a:p>
            <a:endParaRPr/>
          </a:p>
        </p:txBody>
      </p:sp>
      <p:sp>
        <p:nvSpPr>
          <p:cNvPr id="24" name="object 24"/>
          <p:cNvSpPr/>
          <p:nvPr/>
        </p:nvSpPr>
        <p:spPr>
          <a:xfrm>
            <a:off x="2510508" y="2954849"/>
            <a:ext cx="176617" cy="31730"/>
          </a:xfrm>
          <a:prstGeom prst="rect">
            <a:avLst/>
          </a:prstGeom>
          <a:blipFill>
            <a:blip r:embed="rId5" cstate="print"/>
            <a:stretch>
              <a:fillRect/>
            </a:stretch>
          </a:blipFill>
        </p:spPr>
        <p:txBody>
          <a:bodyPr wrap="square" lIns="0" tIns="0" rIns="0" bIns="0" rtlCol="0"/>
          <a:lstStyle/>
          <a:p>
            <a:endParaRPr/>
          </a:p>
        </p:txBody>
      </p:sp>
      <p:sp>
        <p:nvSpPr>
          <p:cNvPr id="25" name="object 25"/>
          <p:cNvSpPr/>
          <p:nvPr/>
        </p:nvSpPr>
        <p:spPr>
          <a:xfrm>
            <a:off x="2514370" y="2481291"/>
            <a:ext cx="148742" cy="183676"/>
          </a:xfrm>
          <a:custGeom>
            <a:avLst/>
            <a:gdLst/>
            <a:ahLst/>
            <a:cxnLst/>
            <a:rect l="l" t="t" r="r" b="b"/>
            <a:pathLst>
              <a:path w="327025" h="403860">
                <a:moveTo>
                  <a:pt x="279457" y="0"/>
                </a:moveTo>
                <a:lnTo>
                  <a:pt x="60553" y="0"/>
                </a:lnTo>
                <a:lnTo>
                  <a:pt x="29005" y="80218"/>
                </a:lnTo>
                <a:lnTo>
                  <a:pt x="12549" y="128857"/>
                </a:lnTo>
                <a:lnTo>
                  <a:pt x="3528" y="210234"/>
                </a:lnTo>
                <a:lnTo>
                  <a:pt x="1912" y="270216"/>
                </a:lnTo>
                <a:lnTo>
                  <a:pt x="818" y="330622"/>
                </a:lnTo>
                <a:lnTo>
                  <a:pt x="196" y="377266"/>
                </a:lnTo>
                <a:lnTo>
                  <a:pt x="0" y="395967"/>
                </a:lnTo>
                <a:lnTo>
                  <a:pt x="21678" y="400295"/>
                </a:lnTo>
                <a:lnTo>
                  <a:pt x="44435" y="402517"/>
                </a:lnTo>
                <a:lnTo>
                  <a:pt x="82252" y="403336"/>
                </a:lnTo>
                <a:lnTo>
                  <a:pt x="149105" y="403453"/>
                </a:lnTo>
                <a:lnTo>
                  <a:pt x="213380" y="402283"/>
                </a:lnTo>
                <a:lnTo>
                  <a:pt x="270283" y="399710"/>
                </a:lnTo>
                <a:lnTo>
                  <a:pt x="310937" y="397136"/>
                </a:lnTo>
                <a:lnTo>
                  <a:pt x="326461" y="395967"/>
                </a:lnTo>
                <a:lnTo>
                  <a:pt x="323382" y="272316"/>
                </a:lnTo>
                <a:lnTo>
                  <a:pt x="315181" y="159260"/>
                </a:lnTo>
                <a:lnTo>
                  <a:pt x="300230" y="73485"/>
                </a:lnTo>
                <a:lnTo>
                  <a:pt x="285874" y="19047"/>
                </a:lnTo>
                <a:lnTo>
                  <a:pt x="279457" y="0"/>
                </a:lnTo>
                <a:close/>
              </a:path>
            </a:pathLst>
          </a:custGeom>
          <a:solidFill>
            <a:srgbClr val="000000"/>
          </a:solidFill>
        </p:spPr>
        <p:txBody>
          <a:bodyPr wrap="square" lIns="0" tIns="0" rIns="0" bIns="0" rtlCol="0"/>
          <a:lstStyle/>
          <a:p>
            <a:endParaRPr/>
          </a:p>
        </p:txBody>
      </p:sp>
      <p:sp>
        <p:nvSpPr>
          <p:cNvPr id="26" name="object 26"/>
          <p:cNvSpPr/>
          <p:nvPr/>
        </p:nvSpPr>
        <p:spPr>
          <a:xfrm>
            <a:off x="2514755" y="2481291"/>
            <a:ext cx="140655" cy="166637"/>
          </a:xfrm>
          <a:custGeom>
            <a:avLst/>
            <a:gdLst/>
            <a:ahLst/>
            <a:cxnLst/>
            <a:rect l="l" t="t" r="r" b="b"/>
            <a:pathLst>
              <a:path w="309245" h="366395">
                <a:moveTo>
                  <a:pt x="278609" y="0"/>
                </a:moveTo>
                <a:lnTo>
                  <a:pt x="59704" y="0"/>
                </a:lnTo>
                <a:lnTo>
                  <a:pt x="28157" y="80218"/>
                </a:lnTo>
                <a:lnTo>
                  <a:pt x="11701" y="128857"/>
                </a:lnTo>
                <a:lnTo>
                  <a:pt x="2680" y="210234"/>
                </a:lnTo>
                <a:lnTo>
                  <a:pt x="1088" y="280830"/>
                </a:lnTo>
                <a:lnTo>
                  <a:pt x="483" y="323415"/>
                </a:lnTo>
                <a:lnTo>
                  <a:pt x="0" y="366323"/>
                </a:lnTo>
                <a:lnTo>
                  <a:pt x="20197" y="339403"/>
                </a:lnTo>
                <a:lnTo>
                  <a:pt x="54341" y="320433"/>
                </a:lnTo>
                <a:lnTo>
                  <a:pt x="93460" y="307085"/>
                </a:lnTo>
                <a:lnTo>
                  <a:pt x="128582" y="297027"/>
                </a:lnTo>
                <a:lnTo>
                  <a:pt x="135526" y="275062"/>
                </a:lnTo>
                <a:lnTo>
                  <a:pt x="149711" y="231605"/>
                </a:lnTo>
                <a:lnTo>
                  <a:pt x="164656" y="188415"/>
                </a:lnTo>
                <a:lnTo>
                  <a:pt x="205166" y="149873"/>
                </a:lnTo>
                <a:lnTo>
                  <a:pt x="273327" y="129902"/>
                </a:lnTo>
                <a:lnTo>
                  <a:pt x="308618" y="124027"/>
                </a:lnTo>
                <a:lnTo>
                  <a:pt x="298483" y="72957"/>
                </a:lnTo>
                <a:lnTo>
                  <a:pt x="288772" y="33844"/>
                </a:lnTo>
                <a:lnTo>
                  <a:pt x="281482" y="8815"/>
                </a:lnTo>
                <a:lnTo>
                  <a:pt x="278609" y="0"/>
                </a:lnTo>
                <a:close/>
              </a:path>
            </a:pathLst>
          </a:custGeom>
          <a:solidFill>
            <a:srgbClr val="000000">
              <a:alpha val="9999"/>
            </a:srgbClr>
          </a:solidFill>
        </p:spPr>
        <p:txBody>
          <a:bodyPr wrap="square" lIns="0" tIns="0" rIns="0" bIns="0" rtlCol="0"/>
          <a:lstStyle/>
          <a:p>
            <a:endParaRPr/>
          </a:p>
        </p:txBody>
      </p:sp>
      <p:sp>
        <p:nvSpPr>
          <p:cNvPr id="27" name="object 27"/>
          <p:cNvSpPr/>
          <p:nvPr/>
        </p:nvSpPr>
        <p:spPr>
          <a:xfrm>
            <a:off x="2512795" y="2313767"/>
            <a:ext cx="157695" cy="234793"/>
          </a:xfrm>
          <a:custGeom>
            <a:avLst/>
            <a:gdLst/>
            <a:ahLst/>
            <a:cxnLst/>
            <a:rect l="l" t="t" r="r" b="b"/>
            <a:pathLst>
              <a:path w="346710" h="516254">
                <a:moveTo>
                  <a:pt x="120917" y="0"/>
                </a:moveTo>
                <a:lnTo>
                  <a:pt x="53703" y="24587"/>
                </a:lnTo>
                <a:lnTo>
                  <a:pt x="18703" y="38264"/>
                </a:lnTo>
                <a:lnTo>
                  <a:pt x="4581" y="45963"/>
                </a:lnTo>
                <a:lnTo>
                  <a:pt x="0" y="52616"/>
                </a:lnTo>
                <a:lnTo>
                  <a:pt x="19204" y="96850"/>
                </a:lnTo>
                <a:lnTo>
                  <a:pt x="30654" y="124132"/>
                </a:lnTo>
                <a:lnTo>
                  <a:pt x="38895" y="145743"/>
                </a:lnTo>
                <a:lnTo>
                  <a:pt x="48469" y="172968"/>
                </a:lnTo>
                <a:lnTo>
                  <a:pt x="51916" y="244404"/>
                </a:lnTo>
                <a:lnTo>
                  <a:pt x="53112" y="285632"/>
                </a:lnTo>
                <a:lnTo>
                  <a:pt x="52099" y="312328"/>
                </a:lnTo>
                <a:lnTo>
                  <a:pt x="42540" y="378873"/>
                </a:lnTo>
                <a:lnTo>
                  <a:pt x="31792" y="438024"/>
                </a:lnTo>
                <a:lnTo>
                  <a:pt x="21676" y="492174"/>
                </a:lnTo>
                <a:lnTo>
                  <a:pt x="17193" y="515879"/>
                </a:lnTo>
                <a:lnTo>
                  <a:pt x="311749" y="482896"/>
                </a:lnTo>
                <a:lnTo>
                  <a:pt x="323390" y="469538"/>
                </a:lnTo>
                <a:lnTo>
                  <a:pt x="326263" y="453153"/>
                </a:lnTo>
                <a:lnTo>
                  <a:pt x="319463" y="423002"/>
                </a:lnTo>
                <a:lnTo>
                  <a:pt x="302085" y="368344"/>
                </a:lnTo>
                <a:lnTo>
                  <a:pt x="297520" y="329229"/>
                </a:lnTo>
                <a:lnTo>
                  <a:pt x="298023" y="274205"/>
                </a:lnTo>
                <a:lnTo>
                  <a:pt x="300555" y="222068"/>
                </a:lnTo>
                <a:lnTo>
                  <a:pt x="302074" y="191617"/>
                </a:lnTo>
                <a:lnTo>
                  <a:pt x="302074" y="188318"/>
                </a:lnTo>
                <a:lnTo>
                  <a:pt x="301406" y="180730"/>
                </a:lnTo>
                <a:lnTo>
                  <a:pt x="300816" y="175126"/>
                </a:lnTo>
                <a:lnTo>
                  <a:pt x="299973" y="168739"/>
                </a:lnTo>
                <a:lnTo>
                  <a:pt x="298545" y="158801"/>
                </a:lnTo>
                <a:lnTo>
                  <a:pt x="315548" y="150321"/>
                </a:lnTo>
                <a:lnTo>
                  <a:pt x="326720" y="145665"/>
                </a:lnTo>
                <a:lnTo>
                  <a:pt x="335752" y="142604"/>
                </a:lnTo>
                <a:lnTo>
                  <a:pt x="346335" y="138906"/>
                </a:lnTo>
                <a:lnTo>
                  <a:pt x="343549" y="101818"/>
                </a:lnTo>
                <a:lnTo>
                  <a:pt x="342715" y="71135"/>
                </a:lnTo>
                <a:lnTo>
                  <a:pt x="337462" y="53974"/>
                </a:lnTo>
                <a:lnTo>
                  <a:pt x="323313" y="44098"/>
                </a:lnTo>
                <a:lnTo>
                  <a:pt x="295792" y="35265"/>
                </a:lnTo>
                <a:lnTo>
                  <a:pt x="287131" y="30189"/>
                </a:lnTo>
                <a:lnTo>
                  <a:pt x="214946" y="8523"/>
                </a:lnTo>
                <a:lnTo>
                  <a:pt x="169530" y="3228"/>
                </a:lnTo>
                <a:lnTo>
                  <a:pt x="143061" y="1710"/>
                </a:lnTo>
                <a:lnTo>
                  <a:pt x="120917" y="0"/>
                </a:lnTo>
                <a:close/>
              </a:path>
            </a:pathLst>
          </a:custGeom>
          <a:solidFill>
            <a:srgbClr val="FFFFFF"/>
          </a:solidFill>
        </p:spPr>
        <p:txBody>
          <a:bodyPr wrap="square" lIns="0" tIns="0" rIns="0" bIns="0" rtlCol="0"/>
          <a:lstStyle/>
          <a:p>
            <a:endParaRPr/>
          </a:p>
        </p:txBody>
      </p:sp>
      <p:sp>
        <p:nvSpPr>
          <p:cNvPr id="28" name="object 28"/>
          <p:cNvSpPr/>
          <p:nvPr/>
        </p:nvSpPr>
        <p:spPr>
          <a:xfrm>
            <a:off x="2520610" y="2363099"/>
            <a:ext cx="99354" cy="185409"/>
          </a:xfrm>
          <a:custGeom>
            <a:avLst/>
            <a:gdLst/>
            <a:ahLst/>
            <a:cxnLst/>
            <a:rect l="l" t="t" r="r" b="b"/>
            <a:pathLst>
              <a:path w="218439" h="407670">
                <a:moveTo>
                  <a:pt x="6355" y="0"/>
                </a:moveTo>
                <a:lnTo>
                  <a:pt x="25877" y="49538"/>
                </a:lnTo>
                <a:lnTo>
                  <a:pt x="34733" y="135936"/>
                </a:lnTo>
                <a:lnTo>
                  <a:pt x="35928" y="177164"/>
                </a:lnTo>
                <a:lnTo>
                  <a:pt x="34912" y="203860"/>
                </a:lnTo>
                <a:lnTo>
                  <a:pt x="25347" y="270401"/>
                </a:lnTo>
                <a:lnTo>
                  <a:pt x="14599" y="329552"/>
                </a:lnTo>
                <a:lnTo>
                  <a:pt x="4483" y="383705"/>
                </a:lnTo>
                <a:lnTo>
                  <a:pt x="0" y="407411"/>
                </a:lnTo>
                <a:lnTo>
                  <a:pt x="218014" y="382993"/>
                </a:lnTo>
                <a:lnTo>
                  <a:pt x="169696" y="340621"/>
                </a:lnTo>
                <a:lnTo>
                  <a:pt x="131524" y="289949"/>
                </a:lnTo>
                <a:lnTo>
                  <a:pt x="116543" y="254405"/>
                </a:lnTo>
                <a:lnTo>
                  <a:pt x="105473" y="217417"/>
                </a:lnTo>
                <a:lnTo>
                  <a:pt x="98366" y="195077"/>
                </a:lnTo>
                <a:lnTo>
                  <a:pt x="90071" y="173499"/>
                </a:lnTo>
                <a:lnTo>
                  <a:pt x="80734" y="152334"/>
                </a:lnTo>
                <a:lnTo>
                  <a:pt x="70500" y="131231"/>
                </a:lnTo>
                <a:lnTo>
                  <a:pt x="55206" y="98403"/>
                </a:lnTo>
                <a:lnTo>
                  <a:pt x="40292" y="64500"/>
                </a:lnTo>
                <a:lnTo>
                  <a:pt x="24606" y="31491"/>
                </a:lnTo>
                <a:lnTo>
                  <a:pt x="6355" y="0"/>
                </a:lnTo>
                <a:close/>
              </a:path>
            </a:pathLst>
          </a:custGeom>
          <a:solidFill>
            <a:srgbClr val="000000">
              <a:alpha val="9999"/>
            </a:srgbClr>
          </a:solidFill>
        </p:spPr>
        <p:txBody>
          <a:bodyPr wrap="square" lIns="0" tIns="0" rIns="0" bIns="0" rtlCol="0"/>
          <a:lstStyle/>
          <a:p>
            <a:endParaRPr/>
          </a:p>
        </p:txBody>
      </p:sp>
      <p:sp>
        <p:nvSpPr>
          <p:cNvPr id="29" name="object 29"/>
          <p:cNvSpPr/>
          <p:nvPr/>
        </p:nvSpPr>
        <p:spPr>
          <a:xfrm>
            <a:off x="2538434" y="2191550"/>
            <a:ext cx="106338" cy="220421"/>
          </a:xfrm>
          <a:prstGeom prst="rect">
            <a:avLst/>
          </a:prstGeom>
          <a:blipFill>
            <a:blip r:embed="rId6" cstate="print"/>
            <a:stretch>
              <a:fillRect/>
            </a:stretch>
          </a:blipFill>
        </p:spPr>
        <p:txBody>
          <a:bodyPr wrap="square" lIns="0" tIns="0" rIns="0" bIns="0" rtlCol="0"/>
          <a:lstStyle/>
          <a:p>
            <a:endParaRPr/>
          </a:p>
        </p:txBody>
      </p:sp>
      <p:sp>
        <p:nvSpPr>
          <p:cNvPr id="30" name="object 30"/>
          <p:cNvSpPr/>
          <p:nvPr/>
        </p:nvSpPr>
        <p:spPr>
          <a:xfrm>
            <a:off x="2530015" y="2322344"/>
            <a:ext cx="52276" cy="197827"/>
          </a:xfrm>
          <a:custGeom>
            <a:avLst/>
            <a:gdLst/>
            <a:ahLst/>
            <a:cxnLst/>
            <a:rect l="l" t="t" r="r" b="b"/>
            <a:pathLst>
              <a:path w="114935" h="434975">
                <a:moveTo>
                  <a:pt x="30355" y="0"/>
                </a:moveTo>
                <a:lnTo>
                  <a:pt x="0" y="11884"/>
                </a:lnTo>
                <a:lnTo>
                  <a:pt x="30926" y="32252"/>
                </a:lnTo>
                <a:lnTo>
                  <a:pt x="48769" y="52518"/>
                </a:lnTo>
                <a:lnTo>
                  <a:pt x="60307" y="84808"/>
                </a:lnTo>
                <a:lnTo>
                  <a:pt x="72322" y="141252"/>
                </a:lnTo>
                <a:lnTo>
                  <a:pt x="79459" y="224893"/>
                </a:lnTo>
                <a:lnTo>
                  <a:pt x="76296" y="314571"/>
                </a:lnTo>
                <a:lnTo>
                  <a:pt x="69504" y="386108"/>
                </a:lnTo>
                <a:lnTo>
                  <a:pt x="65757" y="415327"/>
                </a:lnTo>
                <a:lnTo>
                  <a:pt x="102572" y="434751"/>
                </a:lnTo>
                <a:lnTo>
                  <a:pt x="114708" y="158256"/>
                </a:lnTo>
                <a:lnTo>
                  <a:pt x="101395" y="105123"/>
                </a:lnTo>
                <a:lnTo>
                  <a:pt x="87863" y="59017"/>
                </a:lnTo>
                <a:lnTo>
                  <a:pt x="65628" y="21389"/>
                </a:lnTo>
                <a:lnTo>
                  <a:pt x="35732" y="1534"/>
                </a:lnTo>
                <a:lnTo>
                  <a:pt x="30355" y="0"/>
                </a:lnTo>
                <a:close/>
              </a:path>
            </a:pathLst>
          </a:custGeom>
          <a:solidFill>
            <a:srgbClr val="FF7900"/>
          </a:solidFill>
        </p:spPr>
        <p:txBody>
          <a:bodyPr wrap="square" lIns="0" tIns="0" rIns="0" bIns="0" rtlCol="0"/>
          <a:lstStyle/>
          <a:p>
            <a:endParaRPr/>
          </a:p>
        </p:txBody>
      </p:sp>
      <p:sp>
        <p:nvSpPr>
          <p:cNvPr id="31" name="object 31"/>
          <p:cNvSpPr/>
          <p:nvPr/>
        </p:nvSpPr>
        <p:spPr>
          <a:xfrm>
            <a:off x="2559921" y="2382702"/>
            <a:ext cx="38702" cy="67001"/>
          </a:xfrm>
          <a:custGeom>
            <a:avLst/>
            <a:gdLst/>
            <a:ahLst/>
            <a:cxnLst/>
            <a:rect l="l" t="t" r="r" b="b"/>
            <a:pathLst>
              <a:path w="85089" h="147320">
                <a:moveTo>
                  <a:pt x="8083" y="16805"/>
                </a:moveTo>
                <a:lnTo>
                  <a:pt x="848" y="47883"/>
                </a:lnTo>
                <a:lnTo>
                  <a:pt x="9151" y="98133"/>
                </a:lnTo>
                <a:lnTo>
                  <a:pt x="0" y="114247"/>
                </a:lnTo>
                <a:lnTo>
                  <a:pt x="30930" y="146759"/>
                </a:lnTo>
                <a:lnTo>
                  <a:pt x="85002" y="82751"/>
                </a:lnTo>
                <a:lnTo>
                  <a:pt x="78748" y="38041"/>
                </a:lnTo>
                <a:lnTo>
                  <a:pt x="19940" y="38041"/>
                </a:lnTo>
                <a:lnTo>
                  <a:pt x="13800" y="37077"/>
                </a:lnTo>
                <a:lnTo>
                  <a:pt x="9319" y="33255"/>
                </a:lnTo>
                <a:lnTo>
                  <a:pt x="8083" y="16805"/>
                </a:lnTo>
                <a:close/>
              </a:path>
              <a:path w="85089" h="147320">
                <a:moveTo>
                  <a:pt x="43632" y="0"/>
                </a:moveTo>
                <a:lnTo>
                  <a:pt x="46870" y="14307"/>
                </a:lnTo>
                <a:lnTo>
                  <a:pt x="47827" y="22346"/>
                </a:lnTo>
                <a:lnTo>
                  <a:pt x="46390" y="27056"/>
                </a:lnTo>
                <a:lnTo>
                  <a:pt x="42448" y="31381"/>
                </a:lnTo>
                <a:lnTo>
                  <a:pt x="35236" y="36112"/>
                </a:lnTo>
                <a:lnTo>
                  <a:pt x="27410" y="38026"/>
                </a:lnTo>
                <a:lnTo>
                  <a:pt x="19940" y="38041"/>
                </a:lnTo>
                <a:lnTo>
                  <a:pt x="78748" y="38041"/>
                </a:lnTo>
                <a:lnTo>
                  <a:pt x="76385" y="21140"/>
                </a:lnTo>
                <a:lnTo>
                  <a:pt x="73955" y="17517"/>
                </a:lnTo>
                <a:lnTo>
                  <a:pt x="43632" y="0"/>
                </a:lnTo>
                <a:close/>
              </a:path>
            </a:pathLst>
          </a:custGeom>
          <a:solidFill>
            <a:srgbClr val="F4CFB1"/>
          </a:solidFill>
        </p:spPr>
        <p:txBody>
          <a:bodyPr wrap="square" lIns="0" tIns="0" rIns="0" bIns="0" rtlCol="0"/>
          <a:lstStyle/>
          <a:p>
            <a:endParaRPr/>
          </a:p>
        </p:txBody>
      </p:sp>
      <p:sp>
        <p:nvSpPr>
          <p:cNvPr id="32" name="object 32"/>
          <p:cNvSpPr/>
          <p:nvPr/>
        </p:nvSpPr>
        <p:spPr>
          <a:xfrm>
            <a:off x="2478808" y="2506861"/>
            <a:ext cx="108136" cy="107119"/>
          </a:xfrm>
          <a:prstGeom prst="rect">
            <a:avLst/>
          </a:prstGeom>
          <a:blipFill>
            <a:blip r:embed="rId7" cstate="print"/>
            <a:stretch>
              <a:fillRect/>
            </a:stretch>
          </a:blipFill>
        </p:spPr>
        <p:txBody>
          <a:bodyPr wrap="square" lIns="0" tIns="0" rIns="0" bIns="0" rtlCol="0"/>
          <a:lstStyle/>
          <a:p>
            <a:endParaRPr/>
          </a:p>
        </p:txBody>
      </p:sp>
      <p:sp>
        <p:nvSpPr>
          <p:cNvPr id="33" name="object 33"/>
          <p:cNvSpPr/>
          <p:nvPr/>
        </p:nvSpPr>
        <p:spPr>
          <a:xfrm>
            <a:off x="2675169" y="2562102"/>
            <a:ext cx="21950" cy="14728"/>
          </a:xfrm>
          <a:custGeom>
            <a:avLst/>
            <a:gdLst/>
            <a:ahLst/>
            <a:cxnLst/>
            <a:rect l="l" t="t" r="r" b="b"/>
            <a:pathLst>
              <a:path w="48260" h="32385">
                <a:moveTo>
                  <a:pt x="41998" y="0"/>
                </a:moveTo>
                <a:lnTo>
                  <a:pt x="0" y="5853"/>
                </a:lnTo>
                <a:lnTo>
                  <a:pt x="8785" y="31821"/>
                </a:lnTo>
                <a:lnTo>
                  <a:pt x="48124" y="29496"/>
                </a:lnTo>
                <a:lnTo>
                  <a:pt x="41998" y="0"/>
                </a:lnTo>
                <a:close/>
              </a:path>
            </a:pathLst>
          </a:custGeom>
          <a:solidFill>
            <a:srgbClr val="E2DED7"/>
          </a:solidFill>
        </p:spPr>
        <p:txBody>
          <a:bodyPr wrap="square" lIns="0" tIns="0" rIns="0" bIns="0" rtlCol="0"/>
          <a:lstStyle/>
          <a:p>
            <a:endParaRPr/>
          </a:p>
        </p:txBody>
      </p:sp>
      <p:sp>
        <p:nvSpPr>
          <p:cNvPr id="34" name="object 34"/>
          <p:cNvSpPr/>
          <p:nvPr/>
        </p:nvSpPr>
        <p:spPr>
          <a:xfrm>
            <a:off x="2557717" y="2427305"/>
            <a:ext cx="25705" cy="21082"/>
          </a:xfrm>
          <a:custGeom>
            <a:avLst/>
            <a:gdLst/>
            <a:ahLst/>
            <a:cxnLst/>
            <a:rect l="l" t="t" r="r" b="b"/>
            <a:pathLst>
              <a:path w="56514" h="46354">
                <a:moveTo>
                  <a:pt x="18579" y="0"/>
                </a:moveTo>
                <a:lnTo>
                  <a:pt x="13999" y="67"/>
                </a:lnTo>
                <a:lnTo>
                  <a:pt x="0" y="20119"/>
                </a:lnTo>
                <a:lnTo>
                  <a:pt x="37621" y="45919"/>
                </a:lnTo>
                <a:lnTo>
                  <a:pt x="55893" y="24872"/>
                </a:lnTo>
                <a:lnTo>
                  <a:pt x="43450" y="9167"/>
                </a:lnTo>
                <a:lnTo>
                  <a:pt x="29704" y="1954"/>
                </a:lnTo>
                <a:lnTo>
                  <a:pt x="18579" y="0"/>
                </a:lnTo>
                <a:close/>
              </a:path>
            </a:pathLst>
          </a:custGeom>
          <a:solidFill>
            <a:srgbClr val="E2DED7"/>
          </a:solidFill>
        </p:spPr>
        <p:txBody>
          <a:bodyPr wrap="square" lIns="0" tIns="0" rIns="0" bIns="0" rtlCol="0"/>
          <a:lstStyle/>
          <a:p>
            <a:endParaRPr/>
          </a:p>
        </p:txBody>
      </p:sp>
      <p:sp>
        <p:nvSpPr>
          <p:cNvPr id="35" name="object 35"/>
          <p:cNvSpPr/>
          <p:nvPr/>
        </p:nvSpPr>
        <p:spPr>
          <a:xfrm>
            <a:off x="2498631" y="2337697"/>
            <a:ext cx="78559" cy="155085"/>
          </a:xfrm>
          <a:custGeom>
            <a:avLst/>
            <a:gdLst/>
            <a:ahLst/>
            <a:cxnLst/>
            <a:rect l="l" t="t" r="r" b="b"/>
            <a:pathLst>
              <a:path w="172720" h="340995">
                <a:moveTo>
                  <a:pt x="31139" y="0"/>
                </a:moveTo>
                <a:lnTo>
                  <a:pt x="14258" y="15523"/>
                </a:lnTo>
                <a:lnTo>
                  <a:pt x="5961" y="27830"/>
                </a:lnTo>
                <a:lnTo>
                  <a:pt x="3845" y="43339"/>
                </a:lnTo>
                <a:lnTo>
                  <a:pt x="5506" y="68469"/>
                </a:lnTo>
                <a:lnTo>
                  <a:pt x="5154" y="103263"/>
                </a:lnTo>
                <a:lnTo>
                  <a:pt x="2357" y="157351"/>
                </a:lnTo>
                <a:lnTo>
                  <a:pt x="0" y="219431"/>
                </a:lnTo>
                <a:lnTo>
                  <a:pt x="965" y="278206"/>
                </a:lnTo>
                <a:lnTo>
                  <a:pt x="8139" y="322375"/>
                </a:lnTo>
                <a:lnTo>
                  <a:pt x="24406" y="340638"/>
                </a:lnTo>
                <a:lnTo>
                  <a:pt x="74855" y="332759"/>
                </a:lnTo>
                <a:lnTo>
                  <a:pt x="123956" y="307698"/>
                </a:lnTo>
                <a:lnTo>
                  <a:pt x="160287" y="273404"/>
                </a:lnTo>
                <a:lnTo>
                  <a:pt x="168329" y="249824"/>
                </a:lnTo>
                <a:lnTo>
                  <a:pt x="65357" y="249824"/>
                </a:lnTo>
                <a:lnTo>
                  <a:pt x="75874" y="157289"/>
                </a:lnTo>
                <a:lnTo>
                  <a:pt x="80654" y="107170"/>
                </a:lnTo>
                <a:lnTo>
                  <a:pt x="80846" y="82121"/>
                </a:lnTo>
                <a:lnTo>
                  <a:pt x="77598" y="64793"/>
                </a:lnTo>
                <a:lnTo>
                  <a:pt x="71715" y="43673"/>
                </a:lnTo>
                <a:lnTo>
                  <a:pt x="62618" y="22313"/>
                </a:lnTo>
                <a:lnTo>
                  <a:pt x="49396" y="5995"/>
                </a:lnTo>
                <a:lnTo>
                  <a:pt x="31139" y="0"/>
                </a:lnTo>
                <a:close/>
              </a:path>
              <a:path w="172720" h="340995">
                <a:moveTo>
                  <a:pt x="136926" y="209260"/>
                </a:moveTo>
                <a:lnTo>
                  <a:pt x="117068" y="215815"/>
                </a:lnTo>
                <a:lnTo>
                  <a:pt x="93430" y="229735"/>
                </a:lnTo>
                <a:lnTo>
                  <a:pt x="73648" y="243558"/>
                </a:lnTo>
                <a:lnTo>
                  <a:pt x="65357" y="249824"/>
                </a:lnTo>
                <a:lnTo>
                  <a:pt x="168329" y="249824"/>
                </a:lnTo>
                <a:lnTo>
                  <a:pt x="172422" y="237825"/>
                </a:lnTo>
                <a:lnTo>
                  <a:pt x="167942" y="228544"/>
                </a:lnTo>
                <a:lnTo>
                  <a:pt x="158467" y="219192"/>
                </a:lnTo>
                <a:lnTo>
                  <a:pt x="147096" y="212015"/>
                </a:lnTo>
                <a:lnTo>
                  <a:pt x="136926" y="209260"/>
                </a:lnTo>
                <a:close/>
              </a:path>
            </a:pathLst>
          </a:custGeom>
          <a:solidFill>
            <a:srgbClr val="FFFFFF"/>
          </a:solidFill>
        </p:spPr>
        <p:txBody>
          <a:bodyPr wrap="square" lIns="0" tIns="0" rIns="0" bIns="0" rtlCol="0"/>
          <a:lstStyle/>
          <a:p>
            <a:endParaRPr/>
          </a:p>
        </p:txBody>
      </p:sp>
      <p:sp>
        <p:nvSpPr>
          <p:cNvPr id="36" name="object 36"/>
          <p:cNvSpPr/>
          <p:nvPr/>
        </p:nvSpPr>
        <p:spPr>
          <a:xfrm>
            <a:off x="2498556" y="2373584"/>
            <a:ext cx="77981" cy="119274"/>
          </a:xfrm>
          <a:custGeom>
            <a:avLst/>
            <a:gdLst/>
            <a:ahLst/>
            <a:cxnLst/>
            <a:rect l="l" t="t" r="r" b="b"/>
            <a:pathLst>
              <a:path w="171450" h="262254">
                <a:moveTo>
                  <a:pt x="6002" y="0"/>
                </a:moveTo>
                <a:lnTo>
                  <a:pt x="4541" y="40205"/>
                </a:lnTo>
                <a:lnTo>
                  <a:pt x="1752" y="94119"/>
                </a:lnTo>
                <a:lnTo>
                  <a:pt x="0" y="152484"/>
                </a:lnTo>
                <a:lnTo>
                  <a:pt x="1644" y="206046"/>
                </a:lnTo>
                <a:lnTo>
                  <a:pt x="9050" y="245546"/>
                </a:lnTo>
                <a:lnTo>
                  <a:pt x="24577" y="261730"/>
                </a:lnTo>
                <a:lnTo>
                  <a:pt x="69925" y="255519"/>
                </a:lnTo>
                <a:lnTo>
                  <a:pt x="115089" y="234706"/>
                </a:lnTo>
                <a:lnTo>
                  <a:pt x="123927" y="227563"/>
                </a:lnTo>
                <a:lnTo>
                  <a:pt x="68314" y="227563"/>
                </a:lnTo>
                <a:lnTo>
                  <a:pt x="44106" y="222367"/>
                </a:lnTo>
                <a:lnTo>
                  <a:pt x="20007" y="185108"/>
                </a:lnTo>
                <a:lnTo>
                  <a:pt x="10950" y="128538"/>
                </a:lnTo>
                <a:lnTo>
                  <a:pt x="7758" y="63146"/>
                </a:lnTo>
                <a:lnTo>
                  <a:pt x="7059" y="30396"/>
                </a:lnTo>
                <a:lnTo>
                  <a:pt x="6844" y="23229"/>
                </a:lnTo>
                <a:lnTo>
                  <a:pt x="6264" y="7968"/>
                </a:lnTo>
                <a:lnTo>
                  <a:pt x="6002" y="0"/>
                </a:lnTo>
                <a:close/>
              </a:path>
              <a:path w="171450" h="262254">
                <a:moveTo>
                  <a:pt x="171400" y="172570"/>
                </a:moveTo>
                <a:lnTo>
                  <a:pt x="142029" y="200705"/>
                </a:lnTo>
                <a:lnTo>
                  <a:pt x="104458" y="220213"/>
                </a:lnTo>
                <a:lnTo>
                  <a:pt x="68314" y="227563"/>
                </a:lnTo>
                <a:lnTo>
                  <a:pt x="123927" y="227563"/>
                </a:lnTo>
                <a:lnTo>
                  <a:pt x="151703" y="205115"/>
                </a:lnTo>
                <a:lnTo>
                  <a:pt x="171400" y="172570"/>
                </a:lnTo>
                <a:close/>
              </a:path>
            </a:pathLst>
          </a:custGeom>
          <a:solidFill>
            <a:srgbClr val="000000">
              <a:alpha val="9999"/>
            </a:srgbClr>
          </a:solidFill>
        </p:spPr>
        <p:txBody>
          <a:bodyPr wrap="square" lIns="0" tIns="0" rIns="0" bIns="0" rtlCol="0"/>
          <a:lstStyle/>
          <a:p>
            <a:endParaRPr/>
          </a:p>
        </p:txBody>
      </p:sp>
      <p:sp>
        <p:nvSpPr>
          <p:cNvPr id="37" name="object 37"/>
          <p:cNvSpPr/>
          <p:nvPr/>
        </p:nvSpPr>
        <p:spPr>
          <a:xfrm>
            <a:off x="2503649" y="2560864"/>
            <a:ext cx="15596" cy="9819"/>
          </a:xfrm>
          <a:custGeom>
            <a:avLst/>
            <a:gdLst/>
            <a:ahLst/>
            <a:cxnLst/>
            <a:rect l="l" t="t" r="r" b="b"/>
            <a:pathLst>
              <a:path w="34289" h="21589">
                <a:moveTo>
                  <a:pt x="5727" y="0"/>
                </a:moveTo>
                <a:lnTo>
                  <a:pt x="0" y="17224"/>
                </a:lnTo>
                <a:lnTo>
                  <a:pt x="30721" y="21004"/>
                </a:lnTo>
                <a:lnTo>
                  <a:pt x="34271" y="2722"/>
                </a:lnTo>
                <a:lnTo>
                  <a:pt x="5727" y="0"/>
                </a:lnTo>
                <a:close/>
              </a:path>
            </a:pathLst>
          </a:custGeom>
          <a:solidFill>
            <a:srgbClr val="1F3E4F"/>
          </a:solidFill>
        </p:spPr>
        <p:txBody>
          <a:bodyPr wrap="square" lIns="0" tIns="0" rIns="0" bIns="0" rtlCol="0"/>
          <a:lstStyle/>
          <a:p>
            <a:endParaRPr/>
          </a:p>
        </p:txBody>
      </p:sp>
      <p:sp>
        <p:nvSpPr>
          <p:cNvPr id="38" name="object 38"/>
          <p:cNvSpPr/>
          <p:nvPr/>
        </p:nvSpPr>
        <p:spPr>
          <a:xfrm>
            <a:off x="2195194" y="2446947"/>
            <a:ext cx="160872" cy="94725"/>
          </a:xfrm>
          <a:custGeom>
            <a:avLst/>
            <a:gdLst/>
            <a:ahLst/>
            <a:cxnLst/>
            <a:rect l="l" t="t" r="r" b="b"/>
            <a:pathLst>
              <a:path w="353695" h="208279">
                <a:moveTo>
                  <a:pt x="292734" y="0"/>
                </a:moveTo>
                <a:lnTo>
                  <a:pt x="60867" y="0"/>
                </a:lnTo>
                <a:lnTo>
                  <a:pt x="37176" y="4783"/>
                </a:lnTo>
                <a:lnTo>
                  <a:pt x="17829" y="17827"/>
                </a:lnTo>
                <a:lnTo>
                  <a:pt x="4783" y="37172"/>
                </a:lnTo>
                <a:lnTo>
                  <a:pt x="0" y="60856"/>
                </a:lnTo>
                <a:lnTo>
                  <a:pt x="0" y="147273"/>
                </a:lnTo>
                <a:lnTo>
                  <a:pt x="4783" y="170963"/>
                </a:lnTo>
                <a:lnTo>
                  <a:pt x="17829" y="190310"/>
                </a:lnTo>
                <a:lnTo>
                  <a:pt x="37176" y="203356"/>
                </a:lnTo>
                <a:lnTo>
                  <a:pt x="60867" y="208140"/>
                </a:lnTo>
                <a:lnTo>
                  <a:pt x="292734" y="208140"/>
                </a:lnTo>
                <a:lnTo>
                  <a:pt x="316423" y="203356"/>
                </a:lnTo>
                <a:lnTo>
                  <a:pt x="335767" y="190310"/>
                </a:lnTo>
                <a:lnTo>
                  <a:pt x="348809" y="170963"/>
                </a:lnTo>
                <a:lnTo>
                  <a:pt x="353591" y="147273"/>
                </a:lnTo>
                <a:lnTo>
                  <a:pt x="353591" y="60856"/>
                </a:lnTo>
                <a:lnTo>
                  <a:pt x="348809" y="37172"/>
                </a:lnTo>
                <a:lnTo>
                  <a:pt x="335767" y="17827"/>
                </a:lnTo>
                <a:lnTo>
                  <a:pt x="316423" y="4783"/>
                </a:lnTo>
                <a:lnTo>
                  <a:pt x="292734" y="0"/>
                </a:lnTo>
                <a:close/>
              </a:path>
            </a:pathLst>
          </a:custGeom>
          <a:solidFill>
            <a:srgbClr val="000000"/>
          </a:solidFill>
        </p:spPr>
        <p:txBody>
          <a:bodyPr wrap="square" lIns="0" tIns="0" rIns="0" bIns="0" rtlCol="0"/>
          <a:lstStyle/>
          <a:p>
            <a:endParaRPr/>
          </a:p>
        </p:txBody>
      </p:sp>
      <p:sp>
        <p:nvSpPr>
          <p:cNvPr id="39" name="object 39"/>
          <p:cNvSpPr/>
          <p:nvPr/>
        </p:nvSpPr>
        <p:spPr>
          <a:xfrm>
            <a:off x="2186664" y="2950337"/>
            <a:ext cx="74226" cy="35522"/>
          </a:xfrm>
          <a:custGeom>
            <a:avLst/>
            <a:gdLst/>
            <a:ahLst/>
            <a:cxnLst/>
            <a:rect l="l" t="t" r="r" b="b"/>
            <a:pathLst>
              <a:path w="163195" h="78104">
                <a:moveTo>
                  <a:pt x="149943" y="0"/>
                </a:moveTo>
                <a:lnTo>
                  <a:pt x="76678" y="366"/>
                </a:lnTo>
                <a:lnTo>
                  <a:pt x="42825" y="32438"/>
                </a:lnTo>
                <a:lnTo>
                  <a:pt x="20355" y="43997"/>
                </a:lnTo>
                <a:lnTo>
                  <a:pt x="7387" y="59002"/>
                </a:lnTo>
                <a:lnTo>
                  <a:pt x="1431" y="72002"/>
                </a:lnTo>
                <a:lnTo>
                  <a:pt x="0" y="77547"/>
                </a:lnTo>
                <a:lnTo>
                  <a:pt x="161796" y="77547"/>
                </a:lnTo>
                <a:lnTo>
                  <a:pt x="162612" y="48070"/>
                </a:lnTo>
                <a:lnTo>
                  <a:pt x="158241" y="23342"/>
                </a:lnTo>
                <a:lnTo>
                  <a:pt x="152684" y="6329"/>
                </a:lnTo>
                <a:lnTo>
                  <a:pt x="149943" y="0"/>
                </a:lnTo>
                <a:close/>
              </a:path>
            </a:pathLst>
          </a:custGeom>
          <a:solidFill>
            <a:srgbClr val="4AB4E6"/>
          </a:solidFill>
        </p:spPr>
        <p:txBody>
          <a:bodyPr wrap="square" lIns="0" tIns="0" rIns="0" bIns="0" rtlCol="0"/>
          <a:lstStyle/>
          <a:p>
            <a:endParaRPr/>
          </a:p>
        </p:txBody>
      </p:sp>
      <p:sp>
        <p:nvSpPr>
          <p:cNvPr id="40" name="object 40"/>
          <p:cNvSpPr/>
          <p:nvPr/>
        </p:nvSpPr>
        <p:spPr>
          <a:xfrm>
            <a:off x="2361010" y="2951312"/>
            <a:ext cx="75382" cy="35522"/>
          </a:xfrm>
          <a:custGeom>
            <a:avLst/>
            <a:gdLst/>
            <a:ahLst/>
            <a:cxnLst/>
            <a:rect l="l" t="t" r="r" b="b"/>
            <a:pathLst>
              <a:path w="165735" h="78104">
                <a:moveTo>
                  <a:pt x="15235" y="0"/>
                </a:moveTo>
                <a:lnTo>
                  <a:pt x="4819" y="21684"/>
                </a:lnTo>
                <a:lnTo>
                  <a:pt x="111" y="36991"/>
                </a:lnTo>
                <a:lnTo>
                  <a:pt x="0" y="53188"/>
                </a:lnTo>
                <a:lnTo>
                  <a:pt x="3372" y="77547"/>
                </a:lnTo>
                <a:lnTo>
                  <a:pt x="165178" y="77547"/>
                </a:lnTo>
                <a:lnTo>
                  <a:pt x="161458" y="57482"/>
                </a:lnTo>
                <a:lnTo>
                  <a:pt x="155756" y="46095"/>
                </a:lnTo>
                <a:lnTo>
                  <a:pt x="144056" y="39157"/>
                </a:lnTo>
                <a:lnTo>
                  <a:pt x="122342" y="32438"/>
                </a:lnTo>
                <a:lnTo>
                  <a:pt x="88489" y="366"/>
                </a:lnTo>
                <a:lnTo>
                  <a:pt x="15235" y="0"/>
                </a:lnTo>
                <a:close/>
              </a:path>
            </a:pathLst>
          </a:custGeom>
          <a:solidFill>
            <a:srgbClr val="4AB4E6"/>
          </a:solidFill>
        </p:spPr>
        <p:txBody>
          <a:bodyPr wrap="square" lIns="0" tIns="0" rIns="0" bIns="0" rtlCol="0"/>
          <a:lstStyle/>
          <a:p>
            <a:endParaRPr/>
          </a:p>
        </p:txBody>
      </p:sp>
      <p:sp>
        <p:nvSpPr>
          <p:cNvPr id="41" name="object 41"/>
          <p:cNvSpPr/>
          <p:nvPr/>
        </p:nvSpPr>
        <p:spPr>
          <a:xfrm>
            <a:off x="2186663" y="2982059"/>
            <a:ext cx="74226" cy="0"/>
          </a:xfrm>
          <a:custGeom>
            <a:avLst/>
            <a:gdLst/>
            <a:ahLst/>
            <a:cxnLst/>
            <a:rect l="l" t="t" r="r" b="b"/>
            <a:pathLst>
              <a:path w="163195">
                <a:moveTo>
                  <a:pt x="0" y="0"/>
                </a:moveTo>
                <a:lnTo>
                  <a:pt x="163104" y="0"/>
                </a:lnTo>
              </a:path>
            </a:pathLst>
          </a:custGeom>
          <a:ln w="15591">
            <a:solidFill>
              <a:srgbClr val="577980"/>
            </a:solidFill>
          </a:ln>
        </p:spPr>
        <p:txBody>
          <a:bodyPr wrap="square" lIns="0" tIns="0" rIns="0" bIns="0" rtlCol="0"/>
          <a:lstStyle/>
          <a:p>
            <a:endParaRPr/>
          </a:p>
        </p:txBody>
      </p:sp>
      <p:sp>
        <p:nvSpPr>
          <p:cNvPr id="42" name="object 42"/>
          <p:cNvSpPr/>
          <p:nvPr/>
        </p:nvSpPr>
        <p:spPr>
          <a:xfrm>
            <a:off x="2361958" y="2978705"/>
            <a:ext cx="74226" cy="8086"/>
          </a:xfrm>
          <a:custGeom>
            <a:avLst/>
            <a:gdLst/>
            <a:ahLst/>
            <a:cxnLst/>
            <a:rect l="l" t="t" r="r" b="b"/>
            <a:pathLst>
              <a:path w="163195" h="17779">
                <a:moveTo>
                  <a:pt x="156393" y="0"/>
                </a:moveTo>
                <a:lnTo>
                  <a:pt x="0" y="0"/>
                </a:lnTo>
                <a:lnTo>
                  <a:pt x="20" y="5612"/>
                </a:lnTo>
                <a:lnTo>
                  <a:pt x="387" y="11402"/>
                </a:lnTo>
                <a:lnTo>
                  <a:pt x="1287" y="17308"/>
                </a:lnTo>
                <a:lnTo>
                  <a:pt x="163094" y="17308"/>
                </a:lnTo>
                <a:lnTo>
                  <a:pt x="161806" y="9392"/>
                </a:lnTo>
                <a:lnTo>
                  <a:pt x="156393" y="0"/>
                </a:lnTo>
                <a:close/>
              </a:path>
            </a:pathLst>
          </a:custGeom>
          <a:solidFill>
            <a:srgbClr val="577980"/>
          </a:solidFill>
        </p:spPr>
        <p:txBody>
          <a:bodyPr wrap="square" lIns="0" tIns="0" rIns="0" bIns="0" rtlCol="0"/>
          <a:lstStyle/>
          <a:p>
            <a:endParaRPr/>
          </a:p>
        </p:txBody>
      </p:sp>
      <p:sp>
        <p:nvSpPr>
          <p:cNvPr id="43" name="object 43"/>
          <p:cNvSpPr/>
          <p:nvPr/>
        </p:nvSpPr>
        <p:spPr>
          <a:xfrm>
            <a:off x="2218198" y="2528932"/>
            <a:ext cx="182822" cy="425689"/>
          </a:xfrm>
          <a:custGeom>
            <a:avLst/>
            <a:gdLst/>
            <a:ahLst/>
            <a:cxnLst/>
            <a:rect l="l" t="t" r="r" b="b"/>
            <a:pathLst>
              <a:path w="401954" h="935989">
                <a:moveTo>
                  <a:pt x="220506" y="0"/>
                </a:moveTo>
                <a:lnTo>
                  <a:pt x="209574" y="3507"/>
                </a:lnTo>
                <a:lnTo>
                  <a:pt x="187789" y="3507"/>
                </a:lnTo>
                <a:lnTo>
                  <a:pt x="188287" y="10324"/>
                </a:lnTo>
                <a:lnTo>
                  <a:pt x="27507" y="61830"/>
                </a:lnTo>
                <a:lnTo>
                  <a:pt x="22910" y="430730"/>
                </a:lnTo>
                <a:lnTo>
                  <a:pt x="0" y="927406"/>
                </a:lnTo>
                <a:lnTo>
                  <a:pt x="88615" y="935646"/>
                </a:lnTo>
                <a:lnTo>
                  <a:pt x="148623" y="535837"/>
                </a:lnTo>
                <a:lnTo>
                  <a:pt x="204025" y="211951"/>
                </a:lnTo>
                <a:lnTo>
                  <a:pt x="380332" y="211951"/>
                </a:lnTo>
                <a:lnTo>
                  <a:pt x="376334" y="29999"/>
                </a:lnTo>
                <a:lnTo>
                  <a:pt x="220139" y="5183"/>
                </a:lnTo>
                <a:lnTo>
                  <a:pt x="220258" y="3507"/>
                </a:lnTo>
                <a:lnTo>
                  <a:pt x="209574" y="3507"/>
                </a:lnTo>
                <a:lnTo>
                  <a:pt x="187533" y="0"/>
                </a:lnTo>
                <a:lnTo>
                  <a:pt x="220506" y="0"/>
                </a:lnTo>
                <a:close/>
              </a:path>
              <a:path w="401954" h="935989">
                <a:moveTo>
                  <a:pt x="380332" y="211951"/>
                </a:moveTo>
                <a:lnTo>
                  <a:pt x="204025" y="211951"/>
                </a:lnTo>
                <a:lnTo>
                  <a:pt x="259426" y="535837"/>
                </a:lnTo>
                <a:lnTo>
                  <a:pt x="319435" y="935646"/>
                </a:lnTo>
                <a:lnTo>
                  <a:pt x="401631" y="927406"/>
                </a:lnTo>
                <a:lnTo>
                  <a:pt x="385140" y="430730"/>
                </a:lnTo>
                <a:lnTo>
                  <a:pt x="380332" y="211951"/>
                </a:lnTo>
                <a:close/>
              </a:path>
            </a:pathLst>
          </a:custGeom>
          <a:solidFill>
            <a:srgbClr val="ECB750"/>
          </a:solidFill>
        </p:spPr>
        <p:txBody>
          <a:bodyPr wrap="square" lIns="0" tIns="0" rIns="0" bIns="0" rtlCol="0"/>
          <a:lstStyle/>
          <a:p>
            <a:endParaRPr/>
          </a:p>
        </p:txBody>
      </p:sp>
      <p:sp>
        <p:nvSpPr>
          <p:cNvPr id="44" name="object 44"/>
          <p:cNvSpPr/>
          <p:nvPr/>
        </p:nvSpPr>
        <p:spPr>
          <a:xfrm>
            <a:off x="2310995" y="2625330"/>
            <a:ext cx="79714" cy="329230"/>
          </a:xfrm>
          <a:custGeom>
            <a:avLst/>
            <a:gdLst/>
            <a:ahLst/>
            <a:cxnLst/>
            <a:rect l="l" t="t" r="r" b="b"/>
            <a:pathLst>
              <a:path w="175260" h="723900">
                <a:moveTo>
                  <a:pt x="0" y="0"/>
                </a:moveTo>
                <a:lnTo>
                  <a:pt x="55401" y="323874"/>
                </a:lnTo>
                <a:lnTo>
                  <a:pt x="115410" y="723695"/>
                </a:lnTo>
                <a:lnTo>
                  <a:pt x="175146" y="717705"/>
                </a:lnTo>
                <a:lnTo>
                  <a:pt x="157892" y="666501"/>
                </a:lnTo>
                <a:lnTo>
                  <a:pt x="142371" y="614699"/>
                </a:lnTo>
                <a:lnTo>
                  <a:pt x="128666" y="562256"/>
                </a:lnTo>
                <a:lnTo>
                  <a:pt x="116859" y="509132"/>
                </a:lnTo>
                <a:lnTo>
                  <a:pt x="107033" y="455284"/>
                </a:lnTo>
                <a:lnTo>
                  <a:pt x="100139" y="414994"/>
                </a:lnTo>
                <a:lnTo>
                  <a:pt x="90236" y="360641"/>
                </a:lnTo>
                <a:lnTo>
                  <a:pt x="78078" y="297151"/>
                </a:lnTo>
                <a:lnTo>
                  <a:pt x="64419" y="229445"/>
                </a:lnTo>
                <a:lnTo>
                  <a:pt x="50013" y="162447"/>
                </a:lnTo>
                <a:lnTo>
                  <a:pt x="35614" y="101080"/>
                </a:lnTo>
                <a:lnTo>
                  <a:pt x="21976" y="50268"/>
                </a:lnTo>
                <a:lnTo>
                  <a:pt x="9853" y="14933"/>
                </a:lnTo>
                <a:lnTo>
                  <a:pt x="0" y="0"/>
                </a:lnTo>
                <a:close/>
              </a:path>
            </a:pathLst>
          </a:custGeom>
          <a:solidFill>
            <a:srgbClr val="000000">
              <a:alpha val="5999"/>
            </a:srgbClr>
          </a:solidFill>
        </p:spPr>
        <p:txBody>
          <a:bodyPr wrap="square" lIns="0" tIns="0" rIns="0" bIns="0" rtlCol="0"/>
          <a:lstStyle/>
          <a:p>
            <a:endParaRPr/>
          </a:p>
        </p:txBody>
      </p:sp>
      <p:sp>
        <p:nvSpPr>
          <p:cNvPr id="45" name="object 45"/>
          <p:cNvSpPr/>
          <p:nvPr/>
        </p:nvSpPr>
        <p:spPr>
          <a:xfrm>
            <a:off x="2219668" y="2528932"/>
            <a:ext cx="173291" cy="389878"/>
          </a:xfrm>
          <a:custGeom>
            <a:avLst/>
            <a:gdLst/>
            <a:ahLst/>
            <a:cxnLst/>
            <a:rect l="l" t="t" r="r" b="b"/>
            <a:pathLst>
              <a:path w="381000" h="857250">
                <a:moveTo>
                  <a:pt x="217281" y="0"/>
                </a:moveTo>
                <a:lnTo>
                  <a:pt x="206339" y="3507"/>
                </a:lnTo>
                <a:lnTo>
                  <a:pt x="184554" y="3507"/>
                </a:lnTo>
                <a:lnTo>
                  <a:pt x="185051" y="10324"/>
                </a:lnTo>
                <a:lnTo>
                  <a:pt x="24281" y="61830"/>
                </a:lnTo>
                <a:lnTo>
                  <a:pt x="19674" y="430730"/>
                </a:lnTo>
                <a:lnTo>
                  <a:pt x="0" y="857083"/>
                </a:lnTo>
                <a:lnTo>
                  <a:pt x="3407" y="824693"/>
                </a:lnTo>
                <a:lnTo>
                  <a:pt x="6857" y="792317"/>
                </a:lnTo>
                <a:lnTo>
                  <a:pt x="9967" y="759967"/>
                </a:lnTo>
                <a:lnTo>
                  <a:pt x="12355" y="727653"/>
                </a:lnTo>
                <a:lnTo>
                  <a:pt x="14950" y="678043"/>
                </a:lnTo>
                <a:lnTo>
                  <a:pt x="17196" y="628411"/>
                </a:lnTo>
                <a:lnTo>
                  <a:pt x="19554" y="578787"/>
                </a:lnTo>
                <a:lnTo>
                  <a:pt x="22482" y="529200"/>
                </a:lnTo>
                <a:lnTo>
                  <a:pt x="26438" y="479681"/>
                </a:lnTo>
                <a:lnTo>
                  <a:pt x="30133" y="436272"/>
                </a:lnTo>
                <a:lnTo>
                  <a:pt x="34965" y="375934"/>
                </a:lnTo>
                <a:lnTo>
                  <a:pt x="40433" y="308638"/>
                </a:lnTo>
                <a:lnTo>
                  <a:pt x="46033" y="244353"/>
                </a:lnTo>
                <a:lnTo>
                  <a:pt x="51263" y="193049"/>
                </a:lnTo>
                <a:lnTo>
                  <a:pt x="76623" y="123701"/>
                </a:lnTo>
                <a:lnTo>
                  <a:pt x="109928" y="97840"/>
                </a:lnTo>
                <a:lnTo>
                  <a:pt x="152170" y="83999"/>
                </a:lnTo>
                <a:lnTo>
                  <a:pt x="199980" y="79062"/>
                </a:lnTo>
                <a:lnTo>
                  <a:pt x="374177" y="79062"/>
                </a:lnTo>
                <a:lnTo>
                  <a:pt x="373098" y="29999"/>
                </a:lnTo>
                <a:lnTo>
                  <a:pt x="216904" y="5183"/>
                </a:lnTo>
                <a:lnTo>
                  <a:pt x="217026" y="3507"/>
                </a:lnTo>
                <a:lnTo>
                  <a:pt x="206339" y="3507"/>
                </a:lnTo>
                <a:lnTo>
                  <a:pt x="184298" y="0"/>
                </a:lnTo>
                <a:lnTo>
                  <a:pt x="217281" y="0"/>
                </a:lnTo>
                <a:close/>
              </a:path>
              <a:path w="381000" h="857250">
                <a:moveTo>
                  <a:pt x="374177" y="79062"/>
                </a:moveTo>
                <a:lnTo>
                  <a:pt x="199980" y="79062"/>
                </a:lnTo>
                <a:lnTo>
                  <a:pt x="249992" y="79913"/>
                </a:lnTo>
                <a:lnTo>
                  <a:pt x="300856" y="90915"/>
                </a:lnTo>
                <a:lnTo>
                  <a:pt x="332903" y="114740"/>
                </a:lnTo>
                <a:lnTo>
                  <a:pt x="359047" y="185917"/>
                </a:lnTo>
                <a:lnTo>
                  <a:pt x="362393" y="225798"/>
                </a:lnTo>
                <a:lnTo>
                  <a:pt x="365423" y="263562"/>
                </a:lnTo>
                <a:lnTo>
                  <a:pt x="368468" y="285035"/>
                </a:lnTo>
                <a:lnTo>
                  <a:pt x="371903" y="306307"/>
                </a:lnTo>
                <a:lnTo>
                  <a:pt x="375258" y="327497"/>
                </a:lnTo>
                <a:lnTo>
                  <a:pt x="378093" y="348889"/>
                </a:lnTo>
                <a:lnTo>
                  <a:pt x="379035" y="353874"/>
                </a:lnTo>
                <a:lnTo>
                  <a:pt x="379705" y="358533"/>
                </a:lnTo>
                <a:lnTo>
                  <a:pt x="380428" y="363193"/>
                </a:lnTo>
                <a:lnTo>
                  <a:pt x="374177" y="79062"/>
                </a:lnTo>
                <a:close/>
              </a:path>
            </a:pathLst>
          </a:custGeom>
          <a:solidFill>
            <a:srgbClr val="000000">
              <a:alpha val="9999"/>
            </a:srgbClr>
          </a:solidFill>
        </p:spPr>
        <p:txBody>
          <a:bodyPr wrap="square" lIns="0" tIns="0" rIns="0" bIns="0" rtlCol="0"/>
          <a:lstStyle/>
          <a:p>
            <a:endParaRPr/>
          </a:p>
        </p:txBody>
      </p:sp>
      <p:sp>
        <p:nvSpPr>
          <p:cNvPr id="46" name="object 46"/>
          <p:cNvSpPr/>
          <p:nvPr/>
        </p:nvSpPr>
        <p:spPr>
          <a:xfrm>
            <a:off x="2214554" y="2276133"/>
            <a:ext cx="176468" cy="281001"/>
          </a:xfrm>
          <a:custGeom>
            <a:avLst/>
            <a:gdLst/>
            <a:ahLst/>
            <a:cxnLst/>
            <a:rect l="l" t="t" r="r" b="b"/>
            <a:pathLst>
              <a:path w="387985" h="617854">
                <a:moveTo>
                  <a:pt x="200287" y="0"/>
                </a:moveTo>
                <a:lnTo>
                  <a:pt x="143681" y="6749"/>
                </a:lnTo>
                <a:lnTo>
                  <a:pt x="54877" y="27779"/>
                </a:lnTo>
                <a:lnTo>
                  <a:pt x="6363" y="42430"/>
                </a:lnTo>
                <a:lnTo>
                  <a:pt x="0" y="44742"/>
                </a:lnTo>
                <a:lnTo>
                  <a:pt x="40501" y="343570"/>
                </a:lnTo>
                <a:lnTo>
                  <a:pt x="35517" y="617677"/>
                </a:lnTo>
                <a:lnTo>
                  <a:pt x="386250" y="617677"/>
                </a:lnTo>
                <a:lnTo>
                  <a:pt x="385605" y="570337"/>
                </a:lnTo>
                <a:lnTo>
                  <a:pt x="386198" y="486290"/>
                </a:lnTo>
                <a:lnTo>
                  <a:pt x="387179" y="406108"/>
                </a:lnTo>
                <a:lnTo>
                  <a:pt x="387695" y="370365"/>
                </a:lnTo>
                <a:lnTo>
                  <a:pt x="383087" y="28250"/>
                </a:lnTo>
                <a:lnTo>
                  <a:pt x="336515" y="16432"/>
                </a:lnTo>
                <a:lnTo>
                  <a:pt x="291781" y="7968"/>
                </a:lnTo>
                <a:lnTo>
                  <a:pt x="243957" y="1526"/>
                </a:lnTo>
                <a:lnTo>
                  <a:pt x="222488" y="243"/>
                </a:lnTo>
                <a:lnTo>
                  <a:pt x="200287" y="0"/>
                </a:lnTo>
                <a:close/>
              </a:path>
            </a:pathLst>
          </a:custGeom>
          <a:solidFill>
            <a:srgbClr val="4AB4E6"/>
          </a:solidFill>
        </p:spPr>
        <p:txBody>
          <a:bodyPr wrap="square" lIns="0" tIns="0" rIns="0" bIns="0" rtlCol="0"/>
          <a:lstStyle/>
          <a:p>
            <a:endParaRPr/>
          </a:p>
        </p:txBody>
      </p:sp>
      <p:sp>
        <p:nvSpPr>
          <p:cNvPr id="47" name="object 47"/>
          <p:cNvSpPr/>
          <p:nvPr/>
        </p:nvSpPr>
        <p:spPr>
          <a:xfrm>
            <a:off x="2230711" y="2359951"/>
            <a:ext cx="160294" cy="197249"/>
          </a:xfrm>
          <a:custGeom>
            <a:avLst/>
            <a:gdLst/>
            <a:ahLst/>
            <a:cxnLst/>
            <a:rect l="l" t="t" r="r" b="b"/>
            <a:pathLst>
              <a:path w="352425" h="433704">
                <a:moveTo>
                  <a:pt x="9685" y="3204"/>
                </a:moveTo>
                <a:lnTo>
                  <a:pt x="4973" y="159283"/>
                </a:lnTo>
                <a:lnTo>
                  <a:pt x="0" y="433379"/>
                </a:lnTo>
                <a:lnTo>
                  <a:pt x="4620" y="407842"/>
                </a:lnTo>
                <a:lnTo>
                  <a:pt x="12643" y="352690"/>
                </a:lnTo>
                <a:lnTo>
                  <a:pt x="22849" y="296439"/>
                </a:lnTo>
                <a:lnTo>
                  <a:pt x="50932" y="260439"/>
                </a:lnTo>
                <a:lnTo>
                  <a:pt x="92940" y="246914"/>
                </a:lnTo>
                <a:lnTo>
                  <a:pt x="209062" y="220367"/>
                </a:lnTo>
                <a:lnTo>
                  <a:pt x="253811" y="209763"/>
                </a:lnTo>
                <a:lnTo>
                  <a:pt x="300305" y="197912"/>
                </a:lnTo>
                <a:lnTo>
                  <a:pt x="352135" y="183659"/>
                </a:lnTo>
                <a:lnTo>
                  <a:pt x="332901" y="89865"/>
                </a:lnTo>
                <a:lnTo>
                  <a:pt x="141634" y="89865"/>
                </a:lnTo>
                <a:lnTo>
                  <a:pt x="92947" y="85864"/>
                </a:lnTo>
                <a:lnTo>
                  <a:pt x="52635" y="77154"/>
                </a:lnTo>
                <a:lnTo>
                  <a:pt x="20109" y="55813"/>
                </a:lnTo>
                <a:lnTo>
                  <a:pt x="13234" y="24885"/>
                </a:lnTo>
                <a:lnTo>
                  <a:pt x="9685" y="3204"/>
                </a:lnTo>
                <a:close/>
              </a:path>
              <a:path w="352425" h="433704">
                <a:moveTo>
                  <a:pt x="314472" y="0"/>
                </a:moveTo>
                <a:lnTo>
                  <a:pt x="305527" y="19789"/>
                </a:lnTo>
                <a:lnTo>
                  <a:pt x="303062" y="41939"/>
                </a:lnTo>
                <a:lnTo>
                  <a:pt x="300281" y="61182"/>
                </a:lnTo>
                <a:lnTo>
                  <a:pt x="290389" y="72249"/>
                </a:lnTo>
                <a:lnTo>
                  <a:pt x="245110" y="83193"/>
                </a:lnTo>
                <a:lnTo>
                  <a:pt x="193940" y="89020"/>
                </a:lnTo>
                <a:lnTo>
                  <a:pt x="141634" y="89865"/>
                </a:lnTo>
                <a:lnTo>
                  <a:pt x="332901" y="89865"/>
                </a:lnTo>
                <a:lnTo>
                  <a:pt x="314472" y="0"/>
                </a:lnTo>
                <a:close/>
              </a:path>
            </a:pathLst>
          </a:custGeom>
          <a:solidFill>
            <a:srgbClr val="000000">
              <a:alpha val="9999"/>
            </a:srgbClr>
          </a:solidFill>
        </p:spPr>
        <p:txBody>
          <a:bodyPr wrap="square" lIns="0" tIns="0" rIns="0" bIns="0" rtlCol="0"/>
          <a:lstStyle/>
          <a:p>
            <a:endParaRPr/>
          </a:p>
        </p:txBody>
      </p:sp>
      <p:sp>
        <p:nvSpPr>
          <p:cNvPr id="48" name="object 48"/>
          <p:cNvSpPr/>
          <p:nvPr/>
        </p:nvSpPr>
        <p:spPr>
          <a:xfrm>
            <a:off x="2203271" y="2296481"/>
            <a:ext cx="155384" cy="175301"/>
          </a:xfrm>
          <a:custGeom>
            <a:avLst/>
            <a:gdLst/>
            <a:ahLst/>
            <a:cxnLst/>
            <a:rect l="l" t="t" r="r" b="b"/>
            <a:pathLst>
              <a:path w="341629" h="385445">
                <a:moveTo>
                  <a:pt x="25329" y="0"/>
                </a:moveTo>
                <a:lnTo>
                  <a:pt x="3014" y="34199"/>
                </a:lnTo>
                <a:lnTo>
                  <a:pt x="2239" y="85754"/>
                </a:lnTo>
                <a:lnTo>
                  <a:pt x="1317" y="140920"/>
                </a:lnTo>
                <a:lnTo>
                  <a:pt x="401" y="206556"/>
                </a:lnTo>
                <a:lnTo>
                  <a:pt x="0" y="270131"/>
                </a:lnTo>
                <a:lnTo>
                  <a:pt x="621" y="319114"/>
                </a:lnTo>
                <a:lnTo>
                  <a:pt x="18755" y="368012"/>
                </a:lnTo>
                <a:lnTo>
                  <a:pt x="91034" y="385391"/>
                </a:lnTo>
                <a:lnTo>
                  <a:pt x="151024" y="376474"/>
                </a:lnTo>
                <a:lnTo>
                  <a:pt x="234815" y="359602"/>
                </a:lnTo>
                <a:lnTo>
                  <a:pt x="341529" y="335926"/>
                </a:lnTo>
                <a:lnTo>
                  <a:pt x="334220" y="282347"/>
                </a:lnTo>
                <a:lnTo>
                  <a:pt x="76605" y="280284"/>
                </a:lnTo>
                <a:lnTo>
                  <a:pt x="25329" y="0"/>
                </a:lnTo>
                <a:close/>
              </a:path>
            </a:pathLst>
          </a:custGeom>
          <a:solidFill>
            <a:srgbClr val="FFFFFF"/>
          </a:solidFill>
        </p:spPr>
        <p:txBody>
          <a:bodyPr wrap="square" lIns="0" tIns="0" rIns="0" bIns="0" rtlCol="0"/>
          <a:lstStyle/>
          <a:p>
            <a:endParaRPr/>
          </a:p>
        </p:txBody>
      </p:sp>
      <p:sp>
        <p:nvSpPr>
          <p:cNvPr id="49" name="object 49"/>
          <p:cNvSpPr/>
          <p:nvPr/>
        </p:nvSpPr>
        <p:spPr>
          <a:xfrm>
            <a:off x="2196782" y="2296483"/>
            <a:ext cx="38333" cy="104401"/>
          </a:xfrm>
          <a:prstGeom prst="rect">
            <a:avLst/>
          </a:prstGeom>
          <a:blipFill>
            <a:blip r:embed="rId8" cstate="print"/>
            <a:stretch>
              <a:fillRect/>
            </a:stretch>
          </a:blipFill>
        </p:spPr>
        <p:txBody>
          <a:bodyPr wrap="square" lIns="0" tIns="0" rIns="0" bIns="0" rtlCol="0"/>
          <a:lstStyle/>
          <a:p>
            <a:endParaRPr/>
          </a:p>
        </p:txBody>
      </p:sp>
      <p:sp>
        <p:nvSpPr>
          <p:cNvPr id="50" name="object 50"/>
          <p:cNvSpPr/>
          <p:nvPr/>
        </p:nvSpPr>
        <p:spPr>
          <a:xfrm>
            <a:off x="2203285" y="2396348"/>
            <a:ext cx="162894" cy="57182"/>
          </a:xfrm>
          <a:custGeom>
            <a:avLst/>
            <a:gdLst/>
            <a:ahLst/>
            <a:cxnLst/>
            <a:rect l="l" t="t" r="r" b="b"/>
            <a:pathLst>
              <a:path w="358139" h="125729">
                <a:moveTo>
                  <a:pt x="348226" y="100300"/>
                </a:moveTo>
                <a:lnTo>
                  <a:pt x="128791" y="100300"/>
                </a:lnTo>
                <a:lnTo>
                  <a:pt x="155390" y="103656"/>
                </a:lnTo>
                <a:lnTo>
                  <a:pt x="263158" y="118728"/>
                </a:lnTo>
                <a:lnTo>
                  <a:pt x="318514" y="124605"/>
                </a:lnTo>
                <a:lnTo>
                  <a:pt x="357643" y="125483"/>
                </a:lnTo>
                <a:lnTo>
                  <a:pt x="348226" y="100300"/>
                </a:lnTo>
                <a:close/>
              </a:path>
              <a:path w="358139" h="125729">
                <a:moveTo>
                  <a:pt x="0" y="36103"/>
                </a:moveTo>
                <a:lnTo>
                  <a:pt x="219" y="83696"/>
                </a:lnTo>
                <a:lnTo>
                  <a:pt x="24496" y="115752"/>
                </a:lnTo>
                <a:lnTo>
                  <a:pt x="59275" y="110117"/>
                </a:lnTo>
                <a:lnTo>
                  <a:pt x="96975" y="103099"/>
                </a:lnTo>
                <a:lnTo>
                  <a:pt x="128791" y="100300"/>
                </a:lnTo>
                <a:lnTo>
                  <a:pt x="348226" y="100300"/>
                </a:lnTo>
                <a:lnTo>
                  <a:pt x="334188" y="62762"/>
                </a:lnTo>
                <a:lnTo>
                  <a:pt x="76573" y="60699"/>
                </a:lnTo>
                <a:lnTo>
                  <a:pt x="72562" y="38784"/>
                </a:lnTo>
                <a:lnTo>
                  <a:pt x="10879" y="38784"/>
                </a:lnTo>
                <a:lnTo>
                  <a:pt x="5130" y="37810"/>
                </a:lnTo>
                <a:lnTo>
                  <a:pt x="0" y="36103"/>
                </a:lnTo>
                <a:close/>
              </a:path>
              <a:path w="358139" h="125729">
                <a:moveTo>
                  <a:pt x="65463" y="0"/>
                </a:moveTo>
                <a:lnTo>
                  <a:pt x="59883" y="14859"/>
                </a:lnTo>
                <a:lnTo>
                  <a:pt x="49988" y="27213"/>
                </a:lnTo>
                <a:lnTo>
                  <a:pt x="35773" y="35657"/>
                </a:lnTo>
                <a:lnTo>
                  <a:pt x="17235" y="38784"/>
                </a:lnTo>
                <a:lnTo>
                  <a:pt x="72562" y="38784"/>
                </a:lnTo>
                <a:lnTo>
                  <a:pt x="65463" y="0"/>
                </a:lnTo>
                <a:close/>
              </a:path>
            </a:pathLst>
          </a:custGeom>
          <a:solidFill>
            <a:srgbClr val="000000">
              <a:alpha val="9999"/>
            </a:srgbClr>
          </a:solidFill>
        </p:spPr>
        <p:txBody>
          <a:bodyPr wrap="square" lIns="0" tIns="0" rIns="0" bIns="0" rtlCol="0"/>
          <a:lstStyle/>
          <a:p>
            <a:endParaRPr/>
          </a:p>
        </p:txBody>
      </p:sp>
      <p:sp>
        <p:nvSpPr>
          <p:cNvPr id="51" name="object 51"/>
          <p:cNvSpPr/>
          <p:nvPr/>
        </p:nvSpPr>
        <p:spPr>
          <a:xfrm>
            <a:off x="2194058" y="2384118"/>
            <a:ext cx="81552" cy="63894"/>
          </a:xfrm>
          <a:prstGeom prst="rect">
            <a:avLst/>
          </a:prstGeom>
          <a:blipFill>
            <a:blip r:embed="rId9" cstate="print"/>
            <a:stretch>
              <a:fillRect/>
            </a:stretch>
          </a:blipFill>
        </p:spPr>
        <p:txBody>
          <a:bodyPr wrap="square" lIns="0" tIns="0" rIns="0" bIns="0" rtlCol="0"/>
          <a:lstStyle/>
          <a:p>
            <a:endParaRPr/>
          </a:p>
        </p:txBody>
      </p:sp>
      <p:sp>
        <p:nvSpPr>
          <p:cNvPr id="52" name="object 52"/>
          <p:cNvSpPr/>
          <p:nvPr/>
        </p:nvSpPr>
        <p:spPr>
          <a:xfrm>
            <a:off x="2268592" y="2288996"/>
            <a:ext cx="144987" cy="171835"/>
          </a:xfrm>
          <a:custGeom>
            <a:avLst/>
            <a:gdLst/>
            <a:ahLst/>
            <a:cxnLst/>
            <a:rect l="l" t="t" r="r" b="b"/>
            <a:pathLst>
              <a:path w="318770" h="377825">
                <a:moveTo>
                  <a:pt x="3266" y="254746"/>
                </a:moveTo>
                <a:lnTo>
                  <a:pt x="0" y="311582"/>
                </a:lnTo>
                <a:lnTo>
                  <a:pt x="125886" y="349773"/>
                </a:lnTo>
                <a:lnTo>
                  <a:pt x="195386" y="369385"/>
                </a:lnTo>
                <a:lnTo>
                  <a:pt x="233286" y="376610"/>
                </a:lnTo>
                <a:lnTo>
                  <a:pt x="264368" y="377642"/>
                </a:lnTo>
                <a:lnTo>
                  <a:pt x="293036" y="364745"/>
                </a:lnTo>
                <a:lnTo>
                  <a:pt x="309388" y="335908"/>
                </a:lnTo>
                <a:lnTo>
                  <a:pt x="316756" y="305913"/>
                </a:lnTo>
                <a:lnTo>
                  <a:pt x="318471" y="289540"/>
                </a:lnTo>
                <a:lnTo>
                  <a:pt x="316711" y="265771"/>
                </a:lnTo>
                <a:lnTo>
                  <a:pt x="315989" y="257081"/>
                </a:lnTo>
                <a:lnTo>
                  <a:pt x="230369" y="257081"/>
                </a:lnTo>
                <a:lnTo>
                  <a:pt x="3266" y="254746"/>
                </a:lnTo>
                <a:close/>
              </a:path>
              <a:path w="318770" h="377825">
                <a:moveTo>
                  <a:pt x="263950" y="0"/>
                </a:moveTo>
                <a:lnTo>
                  <a:pt x="219972" y="134446"/>
                </a:lnTo>
                <a:lnTo>
                  <a:pt x="230369" y="257081"/>
                </a:lnTo>
                <a:lnTo>
                  <a:pt x="315989" y="257081"/>
                </a:lnTo>
                <a:lnTo>
                  <a:pt x="312340" y="213137"/>
                </a:lnTo>
                <a:lnTo>
                  <a:pt x="306729" y="148533"/>
                </a:lnTo>
                <a:lnTo>
                  <a:pt x="301245" y="88850"/>
                </a:lnTo>
                <a:lnTo>
                  <a:pt x="290096" y="28019"/>
                </a:lnTo>
                <a:lnTo>
                  <a:pt x="263950" y="0"/>
                </a:lnTo>
                <a:close/>
              </a:path>
            </a:pathLst>
          </a:custGeom>
          <a:solidFill>
            <a:srgbClr val="FFFFFF"/>
          </a:solidFill>
        </p:spPr>
        <p:txBody>
          <a:bodyPr wrap="square" lIns="0" tIns="0" rIns="0" bIns="0" rtlCol="0"/>
          <a:lstStyle/>
          <a:p>
            <a:endParaRPr/>
          </a:p>
        </p:txBody>
      </p:sp>
      <p:sp>
        <p:nvSpPr>
          <p:cNvPr id="53" name="object 53"/>
          <p:cNvSpPr/>
          <p:nvPr/>
        </p:nvSpPr>
        <p:spPr>
          <a:xfrm>
            <a:off x="2367428" y="2288996"/>
            <a:ext cx="51121" cy="112053"/>
          </a:xfrm>
          <a:custGeom>
            <a:avLst/>
            <a:gdLst/>
            <a:ahLst/>
            <a:cxnLst/>
            <a:rect l="l" t="t" r="r" b="b"/>
            <a:pathLst>
              <a:path w="112395" h="246379">
                <a:moveTo>
                  <a:pt x="46647" y="0"/>
                </a:moveTo>
                <a:lnTo>
                  <a:pt x="0" y="123001"/>
                </a:lnTo>
                <a:lnTo>
                  <a:pt x="11402" y="237448"/>
                </a:lnTo>
                <a:lnTo>
                  <a:pt x="35244" y="240627"/>
                </a:lnTo>
                <a:lnTo>
                  <a:pt x="61750" y="242272"/>
                </a:lnTo>
                <a:lnTo>
                  <a:pt x="88302" y="243647"/>
                </a:lnTo>
                <a:lnTo>
                  <a:pt x="112279" y="246013"/>
                </a:lnTo>
                <a:lnTo>
                  <a:pt x="105626" y="193834"/>
                </a:lnTo>
                <a:lnTo>
                  <a:pt x="95552" y="135795"/>
                </a:lnTo>
                <a:lnTo>
                  <a:pt x="85760" y="84108"/>
                </a:lnTo>
                <a:lnTo>
                  <a:pt x="79955" y="50982"/>
                </a:lnTo>
                <a:lnTo>
                  <a:pt x="72794" y="28019"/>
                </a:lnTo>
                <a:lnTo>
                  <a:pt x="61562" y="12160"/>
                </a:lnTo>
                <a:lnTo>
                  <a:pt x="51199" y="2967"/>
                </a:lnTo>
                <a:lnTo>
                  <a:pt x="46647" y="0"/>
                </a:lnTo>
                <a:close/>
              </a:path>
            </a:pathLst>
          </a:custGeom>
          <a:solidFill>
            <a:srgbClr val="4AB4E6"/>
          </a:solidFill>
        </p:spPr>
        <p:txBody>
          <a:bodyPr wrap="square" lIns="0" tIns="0" rIns="0" bIns="0" rtlCol="0"/>
          <a:lstStyle/>
          <a:p>
            <a:endParaRPr/>
          </a:p>
        </p:txBody>
      </p:sp>
      <p:sp>
        <p:nvSpPr>
          <p:cNvPr id="54" name="object 54"/>
          <p:cNvSpPr/>
          <p:nvPr/>
        </p:nvSpPr>
        <p:spPr>
          <a:xfrm>
            <a:off x="2280333" y="2236602"/>
            <a:ext cx="49677" cy="65557"/>
          </a:xfrm>
          <a:custGeom>
            <a:avLst/>
            <a:gdLst/>
            <a:ahLst/>
            <a:cxnLst/>
            <a:rect l="l" t="t" r="r" b="b"/>
            <a:pathLst>
              <a:path w="109220" h="144145">
                <a:moveTo>
                  <a:pt x="103735" y="0"/>
                </a:moveTo>
                <a:lnTo>
                  <a:pt x="6355" y="24732"/>
                </a:lnTo>
                <a:lnTo>
                  <a:pt x="0" y="84301"/>
                </a:lnTo>
                <a:lnTo>
                  <a:pt x="2654" y="107137"/>
                </a:lnTo>
                <a:lnTo>
                  <a:pt x="13907" y="126167"/>
                </a:lnTo>
                <a:lnTo>
                  <a:pt x="31769" y="139196"/>
                </a:lnTo>
                <a:lnTo>
                  <a:pt x="54249" y="144027"/>
                </a:lnTo>
                <a:lnTo>
                  <a:pt x="76163" y="139446"/>
                </a:lnTo>
                <a:lnTo>
                  <a:pt x="93796" y="127028"/>
                </a:lnTo>
                <a:lnTo>
                  <a:pt x="105263" y="108762"/>
                </a:lnTo>
                <a:lnTo>
                  <a:pt x="108677" y="86636"/>
                </a:lnTo>
                <a:lnTo>
                  <a:pt x="103735" y="0"/>
                </a:lnTo>
                <a:close/>
              </a:path>
            </a:pathLst>
          </a:custGeom>
          <a:solidFill>
            <a:srgbClr val="E7B59B"/>
          </a:solidFill>
        </p:spPr>
        <p:txBody>
          <a:bodyPr wrap="square" lIns="0" tIns="0" rIns="0" bIns="0" rtlCol="0"/>
          <a:lstStyle/>
          <a:p>
            <a:endParaRPr/>
          </a:p>
        </p:txBody>
      </p:sp>
      <p:sp>
        <p:nvSpPr>
          <p:cNvPr id="55" name="object 55"/>
          <p:cNvSpPr/>
          <p:nvPr/>
        </p:nvSpPr>
        <p:spPr>
          <a:xfrm>
            <a:off x="2281772" y="2236604"/>
            <a:ext cx="47077" cy="47074"/>
          </a:xfrm>
          <a:custGeom>
            <a:avLst/>
            <a:gdLst/>
            <a:ahLst/>
            <a:cxnLst/>
            <a:rect l="l" t="t" r="r" b="b"/>
            <a:pathLst>
              <a:path w="103504" h="103504">
                <a:moveTo>
                  <a:pt x="100572" y="0"/>
                </a:moveTo>
                <a:lnTo>
                  <a:pt x="3193" y="24732"/>
                </a:lnTo>
                <a:lnTo>
                  <a:pt x="0" y="54699"/>
                </a:lnTo>
                <a:lnTo>
                  <a:pt x="4678" y="60718"/>
                </a:lnTo>
                <a:lnTo>
                  <a:pt x="9777" y="70378"/>
                </a:lnTo>
                <a:lnTo>
                  <a:pt x="14777" y="80248"/>
                </a:lnTo>
                <a:lnTo>
                  <a:pt x="19161" y="86897"/>
                </a:lnTo>
                <a:lnTo>
                  <a:pt x="50378" y="103422"/>
                </a:lnTo>
                <a:lnTo>
                  <a:pt x="75165" y="93667"/>
                </a:lnTo>
                <a:lnTo>
                  <a:pt x="92994" y="70953"/>
                </a:lnTo>
                <a:lnTo>
                  <a:pt x="103337" y="48605"/>
                </a:lnTo>
                <a:lnTo>
                  <a:pt x="100572" y="0"/>
                </a:lnTo>
                <a:close/>
              </a:path>
            </a:pathLst>
          </a:custGeom>
          <a:solidFill>
            <a:srgbClr val="000000">
              <a:alpha val="9999"/>
            </a:srgbClr>
          </a:solidFill>
        </p:spPr>
        <p:txBody>
          <a:bodyPr wrap="square" lIns="0" tIns="0" rIns="0" bIns="0" rtlCol="0"/>
          <a:lstStyle/>
          <a:p>
            <a:endParaRPr/>
          </a:p>
        </p:txBody>
      </p:sp>
      <p:sp>
        <p:nvSpPr>
          <p:cNvPr id="56" name="object 56"/>
          <p:cNvSpPr/>
          <p:nvPr/>
        </p:nvSpPr>
        <p:spPr>
          <a:xfrm>
            <a:off x="2267573" y="2166658"/>
            <a:ext cx="76248" cy="104833"/>
          </a:xfrm>
          <a:custGeom>
            <a:avLst/>
            <a:gdLst/>
            <a:ahLst/>
            <a:cxnLst/>
            <a:rect l="l" t="t" r="r" b="b"/>
            <a:pathLst>
              <a:path w="167639" h="230504">
                <a:moveTo>
                  <a:pt x="82887" y="0"/>
                </a:moveTo>
                <a:lnTo>
                  <a:pt x="49647" y="6559"/>
                </a:lnTo>
                <a:lnTo>
                  <a:pt x="23408" y="24448"/>
                </a:lnTo>
                <a:lnTo>
                  <a:pt x="6188" y="50981"/>
                </a:lnTo>
                <a:lnTo>
                  <a:pt x="0" y="83473"/>
                </a:lnTo>
                <a:lnTo>
                  <a:pt x="0" y="88971"/>
                </a:lnTo>
                <a:lnTo>
                  <a:pt x="596" y="94436"/>
                </a:lnTo>
                <a:lnTo>
                  <a:pt x="1654" y="99798"/>
                </a:lnTo>
                <a:lnTo>
                  <a:pt x="2006" y="104729"/>
                </a:lnTo>
                <a:lnTo>
                  <a:pt x="6354" y="157378"/>
                </a:lnTo>
                <a:lnTo>
                  <a:pt x="26046" y="193490"/>
                </a:lnTo>
                <a:lnTo>
                  <a:pt x="54763" y="223212"/>
                </a:lnTo>
                <a:lnTo>
                  <a:pt x="82887" y="230307"/>
                </a:lnTo>
                <a:lnTo>
                  <a:pt x="94871" y="229540"/>
                </a:lnTo>
                <a:lnTo>
                  <a:pt x="104351" y="227339"/>
                </a:lnTo>
                <a:lnTo>
                  <a:pt x="111622" y="223853"/>
                </a:lnTo>
                <a:lnTo>
                  <a:pt x="116980" y="219228"/>
                </a:lnTo>
                <a:lnTo>
                  <a:pt x="117372" y="219228"/>
                </a:lnTo>
                <a:lnTo>
                  <a:pt x="149356" y="180067"/>
                </a:lnTo>
                <a:lnTo>
                  <a:pt x="161570" y="123377"/>
                </a:lnTo>
                <a:lnTo>
                  <a:pt x="164630" y="92371"/>
                </a:lnTo>
                <a:lnTo>
                  <a:pt x="165861" y="87130"/>
                </a:lnTo>
                <a:lnTo>
                  <a:pt x="166962" y="84288"/>
                </a:lnTo>
                <a:lnTo>
                  <a:pt x="167439" y="79128"/>
                </a:lnTo>
                <a:lnTo>
                  <a:pt x="160991" y="47310"/>
                </a:lnTo>
                <a:lnTo>
                  <a:pt x="143198" y="22271"/>
                </a:lnTo>
                <a:lnTo>
                  <a:pt x="116387" y="5879"/>
                </a:lnTo>
                <a:lnTo>
                  <a:pt x="82887" y="0"/>
                </a:lnTo>
                <a:close/>
              </a:path>
              <a:path w="167639" h="230504">
                <a:moveTo>
                  <a:pt x="117372" y="219228"/>
                </a:moveTo>
                <a:lnTo>
                  <a:pt x="116980" y="219228"/>
                </a:lnTo>
                <a:lnTo>
                  <a:pt x="117106" y="219490"/>
                </a:lnTo>
                <a:lnTo>
                  <a:pt x="117372" y="219228"/>
                </a:lnTo>
                <a:close/>
              </a:path>
            </a:pathLst>
          </a:custGeom>
          <a:solidFill>
            <a:srgbClr val="E7B59B"/>
          </a:solidFill>
        </p:spPr>
        <p:txBody>
          <a:bodyPr wrap="square" lIns="0" tIns="0" rIns="0" bIns="0" rtlCol="0"/>
          <a:lstStyle/>
          <a:p>
            <a:endParaRPr/>
          </a:p>
        </p:txBody>
      </p:sp>
      <p:sp>
        <p:nvSpPr>
          <p:cNvPr id="57" name="object 57"/>
          <p:cNvSpPr/>
          <p:nvPr/>
        </p:nvSpPr>
        <p:spPr>
          <a:xfrm>
            <a:off x="2263350" y="2210830"/>
            <a:ext cx="10109" cy="28302"/>
          </a:xfrm>
          <a:custGeom>
            <a:avLst/>
            <a:gdLst/>
            <a:ahLst/>
            <a:cxnLst/>
            <a:rect l="l" t="t" r="r" b="b"/>
            <a:pathLst>
              <a:path w="22225" h="62229">
                <a:moveTo>
                  <a:pt x="2314" y="0"/>
                </a:moveTo>
                <a:lnTo>
                  <a:pt x="0" y="7727"/>
                </a:lnTo>
                <a:lnTo>
                  <a:pt x="77" y="16368"/>
                </a:lnTo>
                <a:lnTo>
                  <a:pt x="2321" y="27047"/>
                </a:lnTo>
                <a:lnTo>
                  <a:pt x="5218" y="37505"/>
                </a:lnTo>
                <a:lnTo>
                  <a:pt x="6952" y="44051"/>
                </a:lnTo>
                <a:lnTo>
                  <a:pt x="8195" y="49202"/>
                </a:lnTo>
                <a:lnTo>
                  <a:pt x="10753" y="55792"/>
                </a:lnTo>
                <a:lnTo>
                  <a:pt x="14615" y="60935"/>
                </a:lnTo>
                <a:lnTo>
                  <a:pt x="19769" y="61746"/>
                </a:lnTo>
                <a:lnTo>
                  <a:pt x="22109" y="52116"/>
                </a:lnTo>
                <a:lnTo>
                  <a:pt x="19724" y="33951"/>
                </a:lnTo>
                <a:lnTo>
                  <a:pt x="15799" y="16010"/>
                </a:lnTo>
                <a:lnTo>
                  <a:pt x="13884" y="8481"/>
                </a:lnTo>
                <a:lnTo>
                  <a:pt x="2314" y="0"/>
                </a:lnTo>
                <a:close/>
              </a:path>
            </a:pathLst>
          </a:custGeom>
          <a:solidFill>
            <a:srgbClr val="E7B59B"/>
          </a:solidFill>
        </p:spPr>
        <p:txBody>
          <a:bodyPr wrap="square" lIns="0" tIns="0" rIns="0" bIns="0" rtlCol="0"/>
          <a:lstStyle/>
          <a:p>
            <a:endParaRPr/>
          </a:p>
        </p:txBody>
      </p:sp>
      <p:sp>
        <p:nvSpPr>
          <p:cNvPr id="58" name="object 58"/>
          <p:cNvSpPr/>
          <p:nvPr/>
        </p:nvSpPr>
        <p:spPr>
          <a:xfrm>
            <a:off x="2336410" y="2210830"/>
            <a:ext cx="10686" cy="28591"/>
          </a:xfrm>
          <a:custGeom>
            <a:avLst/>
            <a:gdLst/>
            <a:ahLst/>
            <a:cxnLst/>
            <a:rect l="l" t="t" r="r" b="b"/>
            <a:pathLst>
              <a:path w="23495" h="62864">
                <a:moveTo>
                  <a:pt x="21156" y="0"/>
                </a:moveTo>
                <a:lnTo>
                  <a:pt x="11879" y="7727"/>
                </a:lnTo>
                <a:lnTo>
                  <a:pt x="3512" y="37710"/>
                </a:lnTo>
                <a:lnTo>
                  <a:pt x="0" y="53419"/>
                </a:lnTo>
                <a:lnTo>
                  <a:pt x="688" y="60000"/>
                </a:lnTo>
                <a:lnTo>
                  <a:pt x="4926" y="62594"/>
                </a:lnTo>
                <a:lnTo>
                  <a:pt x="9888" y="61651"/>
                </a:lnTo>
                <a:lnTo>
                  <a:pt x="13329" y="56216"/>
                </a:lnTo>
                <a:lnTo>
                  <a:pt x="15466" y="49335"/>
                </a:lnTo>
                <a:lnTo>
                  <a:pt x="16517" y="44051"/>
                </a:lnTo>
                <a:lnTo>
                  <a:pt x="18257" y="37505"/>
                </a:lnTo>
                <a:lnTo>
                  <a:pt x="21156" y="27047"/>
                </a:lnTo>
                <a:lnTo>
                  <a:pt x="23473" y="16010"/>
                </a:lnTo>
                <a:lnTo>
                  <a:pt x="23470" y="7727"/>
                </a:lnTo>
                <a:lnTo>
                  <a:pt x="21156" y="0"/>
                </a:lnTo>
                <a:close/>
              </a:path>
            </a:pathLst>
          </a:custGeom>
          <a:solidFill>
            <a:srgbClr val="E7B59B"/>
          </a:solidFill>
        </p:spPr>
        <p:txBody>
          <a:bodyPr wrap="square" lIns="0" tIns="0" rIns="0" bIns="0" rtlCol="0"/>
          <a:lstStyle/>
          <a:p>
            <a:endParaRPr/>
          </a:p>
        </p:txBody>
      </p:sp>
      <p:sp>
        <p:nvSpPr>
          <p:cNvPr id="59" name="object 59"/>
          <p:cNvSpPr/>
          <p:nvPr/>
        </p:nvSpPr>
        <p:spPr>
          <a:xfrm>
            <a:off x="2267270" y="2159510"/>
            <a:ext cx="77981" cy="63824"/>
          </a:xfrm>
          <a:custGeom>
            <a:avLst/>
            <a:gdLst/>
            <a:ahLst/>
            <a:cxnLst/>
            <a:rect l="l" t="t" r="r" b="b"/>
            <a:pathLst>
              <a:path w="171450" h="140335">
                <a:moveTo>
                  <a:pt x="165898" y="54407"/>
                </a:moveTo>
                <a:lnTo>
                  <a:pt x="86296" y="54407"/>
                </a:lnTo>
                <a:lnTo>
                  <a:pt x="123474" y="58008"/>
                </a:lnTo>
                <a:lnTo>
                  <a:pt x="144426" y="62985"/>
                </a:lnTo>
                <a:lnTo>
                  <a:pt x="150617" y="77585"/>
                </a:lnTo>
                <a:lnTo>
                  <a:pt x="154448" y="103671"/>
                </a:lnTo>
                <a:lnTo>
                  <a:pt x="156396" y="128597"/>
                </a:lnTo>
                <a:lnTo>
                  <a:pt x="156939" y="139715"/>
                </a:lnTo>
                <a:lnTo>
                  <a:pt x="162029" y="130307"/>
                </a:lnTo>
                <a:lnTo>
                  <a:pt x="166479" y="116164"/>
                </a:lnTo>
                <a:lnTo>
                  <a:pt x="169698" y="101537"/>
                </a:lnTo>
                <a:lnTo>
                  <a:pt x="171095" y="90680"/>
                </a:lnTo>
                <a:lnTo>
                  <a:pt x="169828" y="70118"/>
                </a:lnTo>
                <a:lnTo>
                  <a:pt x="165898" y="54407"/>
                </a:lnTo>
                <a:close/>
              </a:path>
              <a:path w="171450" h="140335">
                <a:moveTo>
                  <a:pt x="123544" y="0"/>
                </a:moveTo>
                <a:lnTo>
                  <a:pt x="84606" y="1829"/>
                </a:lnTo>
                <a:lnTo>
                  <a:pt x="45424" y="6978"/>
                </a:lnTo>
                <a:lnTo>
                  <a:pt x="11681" y="25469"/>
                </a:lnTo>
                <a:lnTo>
                  <a:pt x="306" y="65397"/>
                </a:lnTo>
                <a:lnTo>
                  <a:pt x="0" y="90680"/>
                </a:lnTo>
                <a:lnTo>
                  <a:pt x="1022" y="110958"/>
                </a:lnTo>
                <a:lnTo>
                  <a:pt x="2053" y="121329"/>
                </a:lnTo>
                <a:lnTo>
                  <a:pt x="2828" y="125967"/>
                </a:lnTo>
                <a:lnTo>
                  <a:pt x="14367" y="138993"/>
                </a:lnTo>
                <a:lnTo>
                  <a:pt x="13750" y="107248"/>
                </a:lnTo>
                <a:lnTo>
                  <a:pt x="14846" y="88826"/>
                </a:lnTo>
                <a:lnTo>
                  <a:pt x="18829" y="76668"/>
                </a:lnTo>
                <a:lnTo>
                  <a:pt x="26869" y="63718"/>
                </a:lnTo>
                <a:lnTo>
                  <a:pt x="48794" y="55278"/>
                </a:lnTo>
                <a:lnTo>
                  <a:pt x="86296" y="54407"/>
                </a:lnTo>
                <a:lnTo>
                  <a:pt x="165898" y="54407"/>
                </a:lnTo>
                <a:lnTo>
                  <a:pt x="165709" y="53654"/>
                </a:lnTo>
                <a:lnTo>
                  <a:pt x="160878" y="42002"/>
                </a:lnTo>
                <a:lnTo>
                  <a:pt x="157473" y="35876"/>
                </a:lnTo>
                <a:lnTo>
                  <a:pt x="156337" y="29219"/>
                </a:lnTo>
                <a:lnTo>
                  <a:pt x="155605" y="19913"/>
                </a:lnTo>
                <a:lnTo>
                  <a:pt x="150453" y="10025"/>
                </a:lnTo>
                <a:lnTo>
                  <a:pt x="136060" y="1625"/>
                </a:lnTo>
                <a:lnTo>
                  <a:pt x="123544" y="0"/>
                </a:lnTo>
                <a:close/>
              </a:path>
            </a:pathLst>
          </a:custGeom>
          <a:solidFill>
            <a:srgbClr val="B47938"/>
          </a:solidFill>
        </p:spPr>
        <p:txBody>
          <a:bodyPr wrap="square" lIns="0" tIns="0" rIns="0" bIns="0" rtlCol="0"/>
          <a:lstStyle/>
          <a:p>
            <a:endParaRPr/>
          </a:p>
        </p:txBody>
      </p:sp>
      <p:sp>
        <p:nvSpPr>
          <p:cNvPr id="60" name="object 60"/>
          <p:cNvSpPr/>
          <p:nvPr/>
        </p:nvSpPr>
        <p:spPr>
          <a:xfrm>
            <a:off x="2333372" y="2387912"/>
            <a:ext cx="46789" cy="18483"/>
          </a:xfrm>
          <a:custGeom>
            <a:avLst/>
            <a:gdLst/>
            <a:ahLst/>
            <a:cxnLst/>
            <a:rect l="l" t="t" r="r" b="b"/>
            <a:pathLst>
              <a:path w="102870" h="40639">
                <a:moveTo>
                  <a:pt x="83861" y="0"/>
                </a:moveTo>
                <a:lnTo>
                  <a:pt x="37496" y="3088"/>
                </a:lnTo>
                <a:lnTo>
                  <a:pt x="0" y="38679"/>
                </a:lnTo>
                <a:lnTo>
                  <a:pt x="102614" y="40302"/>
                </a:lnTo>
                <a:lnTo>
                  <a:pt x="83861" y="0"/>
                </a:lnTo>
                <a:close/>
              </a:path>
            </a:pathLst>
          </a:custGeom>
          <a:solidFill>
            <a:srgbClr val="E7B59B"/>
          </a:solidFill>
        </p:spPr>
        <p:txBody>
          <a:bodyPr wrap="square" lIns="0" tIns="0" rIns="0" bIns="0" rtlCol="0"/>
          <a:lstStyle/>
          <a:p>
            <a:endParaRPr/>
          </a:p>
        </p:txBody>
      </p:sp>
      <p:sp>
        <p:nvSpPr>
          <p:cNvPr id="61" name="object 61"/>
          <p:cNvSpPr/>
          <p:nvPr/>
        </p:nvSpPr>
        <p:spPr>
          <a:xfrm>
            <a:off x="2266357" y="2191264"/>
            <a:ext cx="78848" cy="10397"/>
          </a:xfrm>
          <a:custGeom>
            <a:avLst/>
            <a:gdLst/>
            <a:ahLst/>
            <a:cxnLst/>
            <a:rect l="l" t="t" r="r" b="b"/>
            <a:pathLst>
              <a:path w="173354" h="22860">
                <a:moveTo>
                  <a:pt x="0" y="0"/>
                </a:moveTo>
                <a:lnTo>
                  <a:pt x="0" y="12345"/>
                </a:lnTo>
                <a:lnTo>
                  <a:pt x="44128" y="18992"/>
                </a:lnTo>
                <a:lnTo>
                  <a:pt x="76869" y="22094"/>
                </a:lnTo>
                <a:lnTo>
                  <a:pt x="114452" y="22450"/>
                </a:lnTo>
                <a:lnTo>
                  <a:pt x="173104" y="20858"/>
                </a:lnTo>
                <a:lnTo>
                  <a:pt x="173163" y="10685"/>
                </a:lnTo>
                <a:lnTo>
                  <a:pt x="122583" y="10685"/>
                </a:lnTo>
                <a:lnTo>
                  <a:pt x="78408" y="7382"/>
                </a:lnTo>
                <a:lnTo>
                  <a:pt x="0" y="0"/>
                </a:lnTo>
                <a:close/>
              </a:path>
              <a:path w="173354" h="22860">
                <a:moveTo>
                  <a:pt x="173177" y="8083"/>
                </a:moveTo>
                <a:lnTo>
                  <a:pt x="148761" y="10666"/>
                </a:lnTo>
                <a:lnTo>
                  <a:pt x="122583" y="10685"/>
                </a:lnTo>
                <a:lnTo>
                  <a:pt x="173163" y="10685"/>
                </a:lnTo>
                <a:lnTo>
                  <a:pt x="173177" y="8083"/>
                </a:lnTo>
                <a:close/>
              </a:path>
            </a:pathLst>
          </a:custGeom>
          <a:solidFill>
            <a:srgbClr val="FF7900"/>
          </a:solidFill>
        </p:spPr>
        <p:txBody>
          <a:bodyPr wrap="square" lIns="0" tIns="0" rIns="0" bIns="0" rtlCol="0"/>
          <a:lstStyle/>
          <a:p>
            <a:endParaRPr/>
          </a:p>
        </p:txBody>
      </p:sp>
      <p:sp>
        <p:nvSpPr>
          <p:cNvPr id="62" name="object 62"/>
          <p:cNvSpPr/>
          <p:nvPr/>
        </p:nvSpPr>
        <p:spPr>
          <a:xfrm>
            <a:off x="2266315" y="2149850"/>
            <a:ext cx="83757" cy="47941"/>
          </a:xfrm>
          <a:custGeom>
            <a:avLst/>
            <a:gdLst/>
            <a:ahLst/>
            <a:cxnLst/>
            <a:rect l="l" t="t" r="r" b="b"/>
            <a:pathLst>
              <a:path w="184150" h="105410">
                <a:moveTo>
                  <a:pt x="179286" y="74154"/>
                </a:moveTo>
                <a:lnTo>
                  <a:pt x="62524" y="74154"/>
                </a:lnTo>
                <a:lnTo>
                  <a:pt x="74419" y="75714"/>
                </a:lnTo>
                <a:lnTo>
                  <a:pt x="80314" y="75746"/>
                </a:lnTo>
                <a:lnTo>
                  <a:pt x="86219" y="75746"/>
                </a:lnTo>
                <a:lnTo>
                  <a:pt x="96220" y="77802"/>
                </a:lnTo>
                <a:lnTo>
                  <a:pt x="104229" y="83371"/>
                </a:lnTo>
                <a:lnTo>
                  <a:pt x="109655" y="91551"/>
                </a:lnTo>
                <a:lnTo>
                  <a:pt x="111904" y="101441"/>
                </a:lnTo>
                <a:lnTo>
                  <a:pt x="111946" y="102321"/>
                </a:lnTo>
                <a:lnTo>
                  <a:pt x="111779" y="103180"/>
                </a:lnTo>
                <a:lnTo>
                  <a:pt x="111716" y="104059"/>
                </a:lnTo>
                <a:lnTo>
                  <a:pt x="174112" y="105316"/>
                </a:lnTo>
                <a:lnTo>
                  <a:pt x="179286" y="74154"/>
                </a:lnTo>
                <a:close/>
              </a:path>
              <a:path w="184150" h="105410">
                <a:moveTo>
                  <a:pt x="97339" y="0"/>
                </a:moveTo>
                <a:lnTo>
                  <a:pt x="36005" y="12685"/>
                </a:lnTo>
                <a:lnTo>
                  <a:pt x="7705" y="44157"/>
                </a:lnTo>
                <a:lnTo>
                  <a:pt x="56" y="75714"/>
                </a:lnTo>
                <a:lnTo>
                  <a:pt x="0" y="83371"/>
                </a:lnTo>
                <a:lnTo>
                  <a:pt x="96" y="91054"/>
                </a:lnTo>
                <a:lnTo>
                  <a:pt x="43278" y="95798"/>
                </a:lnTo>
                <a:lnTo>
                  <a:pt x="44304" y="90813"/>
                </a:lnTo>
                <a:lnTo>
                  <a:pt x="47027" y="85829"/>
                </a:lnTo>
                <a:lnTo>
                  <a:pt x="54461" y="78385"/>
                </a:lnTo>
                <a:lnTo>
                  <a:pt x="62524" y="74154"/>
                </a:lnTo>
                <a:lnTo>
                  <a:pt x="179286" y="74154"/>
                </a:lnTo>
                <a:lnTo>
                  <a:pt x="183921" y="46238"/>
                </a:lnTo>
                <a:lnTo>
                  <a:pt x="179193" y="15575"/>
                </a:lnTo>
                <a:lnTo>
                  <a:pt x="152732" y="3453"/>
                </a:lnTo>
                <a:lnTo>
                  <a:pt x="97339" y="0"/>
                </a:lnTo>
                <a:close/>
              </a:path>
            </a:pathLst>
          </a:custGeom>
          <a:solidFill>
            <a:srgbClr val="FF7900"/>
          </a:solidFill>
        </p:spPr>
        <p:txBody>
          <a:bodyPr wrap="square" lIns="0" tIns="0" rIns="0" bIns="0" rtlCol="0"/>
          <a:lstStyle/>
          <a:p>
            <a:endParaRPr/>
          </a:p>
        </p:txBody>
      </p:sp>
      <p:sp>
        <p:nvSpPr>
          <p:cNvPr id="63" name="object 63"/>
          <p:cNvSpPr/>
          <p:nvPr/>
        </p:nvSpPr>
        <p:spPr>
          <a:xfrm>
            <a:off x="2339947" y="2185837"/>
            <a:ext cx="22239" cy="15018"/>
          </a:xfrm>
          <a:custGeom>
            <a:avLst/>
            <a:gdLst/>
            <a:ahLst/>
            <a:cxnLst/>
            <a:rect l="l" t="t" r="r" b="b"/>
            <a:pathLst>
              <a:path w="48895" h="33020">
                <a:moveTo>
                  <a:pt x="0" y="0"/>
                </a:moveTo>
                <a:lnTo>
                  <a:pt x="1243" y="11560"/>
                </a:lnTo>
                <a:lnTo>
                  <a:pt x="7536" y="25818"/>
                </a:lnTo>
                <a:lnTo>
                  <a:pt x="11312" y="32785"/>
                </a:lnTo>
                <a:lnTo>
                  <a:pt x="34670" y="32811"/>
                </a:lnTo>
                <a:lnTo>
                  <a:pt x="46094" y="31026"/>
                </a:lnTo>
                <a:lnTo>
                  <a:pt x="48859" y="25811"/>
                </a:lnTo>
                <a:lnTo>
                  <a:pt x="46243" y="15571"/>
                </a:lnTo>
                <a:lnTo>
                  <a:pt x="43387" y="11560"/>
                </a:lnTo>
                <a:lnTo>
                  <a:pt x="27807" y="8238"/>
                </a:lnTo>
                <a:lnTo>
                  <a:pt x="11386" y="1153"/>
                </a:lnTo>
                <a:lnTo>
                  <a:pt x="0" y="0"/>
                </a:lnTo>
                <a:close/>
              </a:path>
            </a:pathLst>
          </a:custGeom>
          <a:solidFill>
            <a:srgbClr val="FF7900"/>
          </a:solidFill>
        </p:spPr>
        <p:txBody>
          <a:bodyPr wrap="square" lIns="0" tIns="0" rIns="0" bIns="0" rtlCol="0"/>
          <a:lstStyle/>
          <a:p>
            <a:endParaRPr/>
          </a:p>
        </p:txBody>
      </p:sp>
      <p:sp>
        <p:nvSpPr>
          <p:cNvPr id="64" name="object 64"/>
          <p:cNvSpPr/>
          <p:nvPr/>
        </p:nvSpPr>
        <p:spPr>
          <a:xfrm>
            <a:off x="2234315" y="2283006"/>
            <a:ext cx="32059" cy="119563"/>
          </a:xfrm>
          <a:custGeom>
            <a:avLst/>
            <a:gdLst/>
            <a:ahLst/>
            <a:cxnLst/>
            <a:rect l="l" t="t" r="r" b="b"/>
            <a:pathLst>
              <a:path w="70485" h="262889">
                <a:moveTo>
                  <a:pt x="70050" y="0"/>
                </a:moveTo>
                <a:lnTo>
                  <a:pt x="18303" y="10889"/>
                </a:lnTo>
                <a:lnTo>
                  <a:pt x="0" y="230663"/>
                </a:lnTo>
                <a:lnTo>
                  <a:pt x="48281" y="262892"/>
                </a:lnTo>
                <a:lnTo>
                  <a:pt x="70050" y="0"/>
                </a:lnTo>
                <a:close/>
              </a:path>
            </a:pathLst>
          </a:custGeom>
          <a:solidFill>
            <a:srgbClr val="000000"/>
          </a:solidFill>
        </p:spPr>
        <p:txBody>
          <a:bodyPr wrap="square" lIns="0" tIns="0" rIns="0" bIns="0" rtlCol="0"/>
          <a:lstStyle/>
          <a:p>
            <a:endParaRPr/>
          </a:p>
        </p:txBody>
      </p:sp>
      <p:sp>
        <p:nvSpPr>
          <p:cNvPr id="65" name="object 65"/>
          <p:cNvSpPr/>
          <p:nvPr/>
        </p:nvSpPr>
        <p:spPr>
          <a:xfrm>
            <a:off x="2218195" y="2468157"/>
            <a:ext cx="14152" cy="56316"/>
          </a:xfrm>
          <a:custGeom>
            <a:avLst/>
            <a:gdLst/>
            <a:ahLst/>
            <a:cxnLst/>
            <a:rect l="l" t="t" r="r" b="b"/>
            <a:pathLst>
              <a:path w="31114" h="123825">
                <a:moveTo>
                  <a:pt x="0" y="0"/>
                </a:moveTo>
                <a:lnTo>
                  <a:pt x="27517" y="123388"/>
                </a:lnTo>
                <a:lnTo>
                  <a:pt x="30924" y="6908"/>
                </a:lnTo>
                <a:lnTo>
                  <a:pt x="13469" y="6905"/>
                </a:lnTo>
                <a:lnTo>
                  <a:pt x="7687" y="4770"/>
                </a:lnTo>
                <a:lnTo>
                  <a:pt x="0" y="0"/>
                </a:lnTo>
                <a:close/>
              </a:path>
              <a:path w="31114" h="123825">
                <a:moveTo>
                  <a:pt x="30972" y="5256"/>
                </a:moveTo>
                <a:lnTo>
                  <a:pt x="20269" y="6905"/>
                </a:lnTo>
                <a:lnTo>
                  <a:pt x="13476" y="6908"/>
                </a:lnTo>
                <a:lnTo>
                  <a:pt x="30924" y="6908"/>
                </a:lnTo>
                <a:lnTo>
                  <a:pt x="30972" y="5256"/>
                </a:lnTo>
                <a:close/>
              </a:path>
            </a:pathLst>
          </a:custGeom>
          <a:solidFill>
            <a:srgbClr val="000000"/>
          </a:solidFill>
        </p:spPr>
        <p:txBody>
          <a:bodyPr wrap="square" lIns="0" tIns="0" rIns="0" bIns="0" rtlCol="0"/>
          <a:lstStyle/>
          <a:p>
            <a:endParaRPr/>
          </a:p>
        </p:txBody>
      </p:sp>
      <p:sp>
        <p:nvSpPr>
          <p:cNvPr id="66" name="object 66"/>
          <p:cNvSpPr/>
          <p:nvPr/>
        </p:nvSpPr>
        <p:spPr>
          <a:xfrm>
            <a:off x="2073870" y="2329970"/>
            <a:ext cx="60652" cy="312769"/>
          </a:xfrm>
          <a:custGeom>
            <a:avLst/>
            <a:gdLst/>
            <a:ahLst/>
            <a:cxnLst/>
            <a:rect l="l" t="t" r="r" b="b"/>
            <a:pathLst>
              <a:path w="133350" h="687704">
                <a:moveTo>
                  <a:pt x="130325" y="581950"/>
                </a:moveTo>
                <a:lnTo>
                  <a:pt x="71934" y="581950"/>
                </a:lnTo>
                <a:lnTo>
                  <a:pt x="81076" y="585730"/>
                </a:lnTo>
                <a:lnTo>
                  <a:pt x="83790" y="621129"/>
                </a:lnTo>
                <a:lnTo>
                  <a:pt x="85746" y="645865"/>
                </a:lnTo>
                <a:lnTo>
                  <a:pt x="85193" y="654085"/>
                </a:lnTo>
                <a:lnTo>
                  <a:pt x="83165" y="661919"/>
                </a:lnTo>
                <a:lnTo>
                  <a:pt x="81057" y="668555"/>
                </a:lnTo>
                <a:lnTo>
                  <a:pt x="80269" y="673183"/>
                </a:lnTo>
                <a:lnTo>
                  <a:pt x="81662" y="687225"/>
                </a:lnTo>
                <a:lnTo>
                  <a:pt x="94625" y="683853"/>
                </a:lnTo>
                <a:lnTo>
                  <a:pt x="121284" y="648954"/>
                </a:lnTo>
                <a:lnTo>
                  <a:pt x="133221" y="594861"/>
                </a:lnTo>
                <a:lnTo>
                  <a:pt x="130325" y="581950"/>
                </a:lnTo>
                <a:close/>
              </a:path>
              <a:path w="133350" h="687704">
                <a:moveTo>
                  <a:pt x="0" y="0"/>
                </a:moveTo>
                <a:lnTo>
                  <a:pt x="36930" y="275143"/>
                </a:lnTo>
                <a:lnTo>
                  <a:pt x="66720" y="514267"/>
                </a:lnTo>
                <a:lnTo>
                  <a:pt x="66552" y="514288"/>
                </a:lnTo>
                <a:lnTo>
                  <a:pt x="53422" y="566380"/>
                </a:lnTo>
                <a:lnTo>
                  <a:pt x="48972" y="623813"/>
                </a:lnTo>
                <a:lnTo>
                  <a:pt x="58004" y="621129"/>
                </a:lnTo>
                <a:lnTo>
                  <a:pt x="64268" y="613715"/>
                </a:lnTo>
                <a:lnTo>
                  <a:pt x="68207" y="603916"/>
                </a:lnTo>
                <a:lnTo>
                  <a:pt x="70259" y="594076"/>
                </a:lnTo>
                <a:lnTo>
                  <a:pt x="71934" y="581950"/>
                </a:lnTo>
                <a:lnTo>
                  <a:pt x="130325" y="581950"/>
                </a:lnTo>
                <a:lnTo>
                  <a:pt x="114446" y="511146"/>
                </a:lnTo>
                <a:lnTo>
                  <a:pt x="104855" y="286766"/>
                </a:lnTo>
                <a:lnTo>
                  <a:pt x="87285" y="55275"/>
                </a:lnTo>
                <a:lnTo>
                  <a:pt x="0" y="0"/>
                </a:lnTo>
                <a:close/>
              </a:path>
            </a:pathLst>
          </a:custGeom>
          <a:solidFill>
            <a:srgbClr val="F4CFB1"/>
          </a:solidFill>
        </p:spPr>
        <p:txBody>
          <a:bodyPr wrap="square" lIns="0" tIns="0" rIns="0" bIns="0" rtlCol="0"/>
          <a:lstStyle/>
          <a:p>
            <a:endParaRPr/>
          </a:p>
        </p:txBody>
      </p:sp>
      <p:sp>
        <p:nvSpPr>
          <p:cNvPr id="67" name="object 67"/>
          <p:cNvSpPr/>
          <p:nvPr/>
        </p:nvSpPr>
        <p:spPr>
          <a:xfrm>
            <a:off x="1923374" y="2957061"/>
            <a:ext cx="167076" cy="29516"/>
          </a:xfrm>
          <a:prstGeom prst="rect">
            <a:avLst/>
          </a:prstGeom>
          <a:blipFill>
            <a:blip r:embed="rId10" cstate="print"/>
            <a:stretch>
              <a:fillRect/>
            </a:stretch>
          </a:blipFill>
        </p:spPr>
        <p:txBody>
          <a:bodyPr wrap="square" lIns="0" tIns="0" rIns="0" bIns="0" rtlCol="0"/>
          <a:lstStyle/>
          <a:p>
            <a:endParaRPr/>
          </a:p>
        </p:txBody>
      </p:sp>
      <p:sp>
        <p:nvSpPr>
          <p:cNvPr id="68" name="object 68"/>
          <p:cNvSpPr/>
          <p:nvPr/>
        </p:nvSpPr>
        <p:spPr>
          <a:xfrm>
            <a:off x="1907885" y="2558104"/>
            <a:ext cx="38147" cy="86409"/>
          </a:xfrm>
          <a:prstGeom prst="rect">
            <a:avLst/>
          </a:prstGeom>
          <a:blipFill>
            <a:blip r:embed="rId11" cstate="print"/>
            <a:stretch>
              <a:fillRect/>
            </a:stretch>
          </a:blipFill>
        </p:spPr>
        <p:txBody>
          <a:bodyPr wrap="square" lIns="0" tIns="0" rIns="0" bIns="0" rtlCol="0"/>
          <a:lstStyle/>
          <a:p>
            <a:endParaRPr/>
          </a:p>
        </p:txBody>
      </p:sp>
      <p:sp>
        <p:nvSpPr>
          <p:cNvPr id="69" name="object 69"/>
          <p:cNvSpPr/>
          <p:nvPr/>
        </p:nvSpPr>
        <p:spPr>
          <a:xfrm>
            <a:off x="1945246" y="2541878"/>
            <a:ext cx="143543" cy="416447"/>
          </a:xfrm>
          <a:custGeom>
            <a:avLst/>
            <a:gdLst/>
            <a:ahLst/>
            <a:cxnLst/>
            <a:rect l="l" t="t" r="r" b="b"/>
            <a:pathLst>
              <a:path w="315595" h="915670">
                <a:moveTo>
                  <a:pt x="4073" y="890"/>
                </a:moveTo>
                <a:lnTo>
                  <a:pt x="0" y="166350"/>
                </a:lnTo>
                <a:lnTo>
                  <a:pt x="22009" y="524088"/>
                </a:lnTo>
                <a:lnTo>
                  <a:pt x="59516" y="915155"/>
                </a:lnTo>
                <a:lnTo>
                  <a:pt x="133901" y="912893"/>
                </a:lnTo>
                <a:lnTo>
                  <a:pt x="134414" y="511042"/>
                </a:lnTo>
                <a:lnTo>
                  <a:pt x="146906" y="159502"/>
                </a:lnTo>
                <a:lnTo>
                  <a:pt x="162016" y="158801"/>
                </a:lnTo>
                <a:lnTo>
                  <a:pt x="315119" y="158801"/>
                </a:lnTo>
                <a:lnTo>
                  <a:pt x="315309" y="151670"/>
                </a:lnTo>
                <a:lnTo>
                  <a:pt x="309649" y="1229"/>
                </a:lnTo>
                <a:lnTo>
                  <a:pt x="27179" y="1229"/>
                </a:lnTo>
                <a:lnTo>
                  <a:pt x="4073" y="890"/>
                </a:lnTo>
                <a:close/>
              </a:path>
              <a:path w="315595" h="915670">
                <a:moveTo>
                  <a:pt x="315119" y="158801"/>
                </a:moveTo>
                <a:lnTo>
                  <a:pt x="162016" y="158801"/>
                </a:lnTo>
                <a:lnTo>
                  <a:pt x="193271" y="511052"/>
                </a:lnTo>
                <a:lnTo>
                  <a:pt x="242882" y="914893"/>
                </a:lnTo>
                <a:lnTo>
                  <a:pt x="308639" y="912893"/>
                </a:lnTo>
                <a:lnTo>
                  <a:pt x="305728" y="511042"/>
                </a:lnTo>
                <a:lnTo>
                  <a:pt x="315119" y="158801"/>
                </a:lnTo>
                <a:close/>
              </a:path>
              <a:path w="315595" h="915670">
                <a:moveTo>
                  <a:pt x="309603" y="0"/>
                </a:moveTo>
                <a:lnTo>
                  <a:pt x="27179" y="1229"/>
                </a:lnTo>
                <a:lnTo>
                  <a:pt x="309649" y="1229"/>
                </a:lnTo>
                <a:lnTo>
                  <a:pt x="309603" y="0"/>
                </a:lnTo>
                <a:close/>
              </a:path>
            </a:pathLst>
          </a:custGeom>
          <a:solidFill>
            <a:srgbClr val="172E3A"/>
          </a:solidFill>
        </p:spPr>
        <p:txBody>
          <a:bodyPr wrap="square" lIns="0" tIns="0" rIns="0" bIns="0" rtlCol="0"/>
          <a:lstStyle/>
          <a:p>
            <a:endParaRPr/>
          </a:p>
        </p:txBody>
      </p:sp>
      <p:sp>
        <p:nvSpPr>
          <p:cNvPr id="70" name="object 70"/>
          <p:cNvSpPr/>
          <p:nvPr/>
        </p:nvSpPr>
        <p:spPr>
          <a:xfrm>
            <a:off x="2000084" y="2614424"/>
            <a:ext cx="0" cy="343381"/>
          </a:xfrm>
          <a:custGeom>
            <a:avLst/>
            <a:gdLst/>
            <a:ahLst/>
            <a:cxnLst/>
            <a:rect l="l" t="t" r="r" b="b"/>
            <a:pathLst>
              <a:path h="755015">
                <a:moveTo>
                  <a:pt x="0" y="0"/>
                </a:moveTo>
                <a:lnTo>
                  <a:pt x="0" y="754490"/>
                </a:lnTo>
              </a:path>
            </a:pathLst>
          </a:custGeom>
          <a:ln w="52692">
            <a:solidFill>
              <a:srgbClr val="000000"/>
            </a:solidFill>
          </a:ln>
        </p:spPr>
        <p:txBody>
          <a:bodyPr wrap="square" lIns="0" tIns="0" rIns="0" bIns="0" rtlCol="0"/>
          <a:lstStyle/>
          <a:p>
            <a:endParaRPr/>
          </a:p>
        </p:txBody>
      </p:sp>
      <p:sp>
        <p:nvSpPr>
          <p:cNvPr id="71" name="object 71"/>
          <p:cNvSpPr/>
          <p:nvPr/>
        </p:nvSpPr>
        <p:spPr>
          <a:xfrm>
            <a:off x="1946275" y="2541878"/>
            <a:ext cx="142388" cy="416159"/>
          </a:xfrm>
          <a:custGeom>
            <a:avLst/>
            <a:gdLst/>
            <a:ahLst/>
            <a:cxnLst/>
            <a:rect l="l" t="t" r="r" b="b"/>
            <a:pathLst>
              <a:path w="313054" h="915034">
                <a:moveTo>
                  <a:pt x="311743" y="116991"/>
                </a:moveTo>
                <a:lnTo>
                  <a:pt x="238411" y="116991"/>
                </a:lnTo>
                <a:lnTo>
                  <a:pt x="255984" y="117974"/>
                </a:lnTo>
                <a:lnTo>
                  <a:pt x="265385" y="122200"/>
                </a:lnTo>
                <a:lnTo>
                  <a:pt x="275626" y="183802"/>
                </a:lnTo>
                <a:lnTo>
                  <a:pt x="277966" y="229430"/>
                </a:lnTo>
                <a:lnTo>
                  <a:pt x="279440" y="283158"/>
                </a:lnTo>
                <a:lnTo>
                  <a:pt x="280173" y="343214"/>
                </a:lnTo>
                <a:lnTo>
                  <a:pt x="280289" y="407824"/>
                </a:lnTo>
                <a:lnTo>
                  <a:pt x="279913" y="475216"/>
                </a:lnTo>
                <a:lnTo>
                  <a:pt x="279171" y="543617"/>
                </a:lnTo>
                <a:lnTo>
                  <a:pt x="278185" y="611254"/>
                </a:lnTo>
                <a:lnTo>
                  <a:pt x="277082" y="676354"/>
                </a:lnTo>
                <a:lnTo>
                  <a:pt x="275022" y="791854"/>
                </a:lnTo>
                <a:lnTo>
                  <a:pt x="274314" y="838708"/>
                </a:lnTo>
                <a:lnTo>
                  <a:pt x="273987" y="875934"/>
                </a:lnTo>
                <a:lnTo>
                  <a:pt x="274166" y="901760"/>
                </a:lnTo>
                <a:lnTo>
                  <a:pt x="274975" y="914411"/>
                </a:lnTo>
                <a:lnTo>
                  <a:pt x="306378" y="912893"/>
                </a:lnTo>
                <a:lnTo>
                  <a:pt x="303467" y="511042"/>
                </a:lnTo>
                <a:lnTo>
                  <a:pt x="313048" y="151670"/>
                </a:lnTo>
                <a:lnTo>
                  <a:pt x="311743" y="116991"/>
                </a:lnTo>
                <a:close/>
              </a:path>
              <a:path w="313054" h="915034">
                <a:moveTo>
                  <a:pt x="310676" y="88646"/>
                </a:moveTo>
                <a:lnTo>
                  <a:pt x="118279" y="88646"/>
                </a:lnTo>
                <a:lnTo>
                  <a:pt x="129679" y="93580"/>
                </a:lnTo>
                <a:lnTo>
                  <a:pt x="139277" y="102971"/>
                </a:lnTo>
                <a:lnTo>
                  <a:pt x="148424" y="112286"/>
                </a:lnTo>
                <a:lnTo>
                  <a:pt x="158476" y="116991"/>
                </a:lnTo>
                <a:lnTo>
                  <a:pt x="183166" y="118002"/>
                </a:lnTo>
                <a:lnTo>
                  <a:pt x="208610" y="117890"/>
                </a:lnTo>
                <a:lnTo>
                  <a:pt x="238411" y="116991"/>
                </a:lnTo>
                <a:lnTo>
                  <a:pt x="311743" y="116991"/>
                </a:lnTo>
                <a:lnTo>
                  <a:pt x="310676" y="88646"/>
                </a:lnTo>
                <a:close/>
              </a:path>
              <a:path w="313054" h="915034">
                <a:moveTo>
                  <a:pt x="1811" y="890"/>
                </a:moveTo>
                <a:lnTo>
                  <a:pt x="0" y="74217"/>
                </a:lnTo>
                <a:lnTo>
                  <a:pt x="1832" y="74385"/>
                </a:lnTo>
                <a:lnTo>
                  <a:pt x="3664" y="74626"/>
                </a:lnTo>
                <a:lnTo>
                  <a:pt x="5486" y="74950"/>
                </a:lnTo>
                <a:lnTo>
                  <a:pt x="22656" y="82290"/>
                </a:lnTo>
                <a:lnTo>
                  <a:pt x="37887" y="94158"/>
                </a:lnTo>
                <a:lnTo>
                  <a:pt x="55331" y="105835"/>
                </a:lnTo>
                <a:lnTo>
                  <a:pt x="79138" y="112603"/>
                </a:lnTo>
                <a:lnTo>
                  <a:pt x="86176" y="108947"/>
                </a:lnTo>
                <a:lnTo>
                  <a:pt x="111253" y="92308"/>
                </a:lnTo>
                <a:lnTo>
                  <a:pt x="118279" y="88646"/>
                </a:lnTo>
                <a:lnTo>
                  <a:pt x="310676" y="88646"/>
                </a:lnTo>
                <a:lnTo>
                  <a:pt x="307387" y="1229"/>
                </a:lnTo>
                <a:lnTo>
                  <a:pt x="24918" y="1229"/>
                </a:lnTo>
                <a:lnTo>
                  <a:pt x="1811" y="890"/>
                </a:lnTo>
                <a:close/>
              </a:path>
              <a:path w="313054" h="915034">
                <a:moveTo>
                  <a:pt x="307341" y="0"/>
                </a:moveTo>
                <a:lnTo>
                  <a:pt x="24918" y="1229"/>
                </a:lnTo>
                <a:lnTo>
                  <a:pt x="307387" y="1229"/>
                </a:lnTo>
                <a:lnTo>
                  <a:pt x="307341" y="0"/>
                </a:lnTo>
                <a:close/>
              </a:path>
            </a:pathLst>
          </a:custGeom>
          <a:solidFill>
            <a:srgbClr val="000000">
              <a:alpha val="19999"/>
            </a:srgbClr>
          </a:solidFill>
        </p:spPr>
        <p:txBody>
          <a:bodyPr wrap="square" lIns="0" tIns="0" rIns="0" bIns="0" rtlCol="0"/>
          <a:lstStyle/>
          <a:p>
            <a:endParaRPr/>
          </a:p>
        </p:txBody>
      </p:sp>
      <p:sp>
        <p:nvSpPr>
          <p:cNvPr id="72" name="object 72"/>
          <p:cNvSpPr/>
          <p:nvPr/>
        </p:nvSpPr>
        <p:spPr>
          <a:xfrm>
            <a:off x="2078283" y="2367581"/>
            <a:ext cx="0" cy="174434"/>
          </a:xfrm>
          <a:custGeom>
            <a:avLst/>
            <a:gdLst/>
            <a:ahLst/>
            <a:cxnLst/>
            <a:rect l="l" t="t" r="r" b="b"/>
            <a:pathLst>
              <a:path h="383539">
                <a:moveTo>
                  <a:pt x="0" y="0"/>
                </a:moveTo>
                <a:lnTo>
                  <a:pt x="0" y="383234"/>
                </a:lnTo>
              </a:path>
            </a:pathLst>
          </a:custGeom>
          <a:ln w="34218">
            <a:solidFill>
              <a:srgbClr val="000000"/>
            </a:solidFill>
          </a:ln>
        </p:spPr>
        <p:txBody>
          <a:bodyPr wrap="square" lIns="0" tIns="0" rIns="0" bIns="0" rtlCol="0"/>
          <a:lstStyle/>
          <a:p>
            <a:endParaRPr/>
          </a:p>
        </p:txBody>
      </p:sp>
      <p:sp>
        <p:nvSpPr>
          <p:cNvPr id="73" name="object 73"/>
          <p:cNvSpPr/>
          <p:nvPr/>
        </p:nvSpPr>
        <p:spPr>
          <a:xfrm>
            <a:off x="2045870"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74" name="object 74"/>
          <p:cNvSpPr/>
          <p:nvPr/>
        </p:nvSpPr>
        <p:spPr>
          <a:xfrm>
            <a:off x="1948723" y="2498169"/>
            <a:ext cx="6932" cy="10108"/>
          </a:xfrm>
          <a:custGeom>
            <a:avLst/>
            <a:gdLst/>
            <a:ahLst/>
            <a:cxnLst/>
            <a:rect l="l" t="t" r="r" b="b"/>
            <a:pathLst>
              <a:path w="15239" h="22225">
                <a:moveTo>
                  <a:pt x="14722" y="0"/>
                </a:moveTo>
                <a:lnTo>
                  <a:pt x="1581" y="0"/>
                </a:lnTo>
                <a:lnTo>
                  <a:pt x="0" y="22093"/>
                </a:lnTo>
                <a:lnTo>
                  <a:pt x="14722" y="22093"/>
                </a:lnTo>
                <a:lnTo>
                  <a:pt x="14722" y="0"/>
                </a:lnTo>
                <a:close/>
              </a:path>
            </a:pathLst>
          </a:custGeom>
          <a:solidFill>
            <a:srgbClr val="4AB4E6"/>
          </a:solidFill>
        </p:spPr>
        <p:txBody>
          <a:bodyPr wrap="square" lIns="0" tIns="0" rIns="0" bIns="0" rtlCol="0"/>
          <a:lstStyle/>
          <a:p>
            <a:endParaRPr/>
          </a:p>
        </p:txBody>
      </p:sp>
      <p:sp>
        <p:nvSpPr>
          <p:cNvPr id="75" name="object 75"/>
          <p:cNvSpPr/>
          <p:nvPr/>
        </p:nvSpPr>
        <p:spPr>
          <a:xfrm>
            <a:off x="1950157" y="2478074"/>
            <a:ext cx="5488" cy="10108"/>
          </a:xfrm>
          <a:custGeom>
            <a:avLst/>
            <a:gdLst/>
            <a:ahLst/>
            <a:cxnLst/>
            <a:rect l="l" t="t" r="r" b="b"/>
            <a:pathLst>
              <a:path w="12064" h="22225">
                <a:moveTo>
                  <a:pt x="11570" y="0"/>
                </a:moveTo>
                <a:lnTo>
                  <a:pt x="1581" y="0"/>
                </a:lnTo>
                <a:lnTo>
                  <a:pt x="0" y="22083"/>
                </a:lnTo>
                <a:lnTo>
                  <a:pt x="11570" y="22083"/>
                </a:lnTo>
                <a:lnTo>
                  <a:pt x="11570" y="0"/>
                </a:lnTo>
                <a:close/>
              </a:path>
            </a:pathLst>
          </a:custGeom>
          <a:solidFill>
            <a:srgbClr val="4AB4E6"/>
          </a:solidFill>
        </p:spPr>
        <p:txBody>
          <a:bodyPr wrap="square" lIns="0" tIns="0" rIns="0" bIns="0" rtlCol="0"/>
          <a:lstStyle/>
          <a:p>
            <a:endParaRPr/>
          </a:p>
        </p:txBody>
      </p:sp>
      <p:sp>
        <p:nvSpPr>
          <p:cNvPr id="76" name="object 76"/>
          <p:cNvSpPr/>
          <p:nvPr/>
        </p:nvSpPr>
        <p:spPr>
          <a:xfrm>
            <a:off x="2065968"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77" name="object 77"/>
          <p:cNvSpPr/>
          <p:nvPr/>
        </p:nvSpPr>
        <p:spPr>
          <a:xfrm>
            <a:off x="1946357" y="2538369"/>
            <a:ext cx="9242" cy="10108"/>
          </a:xfrm>
          <a:custGeom>
            <a:avLst/>
            <a:gdLst/>
            <a:ahLst/>
            <a:cxnLst/>
            <a:rect l="l" t="t" r="r" b="b"/>
            <a:pathLst>
              <a:path w="20320" h="22225">
                <a:moveTo>
                  <a:pt x="19926" y="0"/>
                </a:moveTo>
                <a:lnTo>
                  <a:pt x="1047" y="0"/>
                </a:lnTo>
                <a:lnTo>
                  <a:pt x="0" y="22083"/>
                </a:lnTo>
                <a:lnTo>
                  <a:pt x="19926" y="22083"/>
                </a:lnTo>
                <a:lnTo>
                  <a:pt x="19926" y="0"/>
                </a:lnTo>
                <a:close/>
              </a:path>
            </a:pathLst>
          </a:custGeom>
          <a:solidFill>
            <a:srgbClr val="4AB4E6"/>
          </a:solidFill>
        </p:spPr>
        <p:txBody>
          <a:bodyPr wrap="square" lIns="0" tIns="0" rIns="0" bIns="0" rtlCol="0"/>
          <a:lstStyle/>
          <a:p>
            <a:endParaRPr/>
          </a:p>
        </p:txBody>
      </p:sp>
      <p:sp>
        <p:nvSpPr>
          <p:cNvPr id="78" name="object 78"/>
          <p:cNvSpPr/>
          <p:nvPr/>
        </p:nvSpPr>
        <p:spPr>
          <a:xfrm>
            <a:off x="1947313" y="2518266"/>
            <a:ext cx="8376" cy="10108"/>
          </a:xfrm>
          <a:custGeom>
            <a:avLst/>
            <a:gdLst/>
            <a:ahLst/>
            <a:cxnLst/>
            <a:rect l="l" t="t" r="r" b="b"/>
            <a:pathLst>
              <a:path w="18414" h="22225">
                <a:moveTo>
                  <a:pt x="17831" y="0"/>
                </a:moveTo>
                <a:lnTo>
                  <a:pt x="1528" y="0"/>
                </a:lnTo>
                <a:lnTo>
                  <a:pt x="460" y="14952"/>
                </a:lnTo>
                <a:lnTo>
                  <a:pt x="0" y="22104"/>
                </a:lnTo>
                <a:lnTo>
                  <a:pt x="17831" y="22104"/>
                </a:lnTo>
                <a:lnTo>
                  <a:pt x="17831" y="0"/>
                </a:lnTo>
                <a:close/>
              </a:path>
            </a:pathLst>
          </a:custGeom>
          <a:solidFill>
            <a:srgbClr val="4AB4E6"/>
          </a:solidFill>
        </p:spPr>
        <p:txBody>
          <a:bodyPr wrap="square" lIns="0" tIns="0" rIns="0" bIns="0" rtlCol="0"/>
          <a:lstStyle/>
          <a:p>
            <a:endParaRPr/>
          </a:p>
        </p:txBody>
      </p:sp>
      <p:sp>
        <p:nvSpPr>
          <p:cNvPr id="79" name="object 79"/>
          <p:cNvSpPr/>
          <p:nvPr/>
        </p:nvSpPr>
        <p:spPr>
          <a:xfrm>
            <a:off x="2086065"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80" name="object 80"/>
          <p:cNvSpPr/>
          <p:nvPr/>
        </p:nvSpPr>
        <p:spPr>
          <a:xfrm>
            <a:off x="2086065"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81" name="object 81"/>
          <p:cNvSpPr/>
          <p:nvPr/>
        </p:nvSpPr>
        <p:spPr>
          <a:xfrm>
            <a:off x="2025768" y="229719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82" name="object 82"/>
          <p:cNvSpPr/>
          <p:nvPr/>
        </p:nvSpPr>
        <p:spPr>
          <a:xfrm>
            <a:off x="1925274"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83" name="object 83"/>
          <p:cNvSpPr/>
          <p:nvPr/>
        </p:nvSpPr>
        <p:spPr>
          <a:xfrm>
            <a:off x="1925273" y="2558462"/>
            <a:ext cx="10109" cy="5198"/>
          </a:xfrm>
          <a:custGeom>
            <a:avLst/>
            <a:gdLst/>
            <a:ahLst/>
            <a:cxnLst/>
            <a:rect l="l" t="t" r="r" b="b"/>
            <a:pathLst>
              <a:path w="22225" h="11429">
                <a:moveTo>
                  <a:pt x="22093" y="0"/>
                </a:moveTo>
                <a:lnTo>
                  <a:pt x="0" y="0"/>
                </a:lnTo>
                <a:lnTo>
                  <a:pt x="0" y="10072"/>
                </a:lnTo>
                <a:lnTo>
                  <a:pt x="22093" y="11224"/>
                </a:lnTo>
                <a:lnTo>
                  <a:pt x="22093" y="0"/>
                </a:lnTo>
                <a:close/>
              </a:path>
            </a:pathLst>
          </a:custGeom>
          <a:solidFill>
            <a:srgbClr val="4AB4E6"/>
          </a:solidFill>
        </p:spPr>
        <p:txBody>
          <a:bodyPr wrap="square" lIns="0" tIns="0" rIns="0" bIns="0" rtlCol="0"/>
          <a:lstStyle/>
          <a:p>
            <a:endParaRPr/>
          </a:p>
        </p:txBody>
      </p:sp>
      <p:sp>
        <p:nvSpPr>
          <p:cNvPr id="84" name="object 84"/>
          <p:cNvSpPr/>
          <p:nvPr/>
        </p:nvSpPr>
        <p:spPr>
          <a:xfrm>
            <a:off x="1925274"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85" name="object 85"/>
          <p:cNvSpPr/>
          <p:nvPr/>
        </p:nvSpPr>
        <p:spPr>
          <a:xfrm>
            <a:off x="1925274"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86" name="object 86"/>
          <p:cNvSpPr/>
          <p:nvPr/>
        </p:nvSpPr>
        <p:spPr>
          <a:xfrm>
            <a:off x="1945371"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87" name="object 87"/>
          <p:cNvSpPr/>
          <p:nvPr/>
        </p:nvSpPr>
        <p:spPr>
          <a:xfrm>
            <a:off x="1945372" y="2498169"/>
            <a:ext cx="2311" cy="10108"/>
          </a:xfrm>
          <a:custGeom>
            <a:avLst/>
            <a:gdLst/>
            <a:ahLst/>
            <a:cxnLst/>
            <a:rect l="l" t="t" r="r" b="b"/>
            <a:pathLst>
              <a:path w="5079" h="22225">
                <a:moveTo>
                  <a:pt x="4523" y="0"/>
                </a:moveTo>
                <a:lnTo>
                  <a:pt x="0" y="0"/>
                </a:lnTo>
                <a:lnTo>
                  <a:pt x="0" y="22093"/>
                </a:lnTo>
                <a:lnTo>
                  <a:pt x="1068" y="22093"/>
                </a:lnTo>
                <a:lnTo>
                  <a:pt x="4523" y="0"/>
                </a:lnTo>
                <a:close/>
              </a:path>
            </a:pathLst>
          </a:custGeom>
          <a:solidFill>
            <a:srgbClr val="4AB4E6"/>
          </a:solidFill>
        </p:spPr>
        <p:txBody>
          <a:bodyPr wrap="square" lIns="0" tIns="0" rIns="0" bIns="0" rtlCol="0"/>
          <a:lstStyle/>
          <a:p>
            <a:endParaRPr/>
          </a:p>
        </p:txBody>
      </p:sp>
      <p:sp>
        <p:nvSpPr>
          <p:cNvPr id="88" name="object 88"/>
          <p:cNvSpPr/>
          <p:nvPr/>
        </p:nvSpPr>
        <p:spPr>
          <a:xfrm>
            <a:off x="1985572" y="229719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89" name="object 89"/>
          <p:cNvSpPr/>
          <p:nvPr/>
        </p:nvSpPr>
        <p:spPr>
          <a:xfrm>
            <a:off x="1925274"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90" name="object 90"/>
          <p:cNvSpPr/>
          <p:nvPr/>
        </p:nvSpPr>
        <p:spPr>
          <a:xfrm>
            <a:off x="1945372" y="2478074"/>
            <a:ext cx="5488" cy="10108"/>
          </a:xfrm>
          <a:custGeom>
            <a:avLst/>
            <a:gdLst/>
            <a:ahLst/>
            <a:cxnLst/>
            <a:rect l="l" t="t" r="r" b="b"/>
            <a:pathLst>
              <a:path w="12064" h="22225">
                <a:moveTo>
                  <a:pt x="11444" y="0"/>
                </a:moveTo>
                <a:lnTo>
                  <a:pt x="0" y="0"/>
                </a:lnTo>
                <a:lnTo>
                  <a:pt x="0" y="22083"/>
                </a:lnTo>
                <a:lnTo>
                  <a:pt x="7989" y="22083"/>
                </a:lnTo>
                <a:lnTo>
                  <a:pt x="11444" y="0"/>
                </a:lnTo>
                <a:close/>
              </a:path>
            </a:pathLst>
          </a:custGeom>
          <a:solidFill>
            <a:srgbClr val="4AB4E6"/>
          </a:solidFill>
        </p:spPr>
        <p:txBody>
          <a:bodyPr wrap="square" lIns="0" tIns="0" rIns="0" bIns="0" rtlCol="0"/>
          <a:lstStyle/>
          <a:p>
            <a:endParaRPr/>
          </a:p>
        </p:txBody>
      </p:sp>
      <p:sp>
        <p:nvSpPr>
          <p:cNvPr id="91" name="object 91"/>
          <p:cNvSpPr/>
          <p:nvPr/>
        </p:nvSpPr>
        <p:spPr>
          <a:xfrm>
            <a:off x="2045870"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92" name="object 92"/>
          <p:cNvSpPr/>
          <p:nvPr/>
        </p:nvSpPr>
        <p:spPr>
          <a:xfrm>
            <a:off x="1965474"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93" name="object 93"/>
          <p:cNvSpPr/>
          <p:nvPr/>
        </p:nvSpPr>
        <p:spPr>
          <a:xfrm>
            <a:off x="1985572"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94" name="object 94"/>
          <p:cNvSpPr/>
          <p:nvPr/>
        </p:nvSpPr>
        <p:spPr>
          <a:xfrm>
            <a:off x="1945371"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95" name="object 95"/>
          <p:cNvSpPr/>
          <p:nvPr/>
        </p:nvSpPr>
        <p:spPr>
          <a:xfrm>
            <a:off x="2065968" y="2578560"/>
            <a:ext cx="10109" cy="7220"/>
          </a:xfrm>
          <a:custGeom>
            <a:avLst/>
            <a:gdLst/>
            <a:ahLst/>
            <a:cxnLst/>
            <a:rect l="l" t="t" r="r" b="b"/>
            <a:pathLst>
              <a:path w="22225" h="15875">
                <a:moveTo>
                  <a:pt x="22093" y="0"/>
                </a:moveTo>
                <a:lnTo>
                  <a:pt x="0" y="0"/>
                </a:lnTo>
                <a:lnTo>
                  <a:pt x="0" y="15863"/>
                </a:lnTo>
                <a:lnTo>
                  <a:pt x="7507" y="12355"/>
                </a:lnTo>
                <a:lnTo>
                  <a:pt x="14889" y="8240"/>
                </a:lnTo>
                <a:lnTo>
                  <a:pt x="22093" y="3518"/>
                </a:lnTo>
                <a:lnTo>
                  <a:pt x="22093" y="0"/>
                </a:lnTo>
                <a:close/>
              </a:path>
            </a:pathLst>
          </a:custGeom>
          <a:solidFill>
            <a:srgbClr val="4AB4E6"/>
          </a:solidFill>
        </p:spPr>
        <p:txBody>
          <a:bodyPr wrap="square" lIns="0" tIns="0" rIns="0" bIns="0" rtlCol="0"/>
          <a:lstStyle/>
          <a:p>
            <a:endParaRPr/>
          </a:p>
        </p:txBody>
      </p:sp>
      <p:sp>
        <p:nvSpPr>
          <p:cNvPr id="96" name="object 96"/>
          <p:cNvSpPr/>
          <p:nvPr/>
        </p:nvSpPr>
        <p:spPr>
          <a:xfrm>
            <a:off x="2005669" y="2578560"/>
            <a:ext cx="10109" cy="10108"/>
          </a:xfrm>
          <a:custGeom>
            <a:avLst/>
            <a:gdLst/>
            <a:ahLst/>
            <a:cxnLst/>
            <a:rect l="l" t="t" r="r" b="b"/>
            <a:pathLst>
              <a:path w="22225" h="22225">
                <a:moveTo>
                  <a:pt x="22093" y="0"/>
                </a:moveTo>
                <a:lnTo>
                  <a:pt x="0" y="0"/>
                </a:lnTo>
                <a:lnTo>
                  <a:pt x="0" y="1465"/>
                </a:lnTo>
                <a:lnTo>
                  <a:pt x="3978" y="8439"/>
                </a:lnTo>
                <a:lnTo>
                  <a:pt x="8502" y="15873"/>
                </a:lnTo>
                <a:lnTo>
                  <a:pt x="12879" y="22104"/>
                </a:lnTo>
                <a:lnTo>
                  <a:pt x="22093" y="22104"/>
                </a:lnTo>
                <a:lnTo>
                  <a:pt x="22093" y="0"/>
                </a:lnTo>
                <a:close/>
              </a:path>
            </a:pathLst>
          </a:custGeom>
          <a:solidFill>
            <a:srgbClr val="4AB4E6"/>
          </a:solidFill>
        </p:spPr>
        <p:txBody>
          <a:bodyPr wrap="square" lIns="0" tIns="0" rIns="0" bIns="0" rtlCol="0"/>
          <a:lstStyle/>
          <a:p>
            <a:endParaRPr/>
          </a:p>
        </p:txBody>
      </p:sp>
      <p:sp>
        <p:nvSpPr>
          <p:cNvPr id="97" name="object 97"/>
          <p:cNvSpPr/>
          <p:nvPr/>
        </p:nvSpPr>
        <p:spPr>
          <a:xfrm>
            <a:off x="2106168"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98" name="object 98"/>
          <p:cNvSpPr/>
          <p:nvPr/>
        </p:nvSpPr>
        <p:spPr>
          <a:xfrm>
            <a:off x="2025768"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99" name="object 99"/>
          <p:cNvSpPr/>
          <p:nvPr/>
        </p:nvSpPr>
        <p:spPr>
          <a:xfrm>
            <a:off x="2086068" y="2558462"/>
            <a:ext cx="1155" cy="10108"/>
          </a:xfrm>
          <a:custGeom>
            <a:avLst/>
            <a:gdLst/>
            <a:ahLst/>
            <a:cxnLst/>
            <a:rect l="l" t="t" r="r" b="b"/>
            <a:pathLst>
              <a:path w="2539" h="22225">
                <a:moveTo>
                  <a:pt x="1518" y="0"/>
                </a:moveTo>
                <a:lnTo>
                  <a:pt x="0" y="0"/>
                </a:lnTo>
                <a:lnTo>
                  <a:pt x="0" y="22093"/>
                </a:lnTo>
                <a:lnTo>
                  <a:pt x="2460" y="22093"/>
                </a:lnTo>
                <a:lnTo>
                  <a:pt x="1518" y="0"/>
                </a:lnTo>
                <a:close/>
              </a:path>
            </a:pathLst>
          </a:custGeom>
          <a:solidFill>
            <a:srgbClr val="4AB4E6"/>
          </a:solidFill>
        </p:spPr>
        <p:txBody>
          <a:bodyPr wrap="square" lIns="0" tIns="0" rIns="0" bIns="0" rtlCol="0"/>
          <a:lstStyle/>
          <a:p>
            <a:endParaRPr/>
          </a:p>
        </p:txBody>
      </p:sp>
      <p:sp>
        <p:nvSpPr>
          <p:cNvPr id="100" name="object 100"/>
          <p:cNvSpPr/>
          <p:nvPr/>
        </p:nvSpPr>
        <p:spPr>
          <a:xfrm>
            <a:off x="2065968"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01" name="object 101"/>
          <p:cNvSpPr/>
          <p:nvPr/>
        </p:nvSpPr>
        <p:spPr>
          <a:xfrm>
            <a:off x="1965474"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02" name="object 102"/>
          <p:cNvSpPr/>
          <p:nvPr/>
        </p:nvSpPr>
        <p:spPr>
          <a:xfrm>
            <a:off x="2025768"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03" name="object 103"/>
          <p:cNvSpPr/>
          <p:nvPr/>
        </p:nvSpPr>
        <p:spPr>
          <a:xfrm>
            <a:off x="1965474"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04" name="object 104"/>
          <p:cNvSpPr/>
          <p:nvPr/>
        </p:nvSpPr>
        <p:spPr>
          <a:xfrm>
            <a:off x="1965474"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05" name="object 105"/>
          <p:cNvSpPr/>
          <p:nvPr/>
        </p:nvSpPr>
        <p:spPr>
          <a:xfrm>
            <a:off x="2045870"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06" name="object 106"/>
          <p:cNvSpPr/>
          <p:nvPr/>
        </p:nvSpPr>
        <p:spPr>
          <a:xfrm>
            <a:off x="1965474"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07" name="object 107"/>
          <p:cNvSpPr/>
          <p:nvPr/>
        </p:nvSpPr>
        <p:spPr>
          <a:xfrm>
            <a:off x="1985571" y="2578564"/>
            <a:ext cx="8665" cy="10108"/>
          </a:xfrm>
          <a:custGeom>
            <a:avLst/>
            <a:gdLst/>
            <a:ahLst/>
            <a:cxnLst/>
            <a:rect l="l" t="t" r="r" b="b"/>
            <a:pathLst>
              <a:path w="19050" h="22225">
                <a:moveTo>
                  <a:pt x="18931" y="0"/>
                </a:moveTo>
                <a:lnTo>
                  <a:pt x="0" y="0"/>
                </a:lnTo>
                <a:lnTo>
                  <a:pt x="0" y="22093"/>
                </a:lnTo>
                <a:lnTo>
                  <a:pt x="3727" y="22093"/>
                </a:lnTo>
                <a:lnTo>
                  <a:pt x="7481" y="17098"/>
                </a:lnTo>
                <a:lnTo>
                  <a:pt x="11345" y="11588"/>
                </a:lnTo>
                <a:lnTo>
                  <a:pt x="15201" y="5808"/>
                </a:lnTo>
                <a:lnTo>
                  <a:pt x="18931" y="0"/>
                </a:lnTo>
                <a:close/>
              </a:path>
            </a:pathLst>
          </a:custGeom>
          <a:solidFill>
            <a:srgbClr val="4AB4E6"/>
          </a:solidFill>
        </p:spPr>
        <p:txBody>
          <a:bodyPr wrap="square" lIns="0" tIns="0" rIns="0" bIns="0" rtlCol="0"/>
          <a:lstStyle/>
          <a:p>
            <a:endParaRPr/>
          </a:p>
        </p:txBody>
      </p:sp>
      <p:sp>
        <p:nvSpPr>
          <p:cNvPr id="108" name="object 108"/>
          <p:cNvSpPr/>
          <p:nvPr/>
        </p:nvSpPr>
        <p:spPr>
          <a:xfrm>
            <a:off x="1965474"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09" name="object 109"/>
          <p:cNvSpPr/>
          <p:nvPr/>
        </p:nvSpPr>
        <p:spPr>
          <a:xfrm>
            <a:off x="1945400" y="2558464"/>
            <a:ext cx="10109" cy="10108"/>
          </a:xfrm>
          <a:custGeom>
            <a:avLst/>
            <a:gdLst/>
            <a:ahLst/>
            <a:cxnLst/>
            <a:rect l="l" t="t" r="r" b="b"/>
            <a:pathLst>
              <a:path w="22225" h="22225">
                <a:moveTo>
                  <a:pt x="22030" y="0"/>
                </a:moveTo>
                <a:lnTo>
                  <a:pt x="1057" y="0"/>
                </a:lnTo>
                <a:lnTo>
                  <a:pt x="0" y="22093"/>
                </a:lnTo>
                <a:lnTo>
                  <a:pt x="22030" y="22093"/>
                </a:lnTo>
                <a:lnTo>
                  <a:pt x="22030" y="0"/>
                </a:lnTo>
                <a:close/>
              </a:path>
            </a:pathLst>
          </a:custGeom>
          <a:solidFill>
            <a:srgbClr val="4AB4E6"/>
          </a:solidFill>
        </p:spPr>
        <p:txBody>
          <a:bodyPr wrap="square" lIns="0" tIns="0" rIns="0" bIns="0" rtlCol="0"/>
          <a:lstStyle/>
          <a:p>
            <a:endParaRPr/>
          </a:p>
        </p:txBody>
      </p:sp>
      <p:sp>
        <p:nvSpPr>
          <p:cNvPr id="110" name="object 110"/>
          <p:cNvSpPr/>
          <p:nvPr/>
        </p:nvSpPr>
        <p:spPr>
          <a:xfrm>
            <a:off x="1949911" y="2578561"/>
            <a:ext cx="5776" cy="5487"/>
          </a:xfrm>
          <a:custGeom>
            <a:avLst/>
            <a:gdLst/>
            <a:ahLst/>
            <a:cxnLst/>
            <a:rect l="l" t="t" r="r" b="b"/>
            <a:pathLst>
              <a:path w="12700" h="12064">
                <a:moveTo>
                  <a:pt x="12114" y="0"/>
                </a:moveTo>
                <a:lnTo>
                  <a:pt x="0" y="0"/>
                </a:lnTo>
                <a:lnTo>
                  <a:pt x="3549" y="4062"/>
                </a:lnTo>
                <a:lnTo>
                  <a:pt x="7601" y="7915"/>
                </a:lnTo>
                <a:lnTo>
                  <a:pt x="12114" y="11455"/>
                </a:lnTo>
                <a:lnTo>
                  <a:pt x="12114" y="0"/>
                </a:lnTo>
                <a:close/>
              </a:path>
            </a:pathLst>
          </a:custGeom>
          <a:solidFill>
            <a:srgbClr val="4AB4E6"/>
          </a:solidFill>
        </p:spPr>
        <p:txBody>
          <a:bodyPr wrap="square" lIns="0" tIns="0" rIns="0" bIns="0" rtlCol="0"/>
          <a:lstStyle/>
          <a:p>
            <a:endParaRPr/>
          </a:p>
        </p:txBody>
      </p:sp>
      <p:sp>
        <p:nvSpPr>
          <p:cNvPr id="111" name="object 111"/>
          <p:cNvSpPr/>
          <p:nvPr/>
        </p:nvSpPr>
        <p:spPr>
          <a:xfrm>
            <a:off x="2065968"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12" name="object 112"/>
          <p:cNvSpPr/>
          <p:nvPr/>
        </p:nvSpPr>
        <p:spPr>
          <a:xfrm>
            <a:off x="2065968"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13" name="object 113"/>
          <p:cNvSpPr/>
          <p:nvPr/>
        </p:nvSpPr>
        <p:spPr>
          <a:xfrm>
            <a:off x="2065968"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14" name="object 114"/>
          <p:cNvSpPr/>
          <p:nvPr/>
        </p:nvSpPr>
        <p:spPr>
          <a:xfrm>
            <a:off x="2045870" y="229719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15" name="object 115"/>
          <p:cNvSpPr/>
          <p:nvPr/>
        </p:nvSpPr>
        <p:spPr>
          <a:xfrm>
            <a:off x="2065968"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16" name="object 116"/>
          <p:cNvSpPr/>
          <p:nvPr/>
        </p:nvSpPr>
        <p:spPr>
          <a:xfrm>
            <a:off x="2005669" y="2284135"/>
            <a:ext cx="10109" cy="3177"/>
          </a:xfrm>
          <a:custGeom>
            <a:avLst/>
            <a:gdLst/>
            <a:ahLst/>
            <a:cxnLst/>
            <a:rect l="l" t="t" r="r" b="b"/>
            <a:pathLst>
              <a:path w="22225" h="6985">
                <a:moveTo>
                  <a:pt x="0" y="6617"/>
                </a:moveTo>
                <a:lnTo>
                  <a:pt x="22093" y="6617"/>
                </a:lnTo>
                <a:lnTo>
                  <a:pt x="22093" y="0"/>
                </a:lnTo>
                <a:lnTo>
                  <a:pt x="0" y="0"/>
                </a:lnTo>
                <a:lnTo>
                  <a:pt x="0" y="6617"/>
                </a:lnTo>
                <a:close/>
              </a:path>
            </a:pathLst>
          </a:custGeom>
          <a:solidFill>
            <a:srgbClr val="4AB4E6"/>
          </a:solidFill>
        </p:spPr>
        <p:txBody>
          <a:bodyPr wrap="square" lIns="0" tIns="0" rIns="0" bIns="0" rtlCol="0"/>
          <a:lstStyle/>
          <a:p>
            <a:endParaRPr/>
          </a:p>
        </p:txBody>
      </p:sp>
      <p:sp>
        <p:nvSpPr>
          <p:cNvPr id="117" name="object 117"/>
          <p:cNvSpPr/>
          <p:nvPr/>
        </p:nvSpPr>
        <p:spPr>
          <a:xfrm>
            <a:off x="1992224" y="2285716"/>
            <a:ext cx="3466" cy="1444"/>
          </a:xfrm>
          <a:custGeom>
            <a:avLst/>
            <a:gdLst/>
            <a:ahLst/>
            <a:cxnLst/>
            <a:rect l="l" t="t" r="r" b="b"/>
            <a:pathLst>
              <a:path w="7620" h="3175">
                <a:moveTo>
                  <a:pt x="7465" y="0"/>
                </a:moveTo>
                <a:lnTo>
                  <a:pt x="0" y="3141"/>
                </a:lnTo>
                <a:lnTo>
                  <a:pt x="7465" y="3141"/>
                </a:lnTo>
                <a:lnTo>
                  <a:pt x="7465" y="0"/>
                </a:lnTo>
                <a:close/>
              </a:path>
            </a:pathLst>
          </a:custGeom>
          <a:solidFill>
            <a:srgbClr val="4AB4E6"/>
          </a:solidFill>
        </p:spPr>
        <p:txBody>
          <a:bodyPr wrap="square" lIns="0" tIns="0" rIns="0" bIns="0" rtlCol="0"/>
          <a:lstStyle/>
          <a:p>
            <a:endParaRPr/>
          </a:p>
        </p:txBody>
      </p:sp>
      <p:sp>
        <p:nvSpPr>
          <p:cNvPr id="118" name="object 118"/>
          <p:cNvSpPr/>
          <p:nvPr/>
        </p:nvSpPr>
        <p:spPr>
          <a:xfrm>
            <a:off x="2086065"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19" name="object 119"/>
          <p:cNvSpPr/>
          <p:nvPr/>
        </p:nvSpPr>
        <p:spPr>
          <a:xfrm>
            <a:off x="2065968"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20" name="object 120"/>
          <p:cNvSpPr/>
          <p:nvPr/>
        </p:nvSpPr>
        <p:spPr>
          <a:xfrm>
            <a:off x="2025768" y="2284135"/>
            <a:ext cx="10109" cy="3177"/>
          </a:xfrm>
          <a:custGeom>
            <a:avLst/>
            <a:gdLst/>
            <a:ahLst/>
            <a:cxnLst/>
            <a:rect l="l" t="t" r="r" b="b"/>
            <a:pathLst>
              <a:path w="22225" h="6985">
                <a:moveTo>
                  <a:pt x="0" y="6617"/>
                </a:moveTo>
                <a:lnTo>
                  <a:pt x="22093" y="6617"/>
                </a:lnTo>
                <a:lnTo>
                  <a:pt x="22093" y="0"/>
                </a:lnTo>
                <a:lnTo>
                  <a:pt x="0" y="0"/>
                </a:lnTo>
                <a:lnTo>
                  <a:pt x="0" y="6617"/>
                </a:lnTo>
                <a:close/>
              </a:path>
            </a:pathLst>
          </a:custGeom>
          <a:solidFill>
            <a:srgbClr val="4AB4E6"/>
          </a:solidFill>
        </p:spPr>
        <p:txBody>
          <a:bodyPr wrap="square" lIns="0" tIns="0" rIns="0" bIns="0" rtlCol="0"/>
          <a:lstStyle/>
          <a:p>
            <a:endParaRPr/>
          </a:p>
        </p:txBody>
      </p:sp>
      <p:sp>
        <p:nvSpPr>
          <p:cNvPr id="121" name="object 121"/>
          <p:cNvSpPr/>
          <p:nvPr/>
        </p:nvSpPr>
        <p:spPr>
          <a:xfrm>
            <a:off x="2106168"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22" name="object 122"/>
          <p:cNvSpPr/>
          <p:nvPr/>
        </p:nvSpPr>
        <p:spPr>
          <a:xfrm>
            <a:off x="2106168"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23" name="object 123"/>
          <p:cNvSpPr/>
          <p:nvPr/>
        </p:nvSpPr>
        <p:spPr>
          <a:xfrm>
            <a:off x="2106168"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24" name="object 124"/>
          <p:cNvSpPr/>
          <p:nvPr/>
        </p:nvSpPr>
        <p:spPr>
          <a:xfrm>
            <a:off x="2106168"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25" name="object 125"/>
          <p:cNvSpPr/>
          <p:nvPr/>
        </p:nvSpPr>
        <p:spPr>
          <a:xfrm>
            <a:off x="2086065"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26" name="object 126"/>
          <p:cNvSpPr/>
          <p:nvPr/>
        </p:nvSpPr>
        <p:spPr>
          <a:xfrm>
            <a:off x="2106168"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27" name="object 127"/>
          <p:cNvSpPr/>
          <p:nvPr/>
        </p:nvSpPr>
        <p:spPr>
          <a:xfrm>
            <a:off x="2106168"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28" name="object 128"/>
          <p:cNvSpPr/>
          <p:nvPr/>
        </p:nvSpPr>
        <p:spPr>
          <a:xfrm>
            <a:off x="2106168"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29" name="object 129"/>
          <p:cNvSpPr/>
          <p:nvPr/>
        </p:nvSpPr>
        <p:spPr>
          <a:xfrm>
            <a:off x="2086065"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30" name="object 130"/>
          <p:cNvSpPr/>
          <p:nvPr/>
        </p:nvSpPr>
        <p:spPr>
          <a:xfrm>
            <a:off x="1965472" y="2297190"/>
            <a:ext cx="10109" cy="10108"/>
          </a:xfrm>
          <a:custGeom>
            <a:avLst/>
            <a:gdLst/>
            <a:ahLst/>
            <a:cxnLst/>
            <a:rect l="l" t="t" r="r" b="b"/>
            <a:pathLst>
              <a:path w="22225" h="22225">
                <a:moveTo>
                  <a:pt x="22093" y="0"/>
                </a:moveTo>
                <a:lnTo>
                  <a:pt x="6146" y="0"/>
                </a:lnTo>
                <a:lnTo>
                  <a:pt x="0" y="2586"/>
                </a:lnTo>
                <a:lnTo>
                  <a:pt x="0" y="22093"/>
                </a:lnTo>
                <a:lnTo>
                  <a:pt x="22093" y="22093"/>
                </a:lnTo>
                <a:lnTo>
                  <a:pt x="22093" y="0"/>
                </a:lnTo>
                <a:close/>
              </a:path>
            </a:pathLst>
          </a:custGeom>
          <a:solidFill>
            <a:srgbClr val="4AB4E6"/>
          </a:solidFill>
        </p:spPr>
        <p:txBody>
          <a:bodyPr wrap="square" lIns="0" tIns="0" rIns="0" bIns="0" rtlCol="0"/>
          <a:lstStyle/>
          <a:p>
            <a:endParaRPr/>
          </a:p>
        </p:txBody>
      </p:sp>
      <p:sp>
        <p:nvSpPr>
          <p:cNvPr id="131" name="object 131"/>
          <p:cNvSpPr/>
          <p:nvPr/>
        </p:nvSpPr>
        <p:spPr>
          <a:xfrm>
            <a:off x="1945371"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32" name="object 132"/>
          <p:cNvSpPr/>
          <p:nvPr/>
        </p:nvSpPr>
        <p:spPr>
          <a:xfrm>
            <a:off x="1985572"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33" name="object 133"/>
          <p:cNvSpPr/>
          <p:nvPr/>
        </p:nvSpPr>
        <p:spPr>
          <a:xfrm>
            <a:off x="1965474" y="257856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34" name="object 134"/>
          <p:cNvSpPr/>
          <p:nvPr/>
        </p:nvSpPr>
        <p:spPr>
          <a:xfrm>
            <a:off x="2005669"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35" name="object 135"/>
          <p:cNvSpPr/>
          <p:nvPr/>
        </p:nvSpPr>
        <p:spPr>
          <a:xfrm>
            <a:off x="1925274"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36" name="object 136"/>
          <p:cNvSpPr/>
          <p:nvPr/>
        </p:nvSpPr>
        <p:spPr>
          <a:xfrm>
            <a:off x="1925273" y="2317288"/>
            <a:ext cx="10109" cy="10108"/>
          </a:xfrm>
          <a:custGeom>
            <a:avLst/>
            <a:gdLst/>
            <a:ahLst/>
            <a:cxnLst/>
            <a:rect l="l" t="t" r="r" b="b"/>
            <a:pathLst>
              <a:path w="22225" h="22225">
                <a:moveTo>
                  <a:pt x="22093" y="0"/>
                </a:moveTo>
                <a:lnTo>
                  <a:pt x="8219" y="0"/>
                </a:lnTo>
                <a:lnTo>
                  <a:pt x="4607" y="4973"/>
                </a:lnTo>
                <a:lnTo>
                  <a:pt x="1958" y="10104"/>
                </a:lnTo>
                <a:lnTo>
                  <a:pt x="0" y="14973"/>
                </a:lnTo>
                <a:lnTo>
                  <a:pt x="0" y="22104"/>
                </a:lnTo>
                <a:lnTo>
                  <a:pt x="22093" y="22104"/>
                </a:lnTo>
                <a:lnTo>
                  <a:pt x="22093" y="0"/>
                </a:lnTo>
                <a:close/>
              </a:path>
            </a:pathLst>
          </a:custGeom>
          <a:solidFill>
            <a:srgbClr val="4AB4E6"/>
          </a:solidFill>
        </p:spPr>
        <p:txBody>
          <a:bodyPr wrap="square" lIns="0" tIns="0" rIns="0" bIns="0" rtlCol="0"/>
          <a:lstStyle/>
          <a:p>
            <a:endParaRPr/>
          </a:p>
        </p:txBody>
      </p:sp>
      <p:sp>
        <p:nvSpPr>
          <p:cNvPr id="137" name="object 137"/>
          <p:cNvSpPr/>
          <p:nvPr/>
        </p:nvSpPr>
        <p:spPr>
          <a:xfrm>
            <a:off x="1925274"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38" name="object 138"/>
          <p:cNvSpPr/>
          <p:nvPr/>
        </p:nvSpPr>
        <p:spPr>
          <a:xfrm>
            <a:off x="1925274"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39" name="object 139"/>
          <p:cNvSpPr/>
          <p:nvPr/>
        </p:nvSpPr>
        <p:spPr>
          <a:xfrm>
            <a:off x="1925274"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40" name="object 140"/>
          <p:cNvSpPr/>
          <p:nvPr/>
        </p:nvSpPr>
        <p:spPr>
          <a:xfrm>
            <a:off x="2065968"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41" name="object 141"/>
          <p:cNvSpPr/>
          <p:nvPr/>
        </p:nvSpPr>
        <p:spPr>
          <a:xfrm>
            <a:off x="2065968"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42" name="object 142"/>
          <p:cNvSpPr/>
          <p:nvPr/>
        </p:nvSpPr>
        <p:spPr>
          <a:xfrm>
            <a:off x="2065968"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43" name="object 143"/>
          <p:cNvSpPr/>
          <p:nvPr/>
        </p:nvSpPr>
        <p:spPr>
          <a:xfrm>
            <a:off x="2025768" y="257856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44" name="object 144"/>
          <p:cNvSpPr/>
          <p:nvPr/>
        </p:nvSpPr>
        <p:spPr>
          <a:xfrm>
            <a:off x="2065968"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45" name="object 145"/>
          <p:cNvSpPr/>
          <p:nvPr/>
        </p:nvSpPr>
        <p:spPr>
          <a:xfrm>
            <a:off x="1925274"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46" name="object 146"/>
          <p:cNvSpPr/>
          <p:nvPr/>
        </p:nvSpPr>
        <p:spPr>
          <a:xfrm>
            <a:off x="2045870" y="257856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47" name="object 147"/>
          <p:cNvSpPr/>
          <p:nvPr/>
        </p:nvSpPr>
        <p:spPr>
          <a:xfrm>
            <a:off x="2065968"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48" name="object 148"/>
          <p:cNvSpPr/>
          <p:nvPr/>
        </p:nvSpPr>
        <p:spPr>
          <a:xfrm>
            <a:off x="1945372" y="2302579"/>
            <a:ext cx="10109" cy="4910"/>
          </a:xfrm>
          <a:custGeom>
            <a:avLst/>
            <a:gdLst/>
            <a:ahLst/>
            <a:cxnLst/>
            <a:rect l="l" t="t" r="r" b="b"/>
            <a:pathLst>
              <a:path w="22225" h="10795">
                <a:moveTo>
                  <a:pt x="22093" y="0"/>
                </a:moveTo>
                <a:lnTo>
                  <a:pt x="7633" y="6073"/>
                </a:lnTo>
                <a:lnTo>
                  <a:pt x="4952" y="6586"/>
                </a:lnTo>
                <a:lnTo>
                  <a:pt x="2439" y="7224"/>
                </a:lnTo>
                <a:lnTo>
                  <a:pt x="0" y="7915"/>
                </a:lnTo>
                <a:lnTo>
                  <a:pt x="0" y="10250"/>
                </a:lnTo>
                <a:lnTo>
                  <a:pt x="22093" y="10250"/>
                </a:lnTo>
                <a:lnTo>
                  <a:pt x="22093" y="0"/>
                </a:lnTo>
                <a:close/>
              </a:path>
            </a:pathLst>
          </a:custGeom>
          <a:solidFill>
            <a:srgbClr val="4AB4E6"/>
          </a:solidFill>
        </p:spPr>
        <p:txBody>
          <a:bodyPr wrap="square" lIns="0" tIns="0" rIns="0" bIns="0" rtlCol="0"/>
          <a:lstStyle/>
          <a:p>
            <a:endParaRPr/>
          </a:p>
        </p:txBody>
      </p:sp>
      <p:sp>
        <p:nvSpPr>
          <p:cNvPr id="149" name="object 149"/>
          <p:cNvSpPr/>
          <p:nvPr/>
        </p:nvSpPr>
        <p:spPr>
          <a:xfrm>
            <a:off x="2065968"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50" name="object 150"/>
          <p:cNvSpPr/>
          <p:nvPr/>
        </p:nvSpPr>
        <p:spPr>
          <a:xfrm>
            <a:off x="2025768"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51" name="object 151"/>
          <p:cNvSpPr/>
          <p:nvPr/>
        </p:nvSpPr>
        <p:spPr>
          <a:xfrm>
            <a:off x="2005669"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52" name="object 152"/>
          <p:cNvSpPr/>
          <p:nvPr/>
        </p:nvSpPr>
        <p:spPr>
          <a:xfrm>
            <a:off x="1985572"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53" name="object 153"/>
          <p:cNvSpPr/>
          <p:nvPr/>
        </p:nvSpPr>
        <p:spPr>
          <a:xfrm>
            <a:off x="2025768"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54" name="object 154"/>
          <p:cNvSpPr/>
          <p:nvPr/>
        </p:nvSpPr>
        <p:spPr>
          <a:xfrm>
            <a:off x="2025768"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55" name="object 155"/>
          <p:cNvSpPr/>
          <p:nvPr/>
        </p:nvSpPr>
        <p:spPr>
          <a:xfrm>
            <a:off x="2025768"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56" name="object 156"/>
          <p:cNvSpPr/>
          <p:nvPr/>
        </p:nvSpPr>
        <p:spPr>
          <a:xfrm>
            <a:off x="1965474"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57" name="object 157"/>
          <p:cNvSpPr/>
          <p:nvPr/>
        </p:nvSpPr>
        <p:spPr>
          <a:xfrm>
            <a:off x="1985572"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58" name="object 158"/>
          <p:cNvSpPr/>
          <p:nvPr/>
        </p:nvSpPr>
        <p:spPr>
          <a:xfrm>
            <a:off x="1965474"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59" name="object 159"/>
          <p:cNvSpPr/>
          <p:nvPr/>
        </p:nvSpPr>
        <p:spPr>
          <a:xfrm>
            <a:off x="1965474"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60" name="object 160"/>
          <p:cNvSpPr/>
          <p:nvPr/>
        </p:nvSpPr>
        <p:spPr>
          <a:xfrm>
            <a:off x="2106167" y="2558460"/>
            <a:ext cx="10109" cy="5487"/>
          </a:xfrm>
          <a:custGeom>
            <a:avLst/>
            <a:gdLst/>
            <a:ahLst/>
            <a:cxnLst/>
            <a:rect l="l" t="t" r="r" b="b"/>
            <a:pathLst>
              <a:path w="22225" h="12064">
                <a:moveTo>
                  <a:pt x="22093" y="0"/>
                </a:moveTo>
                <a:lnTo>
                  <a:pt x="0" y="0"/>
                </a:lnTo>
                <a:lnTo>
                  <a:pt x="0" y="11538"/>
                </a:lnTo>
                <a:lnTo>
                  <a:pt x="6921" y="11591"/>
                </a:lnTo>
                <a:lnTo>
                  <a:pt x="22093" y="11528"/>
                </a:lnTo>
                <a:lnTo>
                  <a:pt x="22093" y="0"/>
                </a:lnTo>
                <a:close/>
              </a:path>
            </a:pathLst>
          </a:custGeom>
          <a:solidFill>
            <a:srgbClr val="4AB4E6"/>
          </a:solidFill>
        </p:spPr>
        <p:txBody>
          <a:bodyPr wrap="square" lIns="0" tIns="0" rIns="0" bIns="0" rtlCol="0"/>
          <a:lstStyle/>
          <a:p>
            <a:endParaRPr/>
          </a:p>
        </p:txBody>
      </p:sp>
      <p:sp>
        <p:nvSpPr>
          <p:cNvPr id="161" name="object 161"/>
          <p:cNvSpPr/>
          <p:nvPr/>
        </p:nvSpPr>
        <p:spPr>
          <a:xfrm>
            <a:off x="2126265" y="2558462"/>
            <a:ext cx="1733" cy="5487"/>
          </a:xfrm>
          <a:custGeom>
            <a:avLst/>
            <a:gdLst/>
            <a:ahLst/>
            <a:cxnLst/>
            <a:rect l="l" t="t" r="r" b="b"/>
            <a:pathLst>
              <a:path w="3810" h="12064">
                <a:moveTo>
                  <a:pt x="3298" y="0"/>
                </a:moveTo>
                <a:lnTo>
                  <a:pt x="0" y="0"/>
                </a:lnTo>
                <a:lnTo>
                  <a:pt x="0" y="11444"/>
                </a:lnTo>
                <a:lnTo>
                  <a:pt x="3717" y="11444"/>
                </a:lnTo>
                <a:lnTo>
                  <a:pt x="3298" y="0"/>
                </a:lnTo>
                <a:close/>
              </a:path>
            </a:pathLst>
          </a:custGeom>
          <a:solidFill>
            <a:srgbClr val="4AB4E6"/>
          </a:solidFill>
        </p:spPr>
        <p:txBody>
          <a:bodyPr wrap="square" lIns="0" tIns="0" rIns="0" bIns="0" rtlCol="0"/>
          <a:lstStyle/>
          <a:p>
            <a:endParaRPr/>
          </a:p>
        </p:txBody>
      </p:sp>
      <p:sp>
        <p:nvSpPr>
          <p:cNvPr id="162" name="object 162"/>
          <p:cNvSpPr/>
          <p:nvPr/>
        </p:nvSpPr>
        <p:spPr>
          <a:xfrm>
            <a:off x="2025768"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63" name="object 163"/>
          <p:cNvSpPr/>
          <p:nvPr/>
        </p:nvSpPr>
        <p:spPr>
          <a:xfrm>
            <a:off x="2005669"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64" name="object 164"/>
          <p:cNvSpPr/>
          <p:nvPr/>
        </p:nvSpPr>
        <p:spPr>
          <a:xfrm>
            <a:off x="2025768"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65" name="object 165"/>
          <p:cNvSpPr/>
          <p:nvPr/>
        </p:nvSpPr>
        <p:spPr>
          <a:xfrm>
            <a:off x="2025768"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66" name="object 166"/>
          <p:cNvSpPr/>
          <p:nvPr/>
        </p:nvSpPr>
        <p:spPr>
          <a:xfrm>
            <a:off x="2025768"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67" name="object 167"/>
          <p:cNvSpPr/>
          <p:nvPr/>
        </p:nvSpPr>
        <p:spPr>
          <a:xfrm>
            <a:off x="2126264" y="2518267"/>
            <a:ext cx="578" cy="10108"/>
          </a:xfrm>
          <a:custGeom>
            <a:avLst/>
            <a:gdLst/>
            <a:ahLst/>
            <a:cxnLst/>
            <a:rect l="l" t="t" r="r" b="b"/>
            <a:pathLst>
              <a:path w="1270" h="22225">
                <a:moveTo>
                  <a:pt x="62" y="0"/>
                </a:moveTo>
                <a:lnTo>
                  <a:pt x="0" y="22093"/>
                </a:lnTo>
                <a:lnTo>
                  <a:pt x="869" y="22093"/>
                </a:lnTo>
                <a:lnTo>
                  <a:pt x="62" y="0"/>
                </a:lnTo>
                <a:close/>
              </a:path>
            </a:pathLst>
          </a:custGeom>
          <a:solidFill>
            <a:srgbClr val="4AB4E6"/>
          </a:solidFill>
        </p:spPr>
        <p:txBody>
          <a:bodyPr wrap="square" lIns="0" tIns="0" rIns="0" bIns="0" rtlCol="0"/>
          <a:lstStyle/>
          <a:p>
            <a:endParaRPr/>
          </a:p>
        </p:txBody>
      </p:sp>
      <p:sp>
        <p:nvSpPr>
          <p:cNvPr id="168" name="object 168"/>
          <p:cNvSpPr/>
          <p:nvPr/>
        </p:nvSpPr>
        <p:spPr>
          <a:xfrm>
            <a:off x="2126265" y="2538367"/>
            <a:ext cx="1155" cy="10108"/>
          </a:xfrm>
          <a:custGeom>
            <a:avLst/>
            <a:gdLst/>
            <a:ahLst/>
            <a:cxnLst/>
            <a:rect l="l" t="t" r="r" b="b"/>
            <a:pathLst>
              <a:path w="2539" h="22225">
                <a:moveTo>
                  <a:pt x="1675" y="0"/>
                </a:moveTo>
                <a:lnTo>
                  <a:pt x="0" y="0"/>
                </a:lnTo>
                <a:lnTo>
                  <a:pt x="0" y="22083"/>
                </a:lnTo>
                <a:lnTo>
                  <a:pt x="2492" y="22083"/>
                </a:lnTo>
                <a:lnTo>
                  <a:pt x="1675" y="0"/>
                </a:lnTo>
                <a:close/>
              </a:path>
            </a:pathLst>
          </a:custGeom>
          <a:solidFill>
            <a:srgbClr val="4AB4E6"/>
          </a:solidFill>
        </p:spPr>
        <p:txBody>
          <a:bodyPr wrap="square" lIns="0" tIns="0" rIns="0" bIns="0" rtlCol="0"/>
          <a:lstStyle/>
          <a:p>
            <a:endParaRPr/>
          </a:p>
        </p:txBody>
      </p:sp>
      <p:sp>
        <p:nvSpPr>
          <p:cNvPr id="169" name="object 169"/>
          <p:cNvSpPr/>
          <p:nvPr/>
        </p:nvSpPr>
        <p:spPr>
          <a:xfrm>
            <a:off x="2025768"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70" name="object 170"/>
          <p:cNvSpPr/>
          <p:nvPr/>
        </p:nvSpPr>
        <p:spPr>
          <a:xfrm>
            <a:off x="2106168"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71" name="object 171"/>
          <p:cNvSpPr/>
          <p:nvPr/>
        </p:nvSpPr>
        <p:spPr>
          <a:xfrm>
            <a:off x="1965474"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72" name="object 172"/>
          <p:cNvSpPr/>
          <p:nvPr/>
        </p:nvSpPr>
        <p:spPr>
          <a:xfrm>
            <a:off x="1925274"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73" name="object 173"/>
          <p:cNvSpPr/>
          <p:nvPr/>
        </p:nvSpPr>
        <p:spPr>
          <a:xfrm>
            <a:off x="1985572"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74" name="object 174"/>
          <p:cNvSpPr/>
          <p:nvPr/>
        </p:nvSpPr>
        <p:spPr>
          <a:xfrm>
            <a:off x="2005669" y="229719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75" name="object 175"/>
          <p:cNvSpPr/>
          <p:nvPr/>
        </p:nvSpPr>
        <p:spPr>
          <a:xfrm>
            <a:off x="2086067" y="2301477"/>
            <a:ext cx="10109" cy="5776"/>
          </a:xfrm>
          <a:custGeom>
            <a:avLst/>
            <a:gdLst/>
            <a:ahLst/>
            <a:cxnLst/>
            <a:rect l="l" t="t" r="r" b="b"/>
            <a:pathLst>
              <a:path w="22225" h="12700">
                <a:moveTo>
                  <a:pt x="0" y="0"/>
                </a:moveTo>
                <a:lnTo>
                  <a:pt x="0" y="12669"/>
                </a:lnTo>
                <a:lnTo>
                  <a:pt x="22093" y="12669"/>
                </a:lnTo>
                <a:lnTo>
                  <a:pt x="22093" y="8219"/>
                </a:lnTo>
                <a:lnTo>
                  <a:pt x="16973" y="5696"/>
                </a:lnTo>
                <a:lnTo>
                  <a:pt x="11298" y="3486"/>
                </a:lnTo>
                <a:lnTo>
                  <a:pt x="4879" y="1832"/>
                </a:lnTo>
                <a:lnTo>
                  <a:pt x="0" y="0"/>
                </a:lnTo>
                <a:close/>
              </a:path>
            </a:pathLst>
          </a:custGeom>
          <a:solidFill>
            <a:srgbClr val="4AB4E6"/>
          </a:solidFill>
        </p:spPr>
        <p:txBody>
          <a:bodyPr wrap="square" lIns="0" tIns="0" rIns="0" bIns="0" rtlCol="0"/>
          <a:lstStyle/>
          <a:p>
            <a:endParaRPr/>
          </a:p>
        </p:txBody>
      </p:sp>
      <p:sp>
        <p:nvSpPr>
          <p:cNvPr id="176" name="object 176"/>
          <p:cNvSpPr/>
          <p:nvPr/>
        </p:nvSpPr>
        <p:spPr>
          <a:xfrm>
            <a:off x="2065968" y="2297190"/>
            <a:ext cx="10109" cy="10108"/>
          </a:xfrm>
          <a:custGeom>
            <a:avLst/>
            <a:gdLst/>
            <a:ahLst/>
            <a:cxnLst/>
            <a:rect l="l" t="t" r="r" b="b"/>
            <a:pathLst>
              <a:path w="22225" h="22225">
                <a:moveTo>
                  <a:pt x="19088" y="0"/>
                </a:moveTo>
                <a:lnTo>
                  <a:pt x="0" y="0"/>
                </a:lnTo>
                <a:lnTo>
                  <a:pt x="0" y="22093"/>
                </a:lnTo>
                <a:lnTo>
                  <a:pt x="22093" y="22093"/>
                </a:lnTo>
                <a:lnTo>
                  <a:pt x="22093" y="1130"/>
                </a:lnTo>
                <a:lnTo>
                  <a:pt x="19088" y="0"/>
                </a:lnTo>
                <a:close/>
              </a:path>
            </a:pathLst>
          </a:custGeom>
          <a:solidFill>
            <a:srgbClr val="4AB4E6"/>
          </a:solidFill>
        </p:spPr>
        <p:txBody>
          <a:bodyPr wrap="square" lIns="0" tIns="0" rIns="0" bIns="0" rtlCol="0"/>
          <a:lstStyle/>
          <a:p>
            <a:endParaRPr/>
          </a:p>
        </p:txBody>
      </p:sp>
      <p:sp>
        <p:nvSpPr>
          <p:cNvPr id="177" name="object 177"/>
          <p:cNvSpPr/>
          <p:nvPr/>
        </p:nvSpPr>
        <p:spPr>
          <a:xfrm>
            <a:off x="2005669"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78" name="object 178"/>
          <p:cNvSpPr/>
          <p:nvPr/>
        </p:nvSpPr>
        <p:spPr>
          <a:xfrm>
            <a:off x="1925274"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79" name="object 179"/>
          <p:cNvSpPr/>
          <p:nvPr/>
        </p:nvSpPr>
        <p:spPr>
          <a:xfrm>
            <a:off x="2045868" y="2286392"/>
            <a:ext cx="2022" cy="866"/>
          </a:xfrm>
          <a:custGeom>
            <a:avLst/>
            <a:gdLst/>
            <a:ahLst/>
            <a:cxnLst/>
            <a:rect l="l" t="t" r="r" b="b"/>
            <a:pathLst>
              <a:path w="4445" h="1904">
                <a:moveTo>
                  <a:pt x="0" y="0"/>
                </a:moveTo>
                <a:lnTo>
                  <a:pt x="0" y="1654"/>
                </a:lnTo>
                <a:lnTo>
                  <a:pt x="4408" y="1654"/>
                </a:lnTo>
                <a:lnTo>
                  <a:pt x="0" y="0"/>
                </a:lnTo>
                <a:close/>
              </a:path>
            </a:pathLst>
          </a:custGeom>
          <a:solidFill>
            <a:srgbClr val="4AB4E6"/>
          </a:solidFill>
        </p:spPr>
        <p:txBody>
          <a:bodyPr wrap="square" lIns="0" tIns="0" rIns="0" bIns="0" rtlCol="0"/>
          <a:lstStyle/>
          <a:p>
            <a:endParaRPr/>
          </a:p>
        </p:txBody>
      </p:sp>
      <p:sp>
        <p:nvSpPr>
          <p:cNvPr id="180" name="object 180"/>
          <p:cNvSpPr/>
          <p:nvPr/>
        </p:nvSpPr>
        <p:spPr>
          <a:xfrm>
            <a:off x="2005669"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81" name="object 181"/>
          <p:cNvSpPr/>
          <p:nvPr/>
        </p:nvSpPr>
        <p:spPr>
          <a:xfrm>
            <a:off x="2106168"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82" name="object 182"/>
          <p:cNvSpPr/>
          <p:nvPr/>
        </p:nvSpPr>
        <p:spPr>
          <a:xfrm>
            <a:off x="2005669"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83" name="object 183"/>
          <p:cNvSpPr/>
          <p:nvPr/>
        </p:nvSpPr>
        <p:spPr>
          <a:xfrm>
            <a:off x="2005669"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84" name="object 184"/>
          <p:cNvSpPr/>
          <p:nvPr/>
        </p:nvSpPr>
        <p:spPr>
          <a:xfrm>
            <a:off x="2005669"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85" name="object 185"/>
          <p:cNvSpPr/>
          <p:nvPr/>
        </p:nvSpPr>
        <p:spPr>
          <a:xfrm>
            <a:off x="2005669"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86" name="object 186"/>
          <p:cNvSpPr/>
          <p:nvPr/>
        </p:nvSpPr>
        <p:spPr>
          <a:xfrm>
            <a:off x="2005669"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87" name="object 187"/>
          <p:cNvSpPr/>
          <p:nvPr/>
        </p:nvSpPr>
        <p:spPr>
          <a:xfrm>
            <a:off x="1985572"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88" name="object 188"/>
          <p:cNvSpPr/>
          <p:nvPr/>
        </p:nvSpPr>
        <p:spPr>
          <a:xfrm>
            <a:off x="2086068" y="2542274"/>
            <a:ext cx="289" cy="6354"/>
          </a:xfrm>
          <a:custGeom>
            <a:avLst/>
            <a:gdLst/>
            <a:ahLst/>
            <a:cxnLst/>
            <a:rect l="l" t="t" r="r" b="b"/>
            <a:pathLst>
              <a:path w="635" h="13970">
                <a:moveTo>
                  <a:pt x="0" y="0"/>
                </a:moveTo>
                <a:lnTo>
                  <a:pt x="0" y="13496"/>
                </a:lnTo>
                <a:lnTo>
                  <a:pt x="575" y="13496"/>
                </a:lnTo>
                <a:lnTo>
                  <a:pt x="0" y="0"/>
                </a:lnTo>
                <a:close/>
              </a:path>
            </a:pathLst>
          </a:custGeom>
          <a:solidFill>
            <a:srgbClr val="4AB4E6"/>
          </a:solidFill>
        </p:spPr>
        <p:txBody>
          <a:bodyPr wrap="square" lIns="0" tIns="0" rIns="0" bIns="0" rtlCol="0"/>
          <a:lstStyle/>
          <a:p>
            <a:endParaRPr/>
          </a:p>
        </p:txBody>
      </p:sp>
      <p:sp>
        <p:nvSpPr>
          <p:cNvPr id="189" name="object 189"/>
          <p:cNvSpPr/>
          <p:nvPr/>
        </p:nvSpPr>
        <p:spPr>
          <a:xfrm>
            <a:off x="2106166" y="2317291"/>
            <a:ext cx="8087" cy="10108"/>
          </a:xfrm>
          <a:custGeom>
            <a:avLst/>
            <a:gdLst/>
            <a:ahLst/>
            <a:cxnLst/>
            <a:rect l="l" t="t" r="r" b="b"/>
            <a:pathLst>
              <a:path w="17779" h="22225">
                <a:moveTo>
                  <a:pt x="8680" y="0"/>
                </a:moveTo>
                <a:lnTo>
                  <a:pt x="0" y="0"/>
                </a:lnTo>
                <a:lnTo>
                  <a:pt x="0" y="22093"/>
                </a:lnTo>
                <a:lnTo>
                  <a:pt x="17643" y="22093"/>
                </a:lnTo>
                <a:lnTo>
                  <a:pt x="17182" y="15978"/>
                </a:lnTo>
                <a:lnTo>
                  <a:pt x="15769" y="12428"/>
                </a:lnTo>
                <a:lnTo>
                  <a:pt x="13151" y="6554"/>
                </a:lnTo>
                <a:lnTo>
                  <a:pt x="8680" y="0"/>
                </a:lnTo>
                <a:close/>
              </a:path>
            </a:pathLst>
          </a:custGeom>
          <a:solidFill>
            <a:srgbClr val="4AB4E6"/>
          </a:solidFill>
        </p:spPr>
        <p:txBody>
          <a:bodyPr wrap="square" lIns="0" tIns="0" rIns="0" bIns="0" rtlCol="0"/>
          <a:lstStyle/>
          <a:p>
            <a:endParaRPr/>
          </a:p>
        </p:txBody>
      </p:sp>
      <p:sp>
        <p:nvSpPr>
          <p:cNvPr id="190" name="object 190"/>
          <p:cNvSpPr/>
          <p:nvPr/>
        </p:nvSpPr>
        <p:spPr>
          <a:xfrm>
            <a:off x="2106167" y="2337389"/>
            <a:ext cx="9820" cy="10108"/>
          </a:xfrm>
          <a:custGeom>
            <a:avLst/>
            <a:gdLst/>
            <a:ahLst/>
            <a:cxnLst/>
            <a:rect l="l" t="t" r="r" b="b"/>
            <a:pathLst>
              <a:path w="21589" h="22225">
                <a:moveTo>
                  <a:pt x="19329" y="0"/>
                </a:moveTo>
                <a:lnTo>
                  <a:pt x="0" y="0"/>
                </a:lnTo>
                <a:lnTo>
                  <a:pt x="0" y="22093"/>
                </a:lnTo>
                <a:lnTo>
                  <a:pt x="21015" y="22093"/>
                </a:lnTo>
                <a:lnTo>
                  <a:pt x="19329" y="0"/>
                </a:lnTo>
                <a:close/>
              </a:path>
            </a:pathLst>
          </a:custGeom>
          <a:solidFill>
            <a:srgbClr val="4AB4E6"/>
          </a:solidFill>
        </p:spPr>
        <p:txBody>
          <a:bodyPr wrap="square" lIns="0" tIns="0" rIns="0" bIns="0" rtlCol="0"/>
          <a:lstStyle/>
          <a:p>
            <a:endParaRPr/>
          </a:p>
        </p:txBody>
      </p:sp>
      <p:sp>
        <p:nvSpPr>
          <p:cNvPr id="191" name="object 191"/>
          <p:cNvSpPr/>
          <p:nvPr/>
        </p:nvSpPr>
        <p:spPr>
          <a:xfrm>
            <a:off x="2005669"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92" name="object 192"/>
          <p:cNvSpPr/>
          <p:nvPr/>
        </p:nvSpPr>
        <p:spPr>
          <a:xfrm>
            <a:off x="1945371"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93" name="object 193"/>
          <p:cNvSpPr/>
          <p:nvPr/>
        </p:nvSpPr>
        <p:spPr>
          <a:xfrm>
            <a:off x="1945371"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94" name="object 194"/>
          <p:cNvSpPr/>
          <p:nvPr/>
        </p:nvSpPr>
        <p:spPr>
          <a:xfrm>
            <a:off x="1945371"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95" name="object 195"/>
          <p:cNvSpPr/>
          <p:nvPr/>
        </p:nvSpPr>
        <p:spPr>
          <a:xfrm>
            <a:off x="1965474"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96" name="object 196"/>
          <p:cNvSpPr/>
          <p:nvPr/>
        </p:nvSpPr>
        <p:spPr>
          <a:xfrm>
            <a:off x="1945371"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97" name="object 197"/>
          <p:cNvSpPr/>
          <p:nvPr/>
        </p:nvSpPr>
        <p:spPr>
          <a:xfrm>
            <a:off x="1985572"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198" name="object 198"/>
          <p:cNvSpPr/>
          <p:nvPr/>
        </p:nvSpPr>
        <p:spPr>
          <a:xfrm>
            <a:off x="1945371"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199" name="object 199"/>
          <p:cNvSpPr/>
          <p:nvPr/>
        </p:nvSpPr>
        <p:spPr>
          <a:xfrm>
            <a:off x="2087684" y="2437880"/>
            <a:ext cx="8665" cy="10108"/>
          </a:xfrm>
          <a:custGeom>
            <a:avLst/>
            <a:gdLst/>
            <a:ahLst/>
            <a:cxnLst/>
            <a:rect l="l" t="t" r="r" b="b"/>
            <a:pathLst>
              <a:path w="19050" h="22225">
                <a:moveTo>
                  <a:pt x="18543" y="0"/>
                </a:moveTo>
                <a:lnTo>
                  <a:pt x="0" y="0"/>
                </a:lnTo>
                <a:lnTo>
                  <a:pt x="2303" y="22083"/>
                </a:lnTo>
                <a:lnTo>
                  <a:pt x="18543" y="22083"/>
                </a:lnTo>
                <a:lnTo>
                  <a:pt x="18543" y="0"/>
                </a:lnTo>
                <a:close/>
              </a:path>
            </a:pathLst>
          </a:custGeom>
          <a:solidFill>
            <a:srgbClr val="4AB4E6"/>
          </a:solidFill>
        </p:spPr>
        <p:txBody>
          <a:bodyPr wrap="square" lIns="0" tIns="0" rIns="0" bIns="0" rtlCol="0"/>
          <a:lstStyle/>
          <a:p>
            <a:endParaRPr/>
          </a:p>
        </p:txBody>
      </p:sp>
      <p:sp>
        <p:nvSpPr>
          <p:cNvPr id="200" name="object 200"/>
          <p:cNvSpPr/>
          <p:nvPr/>
        </p:nvSpPr>
        <p:spPr>
          <a:xfrm>
            <a:off x="1965474"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01" name="object 201"/>
          <p:cNvSpPr/>
          <p:nvPr/>
        </p:nvSpPr>
        <p:spPr>
          <a:xfrm>
            <a:off x="2025768"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02" name="object 202"/>
          <p:cNvSpPr/>
          <p:nvPr/>
        </p:nvSpPr>
        <p:spPr>
          <a:xfrm>
            <a:off x="2086067" y="2417777"/>
            <a:ext cx="10109" cy="10108"/>
          </a:xfrm>
          <a:custGeom>
            <a:avLst/>
            <a:gdLst/>
            <a:ahLst/>
            <a:cxnLst/>
            <a:rect l="l" t="t" r="r" b="b"/>
            <a:pathLst>
              <a:path w="22225" h="22225">
                <a:moveTo>
                  <a:pt x="22093" y="0"/>
                </a:moveTo>
                <a:lnTo>
                  <a:pt x="0" y="0"/>
                </a:lnTo>
                <a:lnTo>
                  <a:pt x="0" y="10188"/>
                </a:lnTo>
                <a:lnTo>
                  <a:pt x="1246" y="22104"/>
                </a:lnTo>
                <a:lnTo>
                  <a:pt x="22093" y="22104"/>
                </a:lnTo>
                <a:lnTo>
                  <a:pt x="22093" y="0"/>
                </a:lnTo>
                <a:close/>
              </a:path>
            </a:pathLst>
          </a:custGeom>
          <a:solidFill>
            <a:srgbClr val="4AB4E6"/>
          </a:solidFill>
        </p:spPr>
        <p:txBody>
          <a:bodyPr wrap="square" lIns="0" tIns="0" rIns="0" bIns="0" rtlCol="0"/>
          <a:lstStyle/>
          <a:p>
            <a:endParaRPr/>
          </a:p>
        </p:txBody>
      </p:sp>
      <p:sp>
        <p:nvSpPr>
          <p:cNvPr id="203" name="object 203"/>
          <p:cNvSpPr/>
          <p:nvPr/>
        </p:nvSpPr>
        <p:spPr>
          <a:xfrm>
            <a:off x="2005669"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04" name="object 204"/>
          <p:cNvSpPr/>
          <p:nvPr/>
        </p:nvSpPr>
        <p:spPr>
          <a:xfrm>
            <a:off x="2045870"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05" name="object 205"/>
          <p:cNvSpPr/>
          <p:nvPr/>
        </p:nvSpPr>
        <p:spPr>
          <a:xfrm>
            <a:off x="2045870"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06" name="object 206"/>
          <p:cNvSpPr/>
          <p:nvPr/>
        </p:nvSpPr>
        <p:spPr>
          <a:xfrm>
            <a:off x="2045870"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207" name="object 207"/>
          <p:cNvSpPr/>
          <p:nvPr/>
        </p:nvSpPr>
        <p:spPr>
          <a:xfrm>
            <a:off x="2045870"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08" name="object 208"/>
          <p:cNvSpPr/>
          <p:nvPr/>
        </p:nvSpPr>
        <p:spPr>
          <a:xfrm>
            <a:off x="2089781" y="2457971"/>
            <a:ext cx="6354" cy="10108"/>
          </a:xfrm>
          <a:custGeom>
            <a:avLst/>
            <a:gdLst/>
            <a:ahLst/>
            <a:cxnLst/>
            <a:rect l="l" t="t" r="r" b="b"/>
            <a:pathLst>
              <a:path w="13970" h="22225">
                <a:moveTo>
                  <a:pt x="13926" y="0"/>
                </a:moveTo>
                <a:lnTo>
                  <a:pt x="0" y="0"/>
                </a:lnTo>
                <a:lnTo>
                  <a:pt x="1978" y="18910"/>
                </a:lnTo>
                <a:lnTo>
                  <a:pt x="2387" y="22104"/>
                </a:lnTo>
                <a:lnTo>
                  <a:pt x="13926" y="22104"/>
                </a:lnTo>
                <a:lnTo>
                  <a:pt x="13926" y="0"/>
                </a:lnTo>
                <a:close/>
              </a:path>
            </a:pathLst>
          </a:custGeom>
          <a:solidFill>
            <a:srgbClr val="4AB4E6"/>
          </a:solidFill>
        </p:spPr>
        <p:txBody>
          <a:bodyPr wrap="square" lIns="0" tIns="0" rIns="0" bIns="0" rtlCol="0"/>
          <a:lstStyle/>
          <a:p>
            <a:endParaRPr/>
          </a:p>
        </p:txBody>
      </p:sp>
      <p:sp>
        <p:nvSpPr>
          <p:cNvPr id="209" name="object 209"/>
          <p:cNvSpPr/>
          <p:nvPr/>
        </p:nvSpPr>
        <p:spPr>
          <a:xfrm>
            <a:off x="2045870"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10" name="object 210"/>
          <p:cNvSpPr/>
          <p:nvPr/>
        </p:nvSpPr>
        <p:spPr>
          <a:xfrm>
            <a:off x="2045870"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211" name="object 211"/>
          <p:cNvSpPr/>
          <p:nvPr/>
        </p:nvSpPr>
        <p:spPr>
          <a:xfrm>
            <a:off x="2025768"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212" name="object 212"/>
          <p:cNvSpPr/>
          <p:nvPr/>
        </p:nvSpPr>
        <p:spPr>
          <a:xfrm>
            <a:off x="2005669"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213" name="object 213"/>
          <p:cNvSpPr/>
          <p:nvPr/>
        </p:nvSpPr>
        <p:spPr>
          <a:xfrm>
            <a:off x="2045870"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14" name="object 214"/>
          <p:cNvSpPr/>
          <p:nvPr/>
        </p:nvSpPr>
        <p:spPr>
          <a:xfrm>
            <a:off x="2045870"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215" name="object 215"/>
          <p:cNvSpPr/>
          <p:nvPr/>
        </p:nvSpPr>
        <p:spPr>
          <a:xfrm>
            <a:off x="2045870"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16" name="object 216"/>
          <p:cNvSpPr/>
          <p:nvPr/>
        </p:nvSpPr>
        <p:spPr>
          <a:xfrm>
            <a:off x="1985572"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17" name="object 217"/>
          <p:cNvSpPr/>
          <p:nvPr/>
        </p:nvSpPr>
        <p:spPr>
          <a:xfrm>
            <a:off x="1985572"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18" name="object 218"/>
          <p:cNvSpPr/>
          <p:nvPr/>
        </p:nvSpPr>
        <p:spPr>
          <a:xfrm>
            <a:off x="2094695" y="2498169"/>
            <a:ext cx="1444" cy="10108"/>
          </a:xfrm>
          <a:custGeom>
            <a:avLst/>
            <a:gdLst/>
            <a:ahLst/>
            <a:cxnLst/>
            <a:rect l="l" t="t" r="r" b="b"/>
            <a:pathLst>
              <a:path w="3175" h="22225">
                <a:moveTo>
                  <a:pt x="3130" y="0"/>
                </a:moveTo>
                <a:lnTo>
                  <a:pt x="0" y="0"/>
                </a:lnTo>
                <a:lnTo>
                  <a:pt x="2806" y="22093"/>
                </a:lnTo>
                <a:lnTo>
                  <a:pt x="3130" y="22093"/>
                </a:lnTo>
                <a:lnTo>
                  <a:pt x="3130" y="0"/>
                </a:lnTo>
                <a:close/>
              </a:path>
            </a:pathLst>
          </a:custGeom>
          <a:solidFill>
            <a:srgbClr val="4AB4E6"/>
          </a:solidFill>
        </p:spPr>
        <p:txBody>
          <a:bodyPr wrap="square" lIns="0" tIns="0" rIns="0" bIns="0" rtlCol="0"/>
          <a:lstStyle/>
          <a:p>
            <a:endParaRPr/>
          </a:p>
        </p:txBody>
      </p:sp>
      <p:sp>
        <p:nvSpPr>
          <p:cNvPr id="219" name="object 219"/>
          <p:cNvSpPr/>
          <p:nvPr/>
        </p:nvSpPr>
        <p:spPr>
          <a:xfrm>
            <a:off x="1985572"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220" name="object 220"/>
          <p:cNvSpPr/>
          <p:nvPr/>
        </p:nvSpPr>
        <p:spPr>
          <a:xfrm>
            <a:off x="1985572"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21" name="object 221"/>
          <p:cNvSpPr/>
          <p:nvPr/>
        </p:nvSpPr>
        <p:spPr>
          <a:xfrm>
            <a:off x="1985572"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4AB4E6"/>
          </a:solidFill>
        </p:spPr>
        <p:txBody>
          <a:bodyPr wrap="square" lIns="0" tIns="0" rIns="0" bIns="0" rtlCol="0"/>
          <a:lstStyle/>
          <a:p>
            <a:endParaRPr/>
          </a:p>
        </p:txBody>
      </p:sp>
      <p:sp>
        <p:nvSpPr>
          <p:cNvPr id="222" name="object 222"/>
          <p:cNvSpPr/>
          <p:nvPr/>
        </p:nvSpPr>
        <p:spPr>
          <a:xfrm>
            <a:off x="1985572"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23" name="object 223"/>
          <p:cNvSpPr/>
          <p:nvPr/>
        </p:nvSpPr>
        <p:spPr>
          <a:xfrm>
            <a:off x="1965474"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24" name="object 224"/>
          <p:cNvSpPr/>
          <p:nvPr/>
        </p:nvSpPr>
        <p:spPr>
          <a:xfrm>
            <a:off x="2045870"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4AB4E6"/>
          </a:solidFill>
        </p:spPr>
        <p:txBody>
          <a:bodyPr wrap="square" lIns="0" tIns="0" rIns="0" bIns="0" rtlCol="0"/>
          <a:lstStyle/>
          <a:p>
            <a:endParaRPr/>
          </a:p>
        </p:txBody>
      </p:sp>
      <p:sp>
        <p:nvSpPr>
          <p:cNvPr id="225" name="object 225"/>
          <p:cNvSpPr/>
          <p:nvPr/>
        </p:nvSpPr>
        <p:spPr>
          <a:xfrm>
            <a:off x="2092141" y="2478074"/>
            <a:ext cx="4043" cy="10108"/>
          </a:xfrm>
          <a:custGeom>
            <a:avLst/>
            <a:gdLst/>
            <a:ahLst/>
            <a:cxnLst/>
            <a:rect l="l" t="t" r="r" b="b"/>
            <a:pathLst>
              <a:path w="8889" h="22225">
                <a:moveTo>
                  <a:pt x="8743" y="0"/>
                </a:moveTo>
                <a:lnTo>
                  <a:pt x="0" y="0"/>
                </a:lnTo>
                <a:lnTo>
                  <a:pt x="2806" y="22083"/>
                </a:lnTo>
                <a:lnTo>
                  <a:pt x="8743" y="22083"/>
                </a:lnTo>
                <a:lnTo>
                  <a:pt x="8743" y="0"/>
                </a:lnTo>
                <a:close/>
              </a:path>
            </a:pathLst>
          </a:custGeom>
          <a:solidFill>
            <a:srgbClr val="4AB4E6"/>
          </a:solidFill>
        </p:spPr>
        <p:txBody>
          <a:bodyPr wrap="square" lIns="0" tIns="0" rIns="0" bIns="0" rtlCol="0"/>
          <a:lstStyle/>
          <a:p>
            <a:endParaRPr/>
          </a:p>
        </p:txBody>
      </p:sp>
      <p:sp>
        <p:nvSpPr>
          <p:cNvPr id="226" name="object 226"/>
          <p:cNvSpPr/>
          <p:nvPr/>
        </p:nvSpPr>
        <p:spPr>
          <a:xfrm>
            <a:off x="1920911" y="2397680"/>
            <a:ext cx="4621" cy="10108"/>
          </a:xfrm>
          <a:custGeom>
            <a:avLst/>
            <a:gdLst/>
            <a:ahLst/>
            <a:cxnLst/>
            <a:rect l="l" t="t" r="r" b="b"/>
            <a:pathLst>
              <a:path w="10160" h="22225">
                <a:moveTo>
                  <a:pt x="9591" y="0"/>
                </a:moveTo>
                <a:lnTo>
                  <a:pt x="575" y="0"/>
                </a:lnTo>
                <a:lnTo>
                  <a:pt x="0" y="22093"/>
                </a:lnTo>
                <a:lnTo>
                  <a:pt x="9591" y="22093"/>
                </a:lnTo>
                <a:lnTo>
                  <a:pt x="9591" y="0"/>
                </a:lnTo>
                <a:close/>
              </a:path>
            </a:pathLst>
          </a:custGeom>
          <a:solidFill>
            <a:srgbClr val="1F8083"/>
          </a:solidFill>
        </p:spPr>
        <p:txBody>
          <a:bodyPr wrap="square" lIns="0" tIns="0" rIns="0" bIns="0" rtlCol="0"/>
          <a:lstStyle/>
          <a:p>
            <a:endParaRPr/>
          </a:p>
        </p:txBody>
      </p:sp>
      <p:sp>
        <p:nvSpPr>
          <p:cNvPr id="227" name="object 227"/>
          <p:cNvSpPr/>
          <p:nvPr/>
        </p:nvSpPr>
        <p:spPr>
          <a:xfrm>
            <a:off x="1917834" y="2498169"/>
            <a:ext cx="7509" cy="10108"/>
          </a:xfrm>
          <a:custGeom>
            <a:avLst/>
            <a:gdLst/>
            <a:ahLst/>
            <a:cxnLst/>
            <a:rect l="l" t="t" r="r" b="b"/>
            <a:pathLst>
              <a:path w="16510" h="22225">
                <a:moveTo>
                  <a:pt x="16355" y="0"/>
                </a:moveTo>
                <a:lnTo>
                  <a:pt x="764" y="0"/>
                </a:lnTo>
                <a:lnTo>
                  <a:pt x="0" y="22093"/>
                </a:lnTo>
                <a:lnTo>
                  <a:pt x="16355" y="22093"/>
                </a:lnTo>
                <a:lnTo>
                  <a:pt x="16355" y="0"/>
                </a:lnTo>
                <a:close/>
              </a:path>
            </a:pathLst>
          </a:custGeom>
          <a:solidFill>
            <a:srgbClr val="1F8083"/>
          </a:solidFill>
        </p:spPr>
        <p:txBody>
          <a:bodyPr wrap="square" lIns="0" tIns="0" rIns="0" bIns="0" rtlCol="0"/>
          <a:lstStyle/>
          <a:p>
            <a:endParaRPr/>
          </a:p>
        </p:txBody>
      </p:sp>
      <p:sp>
        <p:nvSpPr>
          <p:cNvPr id="228" name="object 228"/>
          <p:cNvSpPr/>
          <p:nvPr/>
        </p:nvSpPr>
        <p:spPr>
          <a:xfrm>
            <a:off x="1921953" y="2357485"/>
            <a:ext cx="3466" cy="10108"/>
          </a:xfrm>
          <a:custGeom>
            <a:avLst/>
            <a:gdLst/>
            <a:ahLst/>
            <a:cxnLst/>
            <a:rect l="l" t="t" r="r" b="b"/>
            <a:pathLst>
              <a:path w="7620" h="22225">
                <a:moveTo>
                  <a:pt x="7298" y="0"/>
                </a:moveTo>
                <a:lnTo>
                  <a:pt x="575" y="0"/>
                </a:lnTo>
                <a:lnTo>
                  <a:pt x="0" y="22093"/>
                </a:lnTo>
                <a:lnTo>
                  <a:pt x="7298" y="22093"/>
                </a:lnTo>
                <a:lnTo>
                  <a:pt x="7298" y="0"/>
                </a:lnTo>
                <a:close/>
              </a:path>
            </a:pathLst>
          </a:custGeom>
          <a:solidFill>
            <a:srgbClr val="1F8083"/>
          </a:solidFill>
        </p:spPr>
        <p:txBody>
          <a:bodyPr wrap="square" lIns="0" tIns="0" rIns="0" bIns="0" rtlCol="0"/>
          <a:lstStyle/>
          <a:p>
            <a:endParaRPr/>
          </a:p>
        </p:txBody>
      </p:sp>
      <p:sp>
        <p:nvSpPr>
          <p:cNvPr id="229" name="object 229"/>
          <p:cNvSpPr/>
          <p:nvPr/>
        </p:nvSpPr>
        <p:spPr>
          <a:xfrm>
            <a:off x="1917132" y="2518269"/>
            <a:ext cx="8376" cy="10108"/>
          </a:xfrm>
          <a:custGeom>
            <a:avLst/>
            <a:gdLst/>
            <a:ahLst/>
            <a:cxnLst/>
            <a:rect l="l" t="t" r="r" b="b"/>
            <a:pathLst>
              <a:path w="18414" h="22225">
                <a:moveTo>
                  <a:pt x="17894" y="0"/>
                </a:moveTo>
                <a:lnTo>
                  <a:pt x="764" y="0"/>
                </a:lnTo>
                <a:lnTo>
                  <a:pt x="0" y="22093"/>
                </a:lnTo>
                <a:lnTo>
                  <a:pt x="17894" y="22093"/>
                </a:lnTo>
                <a:lnTo>
                  <a:pt x="17894" y="0"/>
                </a:lnTo>
                <a:close/>
              </a:path>
            </a:pathLst>
          </a:custGeom>
          <a:solidFill>
            <a:srgbClr val="1F8083"/>
          </a:solidFill>
        </p:spPr>
        <p:txBody>
          <a:bodyPr wrap="square" lIns="0" tIns="0" rIns="0" bIns="0" rtlCol="0"/>
          <a:lstStyle/>
          <a:p>
            <a:endParaRPr/>
          </a:p>
        </p:txBody>
      </p:sp>
      <p:sp>
        <p:nvSpPr>
          <p:cNvPr id="230" name="object 230"/>
          <p:cNvSpPr/>
          <p:nvPr/>
        </p:nvSpPr>
        <p:spPr>
          <a:xfrm>
            <a:off x="1922475" y="2337391"/>
            <a:ext cx="2888" cy="10108"/>
          </a:xfrm>
          <a:custGeom>
            <a:avLst/>
            <a:gdLst/>
            <a:ahLst/>
            <a:cxnLst/>
            <a:rect l="l" t="t" r="r" b="b"/>
            <a:pathLst>
              <a:path w="6350" h="22225">
                <a:moveTo>
                  <a:pt x="6156" y="0"/>
                </a:moveTo>
                <a:lnTo>
                  <a:pt x="565" y="0"/>
                </a:lnTo>
                <a:lnTo>
                  <a:pt x="0" y="22093"/>
                </a:lnTo>
                <a:lnTo>
                  <a:pt x="6156" y="22093"/>
                </a:lnTo>
                <a:lnTo>
                  <a:pt x="6156" y="0"/>
                </a:lnTo>
                <a:close/>
              </a:path>
            </a:pathLst>
          </a:custGeom>
          <a:solidFill>
            <a:srgbClr val="1F8083"/>
          </a:solidFill>
        </p:spPr>
        <p:txBody>
          <a:bodyPr wrap="square" lIns="0" tIns="0" rIns="0" bIns="0" rtlCol="0"/>
          <a:lstStyle/>
          <a:p>
            <a:endParaRPr/>
          </a:p>
        </p:txBody>
      </p:sp>
      <p:sp>
        <p:nvSpPr>
          <p:cNvPr id="231" name="object 231"/>
          <p:cNvSpPr/>
          <p:nvPr/>
        </p:nvSpPr>
        <p:spPr>
          <a:xfrm>
            <a:off x="1924149" y="2324095"/>
            <a:ext cx="1155" cy="3466"/>
          </a:xfrm>
          <a:custGeom>
            <a:avLst/>
            <a:gdLst/>
            <a:ahLst/>
            <a:cxnLst/>
            <a:rect l="l" t="t" r="r" b="b"/>
            <a:pathLst>
              <a:path w="2539" h="7620">
                <a:moveTo>
                  <a:pt x="2471" y="0"/>
                </a:moveTo>
                <a:lnTo>
                  <a:pt x="1486" y="2471"/>
                </a:lnTo>
                <a:lnTo>
                  <a:pt x="659" y="4858"/>
                </a:lnTo>
                <a:lnTo>
                  <a:pt x="0" y="7130"/>
                </a:lnTo>
                <a:lnTo>
                  <a:pt x="2471" y="7130"/>
                </a:lnTo>
                <a:lnTo>
                  <a:pt x="2471" y="0"/>
                </a:lnTo>
                <a:close/>
              </a:path>
            </a:pathLst>
          </a:custGeom>
          <a:solidFill>
            <a:srgbClr val="1F8083"/>
          </a:solidFill>
        </p:spPr>
        <p:txBody>
          <a:bodyPr wrap="square" lIns="0" tIns="0" rIns="0" bIns="0" rtlCol="0"/>
          <a:lstStyle/>
          <a:p>
            <a:endParaRPr/>
          </a:p>
        </p:txBody>
      </p:sp>
      <p:sp>
        <p:nvSpPr>
          <p:cNvPr id="232" name="object 232"/>
          <p:cNvSpPr/>
          <p:nvPr/>
        </p:nvSpPr>
        <p:spPr>
          <a:xfrm>
            <a:off x="1916431" y="2538369"/>
            <a:ext cx="8953" cy="10108"/>
          </a:xfrm>
          <a:custGeom>
            <a:avLst/>
            <a:gdLst/>
            <a:ahLst/>
            <a:cxnLst/>
            <a:rect l="l" t="t" r="r" b="b"/>
            <a:pathLst>
              <a:path w="19685" h="22225">
                <a:moveTo>
                  <a:pt x="19444" y="0"/>
                </a:moveTo>
                <a:lnTo>
                  <a:pt x="764" y="0"/>
                </a:lnTo>
                <a:lnTo>
                  <a:pt x="0" y="22083"/>
                </a:lnTo>
                <a:lnTo>
                  <a:pt x="19444" y="22083"/>
                </a:lnTo>
                <a:lnTo>
                  <a:pt x="19444" y="0"/>
                </a:lnTo>
                <a:close/>
              </a:path>
            </a:pathLst>
          </a:custGeom>
          <a:solidFill>
            <a:srgbClr val="1F8083"/>
          </a:solidFill>
        </p:spPr>
        <p:txBody>
          <a:bodyPr wrap="square" lIns="0" tIns="0" rIns="0" bIns="0" rtlCol="0"/>
          <a:lstStyle/>
          <a:p>
            <a:endParaRPr/>
          </a:p>
        </p:txBody>
      </p:sp>
      <p:sp>
        <p:nvSpPr>
          <p:cNvPr id="233" name="object 233"/>
          <p:cNvSpPr/>
          <p:nvPr/>
        </p:nvSpPr>
        <p:spPr>
          <a:xfrm>
            <a:off x="1921432" y="2377585"/>
            <a:ext cx="4043" cy="10108"/>
          </a:xfrm>
          <a:custGeom>
            <a:avLst/>
            <a:gdLst/>
            <a:ahLst/>
            <a:cxnLst/>
            <a:rect l="l" t="t" r="r" b="b"/>
            <a:pathLst>
              <a:path w="8889" h="22225">
                <a:moveTo>
                  <a:pt x="8450" y="0"/>
                </a:moveTo>
                <a:lnTo>
                  <a:pt x="575" y="0"/>
                </a:lnTo>
                <a:lnTo>
                  <a:pt x="0" y="22093"/>
                </a:lnTo>
                <a:lnTo>
                  <a:pt x="8450" y="22093"/>
                </a:lnTo>
                <a:lnTo>
                  <a:pt x="8450" y="0"/>
                </a:lnTo>
                <a:close/>
              </a:path>
            </a:pathLst>
          </a:custGeom>
          <a:solidFill>
            <a:srgbClr val="1F8083"/>
          </a:solidFill>
        </p:spPr>
        <p:txBody>
          <a:bodyPr wrap="square" lIns="0" tIns="0" rIns="0" bIns="0" rtlCol="0"/>
          <a:lstStyle/>
          <a:p>
            <a:endParaRPr/>
          </a:p>
        </p:txBody>
      </p:sp>
      <p:sp>
        <p:nvSpPr>
          <p:cNvPr id="234" name="object 234"/>
          <p:cNvSpPr/>
          <p:nvPr/>
        </p:nvSpPr>
        <p:spPr>
          <a:xfrm>
            <a:off x="1919869" y="2437880"/>
            <a:ext cx="5488" cy="10108"/>
          </a:xfrm>
          <a:custGeom>
            <a:avLst/>
            <a:gdLst/>
            <a:ahLst/>
            <a:cxnLst/>
            <a:rect l="l" t="t" r="r" b="b"/>
            <a:pathLst>
              <a:path w="12064" h="22225">
                <a:moveTo>
                  <a:pt x="11884" y="0"/>
                </a:moveTo>
                <a:lnTo>
                  <a:pt x="575" y="0"/>
                </a:lnTo>
                <a:lnTo>
                  <a:pt x="0" y="22083"/>
                </a:lnTo>
                <a:lnTo>
                  <a:pt x="11884" y="22083"/>
                </a:lnTo>
                <a:lnTo>
                  <a:pt x="11884" y="0"/>
                </a:lnTo>
                <a:close/>
              </a:path>
            </a:pathLst>
          </a:custGeom>
          <a:solidFill>
            <a:srgbClr val="1F8083"/>
          </a:solidFill>
        </p:spPr>
        <p:txBody>
          <a:bodyPr wrap="square" lIns="0" tIns="0" rIns="0" bIns="0" rtlCol="0"/>
          <a:lstStyle/>
          <a:p>
            <a:endParaRPr/>
          </a:p>
        </p:txBody>
      </p:sp>
      <p:sp>
        <p:nvSpPr>
          <p:cNvPr id="235" name="object 235"/>
          <p:cNvSpPr/>
          <p:nvPr/>
        </p:nvSpPr>
        <p:spPr>
          <a:xfrm>
            <a:off x="1920390" y="2417780"/>
            <a:ext cx="4910" cy="10108"/>
          </a:xfrm>
          <a:custGeom>
            <a:avLst/>
            <a:gdLst/>
            <a:ahLst/>
            <a:cxnLst/>
            <a:rect l="l" t="t" r="r" b="b"/>
            <a:pathLst>
              <a:path w="10795" h="22225">
                <a:moveTo>
                  <a:pt x="10732" y="0"/>
                </a:moveTo>
                <a:lnTo>
                  <a:pt x="575" y="0"/>
                </a:lnTo>
                <a:lnTo>
                  <a:pt x="0" y="22093"/>
                </a:lnTo>
                <a:lnTo>
                  <a:pt x="10732" y="22093"/>
                </a:lnTo>
                <a:lnTo>
                  <a:pt x="10732" y="0"/>
                </a:lnTo>
                <a:close/>
              </a:path>
            </a:pathLst>
          </a:custGeom>
          <a:solidFill>
            <a:srgbClr val="1F8083"/>
          </a:solidFill>
        </p:spPr>
        <p:txBody>
          <a:bodyPr wrap="square" lIns="0" tIns="0" rIns="0" bIns="0" rtlCol="0"/>
          <a:lstStyle/>
          <a:p>
            <a:endParaRPr/>
          </a:p>
        </p:txBody>
      </p:sp>
      <p:sp>
        <p:nvSpPr>
          <p:cNvPr id="236" name="object 236"/>
          <p:cNvSpPr/>
          <p:nvPr/>
        </p:nvSpPr>
        <p:spPr>
          <a:xfrm>
            <a:off x="1915938" y="2558464"/>
            <a:ext cx="9531" cy="4621"/>
          </a:xfrm>
          <a:custGeom>
            <a:avLst/>
            <a:gdLst/>
            <a:ahLst/>
            <a:cxnLst/>
            <a:rect l="l" t="t" r="r" b="b"/>
            <a:pathLst>
              <a:path w="20954" h="10160">
                <a:moveTo>
                  <a:pt x="20522" y="0"/>
                </a:moveTo>
                <a:lnTo>
                  <a:pt x="314" y="0"/>
                </a:lnTo>
                <a:lnTo>
                  <a:pt x="0" y="8994"/>
                </a:lnTo>
                <a:lnTo>
                  <a:pt x="20522" y="10072"/>
                </a:lnTo>
                <a:lnTo>
                  <a:pt x="20522" y="0"/>
                </a:lnTo>
                <a:close/>
              </a:path>
            </a:pathLst>
          </a:custGeom>
          <a:solidFill>
            <a:srgbClr val="1F8083"/>
          </a:solidFill>
        </p:spPr>
        <p:txBody>
          <a:bodyPr wrap="square" lIns="0" tIns="0" rIns="0" bIns="0" rtlCol="0"/>
          <a:lstStyle/>
          <a:p>
            <a:endParaRPr/>
          </a:p>
        </p:txBody>
      </p:sp>
      <p:sp>
        <p:nvSpPr>
          <p:cNvPr id="237" name="object 237"/>
          <p:cNvSpPr/>
          <p:nvPr/>
        </p:nvSpPr>
        <p:spPr>
          <a:xfrm>
            <a:off x="1919235" y="2457975"/>
            <a:ext cx="6065" cy="10108"/>
          </a:xfrm>
          <a:custGeom>
            <a:avLst/>
            <a:gdLst/>
            <a:ahLst/>
            <a:cxnLst/>
            <a:rect l="l" t="t" r="r" b="b"/>
            <a:pathLst>
              <a:path w="13335" h="22225">
                <a:moveTo>
                  <a:pt x="13277" y="0"/>
                </a:moveTo>
                <a:lnTo>
                  <a:pt x="774" y="0"/>
                </a:lnTo>
                <a:lnTo>
                  <a:pt x="0" y="22093"/>
                </a:lnTo>
                <a:lnTo>
                  <a:pt x="13277" y="22093"/>
                </a:lnTo>
                <a:lnTo>
                  <a:pt x="13277" y="0"/>
                </a:lnTo>
                <a:close/>
              </a:path>
            </a:pathLst>
          </a:custGeom>
          <a:solidFill>
            <a:srgbClr val="1F8083"/>
          </a:solidFill>
        </p:spPr>
        <p:txBody>
          <a:bodyPr wrap="square" lIns="0" tIns="0" rIns="0" bIns="0" rtlCol="0"/>
          <a:lstStyle/>
          <a:p>
            <a:endParaRPr/>
          </a:p>
        </p:txBody>
      </p:sp>
      <p:sp>
        <p:nvSpPr>
          <p:cNvPr id="238" name="object 238"/>
          <p:cNvSpPr/>
          <p:nvPr/>
        </p:nvSpPr>
        <p:spPr>
          <a:xfrm>
            <a:off x="1918534" y="2478074"/>
            <a:ext cx="6932" cy="10108"/>
          </a:xfrm>
          <a:custGeom>
            <a:avLst/>
            <a:gdLst/>
            <a:ahLst/>
            <a:cxnLst/>
            <a:rect l="l" t="t" r="r" b="b"/>
            <a:pathLst>
              <a:path w="15239" h="22225">
                <a:moveTo>
                  <a:pt x="14816" y="0"/>
                </a:moveTo>
                <a:lnTo>
                  <a:pt x="764" y="0"/>
                </a:lnTo>
                <a:lnTo>
                  <a:pt x="0" y="22083"/>
                </a:lnTo>
                <a:lnTo>
                  <a:pt x="14816" y="22083"/>
                </a:lnTo>
                <a:lnTo>
                  <a:pt x="14816" y="0"/>
                </a:lnTo>
                <a:close/>
              </a:path>
            </a:pathLst>
          </a:custGeom>
          <a:solidFill>
            <a:srgbClr val="1F8083"/>
          </a:solidFill>
        </p:spPr>
        <p:txBody>
          <a:bodyPr wrap="square" lIns="0" tIns="0" rIns="0" bIns="0" rtlCol="0"/>
          <a:lstStyle/>
          <a:p>
            <a:endParaRPr/>
          </a:p>
        </p:txBody>
      </p:sp>
      <p:sp>
        <p:nvSpPr>
          <p:cNvPr id="239" name="object 239"/>
          <p:cNvSpPr/>
          <p:nvPr/>
        </p:nvSpPr>
        <p:spPr>
          <a:xfrm>
            <a:off x="1935323"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40" name="object 240"/>
          <p:cNvSpPr/>
          <p:nvPr/>
        </p:nvSpPr>
        <p:spPr>
          <a:xfrm>
            <a:off x="1935323"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41" name="object 241"/>
          <p:cNvSpPr/>
          <p:nvPr/>
        </p:nvSpPr>
        <p:spPr>
          <a:xfrm>
            <a:off x="1935323"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42" name="object 242"/>
          <p:cNvSpPr/>
          <p:nvPr/>
        </p:nvSpPr>
        <p:spPr>
          <a:xfrm>
            <a:off x="1935323"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43" name="object 243"/>
          <p:cNvSpPr/>
          <p:nvPr/>
        </p:nvSpPr>
        <p:spPr>
          <a:xfrm>
            <a:off x="1935323"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44" name="object 244"/>
          <p:cNvSpPr/>
          <p:nvPr/>
        </p:nvSpPr>
        <p:spPr>
          <a:xfrm>
            <a:off x="1935323"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45" name="object 245"/>
          <p:cNvSpPr/>
          <p:nvPr/>
        </p:nvSpPr>
        <p:spPr>
          <a:xfrm>
            <a:off x="1935323"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46" name="object 246"/>
          <p:cNvSpPr/>
          <p:nvPr/>
        </p:nvSpPr>
        <p:spPr>
          <a:xfrm>
            <a:off x="1935323"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47" name="object 247"/>
          <p:cNvSpPr/>
          <p:nvPr/>
        </p:nvSpPr>
        <p:spPr>
          <a:xfrm>
            <a:off x="1935323"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48" name="object 248"/>
          <p:cNvSpPr/>
          <p:nvPr/>
        </p:nvSpPr>
        <p:spPr>
          <a:xfrm>
            <a:off x="1935323"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49" name="object 249"/>
          <p:cNvSpPr/>
          <p:nvPr/>
        </p:nvSpPr>
        <p:spPr>
          <a:xfrm>
            <a:off x="1935323" y="2538369"/>
            <a:ext cx="6065" cy="10108"/>
          </a:xfrm>
          <a:custGeom>
            <a:avLst/>
            <a:gdLst/>
            <a:ahLst/>
            <a:cxnLst/>
            <a:rect l="l" t="t" r="r" b="b"/>
            <a:pathLst>
              <a:path w="13335" h="22225">
                <a:moveTo>
                  <a:pt x="12784" y="0"/>
                </a:moveTo>
                <a:lnTo>
                  <a:pt x="0" y="0"/>
                </a:lnTo>
                <a:lnTo>
                  <a:pt x="0" y="22083"/>
                </a:lnTo>
                <a:lnTo>
                  <a:pt x="9319" y="22083"/>
                </a:lnTo>
                <a:lnTo>
                  <a:pt x="12784" y="0"/>
                </a:lnTo>
                <a:close/>
              </a:path>
            </a:pathLst>
          </a:custGeom>
          <a:solidFill>
            <a:srgbClr val="1F8083"/>
          </a:solidFill>
        </p:spPr>
        <p:txBody>
          <a:bodyPr wrap="square" lIns="0" tIns="0" rIns="0" bIns="0" rtlCol="0"/>
          <a:lstStyle/>
          <a:p>
            <a:endParaRPr/>
          </a:p>
        </p:txBody>
      </p:sp>
      <p:sp>
        <p:nvSpPr>
          <p:cNvPr id="250" name="object 250"/>
          <p:cNvSpPr/>
          <p:nvPr/>
        </p:nvSpPr>
        <p:spPr>
          <a:xfrm>
            <a:off x="1935323" y="2518269"/>
            <a:ext cx="9242" cy="10108"/>
          </a:xfrm>
          <a:custGeom>
            <a:avLst/>
            <a:gdLst/>
            <a:ahLst/>
            <a:cxnLst/>
            <a:rect l="l" t="t" r="r" b="b"/>
            <a:pathLst>
              <a:path w="20320" h="22225">
                <a:moveTo>
                  <a:pt x="19706" y="0"/>
                </a:moveTo>
                <a:lnTo>
                  <a:pt x="0" y="0"/>
                </a:lnTo>
                <a:lnTo>
                  <a:pt x="0" y="22093"/>
                </a:lnTo>
                <a:lnTo>
                  <a:pt x="16240" y="22093"/>
                </a:lnTo>
                <a:lnTo>
                  <a:pt x="19706" y="0"/>
                </a:lnTo>
                <a:close/>
              </a:path>
            </a:pathLst>
          </a:custGeom>
          <a:solidFill>
            <a:srgbClr val="1F8083"/>
          </a:solidFill>
        </p:spPr>
        <p:txBody>
          <a:bodyPr wrap="square" lIns="0" tIns="0" rIns="0" bIns="0" rtlCol="0"/>
          <a:lstStyle/>
          <a:p>
            <a:endParaRPr/>
          </a:p>
        </p:txBody>
      </p:sp>
      <p:sp>
        <p:nvSpPr>
          <p:cNvPr id="251" name="object 251"/>
          <p:cNvSpPr/>
          <p:nvPr/>
        </p:nvSpPr>
        <p:spPr>
          <a:xfrm>
            <a:off x="1935323" y="2558464"/>
            <a:ext cx="2888" cy="5487"/>
          </a:xfrm>
          <a:custGeom>
            <a:avLst/>
            <a:gdLst/>
            <a:ahLst/>
            <a:cxnLst/>
            <a:rect l="l" t="t" r="r" b="b"/>
            <a:pathLst>
              <a:path w="6350" h="12064">
                <a:moveTo>
                  <a:pt x="5863" y="0"/>
                </a:moveTo>
                <a:lnTo>
                  <a:pt x="0" y="0"/>
                </a:lnTo>
                <a:lnTo>
                  <a:pt x="0" y="11224"/>
                </a:lnTo>
                <a:lnTo>
                  <a:pt x="4062" y="11444"/>
                </a:lnTo>
                <a:lnTo>
                  <a:pt x="5863" y="0"/>
                </a:lnTo>
                <a:close/>
              </a:path>
            </a:pathLst>
          </a:custGeom>
          <a:solidFill>
            <a:srgbClr val="1F8083"/>
          </a:solidFill>
        </p:spPr>
        <p:txBody>
          <a:bodyPr wrap="square" lIns="0" tIns="0" rIns="0" bIns="0" rtlCol="0"/>
          <a:lstStyle/>
          <a:p>
            <a:endParaRPr/>
          </a:p>
        </p:txBody>
      </p:sp>
      <p:sp>
        <p:nvSpPr>
          <p:cNvPr id="252" name="object 252"/>
          <p:cNvSpPr/>
          <p:nvPr/>
        </p:nvSpPr>
        <p:spPr>
          <a:xfrm>
            <a:off x="1942176" y="2306177"/>
            <a:ext cx="3466" cy="1155"/>
          </a:xfrm>
          <a:custGeom>
            <a:avLst/>
            <a:gdLst/>
            <a:ahLst/>
            <a:cxnLst/>
            <a:rect l="l" t="t" r="r" b="b"/>
            <a:pathLst>
              <a:path w="7620" h="2539">
                <a:moveTo>
                  <a:pt x="7025" y="0"/>
                </a:moveTo>
                <a:lnTo>
                  <a:pt x="4575" y="712"/>
                </a:lnTo>
                <a:lnTo>
                  <a:pt x="2209" y="1465"/>
                </a:lnTo>
                <a:lnTo>
                  <a:pt x="0" y="2335"/>
                </a:lnTo>
                <a:lnTo>
                  <a:pt x="7025" y="2335"/>
                </a:lnTo>
                <a:lnTo>
                  <a:pt x="7025" y="0"/>
                </a:lnTo>
                <a:close/>
              </a:path>
            </a:pathLst>
          </a:custGeom>
          <a:solidFill>
            <a:srgbClr val="1F8083"/>
          </a:solidFill>
        </p:spPr>
        <p:txBody>
          <a:bodyPr wrap="square" lIns="0" tIns="0" rIns="0" bIns="0" rtlCol="0"/>
          <a:lstStyle/>
          <a:p>
            <a:endParaRPr/>
          </a:p>
        </p:txBody>
      </p:sp>
      <p:sp>
        <p:nvSpPr>
          <p:cNvPr id="253" name="object 253"/>
          <p:cNvSpPr/>
          <p:nvPr/>
        </p:nvSpPr>
        <p:spPr>
          <a:xfrm>
            <a:off x="1955420"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54" name="object 254"/>
          <p:cNvSpPr/>
          <p:nvPr/>
        </p:nvSpPr>
        <p:spPr>
          <a:xfrm>
            <a:off x="1955421" y="2578561"/>
            <a:ext cx="10109" cy="10108"/>
          </a:xfrm>
          <a:custGeom>
            <a:avLst/>
            <a:gdLst/>
            <a:ahLst/>
            <a:cxnLst/>
            <a:rect l="l" t="t" r="r" b="b"/>
            <a:pathLst>
              <a:path w="22225" h="22225">
                <a:moveTo>
                  <a:pt x="22093" y="0"/>
                </a:moveTo>
                <a:lnTo>
                  <a:pt x="0" y="0"/>
                </a:lnTo>
                <a:lnTo>
                  <a:pt x="0" y="11455"/>
                </a:lnTo>
                <a:lnTo>
                  <a:pt x="5120" y="15475"/>
                </a:lnTo>
                <a:lnTo>
                  <a:pt x="10816" y="19067"/>
                </a:lnTo>
                <a:lnTo>
                  <a:pt x="16973" y="22104"/>
                </a:lnTo>
                <a:lnTo>
                  <a:pt x="22093" y="22104"/>
                </a:lnTo>
                <a:lnTo>
                  <a:pt x="22093" y="0"/>
                </a:lnTo>
                <a:close/>
              </a:path>
            </a:pathLst>
          </a:custGeom>
          <a:solidFill>
            <a:srgbClr val="1F8083"/>
          </a:solidFill>
        </p:spPr>
        <p:txBody>
          <a:bodyPr wrap="square" lIns="0" tIns="0" rIns="0" bIns="0" rtlCol="0"/>
          <a:lstStyle/>
          <a:p>
            <a:endParaRPr/>
          </a:p>
        </p:txBody>
      </p:sp>
      <p:sp>
        <p:nvSpPr>
          <p:cNvPr id="255" name="object 255"/>
          <p:cNvSpPr/>
          <p:nvPr/>
        </p:nvSpPr>
        <p:spPr>
          <a:xfrm>
            <a:off x="1955420"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56" name="object 256"/>
          <p:cNvSpPr/>
          <p:nvPr/>
        </p:nvSpPr>
        <p:spPr>
          <a:xfrm>
            <a:off x="1955420"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57" name="object 257"/>
          <p:cNvSpPr/>
          <p:nvPr/>
        </p:nvSpPr>
        <p:spPr>
          <a:xfrm>
            <a:off x="1955421" y="2298367"/>
            <a:ext cx="10109" cy="8953"/>
          </a:xfrm>
          <a:custGeom>
            <a:avLst/>
            <a:gdLst/>
            <a:ahLst/>
            <a:cxnLst/>
            <a:rect l="l" t="t" r="r" b="b"/>
            <a:pathLst>
              <a:path w="22225" h="19685">
                <a:moveTo>
                  <a:pt x="22093" y="0"/>
                </a:moveTo>
                <a:lnTo>
                  <a:pt x="0" y="9256"/>
                </a:lnTo>
                <a:lnTo>
                  <a:pt x="0" y="19507"/>
                </a:lnTo>
                <a:lnTo>
                  <a:pt x="22093" y="19507"/>
                </a:lnTo>
                <a:lnTo>
                  <a:pt x="22093" y="0"/>
                </a:lnTo>
                <a:close/>
              </a:path>
            </a:pathLst>
          </a:custGeom>
          <a:solidFill>
            <a:srgbClr val="1F8083"/>
          </a:solidFill>
        </p:spPr>
        <p:txBody>
          <a:bodyPr wrap="square" lIns="0" tIns="0" rIns="0" bIns="0" rtlCol="0"/>
          <a:lstStyle/>
          <a:p>
            <a:endParaRPr/>
          </a:p>
        </p:txBody>
      </p:sp>
      <p:sp>
        <p:nvSpPr>
          <p:cNvPr id="258" name="object 258"/>
          <p:cNvSpPr/>
          <p:nvPr/>
        </p:nvSpPr>
        <p:spPr>
          <a:xfrm>
            <a:off x="1955420"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59" name="object 259"/>
          <p:cNvSpPr/>
          <p:nvPr/>
        </p:nvSpPr>
        <p:spPr>
          <a:xfrm>
            <a:off x="1955420"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60" name="object 260"/>
          <p:cNvSpPr/>
          <p:nvPr/>
        </p:nvSpPr>
        <p:spPr>
          <a:xfrm>
            <a:off x="1955420"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61" name="object 261"/>
          <p:cNvSpPr/>
          <p:nvPr/>
        </p:nvSpPr>
        <p:spPr>
          <a:xfrm>
            <a:off x="1955420"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62" name="object 262"/>
          <p:cNvSpPr/>
          <p:nvPr/>
        </p:nvSpPr>
        <p:spPr>
          <a:xfrm>
            <a:off x="1955420"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63" name="object 263"/>
          <p:cNvSpPr/>
          <p:nvPr/>
        </p:nvSpPr>
        <p:spPr>
          <a:xfrm>
            <a:off x="1955420"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64" name="object 264"/>
          <p:cNvSpPr/>
          <p:nvPr/>
        </p:nvSpPr>
        <p:spPr>
          <a:xfrm>
            <a:off x="1955420"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65" name="object 265"/>
          <p:cNvSpPr/>
          <p:nvPr/>
        </p:nvSpPr>
        <p:spPr>
          <a:xfrm>
            <a:off x="1955420"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66" name="object 266"/>
          <p:cNvSpPr/>
          <p:nvPr/>
        </p:nvSpPr>
        <p:spPr>
          <a:xfrm>
            <a:off x="1955420"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67" name="object 267"/>
          <p:cNvSpPr/>
          <p:nvPr/>
        </p:nvSpPr>
        <p:spPr>
          <a:xfrm>
            <a:off x="1955420"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68" name="object 268"/>
          <p:cNvSpPr/>
          <p:nvPr/>
        </p:nvSpPr>
        <p:spPr>
          <a:xfrm>
            <a:off x="1975523"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69" name="object 269"/>
          <p:cNvSpPr/>
          <p:nvPr/>
        </p:nvSpPr>
        <p:spPr>
          <a:xfrm>
            <a:off x="1975523"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70" name="object 270"/>
          <p:cNvSpPr/>
          <p:nvPr/>
        </p:nvSpPr>
        <p:spPr>
          <a:xfrm>
            <a:off x="1975523"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71" name="object 271"/>
          <p:cNvSpPr/>
          <p:nvPr/>
        </p:nvSpPr>
        <p:spPr>
          <a:xfrm>
            <a:off x="1975523"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72" name="object 272"/>
          <p:cNvSpPr/>
          <p:nvPr/>
        </p:nvSpPr>
        <p:spPr>
          <a:xfrm>
            <a:off x="1975523" y="257856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73" name="object 273"/>
          <p:cNvSpPr/>
          <p:nvPr/>
        </p:nvSpPr>
        <p:spPr>
          <a:xfrm>
            <a:off x="1975523"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74" name="object 274"/>
          <p:cNvSpPr/>
          <p:nvPr/>
        </p:nvSpPr>
        <p:spPr>
          <a:xfrm>
            <a:off x="1975523"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75" name="object 275"/>
          <p:cNvSpPr/>
          <p:nvPr/>
        </p:nvSpPr>
        <p:spPr>
          <a:xfrm>
            <a:off x="1975523"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76" name="object 276"/>
          <p:cNvSpPr/>
          <p:nvPr/>
        </p:nvSpPr>
        <p:spPr>
          <a:xfrm>
            <a:off x="1975523"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77" name="object 277"/>
          <p:cNvSpPr/>
          <p:nvPr/>
        </p:nvSpPr>
        <p:spPr>
          <a:xfrm>
            <a:off x="1975523"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78" name="object 278"/>
          <p:cNvSpPr/>
          <p:nvPr/>
        </p:nvSpPr>
        <p:spPr>
          <a:xfrm>
            <a:off x="1975523"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79" name="object 279"/>
          <p:cNvSpPr/>
          <p:nvPr/>
        </p:nvSpPr>
        <p:spPr>
          <a:xfrm>
            <a:off x="1975523"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80" name="object 280"/>
          <p:cNvSpPr/>
          <p:nvPr/>
        </p:nvSpPr>
        <p:spPr>
          <a:xfrm>
            <a:off x="1975523" y="229719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81" name="object 281"/>
          <p:cNvSpPr/>
          <p:nvPr/>
        </p:nvSpPr>
        <p:spPr>
          <a:xfrm>
            <a:off x="1975523"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82" name="object 282"/>
          <p:cNvSpPr/>
          <p:nvPr/>
        </p:nvSpPr>
        <p:spPr>
          <a:xfrm>
            <a:off x="1975523"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83" name="object 283"/>
          <p:cNvSpPr/>
          <p:nvPr/>
        </p:nvSpPr>
        <p:spPr>
          <a:xfrm>
            <a:off x="2005293" y="2578561"/>
            <a:ext cx="578" cy="866"/>
          </a:xfrm>
          <a:custGeom>
            <a:avLst/>
            <a:gdLst/>
            <a:ahLst/>
            <a:cxnLst/>
            <a:rect l="l" t="t" r="r" b="b"/>
            <a:pathLst>
              <a:path w="1270" h="1904">
                <a:moveTo>
                  <a:pt x="827" y="0"/>
                </a:moveTo>
                <a:lnTo>
                  <a:pt x="0" y="0"/>
                </a:lnTo>
                <a:lnTo>
                  <a:pt x="827" y="1465"/>
                </a:lnTo>
                <a:lnTo>
                  <a:pt x="827" y="0"/>
                </a:lnTo>
                <a:close/>
              </a:path>
            </a:pathLst>
          </a:custGeom>
          <a:solidFill>
            <a:srgbClr val="1F8083"/>
          </a:solidFill>
        </p:spPr>
        <p:txBody>
          <a:bodyPr wrap="square" lIns="0" tIns="0" rIns="0" bIns="0" rtlCol="0"/>
          <a:lstStyle/>
          <a:p>
            <a:endParaRPr/>
          </a:p>
        </p:txBody>
      </p:sp>
      <p:sp>
        <p:nvSpPr>
          <p:cNvPr id="284" name="object 284"/>
          <p:cNvSpPr/>
          <p:nvPr/>
        </p:nvSpPr>
        <p:spPr>
          <a:xfrm>
            <a:off x="1995621"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85" name="object 285"/>
          <p:cNvSpPr/>
          <p:nvPr/>
        </p:nvSpPr>
        <p:spPr>
          <a:xfrm>
            <a:off x="1995621"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86" name="object 286"/>
          <p:cNvSpPr/>
          <p:nvPr/>
        </p:nvSpPr>
        <p:spPr>
          <a:xfrm>
            <a:off x="1995621"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87" name="object 287"/>
          <p:cNvSpPr/>
          <p:nvPr/>
        </p:nvSpPr>
        <p:spPr>
          <a:xfrm>
            <a:off x="1995620" y="2284136"/>
            <a:ext cx="10109" cy="3177"/>
          </a:xfrm>
          <a:custGeom>
            <a:avLst/>
            <a:gdLst/>
            <a:ahLst/>
            <a:cxnLst/>
            <a:rect l="l" t="t" r="r" b="b"/>
            <a:pathLst>
              <a:path w="22225" h="6985">
                <a:moveTo>
                  <a:pt x="22093" y="0"/>
                </a:moveTo>
                <a:lnTo>
                  <a:pt x="8282" y="0"/>
                </a:lnTo>
                <a:lnTo>
                  <a:pt x="0" y="3476"/>
                </a:lnTo>
                <a:lnTo>
                  <a:pt x="0" y="6617"/>
                </a:lnTo>
                <a:lnTo>
                  <a:pt x="22093" y="6617"/>
                </a:lnTo>
                <a:lnTo>
                  <a:pt x="22093" y="0"/>
                </a:lnTo>
                <a:close/>
              </a:path>
            </a:pathLst>
          </a:custGeom>
          <a:solidFill>
            <a:srgbClr val="1F8083"/>
          </a:solidFill>
        </p:spPr>
        <p:txBody>
          <a:bodyPr wrap="square" lIns="0" tIns="0" rIns="0" bIns="0" rtlCol="0"/>
          <a:lstStyle/>
          <a:p>
            <a:endParaRPr/>
          </a:p>
        </p:txBody>
      </p:sp>
      <p:sp>
        <p:nvSpPr>
          <p:cNvPr id="288" name="object 288"/>
          <p:cNvSpPr/>
          <p:nvPr/>
        </p:nvSpPr>
        <p:spPr>
          <a:xfrm>
            <a:off x="1995621"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89" name="object 289"/>
          <p:cNvSpPr/>
          <p:nvPr/>
        </p:nvSpPr>
        <p:spPr>
          <a:xfrm>
            <a:off x="1995621"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90" name="object 290"/>
          <p:cNvSpPr/>
          <p:nvPr/>
        </p:nvSpPr>
        <p:spPr>
          <a:xfrm>
            <a:off x="1995621"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91" name="object 291"/>
          <p:cNvSpPr/>
          <p:nvPr/>
        </p:nvSpPr>
        <p:spPr>
          <a:xfrm>
            <a:off x="1995621"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92" name="object 292"/>
          <p:cNvSpPr/>
          <p:nvPr/>
        </p:nvSpPr>
        <p:spPr>
          <a:xfrm>
            <a:off x="1995621"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93" name="object 293"/>
          <p:cNvSpPr/>
          <p:nvPr/>
        </p:nvSpPr>
        <p:spPr>
          <a:xfrm>
            <a:off x="1995621" y="229719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94" name="object 294"/>
          <p:cNvSpPr/>
          <p:nvPr/>
        </p:nvSpPr>
        <p:spPr>
          <a:xfrm>
            <a:off x="1995621"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95" name="object 295"/>
          <p:cNvSpPr/>
          <p:nvPr/>
        </p:nvSpPr>
        <p:spPr>
          <a:xfrm>
            <a:off x="1995621"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96" name="object 296"/>
          <p:cNvSpPr/>
          <p:nvPr/>
        </p:nvSpPr>
        <p:spPr>
          <a:xfrm>
            <a:off x="1995621"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97" name="object 297"/>
          <p:cNvSpPr/>
          <p:nvPr/>
        </p:nvSpPr>
        <p:spPr>
          <a:xfrm>
            <a:off x="1995621"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298" name="object 298"/>
          <p:cNvSpPr/>
          <p:nvPr/>
        </p:nvSpPr>
        <p:spPr>
          <a:xfrm>
            <a:off x="1995621"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299" name="object 299"/>
          <p:cNvSpPr/>
          <p:nvPr/>
        </p:nvSpPr>
        <p:spPr>
          <a:xfrm>
            <a:off x="2015719"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00" name="object 300"/>
          <p:cNvSpPr/>
          <p:nvPr/>
        </p:nvSpPr>
        <p:spPr>
          <a:xfrm>
            <a:off x="2015719"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01" name="object 301"/>
          <p:cNvSpPr/>
          <p:nvPr/>
        </p:nvSpPr>
        <p:spPr>
          <a:xfrm>
            <a:off x="2015719" y="257856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02" name="object 302"/>
          <p:cNvSpPr/>
          <p:nvPr/>
        </p:nvSpPr>
        <p:spPr>
          <a:xfrm>
            <a:off x="2015719"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03" name="object 303"/>
          <p:cNvSpPr/>
          <p:nvPr/>
        </p:nvSpPr>
        <p:spPr>
          <a:xfrm>
            <a:off x="2015719"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04" name="object 304"/>
          <p:cNvSpPr/>
          <p:nvPr/>
        </p:nvSpPr>
        <p:spPr>
          <a:xfrm>
            <a:off x="2015719" y="2284135"/>
            <a:ext cx="10109" cy="3177"/>
          </a:xfrm>
          <a:custGeom>
            <a:avLst/>
            <a:gdLst/>
            <a:ahLst/>
            <a:cxnLst/>
            <a:rect l="l" t="t" r="r" b="b"/>
            <a:pathLst>
              <a:path w="22225" h="6985">
                <a:moveTo>
                  <a:pt x="0" y="6617"/>
                </a:moveTo>
                <a:lnTo>
                  <a:pt x="22093" y="6617"/>
                </a:lnTo>
                <a:lnTo>
                  <a:pt x="22093" y="0"/>
                </a:lnTo>
                <a:lnTo>
                  <a:pt x="0" y="0"/>
                </a:lnTo>
                <a:lnTo>
                  <a:pt x="0" y="6617"/>
                </a:lnTo>
                <a:close/>
              </a:path>
            </a:pathLst>
          </a:custGeom>
          <a:solidFill>
            <a:srgbClr val="1F8083"/>
          </a:solidFill>
        </p:spPr>
        <p:txBody>
          <a:bodyPr wrap="square" lIns="0" tIns="0" rIns="0" bIns="0" rtlCol="0"/>
          <a:lstStyle/>
          <a:p>
            <a:endParaRPr/>
          </a:p>
        </p:txBody>
      </p:sp>
      <p:sp>
        <p:nvSpPr>
          <p:cNvPr id="305" name="object 305"/>
          <p:cNvSpPr/>
          <p:nvPr/>
        </p:nvSpPr>
        <p:spPr>
          <a:xfrm>
            <a:off x="2015719"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06" name="object 306"/>
          <p:cNvSpPr/>
          <p:nvPr/>
        </p:nvSpPr>
        <p:spPr>
          <a:xfrm>
            <a:off x="2015719"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07" name="object 307"/>
          <p:cNvSpPr/>
          <p:nvPr/>
        </p:nvSpPr>
        <p:spPr>
          <a:xfrm>
            <a:off x="2015719"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08" name="object 308"/>
          <p:cNvSpPr/>
          <p:nvPr/>
        </p:nvSpPr>
        <p:spPr>
          <a:xfrm>
            <a:off x="2015719"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09" name="object 309"/>
          <p:cNvSpPr/>
          <p:nvPr/>
        </p:nvSpPr>
        <p:spPr>
          <a:xfrm>
            <a:off x="2015719"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10" name="object 310"/>
          <p:cNvSpPr/>
          <p:nvPr/>
        </p:nvSpPr>
        <p:spPr>
          <a:xfrm>
            <a:off x="2015719"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11" name="object 311"/>
          <p:cNvSpPr/>
          <p:nvPr/>
        </p:nvSpPr>
        <p:spPr>
          <a:xfrm>
            <a:off x="2015719"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12" name="object 312"/>
          <p:cNvSpPr/>
          <p:nvPr/>
        </p:nvSpPr>
        <p:spPr>
          <a:xfrm>
            <a:off x="2015719"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13" name="object 313"/>
          <p:cNvSpPr/>
          <p:nvPr/>
        </p:nvSpPr>
        <p:spPr>
          <a:xfrm>
            <a:off x="2015719" y="229719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14" name="object 314"/>
          <p:cNvSpPr/>
          <p:nvPr/>
        </p:nvSpPr>
        <p:spPr>
          <a:xfrm>
            <a:off x="2015719"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15" name="object 315"/>
          <p:cNvSpPr/>
          <p:nvPr/>
        </p:nvSpPr>
        <p:spPr>
          <a:xfrm>
            <a:off x="2035821"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16" name="object 316"/>
          <p:cNvSpPr/>
          <p:nvPr/>
        </p:nvSpPr>
        <p:spPr>
          <a:xfrm>
            <a:off x="2035821"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17" name="object 317"/>
          <p:cNvSpPr/>
          <p:nvPr/>
        </p:nvSpPr>
        <p:spPr>
          <a:xfrm>
            <a:off x="2035821"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18" name="object 318"/>
          <p:cNvSpPr/>
          <p:nvPr/>
        </p:nvSpPr>
        <p:spPr>
          <a:xfrm>
            <a:off x="2035819" y="2284136"/>
            <a:ext cx="10109" cy="3177"/>
          </a:xfrm>
          <a:custGeom>
            <a:avLst/>
            <a:gdLst/>
            <a:ahLst/>
            <a:cxnLst/>
            <a:rect l="l" t="t" r="r" b="b"/>
            <a:pathLst>
              <a:path w="22225" h="6985">
                <a:moveTo>
                  <a:pt x="8889" y="0"/>
                </a:moveTo>
                <a:lnTo>
                  <a:pt x="0" y="0"/>
                </a:lnTo>
                <a:lnTo>
                  <a:pt x="0" y="6617"/>
                </a:lnTo>
                <a:lnTo>
                  <a:pt x="22093" y="6617"/>
                </a:lnTo>
                <a:lnTo>
                  <a:pt x="22093" y="4963"/>
                </a:lnTo>
                <a:lnTo>
                  <a:pt x="8889" y="0"/>
                </a:lnTo>
                <a:close/>
              </a:path>
            </a:pathLst>
          </a:custGeom>
          <a:solidFill>
            <a:srgbClr val="1F8083"/>
          </a:solidFill>
        </p:spPr>
        <p:txBody>
          <a:bodyPr wrap="square" lIns="0" tIns="0" rIns="0" bIns="0" rtlCol="0"/>
          <a:lstStyle/>
          <a:p>
            <a:endParaRPr/>
          </a:p>
        </p:txBody>
      </p:sp>
      <p:sp>
        <p:nvSpPr>
          <p:cNvPr id="319" name="object 319"/>
          <p:cNvSpPr/>
          <p:nvPr/>
        </p:nvSpPr>
        <p:spPr>
          <a:xfrm>
            <a:off x="2035821"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20" name="object 320"/>
          <p:cNvSpPr/>
          <p:nvPr/>
        </p:nvSpPr>
        <p:spPr>
          <a:xfrm>
            <a:off x="2035821"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21" name="object 321"/>
          <p:cNvSpPr/>
          <p:nvPr/>
        </p:nvSpPr>
        <p:spPr>
          <a:xfrm>
            <a:off x="2035821" y="229719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22" name="object 322"/>
          <p:cNvSpPr/>
          <p:nvPr/>
        </p:nvSpPr>
        <p:spPr>
          <a:xfrm>
            <a:off x="2035821"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23" name="object 323"/>
          <p:cNvSpPr/>
          <p:nvPr/>
        </p:nvSpPr>
        <p:spPr>
          <a:xfrm>
            <a:off x="2035821"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24" name="object 324"/>
          <p:cNvSpPr/>
          <p:nvPr/>
        </p:nvSpPr>
        <p:spPr>
          <a:xfrm>
            <a:off x="2035821" y="257856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25" name="object 325"/>
          <p:cNvSpPr/>
          <p:nvPr/>
        </p:nvSpPr>
        <p:spPr>
          <a:xfrm>
            <a:off x="2035821"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26" name="object 326"/>
          <p:cNvSpPr/>
          <p:nvPr/>
        </p:nvSpPr>
        <p:spPr>
          <a:xfrm>
            <a:off x="2035821"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27" name="object 327"/>
          <p:cNvSpPr/>
          <p:nvPr/>
        </p:nvSpPr>
        <p:spPr>
          <a:xfrm>
            <a:off x="2035821"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28" name="object 328"/>
          <p:cNvSpPr/>
          <p:nvPr/>
        </p:nvSpPr>
        <p:spPr>
          <a:xfrm>
            <a:off x="2035821"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29" name="object 329"/>
          <p:cNvSpPr/>
          <p:nvPr/>
        </p:nvSpPr>
        <p:spPr>
          <a:xfrm>
            <a:off x="2035821"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30" name="object 330"/>
          <p:cNvSpPr/>
          <p:nvPr/>
        </p:nvSpPr>
        <p:spPr>
          <a:xfrm>
            <a:off x="2035821"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31" name="object 331"/>
          <p:cNvSpPr/>
          <p:nvPr/>
        </p:nvSpPr>
        <p:spPr>
          <a:xfrm>
            <a:off x="2055918" y="2578564"/>
            <a:ext cx="10109" cy="10108"/>
          </a:xfrm>
          <a:custGeom>
            <a:avLst/>
            <a:gdLst/>
            <a:ahLst/>
            <a:cxnLst/>
            <a:rect l="l" t="t" r="r" b="b"/>
            <a:pathLst>
              <a:path w="22225" h="22225">
                <a:moveTo>
                  <a:pt x="22093" y="0"/>
                </a:moveTo>
                <a:lnTo>
                  <a:pt x="0" y="0"/>
                </a:lnTo>
                <a:lnTo>
                  <a:pt x="0" y="22093"/>
                </a:lnTo>
                <a:lnTo>
                  <a:pt x="6963" y="22093"/>
                </a:lnTo>
                <a:lnTo>
                  <a:pt x="12041" y="20229"/>
                </a:lnTo>
                <a:lnTo>
                  <a:pt x="17098" y="18187"/>
                </a:lnTo>
                <a:lnTo>
                  <a:pt x="22093" y="15852"/>
                </a:lnTo>
                <a:lnTo>
                  <a:pt x="22093" y="0"/>
                </a:lnTo>
                <a:close/>
              </a:path>
            </a:pathLst>
          </a:custGeom>
          <a:solidFill>
            <a:srgbClr val="1F8083"/>
          </a:solidFill>
        </p:spPr>
        <p:txBody>
          <a:bodyPr wrap="square" lIns="0" tIns="0" rIns="0" bIns="0" rtlCol="0"/>
          <a:lstStyle/>
          <a:p>
            <a:endParaRPr/>
          </a:p>
        </p:txBody>
      </p:sp>
      <p:sp>
        <p:nvSpPr>
          <p:cNvPr id="332" name="object 332"/>
          <p:cNvSpPr/>
          <p:nvPr/>
        </p:nvSpPr>
        <p:spPr>
          <a:xfrm>
            <a:off x="2055918" y="229719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33" name="object 333"/>
          <p:cNvSpPr/>
          <p:nvPr/>
        </p:nvSpPr>
        <p:spPr>
          <a:xfrm>
            <a:off x="2055918"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34" name="object 334"/>
          <p:cNvSpPr/>
          <p:nvPr/>
        </p:nvSpPr>
        <p:spPr>
          <a:xfrm>
            <a:off x="2055918"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35" name="object 335"/>
          <p:cNvSpPr/>
          <p:nvPr/>
        </p:nvSpPr>
        <p:spPr>
          <a:xfrm>
            <a:off x="2055918"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36" name="object 336"/>
          <p:cNvSpPr/>
          <p:nvPr/>
        </p:nvSpPr>
        <p:spPr>
          <a:xfrm>
            <a:off x="2055918"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37" name="object 337"/>
          <p:cNvSpPr/>
          <p:nvPr/>
        </p:nvSpPr>
        <p:spPr>
          <a:xfrm>
            <a:off x="2055918"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38" name="object 338"/>
          <p:cNvSpPr/>
          <p:nvPr/>
        </p:nvSpPr>
        <p:spPr>
          <a:xfrm>
            <a:off x="2055918"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39" name="object 339"/>
          <p:cNvSpPr/>
          <p:nvPr/>
        </p:nvSpPr>
        <p:spPr>
          <a:xfrm>
            <a:off x="2055918"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40" name="object 340"/>
          <p:cNvSpPr/>
          <p:nvPr/>
        </p:nvSpPr>
        <p:spPr>
          <a:xfrm>
            <a:off x="2055918"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41" name="object 341"/>
          <p:cNvSpPr/>
          <p:nvPr/>
        </p:nvSpPr>
        <p:spPr>
          <a:xfrm>
            <a:off x="2055918"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42" name="object 342"/>
          <p:cNvSpPr/>
          <p:nvPr/>
        </p:nvSpPr>
        <p:spPr>
          <a:xfrm>
            <a:off x="2055918"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43" name="object 343"/>
          <p:cNvSpPr/>
          <p:nvPr/>
        </p:nvSpPr>
        <p:spPr>
          <a:xfrm>
            <a:off x="2055918"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44" name="object 344"/>
          <p:cNvSpPr/>
          <p:nvPr/>
        </p:nvSpPr>
        <p:spPr>
          <a:xfrm>
            <a:off x="2055918"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45" name="object 345"/>
          <p:cNvSpPr/>
          <p:nvPr/>
        </p:nvSpPr>
        <p:spPr>
          <a:xfrm>
            <a:off x="2055918"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46" name="object 346"/>
          <p:cNvSpPr/>
          <p:nvPr/>
        </p:nvSpPr>
        <p:spPr>
          <a:xfrm>
            <a:off x="2076017"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47" name="object 347"/>
          <p:cNvSpPr/>
          <p:nvPr/>
        </p:nvSpPr>
        <p:spPr>
          <a:xfrm>
            <a:off x="2076017" y="2578561"/>
            <a:ext cx="2599" cy="1733"/>
          </a:xfrm>
          <a:custGeom>
            <a:avLst/>
            <a:gdLst/>
            <a:ahLst/>
            <a:cxnLst/>
            <a:rect l="l" t="t" r="r" b="b"/>
            <a:pathLst>
              <a:path w="5714" h="3810">
                <a:moveTo>
                  <a:pt x="5162" y="0"/>
                </a:moveTo>
                <a:lnTo>
                  <a:pt x="0" y="0"/>
                </a:lnTo>
                <a:lnTo>
                  <a:pt x="0" y="3518"/>
                </a:lnTo>
                <a:lnTo>
                  <a:pt x="1738" y="2387"/>
                </a:lnTo>
                <a:lnTo>
                  <a:pt x="5162" y="0"/>
                </a:lnTo>
                <a:close/>
              </a:path>
            </a:pathLst>
          </a:custGeom>
          <a:solidFill>
            <a:srgbClr val="1F8083"/>
          </a:solidFill>
        </p:spPr>
        <p:txBody>
          <a:bodyPr wrap="square" lIns="0" tIns="0" rIns="0" bIns="0" rtlCol="0"/>
          <a:lstStyle/>
          <a:p>
            <a:endParaRPr/>
          </a:p>
        </p:txBody>
      </p:sp>
      <p:sp>
        <p:nvSpPr>
          <p:cNvPr id="348" name="object 348"/>
          <p:cNvSpPr/>
          <p:nvPr/>
        </p:nvSpPr>
        <p:spPr>
          <a:xfrm>
            <a:off x="2076017"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49" name="object 349"/>
          <p:cNvSpPr/>
          <p:nvPr/>
        </p:nvSpPr>
        <p:spPr>
          <a:xfrm>
            <a:off x="2076017" y="2538367"/>
            <a:ext cx="10109" cy="10108"/>
          </a:xfrm>
          <a:custGeom>
            <a:avLst/>
            <a:gdLst/>
            <a:ahLst/>
            <a:cxnLst/>
            <a:rect l="l" t="t" r="r" b="b"/>
            <a:pathLst>
              <a:path w="22225" h="22225">
                <a:moveTo>
                  <a:pt x="21727" y="0"/>
                </a:moveTo>
                <a:lnTo>
                  <a:pt x="0" y="0"/>
                </a:lnTo>
                <a:lnTo>
                  <a:pt x="0" y="22083"/>
                </a:lnTo>
                <a:lnTo>
                  <a:pt x="22093" y="22083"/>
                </a:lnTo>
                <a:lnTo>
                  <a:pt x="22093" y="8586"/>
                </a:lnTo>
                <a:lnTo>
                  <a:pt x="21727" y="0"/>
                </a:lnTo>
                <a:close/>
              </a:path>
            </a:pathLst>
          </a:custGeom>
          <a:solidFill>
            <a:srgbClr val="1F8083"/>
          </a:solidFill>
        </p:spPr>
        <p:txBody>
          <a:bodyPr wrap="square" lIns="0" tIns="0" rIns="0" bIns="0" rtlCol="0"/>
          <a:lstStyle/>
          <a:p>
            <a:endParaRPr/>
          </a:p>
        </p:txBody>
      </p:sp>
      <p:sp>
        <p:nvSpPr>
          <p:cNvPr id="350" name="object 350"/>
          <p:cNvSpPr/>
          <p:nvPr/>
        </p:nvSpPr>
        <p:spPr>
          <a:xfrm>
            <a:off x="2076017"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51" name="object 351"/>
          <p:cNvSpPr/>
          <p:nvPr/>
        </p:nvSpPr>
        <p:spPr>
          <a:xfrm>
            <a:off x="2083486" y="2397680"/>
            <a:ext cx="2599" cy="10108"/>
          </a:xfrm>
          <a:custGeom>
            <a:avLst/>
            <a:gdLst/>
            <a:ahLst/>
            <a:cxnLst/>
            <a:rect l="l" t="t" r="r" b="b"/>
            <a:pathLst>
              <a:path w="5714" h="22225">
                <a:moveTo>
                  <a:pt x="5675" y="0"/>
                </a:moveTo>
                <a:lnTo>
                  <a:pt x="0" y="0"/>
                </a:lnTo>
                <a:lnTo>
                  <a:pt x="2303" y="22093"/>
                </a:lnTo>
                <a:lnTo>
                  <a:pt x="5675" y="22093"/>
                </a:lnTo>
                <a:lnTo>
                  <a:pt x="5675" y="0"/>
                </a:lnTo>
                <a:close/>
              </a:path>
            </a:pathLst>
          </a:custGeom>
          <a:solidFill>
            <a:srgbClr val="1F8083"/>
          </a:solidFill>
        </p:spPr>
        <p:txBody>
          <a:bodyPr wrap="square" lIns="0" tIns="0" rIns="0" bIns="0" rtlCol="0"/>
          <a:lstStyle/>
          <a:p>
            <a:endParaRPr/>
          </a:p>
        </p:txBody>
      </p:sp>
      <p:sp>
        <p:nvSpPr>
          <p:cNvPr id="352" name="object 352"/>
          <p:cNvSpPr/>
          <p:nvPr/>
        </p:nvSpPr>
        <p:spPr>
          <a:xfrm>
            <a:off x="2076017" y="2297705"/>
            <a:ext cx="10109" cy="9819"/>
          </a:xfrm>
          <a:custGeom>
            <a:avLst/>
            <a:gdLst/>
            <a:ahLst/>
            <a:cxnLst/>
            <a:rect l="l" t="t" r="r" b="b"/>
            <a:pathLst>
              <a:path w="22225" h="21589">
                <a:moveTo>
                  <a:pt x="0" y="0"/>
                </a:moveTo>
                <a:lnTo>
                  <a:pt x="0" y="20962"/>
                </a:lnTo>
                <a:lnTo>
                  <a:pt x="22093" y="20962"/>
                </a:lnTo>
                <a:lnTo>
                  <a:pt x="22093" y="8292"/>
                </a:lnTo>
                <a:lnTo>
                  <a:pt x="0" y="0"/>
                </a:lnTo>
                <a:close/>
              </a:path>
            </a:pathLst>
          </a:custGeom>
          <a:solidFill>
            <a:srgbClr val="1F8083"/>
          </a:solidFill>
        </p:spPr>
        <p:txBody>
          <a:bodyPr wrap="square" lIns="0" tIns="0" rIns="0" bIns="0" rtlCol="0"/>
          <a:lstStyle/>
          <a:p>
            <a:endParaRPr/>
          </a:p>
        </p:txBody>
      </p:sp>
      <p:sp>
        <p:nvSpPr>
          <p:cNvPr id="353" name="object 353"/>
          <p:cNvSpPr/>
          <p:nvPr/>
        </p:nvSpPr>
        <p:spPr>
          <a:xfrm>
            <a:off x="2085581" y="2417776"/>
            <a:ext cx="578" cy="4910"/>
          </a:xfrm>
          <a:custGeom>
            <a:avLst/>
            <a:gdLst/>
            <a:ahLst/>
            <a:cxnLst/>
            <a:rect l="l" t="t" r="r" b="b"/>
            <a:pathLst>
              <a:path w="1270" h="10795">
                <a:moveTo>
                  <a:pt x="1068" y="0"/>
                </a:moveTo>
                <a:lnTo>
                  <a:pt x="0" y="0"/>
                </a:lnTo>
                <a:lnTo>
                  <a:pt x="1068" y="10188"/>
                </a:lnTo>
                <a:lnTo>
                  <a:pt x="1068" y="0"/>
                </a:lnTo>
                <a:close/>
              </a:path>
            </a:pathLst>
          </a:custGeom>
          <a:solidFill>
            <a:srgbClr val="1F8083"/>
          </a:solidFill>
        </p:spPr>
        <p:txBody>
          <a:bodyPr wrap="square" lIns="0" tIns="0" rIns="0" bIns="0" rtlCol="0"/>
          <a:lstStyle/>
          <a:p>
            <a:endParaRPr/>
          </a:p>
        </p:txBody>
      </p:sp>
      <p:sp>
        <p:nvSpPr>
          <p:cNvPr id="354" name="object 354"/>
          <p:cNvSpPr/>
          <p:nvPr/>
        </p:nvSpPr>
        <p:spPr>
          <a:xfrm>
            <a:off x="2076017" y="2397680"/>
            <a:ext cx="6354" cy="10108"/>
          </a:xfrm>
          <a:custGeom>
            <a:avLst/>
            <a:gdLst/>
            <a:ahLst/>
            <a:cxnLst/>
            <a:rect l="l" t="t" r="r" b="b"/>
            <a:pathLst>
              <a:path w="13970" h="22225">
                <a:moveTo>
                  <a:pt x="13664" y="0"/>
                </a:moveTo>
                <a:lnTo>
                  <a:pt x="0" y="0"/>
                </a:lnTo>
                <a:lnTo>
                  <a:pt x="0" y="22093"/>
                </a:lnTo>
                <a:lnTo>
                  <a:pt x="12952" y="22093"/>
                </a:lnTo>
                <a:lnTo>
                  <a:pt x="13664" y="0"/>
                </a:lnTo>
                <a:close/>
              </a:path>
            </a:pathLst>
          </a:custGeom>
          <a:solidFill>
            <a:srgbClr val="1F8083"/>
          </a:solidFill>
        </p:spPr>
        <p:txBody>
          <a:bodyPr wrap="square" lIns="0" tIns="0" rIns="0" bIns="0" rtlCol="0"/>
          <a:lstStyle/>
          <a:p>
            <a:endParaRPr/>
          </a:p>
        </p:txBody>
      </p:sp>
      <p:sp>
        <p:nvSpPr>
          <p:cNvPr id="355" name="object 355"/>
          <p:cNvSpPr/>
          <p:nvPr/>
        </p:nvSpPr>
        <p:spPr>
          <a:xfrm>
            <a:off x="2076017" y="2558464"/>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56" name="object 356"/>
          <p:cNvSpPr/>
          <p:nvPr/>
        </p:nvSpPr>
        <p:spPr>
          <a:xfrm>
            <a:off x="2076017" y="2417780"/>
            <a:ext cx="5776" cy="10108"/>
          </a:xfrm>
          <a:custGeom>
            <a:avLst/>
            <a:gdLst/>
            <a:ahLst/>
            <a:cxnLst/>
            <a:rect l="l" t="t" r="r" b="b"/>
            <a:pathLst>
              <a:path w="12700" h="22225">
                <a:moveTo>
                  <a:pt x="12240" y="0"/>
                </a:moveTo>
                <a:lnTo>
                  <a:pt x="0" y="0"/>
                </a:lnTo>
                <a:lnTo>
                  <a:pt x="0" y="22093"/>
                </a:lnTo>
                <a:lnTo>
                  <a:pt x="11517" y="22093"/>
                </a:lnTo>
                <a:lnTo>
                  <a:pt x="12240" y="0"/>
                </a:lnTo>
                <a:close/>
              </a:path>
            </a:pathLst>
          </a:custGeom>
          <a:solidFill>
            <a:srgbClr val="1F8083"/>
          </a:solidFill>
        </p:spPr>
        <p:txBody>
          <a:bodyPr wrap="square" lIns="0" tIns="0" rIns="0" bIns="0" rtlCol="0"/>
          <a:lstStyle/>
          <a:p>
            <a:endParaRPr/>
          </a:p>
        </p:txBody>
      </p:sp>
      <p:sp>
        <p:nvSpPr>
          <p:cNvPr id="357" name="object 357"/>
          <p:cNvSpPr/>
          <p:nvPr/>
        </p:nvSpPr>
        <p:spPr>
          <a:xfrm>
            <a:off x="2076018" y="2518267"/>
            <a:ext cx="9531" cy="10108"/>
          </a:xfrm>
          <a:custGeom>
            <a:avLst/>
            <a:gdLst/>
            <a:ahLst/>
            <a:cxnLst/>
            <a:rect l="l" t="t" r="r" b="b"/>
            <a:pathLst>
              <a:path w="20954" h="22225">
                <a:moveTo>
                  <a:pt x="18721" y="0"/>
                </a:moveTo>
                <a:lnTo>
                  <a:pt x="0" y="0"/>
                </a:lnTo>
                <a:lnTo>
                  <a:pt x="0" y="22093"/>
                </a:lnTo>
                <a:lnTo>
                  <a:pt x="20784" y="22093"/>
                </a:lnTo>
                <a:lnTo>
                  <a:pt x="20460" y="14407"/>
                </a:lnTo>
                <a:lnTo>
                  <a:pt x="20229" y="14407"/>
                </a:lnTo>
                <a:lnTo>
                  <a:pt x="18721" y="0"/>
                </a:lnTo>
                <a:close/>
              </a:path>
            </a:pathLst>
          </a:custGeom>
          <a:solidFill>
            <a:srgbClr val="1F8083"/>
          </a:solidFill>
        </p:spPr>
        <p:txBody>
          <a:bodyPr wrap="square" lIns="0" tIns="0" rIns="0" bIns="0" rtlCol="0"/>
          <a:lstStyle/>
          <a:p>
            <a:endParaRPr/>
          </a:p>
        </p:txBody>
      </p:sp>
      <p:sp>
        <p:nvSpPr>
          <p:cNvPr id="358" name="object 358"/>
          <p:cNvSpPr/>
          <p:nvPr/>
        </p:nvSpPr>
        <p:spPr>
          <a:xfrm>
            <a:off x="2076017" y="2457975"/>
            <a:ext cx="4332" cy="10108"/>
          </a:xfrm>
          <a:custGeom>
            <a:avLst/>
            <a:gdLst/>
            <a:ahLst/>
            <a:cxnLst/>
            <a:rect l="l" t="t" r="r" b="b"/>
            <a:pathLst>
              <a:path w="9525" h="22225">
                <a:moveTo>
                  <a:pt x="9371" y="0"/>
                </a:moveTo>
                <a:lnTo>
                  <a:pt x="0" y="0"/>
                </a:lnTo>
                <a:lnTo>
                  <a:pt x="0" y="22093"/>
                </a:lnTo>
                <a:lnTo>
                  <a:pt x="8659" y="22093"/>
                </a:lnTo>
                <a:lnTo>
                  <a:pt x="9371" y="0"/>
                </a:lnTo>
                <a:close/>
              </a:path>
            </a:pathLst>
          </a:custGeom>
          <a:solidFill>
            <a:srgbClr val="1F8083"/>
          </a:solidFill>
        </p:spPr>
        <p:txBody>
          <a:bodyPr wrap="square" lIns="0" tIns="0" rIns="0" bIns="0" rtlCol="0"/>
          <a:lstStyle/>
          <a:p>
            <a:endParaRPr/>
          </a:p>
        </p:txBody>
      </p:sp>
      <p:sp>
        <p:nvSpPr>
          <p:cNvPr id="359" name="object 359"/>
          <p:cNvSpPr/>
          <p:nvPr/>
        </p:nvSpPr>
        <p:spPr>
          <a:xfrm>
            <a:off x="2076017" y="2478073"/>
            <a:ext cx="5488" cy="10108"/>
          </a:xfrm>
          <a:custGeom>
            <a:avLst/>
            <a:gdLst/>
            <a:ahLst/>
            <a:cxnLst/>
            <a:rect l="l" t="t" r="r" b="b"/>
            <a:pathLst>
              <a:path w="12064" h="22225">
                <a:moveTo>
                  <a:pt x="9497" y="0"/>
                </a:moveTo>
                <a:lnTo>
                  <a:pt x="0" y="0"/>
                </a:lnTo>
                <a:lnTo>
                  <a:pt x="0" y="22083"/>
                </a:lnTo>
                <a:lnTo>
                  <a:pt x="11811" y="22083"/>
                </a:lnTo>
                <a:lnTo>
                  <a:pt x="9497" y="0"/>
                </a:lnTo>
                <a:close/>
              </a:path>
            </a:pathLst>
          </a:custGeom>
          <a:solidFill>
            <a:srgbClr val="1F8083"/>
          </a:solidFill>
        </p:spPr>
        <p:txBody>
          <a:bodyPr wrap="square" lIns="0" tIns="0" rIns="0" bIns="0" rtlCol="0"/>
          <a:lstStyle/>
          <a:p>
            <a:endParaRPr/>
          </a:p>
        </p:txBody>
      </p:sp>
      <p:sp>
        <p:nvSpPr>
          <p:cNvPr id="360" name="object 360"/>
          <p:cNvSpPr/>
          <p:nvPr/>
        </p:nvSpPr>
        <p:spPr>
          <a:xfrm>
            <a:off x="2076017" y="2498168"/>
            <a:ext cx="7509" cy="10108"/>
          </a:xfrm>
          <a:custGeom>
            <a:avLst/>
            <a:gdLst/>
            <a:ahLst/>
            <a:cxnLst/>
            <a:rect l="l" t="t" r="r" b="b"/>
            <a:pathLst>
              <a:path w="16510" h="22225">
                <a:moveTo>
                  <a:pt x="14114" y="0"/>
                </a:moveTo>
                <a:lnTo>
                  <a:pt x="0" y="0"/>
                </a:lnTo>
                <a:lnTo>
                  <a:pt x="0" y="22093"/>
                </a:lnTo>
                <a:lnTo>
                  <a:pt x="16418" y="22093"/>
                </a:lnTo>
                <a:lnTo>
                  <a:pt x="14114" y="0"/>
                </a:lnTo>
                <a:close/>
              </a:path>
            </a:pathLst>
          </a:custGeom>
          <a:solidFill>
            <a:srgbClr val="1F8083"/>
          </a:solidFill>
        </p:spPr>
        <p:txBody>
          <a:bodyPr wrap="square" lIns="0" tIns="0" rIns="0" bIns="0" rtlCol="0"/>
          <a:lstStyle/>
          <a:p>
            <a:endParaRPr/>
          </a:p>
        </p:txBody>
      </p:sp>
      <p:sp>
        <p:nvSpPr>
          <p:cNvPr id="361" name="object 361"/>
          <p:cNvSpPr/>
          <p:nvPr/>
        </p:nvSpPr>
        <p:spPr>
          <a:xfrm>
            <a:off x="2076016" y="2437880"/>
            <a:ext cx="5199" cy="10108"/>
          </a:xfrm>
          <a:custGeom>
            <a:avLst/>
            <a:gdLst/>
            <a:ahLst/>
            <a:cxnLst/>
            <a:rect l="l" t="t" r="r" b="b"/>
            <a:pathLst>
              <a:path w="11429" h="22225">
                <a:moveTo>
                  <a:pt x="10805" y="0"/>
                </a:moveTo>
                <a:lnTo>
                  <a:pt x="0" y="0"/>
                </a:lnTo>
                <a:lnTo>
                  <a:pt x="0" y="22083"/>
                </a:lnTo>
                <a:lnTo>
                  <a:pt x="10093" y="22083"/>
                </a:lnTo>
                <a:lnTo>
                  <a:pt x="10805" y="0"/>
                </a:lnTo>
                <a:close/>
              </a:path>
            </a:pathLst>
          </a:custGeom>
          <a:solidFill>
            <a:srgbClr val="1F8083"/>
          </a:solidFill>
        </p:spPr>
        <p:txBody>
          <a:bodyPr wrap="square" lIns="0" tIns="0" rIns="0" bIns="0" rtlCol="0"/>
          <a:lstStyle/>
          <a:p>
            <a:endParaRPr/>
          </a:p>
        </p:txBody>
      </p:sp>
      <p:sp>
        <p:nvSpPr>
          <p:cNvPr id="362" name="object 362"/>
          <p:cNvSpPr/>
          <p:nvPr/>
        </p:nvSpPr>
        <p:spPr>
          <a:xfrm>
            <a:off x="2076017"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63" name="object 363"/>
          <p:cNvSpPr/>
          <p:nvPr/>
        </p:nvSpPr>
        <p:spPr>
          <a:xfrm>
            <a:off x="2096114" y="235748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64" name="object 364"/>
          <p:cNvSpPr/>
          <p:nvPr/>
        </p:nvSpPr>
        <p:spPr>
          <a:xfrm>
            <a:off x="2096114" y="249817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65" name="object 365"/>
          <p:cNvSpPr/>
          <p:nvPr/>
        </p:nvSpPr>
        <p:spPr>
          <a:xfrm>
            <a:off x="2096114" y="241778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66" name="object 366"/>
          <p:cNvSpPr/>
          <p:nvPr/>
        </p:nvSpPr>
        <p:spPr>
          <a:xfrm>
            <a:off x="2096114" y="2437881"/>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67" name="object 367"/>
          <p:cNvSpPr/>
          <p:nvPr/>
        </p:nvSpPr>
        <p:spPr>
          <a:xfrm>
            <a:off x="2096114" y="2478074"/>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68" name="object 368"/>
          <p:cNvSpPr/>
          <p:nvPr/>
        </p:nvSpPr>
        <p:spPr>
          <a:xfrm>
            <a:off x="2096114" y="239767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69" name="object 369"/>
          <p:cNvSpPr/>
          <p:nvPr/>
        </p:nvSpPr>
        <p:spPr>
          <a:xfrm>
            <a:off x="2096114" y="2457973"/>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70" name="object 370"/>
          <p:cNvSpPr/>
          <p:nvPr/>
        </p:nvSpPr>
        <p:spPr>
          <a:xfrm>
            <a:off x="2097248" y="2518269"/>
            <a:ext cx="8953" cy="10108"/>
          </a:xfrm>
          <a:custGeom>
            <a:avLst/>
            <a:gdLst/>
            <a:ahLst/>
            <a:cxnLst/>
            <a:rect l="l" t="t" r="r" b="b"/>
            <a:pathLst>
              <a:path w="19685" h="22225">
                <a:moveTo>
                  <a:pt x="19611" y="0"/>
                </a:moveTo>
                <a:lnTo>
                  <a:pt x="0" y="0"/>
                </a:lnTo>
                <a:lnTo>
                  <a:pt x="2806" y="22093"/>
                </a:lnTo>
                <a:lnTo>
                  <a:pt x="19611" y="22093"/>
                </a:lnTo>
                <a:lnTo>
                  <a:pt x="19611" y="0"/>
                </a:lnTo>
                <a:close/>
              </a:path>
            </a:pathLst>
          </a:custGeom>
          <a:solidFill>
            <a:srgbClr val="1F8083"/>
          </a:solidFill>
        </p:spPr>
        <p:txBody>
          <a:bodyPr wrap="square" lIns="0" tIns="0" rIns="0" bIns="0" rtlCol="0"/>
          <a:lstStyle/>
          <a:p>
            <a:endParaRPr/>
          </a:p>
        </p:txBody>
      </p:sp>
      <p:sp>
        <p:nvSpPr>
          <p:cNvPr id="371" name="object 371"/>
          <p:cNvSpPr/>
          <p:nvPr/>
        </p:nvSpPr>
        <p:spPr>
          <a:xfrm>
            <a:off x="2096114" y="2337390"/>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72" name="object 372"/>
          <p:cNvSpPr/>
          <p:nvPr/>
        </p:nvSpPr>
        <p:spPr>
          <a:xfrm>
            <a:off x="2099800" y="2538369"/>
            <a:ext cx="6642" cy="10108"/>
          </a:xfrm>
          <a:custGeom>
            <a:avLst/>
            <a:gdLst/>
            <a:ahLst/>
            <a:cxnLst/>
            <a:rect l="l" t="t" r="r" b="b"/>
            <a:pathLst>
              <a:path w="14604" h="22225">
                <a:moveTo>
                  <a:pt x="13999" y="0"/>
                </a:moveTo>
                <a:lnTo>
                  <a:pt x="0" y="0"/>
                </a:lnTo>
                <a:lnTo>
                  <a:pt x="2806" y="22083"/>
                </a:lnTo>
                <a:lnTo>
                  <a:pt x="13999" y="22083"/>
                </a:lnTo>
                <a:lnTo>
                  <a:pt x="13999" y="0"/>
                </a:lnTo>
                <a:close/>
              </a:path>
            </a:pathLst>
          </a:custGeom>
          <a:solidFill>
            <a:srgbClr val="1F8083"/>
          </a:solidFill>
        </p:spPr>
        <p:txBody>
          <a:bodyPr wrap="square" lIns="0" tIns="0" rIns="0" bIns="0" rtlCol="0"/>
          <a:lstStyle/>
          <a:p>
            <a:endParaRPr/>
          </a:p>
        </p:txBody>
      </p:sp>
      <p:sp>
        <p:nvSpPr>
          <p:cNvPr id="373" name="object 373"/>
          <p:cNvSpPr/>
          <p:nvPr/>
        </p:nvSpPr>
        <p:spPr>
          <a:xfrm>
            <a:off x="2096114" y="231728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74" name="object 374"/>
          <p:cNvSpPr/>
          <p:nvPr/>
        </p:nvSpPr>
        <p:spPr>
          <a:xfrm>
            <a:off x="2096117" y="2305215"/>
            <a:ext cx="3755" cy="2022"/>
          </a:xfrm>
          <a:custGeom>
            <a:avLst/>
            <a:gdLst/>
            <a:ahLst/>
            <a:cxnLst/>
            <a:rect l="l" t="t" r="r" b="b"/>
            <a:pathLst>
              <a:path w="8254" h="4445">
                <a:moveTo>
                  <a:pt x="0" y="0"/>
                </a:moveTo>
                <a:lnTo>
                  <a:pt x="0" y="4450"/>
                </a:lnTo>
                <a:lnTo>
                  <a:pt x="7989" y="4450"/>
                </a:lnTo>
                <a:lnTo>
                  <a:pt x="5518" y="2879"/>
                </a:lnTo>
                <a:lnTo>
                  <a:pt x="2837" y="1403"/>
                </a:lnTo>
                <a:lnTo>
                  <a:pt x="0" y="0"/>
                </a:lnTo>
                <a:close/>
              </a:path>
            </a:pathLst>
          </a:custGeom>
          <a:solidFill>
            <a:srgbClr val="1F8083"/>
          </a:solidFill>
        </p:spPr>
        <p:txBody>
          <a:bodyPr wrap="square" lIns="0" tIns="0" rIns="0" bIns="0" rtlCol="0"/>
          <a:lstStyle/>
          <a:p>
            <a:endParaRPr/>
          </a:p>
        </p:txBody>
      </p:sp>
      <p:sp>
        <p:nvSpPr>
          <p:cNvPr id="375" name="object 375"/>
          <p:cNvSpPr/>
          <p:nvPr/>
        </p:nvSpPr>
        <p:spPr>
          <a:xfrm>
            <a:off x="2096114" y="237758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76" name="object 376"/>
          <p:cNvSpPr/>
          <p:nvPr/>
        </p:nvSpPr>
        <p:spPr>
          <a:xfrm>
            <a:off x="2102352" y="2558461"/>
            <a:ext cx="4043" cy="5487"/>
          </a:xfrm>
          <a:custGeom>
            <a:avLst/>
            <a:gdLst/>
            <a:ahLst/>
            <a:cxnLst/>
            <a:rect l="l" t="t" r="r" b="b"/>
            <a:pathLst>
              <a:path w="8889" h="12064">
                <a:moveTo>
                  <a:pt x="8387" y="0"/>
                </a:moveTo>
                <a:lnTo>
                  <a:pt x="0" y="0"/>
                </a:lnTo>
                <a:lnTo>
                  <a:pt x="1455" y="11444"/>
                </a:lnTo>
                <a:lnTo>
                  <a:pt x="8387" y="11538"/>
                </a:lnTo>
                <a:lnTo>
                  <a:pt x="8387" y="0"/>
                </a:lnTo>
                <a:close/>
              </a:path>
            </a:pathLst>
          </a:custGeom>
          <a:solidFill>
            <a:srgbClr val="1F8083"/>
          </a:solidFill>
        </p:spPr>
        <p:txBody>
          <a:bodyPr wrap="square" lIns="0" tIns="0" rIns="0" bIns="0" rtlCol="0"/>
          <a:lstStyle/>
          <a:p>
            <a:endParaRPr/>
          </a:p>
        </p:txBody>
      </p:sp>
      <p:sp>
        <p:nvSpPr>
          <p:cNvPr id="377" name="object 377"/>
          <p:cNvSpPr/>
          <p:nvPr/>
        </p:nvSpPr>
        <p:spPr>
          <a:xfrm>
            <a:off x="2116217" y="251827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F8083"/>
          </a:solidFill>
        </p:spPr>
        <p:txBody>
          <a:bodyPr wrap="square" lIns="0" tIns="0" rIns="0" bIns="0" rtlCol="0"/>
          <a:lstStyle/>
          <a:p>
            <a:endParaRPr/>
          </a:p>
        </p:txBody>
      </p:sp>
      <p:sp>
        <p:nvSpPr>
          <p:cNvPr id="378" name="object 378"/>
          <p:cNvSpPr/>
          <p:nvPr/>
        </p:nvSpPr>
        <p:spPr>
          <a:xfrm>
            <a:off x="2116215" y="2558460"/>
            <a:ext cx="10109" cy="5487"/>
          </a:xfrm>
          <a:custGeom>
            <a:avLst/>
            <a:gdLst/>
            <a:ahLst/>
            <a:cxnLst/>
            <a:rect l="l" t="t" r="r" b="b"/>
            <a:pathLst>
              <a:path w="22225" h="12064">
                <a:moveTo>
                  <a:pt x="22093" y="0"/>
                </a:moveTo>
                <a:lnTo>
                  <a:pt x="0" y="0"/>
                </a:lnTo>
                <a:lnTo>
                  <a:pt x="0" y="11528"/>
                </a:lnTo>
                <a:lnTo>
                  <a:pt x="22093" y="11434"/>
                </a:lnTo>
                <a:lnTo>
                  <a:pt x="22093" y="0"/>
                </a:lnTo>
                <a:close/>
              </a:path>
              <a:path w="22225" h="12064">
                <a:moveTo>
                  <a:pt x="22093" y="11434"/>
                </a:moveTo>
                <a:lnTo>
                  <a:pt x="15297" y="11434"/>
                </a:lnTo>
                <a:lnTo>
                  <a:pt x="22093" y="11444"/>
                </a:lnTo>
                <a:close/>
              </a:path>
            </a:pathLst>
          </a:custGeom>
          <a:solidFill>
            <a:srgbClr val="1F8083"/>
          </a:solidFill>
        </p:spPr>
        <p:txBody>
          <a:bodyPr wrap="square" lIns="0" tIns="0" rIns="0" bIns="0" rtlCol="0"/>
          <a:lstStyle/>
          <a:p>
            <a:endParaRPr/>
          </a:p>
        </p:txBody>
      </p:sp>
      <p:sp>
        <p:nvSpPr>
          <p:cNvPr id="379" name="object 379"/>
          <p:cNvSpPr/>
          <p:nvPr/>
        </p:nvSpPr>
        <p:spPr>
          <a:xfrm>
            <a:off x="2116215" y="2357484"/>
            <a:ext cx="1155" cy="10108"/>
          </a:xfrm>
          <a:custGeom>
            <a:avLst/>
            <a:gdLst/>
            <a:ahLst/>
            <a:cxnLst/>
            <a:rect l="l" t="t" r="r" b="b"/>
            <a:pathLst>
              <a:path w="2539" h="22225">
                <a:moveTo>
                  <a:pt x="607" y="0"/>
                </a:moveTo>
                <a:lnTo>
                  <a:pt x="0" y="0"/>
                </a:lnTo>
                <a:lnTo>
                  <a:pt x="0" y="22093"/>
                </a:lnTo>
                <a:lnTo>
                  <a:pt x="2293" y="22093"/>
                </a:lnTo>
                <a:lnTo>
                  <a:pt x="607" y="0"/>
                </a:lnTo>
                <a:close/>
              </a:path>
            </a:pathLst>
          </a:custGeom>
          <a:solidFill>
            <a:srgbClr val="1F8083"/>
          </a:solidFill>
        </p:spPr>
        <p:txBody>
          <a:bodyPr wrap="square" lIns="0" tIns="0" rIns="0" bIns="0" rtlCol="0"/>
          <a:lstStyle/>
          <a:p>
            <a:endParaRPr/>
          </a:p>
        </p:txBody>
      </p:sp>
      <p:sp>
        <p:nvSpPr>
          <p:cNvPr id="380" name="object 380"/>
          <p:cNvSpPr/>
          <p:nvPr/>
        </p:nvSpPr>
        <p:spPr>
          <a:xfrm>
            <a:off x="2116215" y="2478073"/>
            <a:ext cx="9242" cy="10108"/>
          </a:xfrm>
          <a:custGeom>
            <a:avLst/>
            <a:gdLst/>
            <a:ahLst/>
            <a:cxnLst/>
            <a:rect l="l" t="t" r="r" b="b"/>
            <a:pathLst>
              <a:path w="20320" h="22225">
                <a:moveTo>
                  <a:pt x="18931" y="0"/>
                </a:moveTo>
                <a:lnTo>
                  <a:pt x="0" y="0"/>
                </a:lnTo>
                <a:lnTo>
                  <a:pt x="0" y="22083"/>
                </a:lnTo>
                <a:lnTo>
                  <a:pt x="19737" y="22083"/>
                </a:lnTo>
                <a:lnTo>
                  <a:pt x="18931" y="0"/>
                </a:lnTo>
                <a:close/>
              </a:path>
            </a:pathLst>
          </a:custGeom>
          <a:solidFill>
            <a:srgbClr val="1F8083"/>
          </a:solidFill>
        </p:spPr>
        <p:txBody>
          <a:bodyPr wrap="square" lIns="0" tIns="0" rIns="0" bIns="0" rtlCol="0"/>
          <a:lstStyle/>
          <a:p>
            <a:endParaRPr/>
          </a:p>
        </p:txBody>
      </p:sp>
      <p:sp>
        <p:nvSpPr>
          <p:cNvPr id="381" name="object 381"/>
          <p:cNvSpPr/>
          <p:nvPr/>
        </p:nvSpPr>
        <p:spPr>
          <a:xfrm>
            <a:off x="2116215" y="2377584"/>
            <a:ext cx="2599" cy="10108"/>
          </a:xfrm>
          <a:custGeom>
            <a:avLst/>
            <a:gdLst/>
            <a:ahLst/>
            <a:cxnLst/>
            <a:rect l="l" t="t" r="r" b="b"/>
            <a:pathLst>
              <a:path w="5714" h="22225">
                <a:moveTo>
                  <a:pt x="3968" y="0"/>
                </a:moveTo>
                <a:lnTo>
                  <a:pt x="0" y="0"/>
                </a:lnTo>
                <a:lnTo>
                  <a:pt x="0" y="22093"/>
                </a:lnTo>
                <a:lnTo>
                  <a:pt x="5654" y="22093"/>
                </a:lnTo>
                <a:lnTo>
                  <a:pt x="3968" y="0"/>
                </a:lnTo>
                <a:close/>
              </a:path>
            </a:pathLst>
          </a:custGeom>
          <a:solidFill>
            <a:srgbClr val="1F8083"/>
          </a:solidFill>
        </p:spPr>
        <p:txBody>
          <a:bodyPr wrap="square" lIns="0" tIns="0" rIns="0" bIns="0" rtlCol="0"/>
          <a:lstStyle/>
          <a:p>
            <a:endParaRPr/>
          </a:p>
        </p:txBody>
      </p:sp>
      <p:sp>
        <p:nvSpPr>
          <p:cNvPr id="382" name="object 382"/>
          <p:cNvSpPr/>
          <p:nvPr/>
        </p:nvSpPr>
        <p:spPr>
          <a:xfrm>
            <a:off x="2116217" y="253836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F8083"/>
          </a:solidFill>
        </p:spPr>
        <p:txBody>
          <a:bodyPr wrap="square" lIns="0" tIns="0" rIns="0" bIns="0" rtlCol="0"/>
          <a:lstStyle/>
          <a:p>
            <a:endParaRPr/>
          </a:p>
        </p:txBody>
      </p:sp>
      <p:sp>
        <p:nvSpPr>
          <p:cNvPr id="383" name="object 383"/>
          <p:cNvSpPr/>
          <p:nvPr/>
        </p:nvSpPr>
        <p:spPr>
          <a:xfrm>
            <a:off x="2116215" y="2498168"/>
            <a:ext cx="9820" cy="10108"/>
          </a:xfrm>
          <a:custGeom>
            <a:avLst/>
            <a:gdLst/>
            <a:ahLst/>
            <a:cxnLst/>
            <a:rect l="l" t="t" r="r" b="b"/>
            <a:pathLst>
              <a:path w="21589" h="22225">
                <a:moveTo>
                  <a:pt x="20543" y="0"/>
                </a:moveTo>
                <a:lnTo>
                  <a:pt x="0" y="0"/>
                </a:lnTo>
                <a:lnTo>
                  <a:pt x="0" y="22093"/>
                </a:lnTo>
                <a:lnTo>
                  <a:pt x="21350" y="22093"/>
                </a:lnTo>
                <a:lnTo>
                  <a:pt x="20543" y="0"/>
                </a:lnTo>
                <a:close/>
              </a:path>
            </a:pathLst>
          </a:custGeom>
          <a:solidFill>
            <a:srgbClr val="1F8083"/>
          </a:solidFill>
        </p:spPr>
        <p:txBody>
          <a:bodyPr wrap="square" lIns="0" tIns="0" rIns="0" bIns="0" rtlCol="0"/>
          <a:lstStyle/>
          <a:p>
            <a:endParaRPr/>
          </a:p>
        </p:txBody>
      </p:sp>
      <p:sp>
        <p:nvSpPr>
          <p:cNvPr id="384" name="object 384"/>
          <p:cNvSpPr/>
          <p:nvPr/>
        </p:nvSpPr>
        <p:spPr>
          <a:xfrm>
            <a:off x="2116215" y="2397678"/>
            <a:ext cx="4332" cy="10108"/>
          </a:xfrm>
          <a:custGeom>
            <a:avLst/>
            <a:gdLst/>
            <a:ahLst/>
            <a:cxnLst/>
            <a:rect l="l" t="t" r="r" b="b"/>
            <a:pathLst>
              <a:path w="9525" h="22225">
                <a:moveTo>
                  <a:pt x="7340" y="0"/>
                </a:moveTo>
                <a:lnTo>
                  <a:pt x="0" y="0"/>
                </a:lnTo>
                <a:lnTo>
                  <a:pt x="0" y="22093"/>
                </a:lnTo>
                <a:lnTo>
                  <a:pt x="9025" y="22093"/>
                </a:lnTo>
                <a:lnTo>
                  <a:pt x="7340" y="0"/>
                </a:lnTo>
                <a:close/>
              </a:path>
            </a:pathLst>
          </a:custGeom>
          <a:solidFill>
            <a:srgbClr val="1F8083"/>
          </a:solidFill>
        </p:spPr>
        <p:txBody>
          <a:bodyPr wrap="square" lIns="0" tIns="0" rIns="0" bIns="0" rtlCol="0"/>
          <a:lstStyle/>
          <a:p>
            <a:endParaRPr/>
          </a:p>
        </p:txBody>
      </p:sp>
      <p:sp>
        <p:nvSpPr>
          <p:cNvPr id="385" name="object 385"/>
          <p:cNvSpPr/>
          <p:nvPr/>
        </p:nvSpPr>
        <p:spPr>
          <a:xfrm>
            <a:off x="2116215" y="2457973"/>
            <a:ext cx="8376" cy="10108"/>
          </a:xfrm>
          <a:custGeom>
            <a:avLst/>
            <a:gdLst/>
            <a:ahLst/>
            <a:cxnLst/>
            <a:rect l="l" t="t" r="r" b="b"/>
            <a:pathLst>
              <a:path w="18414" h="22225">
                <a:moveTo>
                  <a:pt x="17308" y="0"/>
                </a:moveTo>
                <a:lnTo>
                  <a:pt x="0" y="0"/>
                </a:lnTo>
                <a:lnTo>
                  <a:pt x="0" y="22093"/>
                </a:lnTo>
                <a:lnTo>
                  <a:pt x="18114" y="22093"/>
                </a:lnTo>
                <a:lnTo>
                  <a:pt x="17308" y="0"/>
                </a:lnTo>
                <a:close/>
              </a:path>
            </a:pathLst>
          </a:custGeom>
          <a:solidFill>
            <a:srgbClr val="1F8083"/>
          </a:solidFill>
        </p:spPr>
        <p:txBody>
          <a:bodyPr wrap="square" lIns="0" tIns="0" rIns="0" bIns="0" rtlCol="0"/>
          <a:lstStyle/>
          <a:p>
            <a:endParaRPr/>
          </a:p>
        </p:txBody>
      </p:sp>
      <p:sp>
        <p:nvSpPr>
          <p:cNvPr id="386" name="object 386"/>
          <p:cNvSpPr/>
          <p:nvPr/>
        </p:nvSpPr>
        <p:spPr>
          <a:xfrm>
            <a:off x="2116215" y="2417778"/>
            <a:ext cx="5776" cy="10108"/>
          </a:xfrm>
          <a:custGeom>
            <a:avLst/>
            <a:gdLst/>
            <a:ahLst/>
            <a:cxnLst/>
            <a:rect l="l" t="t" r="r" b="b"/>
            <a:pathLst>
              <a:path w="12700" h="22225">
                <a:moveTo>
                  <a:pt x="10711" y="0"/>
                </a:moveTo>
                <a:lnTo>
                  <a:pt x="0" y="0"/>
                </a:lnTo>
                <a:lnTo>
                  <a:pt x="0" y="22093"/>
                </a:lnTo>
                <a:lnTo>
                  <a:pt x="12397" y="22093"/>
                </a:lnTo>
                <a:lnTo>
                  <a:pt x="10711" y="0"/>
                </a:lnTo>
                <a:close/>
              </a:path>
            </a:pathLst>
          </a:custGeom>
          <a:solidFill>
            <a:srgbClr val="1F8083"/>
          </a:solidFill>
        </p:spPr>
        <p:txBody>
          <a:bodyPr wrap="square" lIns="0" tIns="0" rIns="0" bIns="0" rtlCol="0"/>
          <a:lstStyle/>
          <a:p>
            <a:endParaRPr/>
          </a:p>
        </p:txBody>
      </p:sp>
      <p:sp>
        <p:nvSpPr>
          <p:cNvPr id="387" name="object 387"/>
          <p:cNvSpPr/>
          <p:nvPr/>
        </p:nvSpPr>
        <p:spPr>
          <a:xfrm>
            <a:off x="2116216" y="2437878"/>
            <a:ext cx="7220" cy="10108"/>
          </a:xfrm>
          <a:custGeom>
            <a:avLst/>
            <a:gdLst/>
            <a:ahLst/>
            <a:cxnLst/>
            <a:rect l="l" t="t" r="r" b="b"/>
            <a:pathLst>
              <a:path w="15875" h="22225">
                <a:moveTo>
                  <a:pt x="14072" y="0"/>
                </a:moveTo>
                <a:lnTo>
                  <a:pt x="0" y="0"/>
                </a:lnTo>
                <a:lnTo>
                  <a:pt x="0" y="22083"/>
                </a:lnTo>
                <a:lnTo>
                  <a:pt x="15758" y="22083"/>
                </a:lnTo>
                <a:lnTo>
                  <a:pt x="14072" y="0"/>
                </a:lnTo>
                <a:close/>
              </a:path>
            </a:pathLst>
          </a:custGeom>
          <a:solidFill>
            <a:srgbClr val="1F8083"/>
          </a:solidFill>
        </p:spPr>
        <p:txBody>
          <a:bodyPr wrap="square" lIns="0" tIns="0" rIns="0" bIns="0" rtlCol="0"/>
          <a:lstStyle/>
          <a:p>
            <a:endParaRPr/>
          </a:p>
        </p:txBody>
      </p:sp>
      <p:sp>
        <p:nvSpPr>
          <p:cNvPr id="388" name="object 388"/>
          <p:cNvSpPr/>
          <p:nvPr/>
        </p:nvSpPr>
        <p:spPr>
          <a:xfrm>
            <a:off x="2065969" y="2293932"/>
            <a:ext cx="8953" cy="3466"/>
          </a:xfrm>
          <a:custGeom>
            <a:avLst/>
            <a:gdLst/>
            <a:ahLst/>
            <a:cxnLst/>
            <a:rect l="l" t="t" r="r" b="b"/>
            <a:pathLst>
              <a:path w="19685" h="7620">
                <a:moveTo>
                  <a:pt x="0" y="0"/>
                </a:moveTo>
                <a:lnTo>
                  <a:pt x="0" y="7162"/>
                </a:lnTo>
                <a:lnTo>
                  <a:pt x="19088" y="7162"/>
                </a:lnTo>
                <a:lnTo>
                  <a:pt x="0" y="0"/>
                </a:lnTo>
                <a:close/>
              </a:path>
            </a:pathLst>
          </a:custGeom>
          <a:solidFill>
            <a:srgbClr val="258089"/>
          </a:solidFill>
        </p:spPr>
        <p:txBody>
          <a:bodyPr wrap="square" lIns="0" tIns="0" rIns="0" bIns="0" rtlCol="0"/>
          <a:lstStyle/>
          <a:p>
            <a:endParaRPr/>
          </a:p>
        </p:txBody>
      </p:sp>
      <p:sp>
        <p:nvSpPr>
          <p:cNvPr id="389" name="object 389"/>
          <p:cNvSpPr/>
          <p:nvPr/>
        </p:nvSpPr>
        <p:spPr>
          <a:xfrm>
            <a:off x="1968268" y="2294147"/>
            <a:ext cx="7509" cy="3177"/>
          </a:xfrm>
          <a:custGeom>
            <a:avLst/>
            <a:gdLst/>
            <a:ahLst/>
            <a:cxnLst/>
            <a:rect l="l" t="t" r="r" b="b"/>
            <a:pathLst>
              <a:path w="16510" h="6985">
                <a:moveTo>
                  <a:pt x="15947" y="0"/>
                </a:moveTo>
                <a:lnTo>
                  <a:pt x="0" y="6690"/>
                </a:lnTo>
                <a:lnTo>
                  <a:pt x="15947" y="6690"/>
                </a:lnTo>
                <a:lnTo>
                  <a:pt x="15947" y="0"/>
                </a:lnTo>
                <a:close/>
              </a:path>
            </a:pathLst>
          </a:custGeom>
          <a:solidFill>
            <a:srgbClr val="258089"/>
          </a:solidFill>
        </p:spPr>
        <p:txBody>
          <a:bodyPr wrap="square" lIns="0" tIns="0" rIns="0" bIns="0" rtlCol="0"/>
          <a:lstStyle/>
          <a:p>
            <a:endParaRPr/>
          </a:p>
        </p:txBody>
      </p:sp>
      <p:sp>
        <p:nvSpPr>
          <p:cNvPr id="390" name="object 390"/>
          <p:cNvSpPr/>
          <p:nvPr/>
        </p:nvSpPr>
        <p:spPr>
          <a:xfrm>
            <a:off x="2005669" y="2287145"/>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391" name="object 391"/>
          <p:cNvSpPr/>
          <p:nvPr/>
        </p:nvSpPr>
        <p:spPr>
          <a:xfrm>
            <a:off x="2025768" y="2287145"/>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392" name="object 392"/>
          <p:cNvSpPr/>
          <p:nvPr/>
        </p:nvSpPr>
        <p:spPr>
          <a:xfrm>
            <a:off x="1985571" y="2287144"/>
            <a:ext cx="10109" cy="10108"/>
          </a:xfrm>
          <a:custGeom>
            <a:avLst/>
            <a:gdLst/>
            <a:ahLst/>
            <a:cxnLst/>
            <a:rect l="l" t="t" r="r" b="b"/>
            <a:pathLst>
              <a:path w="22225" h="22225">
                <a:moveTo>
                  <a:pt x="22093" y="0"/>
                </a:moveTo>
                <a:lnTo>
                  <a:pt x="14627" y="0"/>
                </a:lnTo>
                <a:lnTo>
                  <a:pt x="0" y="6135"/>
                </a:lnTo>
                <a:lnTo>
                  <a:pt x="0" y="22083"/>
                </a:lnTo>
                <a:lnTo>
                  <a:pt x="22093" y="22083"/>
                </a:lnTo>
                <a:lnTo>
                  <a:pt x="22093" y="0"/>
                </a:lnTo>
                <a:close/>
              </a:path>
            </a:pathLst>
          </a:custGeom>
          <a:solidFill>
            <a:srgbClr val="258089"/>
          </a:solidFill>
        </p:spPr>
        <p:txBody>
          <a:bodyPr wrap="square" lIns="0" tIns="0" rIns="0" bIns="0" rtlCol="0"/>
          <a:lstStyle/>
          <a:p>
            <a:endParaRPr/>
          </a:p>
        </p:txBody>
      </p:sp>
      <p:sp>
        <p:nvSpPr>
          <p:cNvPr id="393" name="object 393"/>
          <p:cNvSpPr/>
          <p:nvPr/>
        </p:nvSpPr>
        <p:spPr>
          <a:xfrm>
            <a:off x="2045868" y="2287145"/>
            <a:ext cx="10109" cy="10108"/>
          </a:xfrm>
          <a:custGeom>
            <a:avLst/>
            <a:gdLst/>
            <a:ahLst/>
            <a:cxnLst/>
            <a:rect l="l" t="t" r="r" b="b"/>
            <a:pathLst>
              <a:path w="22225" h="22225">
                <a:moveTo>
                  <a:pt x="4408" y="0"/>
                </a:moveTo>
                <a:lnTo>
                  <a:pt x="0" y="0"/>
                </a:lnTo>
                <a:lnTo>
                  <a:pt x="0" y="22083"/>
                </a:lnTo>
                <a:lnTo>
                  <a:pt x="22093" y="22083"/>
                </a:lnTo>
                <a:lnTo>
                  <a:pt x="22093" y="6638"/>
                </a:lnTo>
                <a:lnTo>
                  <a:pt x="4408" y="0"/>
                </a:lnTo>
                <a:close/>
              </a:path>
            </a:pathLst>
          </a:custGeom>
          <a:solidFill>
            <a:srgbClr val="258089"/>
          </a:solidFill>
        </p:spPr>
        <p:txBody>
          <a:bodyPr wrap="square" lIns="0" tIns="0" rIns="0" bIns="0" rtlCol="0"/>
          <a:lstStyle/>
          <a:p>
            <a:endParaRPr/>
          </a:p>
        </p:txBody>
      </p:sp>
      <p:sp>
        <p:nvSpPr>
          <p:cNvPr id="394" name="object 394"/>
          <p:cNvSpPr/>
          <p:nvPr/>
        </p:nvSpPr>
        <p:spPr>
          <a:xfrm>
            <a:off x="1975521" y="2289937"/>
            <a:ext cx="10109" cy="7509"/>
          </a:xfrm>
          <a:custGeom>
            <a:avLst/>
            <a:gdLst/>
            <a:ahLst/>
            <a:cxnLst/>
            <a:rect l="l" t="t" r="r" b="b"/>
            <a:pathLst>
              <a:path w="22225" h="16510">
                <a:moveTo>
                  <a:pt x="22093" y="0"/>
                </a:moveTo>
                <a:lnTo>
                  <a:pt x="0" y="9256"/>
                </a:lnTo>
                <a:lnTo>
                  <a:pt x="0" y="15947"/>
                </a:lnTo>
                <a:lnTo>
                  <a:pt x="22093" y="15947"/>
                </a:lnTo>
                <a:lnTo>
                  <a:pt x="22093" y="0"/>
                </a:lnTo>
                <a:close/>
              </a:path>
            </a:pathLst>
          </a:custGeom>
          <a:solidFill>
            <a:srgbClr val="136C7D"/>
          </a:solidFill>
        </p:spPr>
        <p:txBody>
          <a:bodyPr wrap="square" lIns="0" tIns="0" rIns="0" bIns="0" rtlCol="0"/>
          <a:lstStyle/>
          <a:p>
            <a:endParaRPr/>
          </a:p>
        </p:txBody>
      </p:sp>
      <p:sp>
        <p:nvSpPr>
          <p:cNvPr id="395" name="object 395"/>
          <p:cNvSpPr/>
          <p:nvPr/>
        </p:nvSpPr>
        <p:spPr>
          <a:xfrm>
            <a:off x="1995621" y="2287145"/>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396" name="object 396"/>
          <p:cNvSpPr/>
          <p:nvPr/>
        </p:nvSpPr>
        <p:spPr>
          <a:xfrm>
            <a:off x="2015719" y="2287145"/>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397" name="object 397"/>
          <p:cNvSpPr/>
          <p:nvPr/>
        </p:nvSpPr>
        <p:spPr>
          <a:xfrm>
            <a:off x="2035821" y="2287145"/>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398" name="object 398"/>
          <p:cNvSpPr/>
          <p:nvPr/>
        </p:nvSpPr>
        <p:spPr>
          <a:xfrm>
            <a:off x="2055918" y="2290161"/>
            <a:ext cx="10109" cy="7220"/>
          </a:xfrm>
          <a:custGeom>
            <a:avLst/>
            <a:gdLst/>
            <a:ahLst/>
            <a:cxnLst/>
            <a:rect l="l" t="t" r="r" b="b"/>
            <a:pathLst>
              <a:path w="22225" h="15875">
                <a:moveTo>
                  <a:pt x="0" y="0"/>
                </a:moveTo>
                <a:lnTo>
                  <a:pt x="0" y="15455"/>
                </a:lnTo>
                <a:lnTo>
                  <a:pt x="22093" y="15455"/>
                </a:lnTo>
                <a:lnTo>
                  <a:pt x="22093" y="8292"/>
                </a:lnTo>
                <a:lnTo>
                  <a:pt x="0" y="0"/>
                </a:lnTo>
                <a:close/>
              </a:path>
            </a:pathLst>
          </a:custGeom>
          <a:solidFill>
            <a:srgbClr val="136C7D"/>
          </a:solidFill>
        </p:spPr>
        <p:txBody>
          <a:bodyPr wrap="square" lIns="0" tIns="0" rIns="0" bIns="0" rtlCol="0"/>
          <a:lstStyle/>
          <a:p>
            <a:endParaRPr/>
          </a:p>
        </p:txBody>
      </p:sp>
      <p:sp>
        <p:nvSpPr>
          <p:cNvPr id="399" name="object 399"/>
          <p:cNvSpPr/>
          <p:nvPr/>
        </p:nvSpPr>
        <p:spPr>
          <a:xfrm>
            <a:off x="1985572"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00" name="object 400"/>
          <p:cNvSpPr/>
          <p:nvPr/>
        </p:nvSpPr>
        <p:spPr>
          <a:xfrm>
            <a:off x="2005669"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01" name="object 401"/>
          <p:cNvSpPr/>
          <p:nvPr/>
        </p:nvSpPr>
        <p:spPr>
          <a:xfrm>
            <a:off x="1929013" y="2310965"/>
            <a:ext cx="6354" cy="6354"/>
          </a:xfrm>
          <a:custGeom>
            <a:avLst/>
            <a:gdLst/>
            <a:ahLst/>
            <a:cxnLst/>
            <a:rect l="l" t="t" r="r" b="b"/>
            <a:pathLst>
              <a:path w="13970" h="13970">
                <a:moveTo>
                  <a:pt x="13873" y="0"/>
                </a:moveTo>
                <a:lnTo>
                  <a:pt x="8135" y="4167"/>
                </a:lnTo>
                <a:lnTo>
                  <a:pt x="3601" y="8952"/>
                </a:lnTo>
                <a:lnTo>
                  <a:pt x="0" y="13905"/>
                </a:lnTo>
                <a:lnTo>
                  <a:pt x="13873" y="13905"/>
                </a:lnTo>
                <a:lnTo>
                  <a:pt x="13873" y="0"/>
                </a:lnTo>
                <a:close/>
              </a:path>
            </a:pathLst>
          </a:custGeom>
          <a:solidFill>
            <a:srgbClr val="258089"/>
          </a:solidFill>
        </p:spPr>
        <p:txBody>
          <a:bodyPr wrap="square" lIns="0" tIns="0" rIns="0" bIns="0" rtlCol="0"/>
          <a:lstStyle/>
          <a:p>
            <a:endParaRPr/>
          </a:p>
        </p:txBody>
      </p:sp>
      <p:sp>
        <p:nvSpPr>
          <p:cNvPr id="402" name="object 402"/>
          <p:cNvSpPr/>
          <p:nvPr/>
        </p:nvSpPr>
        <p:spPr>
          <a:xfrm>
            <a:off x="1965474"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03" name="object 403"/>
          <p:cNvSpPr/>
          <p:nvPr/>
        </p:nvSpPr>
        <p:spPr>
          <a:xfrm>
            <a:off x="2086065"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04" name="object 404"/>
          <p:cNvSpPr/>
          <p:nvPr/>
        </p:nvSpPr>
        <p:spPr>
          <a:xfrm>
            <a:off x="1945371"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05" name="object 405"/>
          <p:cNvSpPr/>
          <p:nvPr/>
        </p:nvSpPr>
        <p:spPr>
          <a:xfrm>
            <a:off x="2065968"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06" name="object 406"/>
          <p:cNvSpPr/>
          <p:nvPr/>
        </p:nvSpPr>
        <p:spPr>
          <a:xfrm>
            <a:off x="2045870"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07" name="object 407"/>
          <p:cNvSpPr/>
          <p:nvPr/>
        </p:nvSpPr>
        <p:spPr>
          <a:xfrm>
            <a:off x="2106167" y="2312475"/>
            <a:ext cx="4043" cy="4910"/>
          </a:xfrm>
          <a:custGeom>
            <a:avLst/>
            <a:gdLst/>
            <a:ahLst/>
            <a:cxnLst/>
            <a:rect l="l" t="t" r="r" b="b"/>
            <a:pathLst>
              <a:path w="8889" h="10795">
                <a:moveTo>
                  <a:pt x="0" y="0"/>
                </a:moveTo>
                <a:lnTo>
                  <a:pt x="0" y="10586"/>
                </a:lnTo>
                <a:lnTo>
                  <a:pt x="8669" y="10586"/>
                </a:lnTo>
                <a:lnTo>
                  <a:pt x="6334" y="7162"/>
                </a:lnTo>
                <a:lnTo>
                  <a:pt x="3465" y="3570"/>
                </a:lnTo>
                <a:lnTo>
                  <a:pt x="0" y="0"/>
                </a:lnTo>
                <a:close/>
              </a:path>
            </a:pathLst>
          </a:custGeom>
          <a:solidFill>
            <a:srgbClr val="258089"/>
          </a:solidFill>
        </p:spPr>
        <p:txBody>
          <a:bodyPr wrap="square" lIns="0" tIns="0" rIns="0" bIns="0" rtlCol="0"/>
          <a:lstStyle/>
          <a:p>
            <a:endParaRPr/>
          </a:p>
        </p:txBody>
      </p:sp>
      <p:sp>
        <p:nvSpPr>
          <p:cNvPr id="408" name="object 408"/>
          <p:cNvSpPr/>
          <p:nvPr/>
        </p:nvSpPr>
        <p:spPr>
          <a:xfrm>
            <a:off x="2025768"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09" name="object 409"/>
          <p:cNvSpPr/>
          <p:nvPr/>
        </p:nvSpPr>
        <p:spPr>
          <a:xfrm>
            <a:off x="1935323" y="2307240"/>
            <a:ext cx="10109" cy="10108"/>
          </a:xfrm>
          <a:custGeom>
            <a:avLst/>
            <a:gdLst/>
            <a:ahLst/>
            <a:cxnLst/>
            <a:rect l="l" t="t" r="r" b="b"/>
            <a:pathLst>
              <a:path w="22225" h="22225">
                <a:moveTo>
                  <a:pt x="22093" y="0"/>
                </a:moveTo>
                <a:lnTo>
                  <a:pt x="15067" y="0"/>
                </a:lnTo>
                <a:lnTo>
                  <a:pt x="9298" y="2261"/>
                </a:lnTo>
                <a:lnTo>
                  <a:pt x="4314" y="5046"/>
                </a:lnTo>
                <a:lnTo>
                  <a:pt x="0" y="8188"/>
                </a:lnTo>
                <a:lnTo>
                  <a:pt x="0" y="22093"/>
                </a:lnTo>
                <a:lnTo>
                  <a:pt x="22093" y="22093"/>
                </a:lnTo>
                <a:lnTo>
                  <a:pt x="22093" y="0"/>
                </a:lnTo>
                <a:close/>
              </a:path>
            </a:pathLst>
          </a:custGeom>
          <a:solidFill>
            <a:srgbClr val="136C7D"/>
          </a:solidFill>
        </p:spPr>
        <p:txBody>
          <a:bodyPr wrap="square" lIns="0" tIns="0" rIns="0" bIns="0" rtlCol="0"/>
          <a:lstStyle/>
          <a:p>
            <a:endParaRPr/>
          </a:p>
        </p:txBody>
      </p:sp>
      <p:sp>
        <p:nvSpPr>
          <p:cNvPr id="410" name="object 410"/>
          <p:cNvSpPr/>
          <p:nvPr/>
        </p:nvSpPr>
        <p:spPr>
          <a:xfrm>
            <a:off x="1955420"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11" name="object 411"/>
          <p:cNvSpPr/>
          <p:nvPr/>
        </p:nvSpPr>
        <p:spPr>
          <a:xfrm>
            <a:off x="1975523"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12" name="object 412"/>
          <p:cNvSpPr/>
          <p:nvPr/>
        </p:nvSpPr>
        <p:spPr>
          <a:xfrm>
            <a:off x="1995621"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13" name="object 413"/>
          <p:cNvSpPr/>
          <p:nvPr/>
        </p:nvSpPr>
        <p:spPr>
          <a:xfrm>
            <a:off x="2015719"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14" name="object 414"/>
          <p:cNvSpPr/>
          <p:nvPr/>
        </p:nvSpPr>
        <p:spPr>
          <a:xfrm>
            <a:off x="2035821"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15" name="object 415"/>
          <p:cNvSpPr/>
          <p:nvPr/>
        </p:nvSpPr>
        <p:spPr>
          <a:xfrm>
            <a:off x="2055918"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16" name="object 416"/>
          <p:cNvSpPr/>
          <p:nvPr/>
        </p:nvSpPr>
        <p:spPr>
          <a:xfrm>
            <a:off x="2076017" y="2307241"/>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17" name="object 417"/>
          <p:cNvSpPr/>
          <p:nvPr/>
        </p:nvSpPr>
        <p:spPr>
          <a:xfrm>
            <a:off x="2096117" y="2307239"/>
            <a:ext cx="10109" cy="10108"/>
          </a:xfrm>
          <a:custGeom>
            <a:avLst/>
            <a:gdLst/>
            <a:ahLst/>
            <a:cxnLst/>
            <a:rect l="l" t="t" r="r" b="b"/>
            <a:pathLst>
              <a:path w="22225" h="22225">
                <a:moveTo>
                  <a:pt x="7989" y="0"/>
                </a:moveTo>
                <a:lnTo>
                  <a:pt x="0" y="0"/>
                </a:lnTo>
                <a:lnTo>
                  <a:pt x="0" y="22093"/>
                </a:lnTo>
                <a:lnTo>
                  <a:pt x="22093" y="22093"/>
                </a:lnTo>
                <a:lnTo>
                  <a:pt x="22093" y="11517"/>
                </a:lnTo>
                <a:lnTo>
                  <a:pt x="18198" y="7507"/>
                </a:lnTo>
                <a:lnTo>
                  <a:pt x="13559" y="3560"/>
                </a:lnTo>
                <a:lnTo>
                  <a:pt x="7989" y="0"/>
                </a:lnTo>
                <a:close/>
              </a:path>
            </a:pathLst>
          </a:custGeom>
          <a:solidFill>
            <a:srgbClr val="136C7D"/>
          </a:solidFill>
        </p:spPr>
        <p:txBody>
          <a:bodyPr wrap="square" lIns="0" tIns="0" rIns="0" bIns="0" rtlCol="0"/>
          <a:lstStyle/>
          <a:p>
            <a:endParaRPr/>
          </a:p>
        </p:txBody>
      </p:sp>
      <p:sp>
        <p:nvSpPr>
          <p:cNvPr id="418" name="object 418"/>
          <p:cNvSpPr/>
          <p:nvPr/>
        </p:nvSpPr>
        <p:spPr>
          <a:xfrm>
            <a:off x="1985572"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19" name="object 419"/>
          <p:cNvSpPr/>
          <p:nvPr/>
        </p:nvSpPr>
        <p:spPr>
          <a:xfrm>
            <a:off x="2005669"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20" name="object 420"/>
          <p:cNvSpPr/>
          <p:nvPr/>
        </p:nvSpPr>
        <p:spPr>
          <a:xfrm>
            <a:off x="1925274"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21" name="object 421"/>
          <p:cNvSpPr/>
          <p:nvPr/>
        </p:nvSpPr>
        <p:spPr>
          <a:xfrm>
            <a:off x="2025768"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22" name="object 422"/>
          <p:cNvSpPr/>
          <p:nvPr/>
        </p:nvSpPr>
        <p:spPr>
          <a:xfrm>
            <a:off x="2106167" y="2327339"/>
            <a:ext cx="8953" cy="10108"/>
          </a:xfrm>
          <a:custGeom>
            <a:avLst/>
            <a:gdLst/>
            <a:ahLst/>
            <a:cxnLst/>
            <a:rect l="l" t="t" r="r" b="b"/>
            <a:pathLst>
              <a:path w="19685" h="22225">
                <a:moveTo>
                  <a:pt x="17643" y="0"/>
                </a:moveTo>
                <a:lnTo>
                  <a:pt x="0" y="0"/>
                </a:lnTo>
                <a:lnTo>
                  <a:pt x="0" y="22093"/>
                </a:lnTo>
                <a:lnTo>
                  <a:pt x="19329" y="22093"/>
                </a:lnTo>
                <a:lnTo>
                  <a:pt x="17643" y="0"/>
                </a:lnTo>
                <a:close/>
              </a:path>
            </a:pathLst>
          </a:custGeom>
          <a:solidFill>
            <a:srgbClr val="258089"/>
          </a:solidFill>
        </p:spPr>
        <p:txBody>
          <a:bodyPr wrap="square" lIns="0" tIns="0" rIns="0" bIns="0" rtlCol="0"/>
          <a:lstStyle/>
          <a:p>
            <a:endParaRPr/>
          </a:p>
        </p:txBody>
      </p:sp>
      <p:sp>
        <p:nvSpPr>
          <p:cNvPr id="423" name="object 423"/>
          <p:cNvSpPr/>
          <p:nvPr/>
        </p:nvSpPr>
        <p:spPr>
          <a:xfrm>
            <a:off x="1945371"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24" name="object 424"/>
          <p:cNvSpPr/>
          <p:nvPr/>
        </p:nvSpPr>
        <p:spPr>
          <a:xfrm>
            <a:off x="1965474"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25" name="object 425"/>
          <p:cNvSpPr/>
          <p:nvPr/>
        </p:nvSpPr>
        <p:spPr>
          <a:xfrm>
            <a:off x="2065968"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26" name="object 426"/>
          <p:cNvSpPr/>
          <p:nvPr/>
        </p:nvSpPr>
        <p:spPr>
          <a:xfrm>
            <a:off x="2045870"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27" name="object 427"/>
          <p:cNvSpPr/>
          <p:nvPr/>
        </p:nvSpPr>
        <p:spPr>
          <a:xfrm>
            <a:off x="2086065"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28" name="object 428"/>
          <p:cNvSpPr/>
          <p:nvPr/>
        </p:nvSpPr>
        <p:spPr>
          <a:xfrm>
            <a:off x="1922736" y="2327337"/>
            <a:ext cx="2599" cy="10108"/>
          </a:xfrm>
          <a:custGeom>
            <a:avLst/>
            <a:gdLst/>
            <a:ahLst/>
            <a:cxnLst/>
            <a:rect l="l" t="t" r="r" b="b"/>
            <a:pathLst>
              <a:path w="5714" h="22225">
                <a:moveTo>
                  <a:pt x="5580" y="0"/>
                </a:moveTo>
                <a:lnTo>
                  <a:pt x="3109" y="0"/>
                </a:lnTo>
                <a:lnTo>
                  <a:pt x="157" y="10083"/>
                </a:lnTo>
                <a:lnTo>
                  <a:pt x="115" y="17664"/>
                </a:lnTo>
                <a:lnTo>
                  <a:pt x="0" y="22104"/>
                </a:lnTo>
                <a:lnTo>
                  <a:pt x="5580" y="22104"/>
                </a:lnTo>
                <a:lnTo>
                  <a:pt x="5580" y="0"/>
                </a:lnTo>
                <a:close/>
              </a:path>
            </a:pathLst>
          </a:custGeom>
          <a:solidFill>
            <a:srgbClr val="136C7D"/>
          </a:solidFill>
        </p:spPr>
        <p:txBody>
          <a:bodyPr wrap="square" lIns="0" tIns="0" rIns="0" bIns="0" rtlCol="0"/>
          <a:lstStyle/>
          <a:p>
            <a:endParaRPr/>
          </a:p>
        </p:txBody>
      </p:sp>
      <p:sp>
        <p:nvSpPr>
          <p:cNvPr id="429" name="object 429"/>
          <p:cNvSpPr/>
          <p:nvPr/>
        </p:nvSpPr>
        <p:spPr>
          <a:xfrm>
            <a:off x="1935323"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30" name="object 430"/>
          <p:cNvSpPr/>
          <p:nvPr/>
        </p:nvSpPr>
        <p:spPr>
          <a:xfrm>
            <a:off x="1955420"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31" name="object 431"/>
          <p:cNvSpPr/>
          <p:nvPr/>
        </p:nvSpPr>
        <p:spPr>
          <a:xfrm>
            <a:off x="1975523"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32" name="object 432"/>
          <p:cNvSpPr/>
          <p:nvPr/>
        </p:nvSpPr>
        <p:spPr>
          <a:xfrm>
            <a:off x="1995621"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33" name="object 433"/>
          <p:cNvSpPr/>
          <p:nvPr/>
        </p:nvSpPr>
        <p:spPr>
          <a:xfrm>
            <a:off x="2015719"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34" name="object 434"/>
          <p:cNvSpPr/>
          <p:nvPr/>
        </p:nvSpPr>
        <p:spPr>
          <a:xfrm>
            <a:off x="2035821"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35" name="object 435"/>
          <p:cNvSpPr/>
          <p:nvPr/>
        </p:nvSpPr>
        <p:spPr>
          <a:xfrm>
            <a:off x="2055918"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36" name="object 436"/>
          <p:cNvSpPr/>
          <p:nvPr/>
        </p:nvSpPr>
        <p:spPr>
          <a:xfrm>
            <a:off x="2076017"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37" name="object 437"/>
          <p:cNvSpPr/>
          <p:nvPr/>
        </p:nvSpPr>
        <p:spPr>
          <a:xfrm>
            <a:off x="2096114" y="232734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38" name="object 438"/>
          <p:cNvSpPr/>
          <p:nvPr/>
        </p:nvSpPr>
        <p:spPr>
          <a:xfrm>
            <a:off x="2106167" y="2347439"/>
            <a:ext cx="10109" cy="10108"/>
          </a:xfrm>
          <a:custGeom>
            <a:avLst/>
            <a:gdLst/>
            <a:ahLst/>
            <a:cxnLst/>
            <a:rect l="l" t="t" r="r" b="b"/>
            <a:pathLst>
              <a:path w="22225" h="22225">
                <a:moveTo>
                  <a:pt x="21015" y="0"/>
                </a:moveTo>
                <a:lnTo>
                  <a:pt x="0" y="0"/>
                </a:lnTo>
                <a:lnTo>
                  <a:pt x="0" y="22083"/>
                </a:lnTo>
                <a:lnTo>
                  <a:pt x="22093" y="22083"/>
                </a:lnTo>
                <a:lnTo>
                  <a:pt x="22093" y="14167"/>
                </a:lnTo>
                <a:lnTo>
                  <a:pt x="21015" y="0"/>
                </a:lnTo>
                <a:close/>
              </a:path>
            </a:pathLst>
          </a:custGeom>
          <a:solidFill>
            <a:srgbClr val="258089"/>
          </a:solidFill>
        </p:spPr>
        <p:txBody>
          <a:bodyPr wrap="square" lIns="0" tIns="0" rIns="0" bIns="0" rtlCol="0"/>
          <a:lstStyle/>
          <a:p>
            <a:endParaRPr/>
          </a:p>
        </p:txBody>
      </p:sp>
      <p:sp>
        <p:nvSpPr>
          <p:cNvPr id="439" name="object 439"/>
          <p:cNvSpPr/>
          <p:nvPr/>
        </p:nvSpPr>
        <p:spPr>
          <a:xfrm>
            <a:off x="1945371"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40" name="object 440"/>
          <p:cNvSpPr/>
          <p:nvPr/>
        </p:nvSpPr>
        <p:spPr>
          <a:xfrm>
            <a:off x="1965474"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41" name="object 441"/>
          <p:cNvSpPr/>
          <p:nvPr/>
        </p:nvSpPr>
        <p:spPr>
          <a:xfrm>
            <a:off x="2065968"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42" name="object 442"/>
          <p:cNvSpPr/>
          <p:nvPr/>
        </p:nvSpPr>
        <p:spPr>
          <a:xfrm>
            <a:off x="2086065"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43" name="object 443"/>
          <p:cNvSpPr/>
          <p:nvPr/>
        </p:nvSpPr>
        <p:spPr>
          <a:xfrm>
            <a:off x="2025768"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44" name="object 444"/>
          <p:cNvSpPr/>
          <p:nvPr/>
        </p:nvSpPr>
        <p:spPr>
          <a:xfrm>
            <a:off x="1985572"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45" name="object 445"/>
          <p:cNvSpPr/>
          <p:nvPr/>
        </p:nvSpPr>
        <p:spPr>
          <a:xfrm>
            <a:off x="2005669"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46" name="object 446"/>
          <p:cNvSpPr/>
          <p:nvPr/>
        </p:nvSpPr>
        <p:spPr>
          <a:xfrm>
            <a:off x="1925274"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47" name="object 447"/>
          <p:cNvSpPr/>
          <p:nvPr/>
        </p:nvSpPr>
        <p:spPr>
          <a:xfrm>
            <a:off x="2045870"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48" name="object 448"/>
          <p:cNvSpPr/>
          <p:nvPr/>
        </p:nvSpPr>
        <p:spPr>
          <a:xfrm>
            <a:off x="1922215" y="2347440"/>
            <a:ext cx="3177" cy="10108"/>
          </a:xfrm>
          <a:custGeom>
            <a:avLst/>
            <a:gdLst/>
            <a:ahLst/>
            <a:cxnLst/>
            <a:rect l="l" t="t" r="r" b="b"/>
            <a:pathLst>
              <a:path w="6985" h="22225">
                <a:moveTo>
                  <a:pt x="6722" y="0"/>
                </a:moveTo>
                <a:lnTo>
                  <a:pt x="575" y="0"/>
                </a:lnTo>
                <a:lnTo>
                  <a:pt x="0" y="22083"/>
                </a:lnTo>
                <a:lnTo>
                  <a:pt x="6722" y="22083"/>
                </a:lnTo>
                <a:lnTo>
                  <a:pt x="6722" y="0"/>
                </a:lnTo>
                <a:close/>
              </a:path>
            </a:pathLst>
          </a:custGeom>
          <a:solidFill>
            <a:srgbClr val="136C7D"/>
          </a:solidFill>
        </p:spPr>
        <p:txBody>
          <a:bodyPr wrap="square" lIns="0" tIns="0" rIns="0" bIns="0" rtlCol="0"/>
          <a:lstStyle/>
          <a:p>
            <a:endParaRPr/>
          </a:p>
        </p:txBody>
      </p:sp>
      <p:sp>
        <p:nvSpPr>
          <p:cNvPr id="449" name="object 449"/>
          <p:cNvSpPr/>
          <p:nvPr/>
        </p:nvSpPr>
        <p:spPr>
          <a:xfrm>
            <a:off x="1935323"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50" name="object 450"/>
          <p:cNvSpPr/>
          <p:nvPr/>
        </p:nvSpPr>
        <p:spPr>
          <a:xfrm>
            <a:off x="1955420"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51" name="object 451"/>
          <p:cNvSpPr/>
          <p:nvPr/>
        </p:nvSpPr>
        <p:spPr>
          <a:xfrm>
            <a:off x="1975523"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52" name="object 452"/>
          <p:cNvSpPr/>
          <p:nvPr/>
        </p:nvSpPr>
        <p:spPr>
          <a:xfrm>
            <a:off x="1995621"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53" name="object 453"/>
          <p:cNvSpPr/>
          <p:nvPr/>
        </p:nvSpPr>
        <p:spPr>
          <a:xfrm>
            <a:off x="2015719"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54" name="object 454"/>
          <p:cNvSpPr/>
          <p:nvPr/>
        </p:nvSpPr>
        <p:spPr>
          <a:xfrm>
            <a:off x="2035821"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55" name="object 455"/>
          <p:cNvSpPr/>
          <p:nvPr/>
        </p:nvSpPr>
        <p:spPr>
          <a:xfrm>
            <a:off x="2055918"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56" name="object 456"/>
          <p:cNvSpPr/>
          <p:nvPr/>
        </p:nvSpPr>
        <p:spPr>
          <a:xfrm>
            <a:off x="2076017"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57" name="object 457"/>
          <p:cNvSpPr/>
          <p:nvPr/>
        </p:nvSpPr>
        <p:spPr>
          <a:xfrm>
            <a:off x="2096114" y="2347438"/>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58" name="object 458"/>
          <p:cNvSpPr/>
          <p:nvPr/>
        </p:nvSpPr>
        <p:spPr>
          <a:xfrm>
            <a:off x="2116215" y="2353879"/>
            <a:ext cx="289" cy="3754"/>
          </a:xfrm>
          <a:custGeom>
            <a:avLst/>
            <a:gdLst/>
            <a:ahLst/>
            <a:cxnLst/>
            <a:rect l="l" t="t" r="r" b="b"/>
            <a:pathLst>
              <a:path w="635" h="8254">
                <a:moveTo>
                  <a:pt x="0" y="0"/>
                </a:moveTo>
                <a:lnTo>
                  <a:pt x="0" y="7926"/>
                </a:lnTo>
                <a:lnTo>
                  <a:pt x="607" y="7926"/>
                </a:lnTo>
                <a:lnTo>
                  <a:pt x="0" y="0"/>
                </a:lnTo>
                <a:close/>
              </a:path>
            </a:pathLst>
          </a:custGeom>
          <a:solidFill>
            <a:srgbClr val="136C7D"/>
          </a:solidFill>
        </p:spPr>
        <p:txBody>
          <a:bodyPr wrap="square" lIns="0" tIns="0" rIns="0" bIns="0" rtlCol="0"/>
          <a:lstStyle/>
          <a:p>
            <a:endParaRPr/>
          </a:p>
        </p:txBody>
      </p:sp>
      <p:sp>
        <p:nvSpPr>
          <p:cNvPr id="459" name="object 459"/>
          <p:cNvSpPr/>
          <p:nvPr/>
        </p:nvSpPr>
        <p:spPr>
          <a:xfrm>
            <a:off x="2065968"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60" name="object 460"/>
          <p:cNvSpPr/>
          <p:nvPr/>
        </p:nvSpPr>
        <p:spPr>
          <a:xfrm>
            <a:off x="1965474"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61" name="object 461"/>
          <p:cNvSpPr/>
          <p:nvPr/>
        </p:nvSpPr>
        <p:spPr>
          <a:xfrm>
            <a:off x="1925274"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62" name="object 462"/>
          <p:cNvSpPr/>
          <p:nvPr/>
        </p:nvSpPr>
        <p:spPr>
          <a:xfrm>
            <a:off x="1945371"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63" name="object 463"/>
          <p:cNvSpPr/>
          <p:nvPr/>
        </p:nvSpPr>
        <p:spPr>
          <a:xfrm>
            <a:off x="2045870"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64" name="object 464"/>
          <p:cNvSpPr/>
          <p:nvPr/>
        </p:nvSpPr>
        <p:spPr>
          <a:xfrm>
            <a:off x="2005669"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65" name="object 465"/>
          <p:cNvSpPr/>
          <p:nvPr/>
        </p:nvSpPr>
        <p:spPr>
          <a:xfrm>
            <a:off x="1985572"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66" name="object 466"/>
          <p:cNvSpPr/>
          <p:nvPr/>
        </p:nvSpPr>
        <p:spPr>
          <a:xfrm>
            <a:off x="2025768"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67" name="object 467"/>
          <p:cNvSpPr/>
          <p:nvPr/>
        </p:nvSpPr>
        <p:spPr>
          <a:xfrm>
            <a:off x="2086065"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68" name="object 468"/>
          <p:cNvSpPr/>
          <p:nvPr/>
        </p:nvSpPr>
        <p:spPr>
          <a:xfrm>
            <a:off x="2106168"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469" name="object 469"/>
          <p:cNvSpPr/>
          <p:nvPr/>
        </p:nvSpPr>
        <p:spPr>
          <a:xfrm>
            <a:off x="1921692" y="2367536"/>
            <a:ext cx="3755" cy="10108"/>
          </a:xfrm>
          <a:custGeom>
            <a:avLst/>
            <a:gdLst/>
            <a:ahLst/>
            <a:cxnLst/>
            <a:rect l="l" t="t" r="r" b="b"/>
            <a:pathLst>
              <a:path w="8254" h="22225">
                <a:moveTo>
                  <a:pt x="7874" y="0"/>
                </a:moveTo>
                <a:lnTo>
                  <a:pt x="575" y="0"/>
                </a:lnTo>
                <a:lnTo>
                  <a:pt x="0" y="22093"/>
                </a:lnTo>
                <a:lnTo>
                  <a:pt x="7874" y="22093"/>
                </a:lnTo>
                <a:lnTo>
                  <a:pt x="7874" y="0"/>
                </a:lnTo>
                <a:close/>
              </a:path>
            </a:pathLst>
          </a:custGeom>
          <a:solidFill>
            <a:srgbClr val="136C7D"/>
          </a:solidFill>
        </p:spPr>
        <p:txBody>
          <a:bodyPr wrap="square" lIns="0" tIns="0" rIns="0" bIns="0" rtlCol="0"/>
          <a:lstStyle/>
          <a:p>
            <a:endParaRPr/>
          </a:p>
        </p:txBody>
      </p:sp>
      <p:sp>
        <p:nvSpPr>
          <p:cNvPr id="470" name="object 470"/>
          <p:cNvSpPr/>
          <p:nvPr/>
        </p:nvSpPr>
        <p:spPr>
          <a:xfrm>
            <a:off x="1935323"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71" name="object 471"/>
          <p:cNvSpPr/>
          <p:nvPr/>
        </p:nvSpPr>
        <p:spPr>
          <a:xfrm>
            <a:off x="1955420"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72" name="object 472"/>
          <p:cNvSpPr/>
          <p:nvPr/>
        </p:nvSpPr>
        <p:spPr>
          <a:xfrm>
            <a:off x="1975523"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73" name="object 473"/>
          <p:cNvSpPr/>
          <p:nvPr/>
        </p:nvSpPr>
        <p:spPr>
          <a:xfrm>
            <a:off x="1995621"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74" name="object 474"/>
          <p:cNvSpPr/>
          <p:nvPr/>
        </p:nvSpPr>
        <p:spPr>
          <a:xfrm>
            <a:off x="2015719"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75" name="object 475"/>
          <p:cNvSpPr/>
          <p:nvPr/>
        </p:nvSpPr>
        <p:spPr>
          <a:xfrm>
            <a:off x="2035821"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76" name="object 476"/>
          <p:cNvSpPr/>
          <p:nvPr/>
        </p:nvSpPr>
        <p:spPr>
          <a:xfrm>
            <a:off x="2055918"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77" name="object 477"/>
          <p:cNvSpPr/>
          <p:nvPr/>
        </p:nvSpPr>
        <p:spPr>
          <a:xfrm>
            <a:off x="2076017"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78" name="object 478"/>
          <p:cNvSpPr/>
          <p:nvPr/>
        </p:nvSpPr>
        <p:spPr>
          <a:xfrm>
            <a:off x="2096114" y="236753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479" name="object 479"/>
          <p:cNvSpPr/>
          <p:nvPr/>
        </p:nvSpPr>
        <p:spPr>
          <a:xfrm>
            <a:off x="2116215" y="2367533"/>
            <a:ext cx="2022" cy="10108"/>
          </a:xfrm>
          <a:custGeom>
            <a:avLst/>
            <a:gdLst/>
            <a:ahLst/>
            <a:cxnLst/>
            <a:rect l="l" t="t" r="r" b="b"/>
            <a:pathLst>
              <a:path w="4445" h="22225">
                <a:moveTo>
                  <a:pt x="2293" y="0"/>
                </a:moveTo>
                <a:lnTo>
                  <a:pt x="0" y="0"/>
                </a:lnTo>
                <a:lnTo>
                  <a:pt x="0" y="22093"/>
                </a:lnTo>
                <a:lnTo>
                  <a:pt x="3968" y="22093"/>
                </a:lnTo>
                <a:lnTo>
                  <a:pt x="2293" y="0"/>
                </a:lnTo>
                <a:close/>
              </a:path>
            </a:pathLst>
          </a:custGeom>
          <a:solidFill>
            <a:srgbClr val="136C7D"/>
          </a:solidFill>
        </p:spPr>
        <p:txBody>
          <a:bodyPr wrap="square" lIns="0" tIns="0" rIns="0" bIns="0" rtlCol="0"/>
          <a:lstStyle/>
          <a:p>
            <a:endParaRPr/>
          </a:p>
        </p:txBody>
      </p:sp>
      <p:sp>
        <p:nvSpPr>
          <p:cNvPr id="480" name="object 480"/>
          <p:cNvSpPr/>
          <p:nvPr/>
        </p:nvSpPr>
        <p:spPr>
          <a:xfrm>
            <a:off x="2086065"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81" name="object 481"/>
          <p:cNvSpPr/>
          <p:nvPr/>
        </p:nvSpPr>
        <p:spPr>
          <a:xfrm>
            <a:off x="1985572"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82" name="object 482"/>
          <p:cNvSpPr/>
          <p:nvPr/>
        </p:nvSpPr>
        <p:spPr>
          <a:xfrm>
            <a:off x="2025768"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83" name="object 483"/>
          <p:cNvSpPr/>
          <p:nvPr/>
        </p:nvSpPr>
        <p:spPr>
          <a:xfrm>
            <a:off x="2045870"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84" name="object 484"/>
          <p:cNvSpPr/>
          <p:nvPr/>
        </p:nvSpPr>
        <p:spPr>
          <a:xfrm>
            <a:off x="1965474"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85" name="object 485"/>
          <p:cNvSpPr/>
          <p:nvPr/>
        </p:nvSpPr>
        <p:spPr>
          <a:xfrm>
            <a:off x="1945371"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86" name="object 486"/>
          <p:cNvSpPr/>
          <p:nvPr/>
        </p:nvSpPr>
        <p:spPr>
          <a:xfrm>
            <a:off x="2005669"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87" name="object 487"/>
          <p:cNvSpPr/>
          <p:nvPr/>
        </p:nvSpPr>
        <p:spPr>
          <a:xfrm>
            <a:off x="2065968"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88" name="object 488"/>
          <p:cNvSpPr/>
          <p:nvPr/>
        </p:nvSpPr>
        <p:spPr>
          <a:xfrm>
            <a:off x="2106168"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89" name="object 489"/>
          <p:cNvSpPr/>
          <p:nvPr/>
        </p:nvSpPr>
        <p:spPr>
          <a:xfrm>
            <a:off x="1925274"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258089"/>
          </a:solidFill>
        </p:spPr>
        <p:txBody>
          <a:bodyPr wrap="square" lIns="0" tIns="0" rIns="0" bIns="0" rtlCol="0"/>
          <a:lstStyle/>
          <a:p>
            <a:endParaRPr/>
          </a:p>
        </p:txBody>
      </p:sp>
      <p:sp>
        <p:nvSpPr>
          <p:cNvPr id="490" name="object 490"/>
          <p:cNvSpPr/>
          <p:nvPr/>
        </p:nvSpPr>
        <p:spPr>
          <a:xfrm>
            <a:off x="1921172" y="2387635"/>
            <a:ext cx="4332" cy="10108"/>
          </a:xfrm>
          <a:custGeom>
            <a:avLst/>
            <a:gdLst/>
            <a:ahLst/>
            <a:cxnLst/>
            <a:rect l="l" t="t" r="r" b="b"/>
            <a:pathLst>
              <a:path w="9525" h="22225">
                <a:moveTo>
                  <a:pt x="9015" y="0"/>
                </a:moveTo>
                <a:lnTo>
                  <a:pt x="575" y="0"/>
                </a:lnTo>
                <a:lnTo>
                  <a:pt x="0" y="22083"/>
                </a:lnTo>
                <a:lnTo>
                  <a:pt x="9015" y="22083"/>
                </a:lnTo>
                <a:lnTo>
                  <a:pt x="9015" y="0"/>
                </a:lnTo>
                <a:close/>
              </a:path>
            </a:pathLst>
          </a:custGeom>
          <a:solidFill>
            <a:srgbClr val="136C7D"/>
          </a:solidFill>
        </p:spPr>
        <p:txBody>
          <a:bodyPr wrap="square" lIns="0" tIns="0" rIns="0" bIns="0" rtlCol="0"/>
          <a:lstStyle/>
          <a:p>
            <a:endParaRPr/>
          </a:p>
        </p:txBody>
      </p:sp>
      <p:sp>
        <p:nvSpPr>
          <p:cNvPr id="491" name="object 491"/>
          <p:cNvSpPr/>
          <p:nvPr/>
        </p:nvSpPr>
        <p:spPr>
          <a:xfrm>
            <a:off x="1935323"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92" name="object 492"/>
          <p:cNvSpPr/>
          <p:nvPr/>
        </p:nvSpPr>
        <p:spPr>
          <a:xfrm>
            <a:off x="1955420"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93" name="object 493"/>
          <p:cNvSpPr/>
          <p:nvPr/>
        </p:nvSpPr>
        <p:spPr>
          <a:xfrm>
            <a:off x="1975523"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94" name="object 494"/>
          <p:cNvSpPr/>
          <p:nvPr/>
        </p:nvSpPr>
        <p:spPr>
          <a:xfrm>
            <a:off x="1995621"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95" name="object 495"/>
          <p:cNvSpPr/>
          <p:nvPr/>
        </p:nvSpPr>
        <p:spPr>
          <a:xfrm>
            <a:off x="2015719"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96" name="object 496"/>
          <p:cNvSpPr/>
          <p:nvPr/>
        </p:nvSpPr>
        <p:spPr>
          <a:xfrm>
            <a:off x="2035821"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97" name="object 497"/>
          <p:cNvSpPr/>
          <p:nvPr/>
        </p:nvSpPr>
        <p:spPr>
          <a:xfrm>
            <a:off x="2055918"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498" name="object 498"/>
          <p:cNvSpPr/>
          <p:nvPr/>
        </p:nvSpPr>
        <p:spPr>
          <a:xfrm>
            <a:off x="2076017" y="2387635"/>
            <a:ext cx="10109" cy="10108"/>
          </a:xfrm>
          <a:custGeom>
            <a:avLst/>
            <a:gdLst/>
            <a:ahLst/>
            <a:cxnLst/>
            <a:rect l="l" t="t" r="r" b="b"/>
            <a:pathLst>
              <a:path w="22225" h="22225">
                <a:moveTo>
                  <a:pt x="22093" y="0"/>
                </a:moveTo>
                <a:lnTo>
                  <a:pt x="0" y="0"/>
                </a:lnTo>
                <a:lnTo>
                  <a:pt x="0" y="22083"/>
                </a:lnTo>
                <a:lnTo>
                  <a:pt x="13664" y="22083"/>
                </a:lnTo>
                <a:lnTo>
                  <a:pt x="14313" y="1999"/>
                </a:lnTo>
                <a:lnTo>
                  <a:pt x="22093" y="1999"/>
                </a:lnTo>
                <a:lnTo>
                  <a:pt x="22093" y="0"/>
                </a:lnTo>
                <a:close/>
              </a:path>
              <a:path w="22225" h="22225">
                <a:moveTo>
                  <a:pt x="22093" y="1999"/>
                </a:moveTo>
                <a:lnTo>
                  <a:pt x="14313" y="1999"/>
                </a:lnTo>
                <a:lnTo>
                  <a:pt x="16418" y="22083"/>
                </a:lnTo>
                <a:lnTo>
                  <a:pt x="22093" y="22083"/>
                </a:lnTo>
                <a:lnTo>
                  <a:pt x="22093" y="1999"/>
                </a:lnTo>
                <a:close/>
              </a:path>
            </a:pathLst>
          </a:custGeom>
          <a:solidFill>
            <a:srgbClr val="136C7D"/>
          </a:solidFill>
        </p:spPr>
        <p:txBody>
          <a:bodyPr wrap="square" lIns="0" tIns="0" rIns="0" bIns="0" rtlCol="0"/>
          <a:lstStyle/>
          <a:p>
            <a:endParaRPr/>
          </a:p>
        </p:txBody>
      </p:sp>
      <p:sp>
        <p:nvSpPr>
          <p:cNvPr id="499" name="object 499"/>
          <p:cNvSpPr/>
          <p:nvPr/>
        </p:nvSpPr>
        <p:spPr>
          <a:xfrm>
            <a:off x="2096114" y="2387636"/>
            <a:ext cx="10109" cy="10108"/>
          </a:xfrm>
          <a:custGeom>
            <a:avLst/>
            <a:gdLst/>
            <a:ahLst/>
            <a:cxnLst/>
            <a:rect l="l" t="t" r="r" b="b"/>
            <a:pathLst>
              <a:path w="22225" h="22225">
                <a:moveTo>
                  <a:pt x="0" y="22083"/>
                </a:moveTo>
                <a:lnTo>
                  <a:pt x="22093" y="22083"/>
                </a:lnTo>
                <a:lnTo>
                  <a:pt x="22093" y="0"/>
                </a:lnTo>
                <a:lnTo>
                  <a:pt x="0" y="0"/>
                </a:lnTo>
                <a:lnTo>
                  <a:pt x="0" y="22083"/>
                </a:lnTo>
                <a:close/>
              </a:path>
            </a:pathLst>
          </a:custGeom>
          <a:solidFill>
            <a:srgbClr val="136C7D"/>
          </a:solidFill>
        </p:spPr>
        <p:txBody>
          <a:bodyPr wrap="square" lIns="0" tIns="0" rIns="0" bIns="0" rtlCol="0"/>
          <a:lstStyle/>
          <a:p>
            <a:endParaRPr/>
          </a:p>
        </p:txBody>
      </p:sp>
      <p:sp>
        <p:nvSpPr>
          <p:cNvPr id="500" name="object 500"/>
          <p:cNvSpPr/>
          <p:nvPr/>
        </p:nvSpPr>
        <p:spPr>
          <a:xfrm>
            <a:off x="2116215" y="2387633"/>
            <a:ext cx="3466" cy="10108"/>
          </a:xfrm>
          <a:custGeom>
            <a:avLst/>
            <a:gdLst/>
            <a:ahLst/>
            <a:cxnLst/>
            <a:rect l="l" t="t" r="r" b="b"/>
            <a:pathLst>
              <a:path w="7620" h="22225">
                <a:moveTo>
                  <a:pt x="5654" y="0"/>
                </a:moveTo>
                <a:lnTo>
                  <a:pt x="0" y="0"/>
                </a:lnTo>
                <a:lnTo>
                  <a:pt x="0" y="22083"/>
                </a:lnTo>
                <a:lnTo>
                  <a:pt x="7340" y="22083"/>
                </a:lnTo>
                <a:lnTo>
                  <a:pt x="5654" y="0"/>
                </a:lnTo>
                <a:close/>
              </a:path>
            </a:pathLst>
          </a:custGeom>
          <a:solidFill>
            <a:srgbClr val="136C7D"/>
          </a:solidFill>
        </p:spPr>
        <p:txBody>
          <a:bodyPr wrap="square" lIns="0" tIns="0" rIns="0" bIns="0" rtlCol="0"/>
          <a:lstStyle/>
          <a:p>
            <a:endParaRPr/>
          </a:p>
        </p:txBody>
      </p:sp>
      <p:sp>
        <p:nvSpPr>
          <p:cNvPr id="501" name="object 501"/>
          <p:cNvSpPr/>
          <p:nvPr/>
        </p:nvSpPr>
        <p:spPr>
          <a:xfrm>
            <a:off x="1945371"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02" name="object 502"/>
          <p:cNvSpPr/>
          <p:nvPr/>
        </p:nvSpPr>
        <p:spPr>
          <a:xfrm>
            <a:off x="1965474"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03" name="object 503"/>
          <p:cNvSpPr/>
          <p:nvPr/>
        </p:nvSpPr>
        <p:spPr>
          <a:xfrm>
            <a:off x="1925274"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04" name="object 504"/>
          <p:cNvSpPr/>
          <p:nvPr/>
        </p:nvSpPr>
        <p:spPr>
          <a:xfrm>
            <a:off x="2065968"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05" name="object 505"/>
          <p:cNvSpPr/>
          <p:nvPr/>
        </p:nvSpPr>
        <p:spPr>
          <a:xfrm>
            <a:off x="2005669"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06" name="object 506"/>
          <p:cNvSpPr/>
          <p:nvPr/>
        </p:nvSpPr>
        <p:spPr>
          <a:xfrm>
            <a:off x="2025768"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07" name="object 507"/>
          <p:cNvSpPr/>
          <p:nvPr/>
        </p:nvSpPr>
        <p:spPr>
          <a:xfrm>
            <a:off x="2086065"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08" name="object 508"/>
          <p:cNvSpPr/>
          <p:nvPr/>
        </p:nvSpPr>
        <p:spPr>
          <a:xfrm>
            <a:off x="1985572"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09" name="object 509"/>
          <p:cNvSpPr/>
          <p:nvPr/>
        </p:nvSpPr>
        <p:spPr>
          <a:xfrm>
            <a:off x="2106168"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10" name="object 510"/>
          <p:cNvSpPr/>
          <p:nvPr/>
        </p:nvSpPr>
        <p:spPr>
          <a:xfrm>
            <a:off x="2045870"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11" name="object 511"/>
          <p:cNvSpPr/>
          <p:nvPr/>
        </p:nvSpPr>
        <p:spPr>
          <a:xfrm>
            <a:off x="1920650" y="2407730"/>
            <a:ext cx="4910" cy="10108"/>
          </a:xfrm>
          <a:custGeom>
            <a:avLst/>
            <a:gdLst/>
            <a:ahLst/>
            <a:cxnLst/>
            <a:rect l="l" t="t" r="r" b="b"/>
            <a:pathLst>
              <a:path w="10795" h="22225">
                <a:moveTo>
                  <a:pt x="10167" y="0"/>
                </a:moveTo>
                <a:lnTo>
                  <a:pt x="575" y="0"/>
                </a:lnTo>
                <a:lnTo>
                  <a:pt x="0" y="22093"/>
                </a:lnTo>
                <a:lnTo>
                  <a:pt x="10167" y="22093"/>
                </a:lnTo>
                <a:lnTo>
                  <a:pt x="10167" y="0"/>
                </a:lnTo>
                <a:close/>
              </a:path>
            </a:pathLst>
          </a:custGeom>
          <a:solidFill>
            <a:srgbClr val="136C7D"/>
          </a:solidFill>
        </p:spPr>
        <p:txBody>
          <a:bodyPr wrap="square" lIns="0" tIns="0" rIns="0" bIns="0" rtlCol="0"/>
          <a:lstStyle/>
          <a:p>
            <a:endParaRPr/>
          </a:p>
        </p:txBody>
      </p:sp>
      <p:sp>
        <p:nvSpPr>
          <p:cNvPr id="512" name="object 512"/>
          <p:cNvSpPr/>
          <p:nvPr/>
        </p:nvSpPr>
        <p:spPr>
          <a:xfrm>
            <a:off x="1935323"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13" name="object 513"/>
          <p:cNvSpPr/>
          <p:nvPr/>
        </p:nvSpPr>
        <p:spPr>
          <a:xfrm>
            <a:off x="1955420"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14" name="object 514"/>
          <p:cNvSpPr/>
          <p:nvPr/>
        </p:nvSpPr>
        <p:spPr>
          <a:xfrm>
            <a:off x="1975523"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15" name="object 515"/>
          <p:cNvSpPr/>
          <p:nvPr/>
        </p:nvSpPr>
        <p:spPr>
          <a:xfrm>
            <a:off x="1995621"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16" name="object 516"/>
          <p:cNvSpPr/>
          <p:nvPr/>
        </p:nvSpPr>
        <p:spPr>
          <a:xfrm>
            <a:off x="2015719"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17" name="object 517"/>
          <p:cNvSpPr/>
          <p:nvPr/>
        </p:nvSpPr>
        <p:spPr>
          <a:xfrm>
            <a:off x="2035821"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18" name="object 518"/>
          <p:cNvSpPr/>
          <p:nvPr/>
        </p:nvSpPr>
        <p:spPr>
          <a:xfrm>
            <a:off x="2055918"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19" name="object 519"/>
          <p:cNvSpPr/>
          <p:nvPr/>
        </p:nvSpPr>
        <p:spPr>
          <a:xfrm>
            <a:off x="2084535" y="2407730"/>
            <a:ext cx="1733" cy="10108"/>
          </a:xfrm>
          <a:custGeom>
            <a:avLst/>
            <a:gdLst/>
            <a:ahLst/>
            <a:cxnLst/>
            <a:rect l="l" t="t" r="r" b="b"/>
            <a:pathLst>
              <a:path w="3810" h="22225">
                <a:moveTo>
                  <a:pt x="3371" y="0"/>
                </a:moveTo>
                <a:lnTo>
                  <a:pt x="0" y="0"/>
                </a:lnTo>
                <a:lnTo>
                  <a:pt x="2303" y="22093"/>
                </a:lnTo>
                <a:lnTo>
                  <a:pt x="3371" y="22093"/>
                </a:lnTo>
                <a:lnTo>
                  <a:pt x="3371" y="0"/>
                </a:lnTo>
                <a:close/>
              </a:path>
            </a:pathLst>
          </a:custGeom>
          <a:solidFill>
            <a:srgbClr val="136C7D"/>
          </a:solidFill>
        </p:spPr>
        <p:txBody>
          <a:bodyPr wrap="square" lIns="0" tIns="0" rIns="0" bIns="0" rtlCol="0"/>
          <a:lstStyle/>
          <a:p>
            <a:endParaRPr/>
          </a:p>
        </p:txBody>
      </p:sp>
      <p:sp>
        <p:nvSpPr>
          <p:cNvPr id="520" name="object 520"/>
          <p:cNvSpPr/>
          <p:nvPr/>
        </p:nvSpPr>
        <p:spPr>
          <a:xfrm>
            <a:off x="2076017" y="2407730"/>
            <a:ext cx="6065" cy="10108"/>
          </a:xfrm>
          <a:custGeom>
            <a:avLst/>
            <a:gdLst/>
            <a:ahLst/>
            <a:cxnLst/>
            <a:rect l="l" t="t" r="r" b="b"/>
            <a:pathLst>
              <a:path w="13335" h="22225">
                <a:moveTo>
                  <a:pt x="12952" y="0"/>
                </a:moveTo>
                <a:lnTo>
                  <a:pt x="0" y="0"/>
                </a:lnTo>
                <a:lnTo>
                  <a:pt x="0" y="22093"/>
                </a:lnTo>
                <a:lnTo>
                  <a:pt x="12240" y="22093"/>
                </a:lnTo>
                <a:lnTo>
                  <a:pt x="12952" y="0"/>
                </a:lnTo>
                <a:close/>
              </a:path>
            </a:pathLst>
          </a:custGeom>
          <a:solidFill>
            <a:srgbClr val="136C7D"/>
          </a:solidFill>
        </p:spPr>
        <p:txBody>
          <a:bodyPr wrap="square" lIns="0" tIns="0" rIns="0" bIns="0" rtlCol="0"/>
          <a:lstStyle/>
          <a:p>
            <a:endParaRPr/>
          </a:p>
        </p:txBody>
      </p:sp>
      <p:sp>
        <p:nvSpPr>
          <p:cNvPr id="521" name="object 521"/>
          <p:cNvSpPr/>
          <p:nvPr/>
        </p:nvSpPr>
        <p:spPr>
          <a:xfrm>
            <a:off x="2096114" y="240773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22" name="object 522"/>
          <p:cNvSpPr/>
          <p:nvPr/>
        </p:nvSpPr>
        <p:spPr>
          <a:xfrm>
            <a:off x="2116215" y="2407729"/>
            <a:ext cx="4910" cy="10108"/>
          </a:xfrm>
          <a:custGeom>
            <a:avLst/>
            <a:gdLst/>
            <a:ahLst/>
            <a:cxnLst/>
            <a:rect l="l" t="t" r="r" b="b"/>
            <a:pathLst>
              <a:path w="10795" h="22225">
                <a:moveTo>
                  <a:pt x="9025" y="0"/>
                </a:moveTo>
                <a:lnTo>
                  <a:pt x="0" y="0"/>
                </a:lnTo>
                <a:lnTo>
                  <a:pt x="0" y="22093"/>
                </a:lnTo>
                <a:lnTo>
                  <a:pt x="10711" y="22093"/>
                </a:lnTo>
                <a:lnTo>
                  <a:pt x="9025" y="0"/>
                </a:lnTo>
                <a:close/>
              </a:path>
            </a:pathLst>
          </a:custGeom>
          <a:solidFill>
            <a:srgbClr val="136C7D"/>
          </a:solidFill>
        </p:spPr>
        <p:txBody>
          <a:bodyPr wrap="square" lIns="0" tIns="0" rIns="0" bIns="0" rtlCol="0"/>
          <a:lstStyle/>
          <a:p>
            <a:endParaRPr/>
          </a:p>
        </p:txBody>
      </p:sp>
      <p:sp>
        <p:nvSpPr>
          <p:cNvPr id="523" name="object 523"/>
          <p:cNvSpPr/>
          <p:nvPr/>
        </p:nvSpPr>
        <p:spPr>
          <a:xfrm>
            <a:off x="2045870"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24" name="object 524"/>
          <p:cNvSpPr/>
          <p:nvPr/>
        </p:nvSpPr>
        <p:spPr>
          <a:xfrm>
            <a:off x="2005669"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25" name="object 525"/>
          <p:cNvSpPr/>
          <p:nvPr/>
        </p:nvSpPr>
        <p:spPr>
          <a:xfrm>
            <a:off x="1925274"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26" name="object 526"/>
          <p:cNvSpPr/>
          <p:nvPr/>
        </p:nvSpPr>
        <p:spPr>
          <a:xfrm>
            <a:off x="2065968"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27" name="object 527"/>
          <p:cNvSpPr/>
          <p:nvPr/>
        </p:nvSpPr>
        <p:spPr>
          <a:xfrm>
            <a:off x="2106168"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28" name="object 528"/>
          <p:cNvSpPr/>
          <p:nvPr/>
        </p:nvSpPr>
        <p:spPr>
          <a:xfrm>
            <a:off x="1965474"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29" name="object 529"/>
          <p:cNvSpPr/>
          <p:nvPr/>
        </p:nvSpPr>
        <p:spPr>
          <a:xfrm>
            <a:off x="1985572"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30" name="object 530"/>
          <p:cNvSpPr/>
          <p:nvPr/>
        </p:nvSpPr>
        <p:spPr>
          <a:xfrm>
            <a:off x="2086634" y="2427830"/>
            <a:ext cx="9531" cy="10108"/>
          </a:xfrm>
          <a:custGeom>
            <a:avLst/>
            <a:gdLst/>
            <a:ahLst/>
            <a:cxnLst/>
            <a:rect l="l" t="t" r="r" b="b"/>
            <a:pathLst>
              <a:path w="20954" h="22225">
                <a:moveTo>
                  <a:pt x="20847" y="0"/>
                </a:moveTo>
                <a:lnTo>
                  <a:pt x="0" y="0"/>
                </a:lnTo>
                <a:lnTo>
                  <a:pt x="2303" y="22093"/>
                </a:lnTo>
                <a:lnTo>
                  <a:pt x="20847" y="22093"/>
                </a:lnTo>
                <a:lnTo>
                  <a:pt x="20847" y="0"/>
                </a:lnTo>
                <a:close/>
              </a:path>
            </a:pathLst>
          </a:custGeom>
          <a:solidFill>
            <a:srgbClr val="258089"/>
          </a:solidFill>
        </p:spPr>
        <p:txBody>
          <a:bodyPr wrap="square" lIns="0" tIns="0" rIns="0" bIns="0" rtlCol="0"/>
          <a:lstStyle/>
          <a:p>
            <a:endParaRPr/>
          </a:p>
        </p:txBody>
      </p:sp>
      <p:sp>
        <p:nvSpPr>
          <p:cNvPr id="531" name="object 531"/>
          <p:cNvSpPr/>
          <p:nvPr/>
        </p:nvSpPr>
        <p:spPr>
          <a:xfrm>
            <a:off x="2025768"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32" name="object 532"/>
          <p:cNvSpPr/>
          <p:nvPr/>
        </p:nvSpPr>
        <p:spPr>
          <a:xfrm>
            <a:off x="1945371"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33" name="object 533"/>
          <p:cNvSpPr/>
          <p:nvPr/>
        </p:nvSpPr>
        <p:spPr>
          <a:xfrm>
            <a:off x="1920129" y="2427830"/>
            <a:ext cx="5199" cy="10108"/>
          </a:xfrm>
          <a:custGeom>
            <a:avLst/>
            <a:gdLst/>
            <a:ahLst/>
            <a:cxnLst/>
            <a:rect l="l" t="t" r="r" b="b"/>
            <a:pathLst>
              <a:path w="11429" h="22225">
                <a:moveTo>
                  <a:pt x="11308" y="0"/>
                </a:moveTo>
                <a:lnTo>
                  <a:pt x="575" y="0"/>
                </a:lnTo>
                <a:lnTo>
                  <a:pt x="0" y="22093"/>
                </a:lnTo>
                <a:lnTo>
                  <a:pt x="11308" y="22093"/>
                </a:lnTo>
                <a:lnTo>
                  <a:pt x="11308" y="0"/>
                </a:lnTo>
                <a:close/>
              </a:path>
            </a:pathLst>
          </a:custGeom>
          <a:solidFill>
            <a:srgbClr val="136C7D"/>
          </a:solidFill>
        </p:spPr>
        <p:txBody>
          <a:bodyPr wrap="square" lIns="0" tIns="0" rIns="0" bIns="0" rtlCol="0"/>
          <a:lstStyle/>
          <a:p>
            <a:endParaRPr/>
          </a:p>
        </p:txBody>
      </p:sp>
      <p:sp>
        <p:nvSpPr>
          <p:cNvPr id="534" name="object 534"/>
          <p:cNvSpPr/>
          <p:nvPr/>
        </p:nvSpPr>
        <p:spPr>
          <a:xfrm>
            <a:off x="1935323"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35" name="object 535"/>
          <p:cNvSpPr/>
          <p:nvPr/>
        </p:nvSpPr>
        <p:spPr>
          <a:xfrm>
            <a:off x="1955420"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36" name="object 536"/>
          <p:cNvSpPr/>
          <p:nvPr/>
        </p:nvSpPr>
        <p:spPr>
          <a:xfrm>
            <a:off x="1975523"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37" name="object 537"/>
          <p:cNvSpPr/>
          <p:nvPr/>
        </p:nvSpPr>
        <p:spPr>
          <a:xfrm>
            <a:off x="1995621"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38" name="object 538"/>
          <p:cNvSpPr/>
          <p:nvPr/>
        </p:nvSpPr>
        <p:spPr>
          <a:xfrm>
            <a:off x="2015719"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39" name="object 539"/>
          <p:cNvSpPr/>
          <p:nvPr/>
        </p:nvSpPr>
        <p:spPr>
          <a:xfrm>
            <a:off x="2035821"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40" name="object 540"/>
          <p:cNvSpPr/>
          <p:nvPr/>
        </p:nvSpPr>
        <p:spPr>
          <a:xfrm>
            <a:off x="2055918"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41" name="object 541"/>
          <p:cNvSpPr/>
          <p:nvPr/>
        </p:nvSpPr>
        <p:spPr>
          <a:xfrm>
            <a:off x="2076017" y="2427830"/>
            <a:ext cx="5488" cy="10108"/>
          </a:xfrm>
          <a:custGeom>
            <a:avLst/>
            <a:gdLst/>
            <a:ahLst/>
            <a:cxnLst/>
            <a:rect l="l" t="t" r="r" b="b"/>
            <a:pathLst>
              <a:path w="12064" h="22225">
                <a:moveTo>
                  <a:pt x="11517" y="0"/>
                </a:moveTo>
                <a:lnTo>
                  <a:pt x="0" y="0"/>
                </a:lnTo>
                <a:lnTo>
                  <a:pt x="0" y="22093"/>
                </a:lnTo>
                <a:lnTo>
                  <a:pt x="10805" y="22093"/>
                </a:lnTo>
                <a:lnTo>
                  <a:pt x="11517" y="0"/>
                </a:lnTo>
                <a:close/>
              </a:path>
            </a:pathLst>
          </a:custGeom>
          <a:solidFill>
            <a:srgbClr val="136C7D"/>
          </a:solidFill>
        </p:spPr>
        <p:txBody>
          <a:bodyPr wrap="square" lIns="0" tIns="0" rIns="0" bIns="0" rtlCol="0"/>
          <a:lstStyle/>
          <a:p>
            <a:endParaRPr/>
          </a:p>
        </p:txBody>
      </p:sp>
      <p:sp>
        <p:nvSpPr>
          <p:cNvPr id="542" name="object 542"/>
          <p:cNvSpPr/>
          <p:nvPr/>
        </p:nvSpPr>
        <p:spPr>
          <a:xfrm>
            <a:off x="2096114" y="242782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43" name="object 543"/>
          <p:cNvSpPr/>
          <p:nvPr/>
        </p:nvSpPr>
        <p:spPr>
          <a:xfrm>
            <a:off x="2116215" y="2427828"/>
            <a:ext cx="6642" cy="10108"/>
          </a:xfrm>
          <a:custGeom>
            <a:avLst/>
            <a:gdLst/>
            <a:ahLst/>
            <a:cxnLst/>
            <a:rect l="l" t="t" r="r" b="b"/>
            <a:pathLst>
              <a:path w="14604" h="22225">
                <a:moveTo>
                  <a:pt x="12397" y="0"/>
                </a:moveTo>
                <a:lnTo>
                  <a:pt x="0" y="0"/>
                </a:lnTo>
                <a:lnTo>
                  <a:pt x="0" y="22093"/>
                </a:lnTo>
                <a:lnTo>
                  <a:pt x="14072" y="22093"/>
                </a:lnTo>
                <a:lnTo>
                  <a:pt x="12397" y="0"/>
                </a:lnTo>
                <a:close/>
              </a:path>
            </a:pathLst>
          </a:custGeom>
          <a:solidFill>
            <a:srgbClr val="136C7D"/>
          </a:solidFill>
        </p:spPr>
        <p:txBody>
          <a:bodyPr wrap="square" lIns="0" tIns="0" rIns="0" bIns="0" rtlCol="0"/>
          <a:lstStyle/>
          <a:p>
            <a:endParaRPr/>
          </a:p>
        </p:txBody>
      </p:sp>
      <p:sp>
        <p:nvSpPr>
          <p:cNvPr id="544" name="object 544"/>
          <p:cNvSpPr/>
          <p:nvPr/>
        </p:nvSpPr>
        <p:spPr>
          <a:xfrm>
            <a:off x="2106168"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45" name="object 545"/>
          <p:cNvSpPr/>
          <p:nvPr/>
        </p:nvSpPr>
        <p:spPr>
          <a:xfrm>
            <a:off x="1945371"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46" name="object 546"/>
          <p:cNvSpPr/>
          <p:nvPr/>
        </p:nvSpPr>
        <p:spPr>
          <a:xfrm>
            <a:off x="2088734" y="2447925"/>
            <a:ext cx="7509" cy="10108"/>
          </a:xfrm>
          <a:custGeom>
            <a:avLst/>
            <a:gdLst/>
            <a:ahLst/>
            <a:cxnLst/>
            <a:rect l="l" t="t" r="r" b="b"/>
            <a:pathLst>
              <a:path w="16510" h="22225">
                <a:moveTo>
                  <a:pt x="16229" y="0"/>
                </a:moveTo>
                <a:lnTo>
                  <a:pt x="0" y="0"/>
                </a:lnTo>
                <a:lnTo>
                  <a:pt x="2303" y="22093"/>
                </a:lnTo>
                <a:lnTo>
                  <a:pt x="16229" y="22093"/>
                </a:lnTo>
                <a:lnTo>
                  <a:pt x="16229" y="0"/>
                </a:lnTo>
                <a:close/>
              </a:path>
            </a:pathLst>
          </a:custGeom>
          <a:solidFill>
            <a:srgbClr val="258089"/>
          </a:solidFill>
        </p:spPr>
        <p:txBody>
          <a:bodyPr wrap="square" lIns="0" tIns="0" rIns="0" bIns="0" rtlCol="0"/>
          <a:lstStyle/>
          <a:p>
            <a:endParaRPr/>
          </a:p>
        </p:txBody>
      </p:sp>
      <p:sp>
        <p:nvSpPr>
          <p:cNvPr id="547" name="object 547"/>
          <p:cNvSpPr/>
          <p:nvPr/>
        </p:nvSpPr>
        <p:spPr>
          <a:xfrm>
            <a:off x="2025768"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48" name="object 548"/>
          <p:cNvSpPr/>
          <p:nvPr/>
        </p:nvSpPr>
        <p:spPr>
          <a:xfrm>
            <a:off x="2005669"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49" name="object 549"/>
          <p:cNvSpPr/>
          <p:nvPr/>
        </p:nvSpPr>
        <p:spPr>
          <a:xfrm>
            <a:off x="2045870"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50" name="object 550"/>
          <p:cNvSpPr/>
          <p:nvPr/>
        </p:nvSpPr>
        <p:spPr>
          <a:xfrm>
            <a:off x="1985572"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51" name="object 551"/>
          <p:cNvSpPr/>
          <p:nvPr/>
        </p:nvSpPr>
        <p:spPr>
          <a:xfrm>
            <a:off x="2065968"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52" name="object 552"/>
          <p:cNvSpPr/>
          <p:nvPr/>
        </p:nvSpPr>
        <p:spPr>
          <a:xfrm>
            <a:off x="1925274"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53" name="object 553"/>
          <p:cNvSpPr/>
          <p:nvPr/>
        </p:nvSpPr>
        <p:spPr>
          <a:xfrm>
            <a:off x="1965474"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54" name="object 554"/>
          <p:cNvSpPr/>
          <p:nvPr/>
        </p:nvSpPr>
        <p:spPr>
          <a:xfrm>
            <a:off x="1919586" y="2447926"/>
            <a:ext cx="5776" cy="10108"/>
          </a:xfrm>
          <a:custGeom>
            <a:avLst/>
            <a:gdLst/>
            <a:ahLst/>
            <a:cxnLst/>
            <a:rect l="l" t="t" r="r" b="b"/>
            <a:pathLst>
              <a:path w="12700" h="22225">
                <a:moveTo>
                  <a:pt x="12502" y="0"/>
                </a:moveTo>
                <a:lnTo>
                  <a:pt x="628" y="0"/>
                </a:lnTo>
                <a:lnTo>
                  <a:pt x="198" y="16365"/>
                </a:lnTo>
                <a:lnTo>
                  <a:pt x="0" y="22093"/>
                </a:lnTo>
                <a:lnTo>
                  <a:pt x="12502" y="22093"/>
                </a:lnTo>
                <a:lnTo>
                  <a:pt x="12502" y="0"/>
                </a:lnTo>
                <a:close/>
              </a:path>
            </a:pathLst>
          </a:custGeom>
          <a:solidFill>
            <a:srgbClr val="136C7D"/>
          </a:solidFill>
        </p:spPr>
        <p:txBody>
          <a:bodyPr wrap="square" lIns="0" tIns="0" rIns="0" bIns="0" rtlCol="0"/>
          <a:lstStyle/>
          <a:p>
            <a:endParaRPr/>
          </a:p>
        </p:txBody>
      </p:sp>
      <p:sp>
        <p:nvSpPr>
          <p:cNvPr id="555" name="object 555"/>
          <p:cNvSpPr/>
          <p:nvPr/>
        </p:nvSpPr>
        <p:spPr>
          <a:xfrm>
            <a:off x="1935323"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56" name="object 556"/>
          <p:cNvSpPr/>
          <p:nvPr/>
        </p:nvSpPr>
        <p:spPr>
          <a:xfrm>
            <a:off x="1955420"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57" name="object 557"/>
          <p:cNvSpPr/>
          <p:nvPr/>
        </p:nvSpPr>
        <p:spPr>
          <a:xfrm>
            <a:off x="1975523"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58" name="object 558"/>
          <p:cNvSpPr/>
          <p:nvPr/>
        </p:nvSpPr>
        <p:spPr>
          <a:xfrm>
            <a:off x="1995621"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59" name="object 559"/>
          <p:cNvSpPr/>
          <p:nvPr/>
        </p:nvSpPr>
        <p:spPr>
          <a:xfrm>
            <a:off x="2015719"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60" name="object 560"/>
          <p:cNvSpPr/>
          <p:nvPr/>
        </p:nvSpPr>
        <p:spPr>
          <a:xfrm>
            <a:off x="2035821"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61" name="object 561"/>
          <p:cNvSpPr/>
          <p:nvPr/>
        </p:nvSpPr>
        <p:spPr>
          <a:xfrm>
            <a:off x="2055918"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62" name="object 562"/>
          <p:cNvSpPr/>
          <p:nvPr/>
        </p:nvSpPr>
        <p:spPr>
          <a:xfrm>
            <a:off x="2076017" y="2447925"/>
            <a:ext cx="4621" cy="10108"/>
          </a:xfrm>
          <a:custGeom>
            <a:avLst/>
            <a:gdLst/>
            <a:ahLst/>
            <a:cxnLst/>
            <a:rect l="l" t="t" r="r" b="b"/>
            <a:pathLst>
              <a:path w="10160" h="22225">
                <a:moveTo>
                  <a:pt x="10093" y="0"/>
                </a:moveTo>
                <a:lnTo>
                  <a:pt x="0" y="0"/>
                </a:lnTo>
                <a:lnTo>
                  <a:pt x="0" y="22093"/>
                </a:lnTo>
                <a:lnTo>
                  <a:pt x="9371" y="22093"/>
                </a:lnTo>
                <a:lnTo>
                  <a:pt x="10093" y="0"/>
                </a:lnTo>
                <a:close/>
              </a:path>
            </a:pathLst>
          </a:custGeom>
          <a:solidFill>
            <a:srgbClr val="136C7D"/>
          </a:solidFill>
        </p:spPr>
        <p:txBody>
          <a:bodyPr wrap="square" lIns="0" tIns="0" rIns="0" bIns="0" rtlCol="0"/>
          <a:lstStyle/>
          <a:p>
            <a:endParaRPr/>
          </a:p>
        </p:txBody>
      </p:sp>
      <p:sp>
        <p:nvSpPr>
          <p:cNvPr id="563" name="object 563"/>
          <p:cNvSpPr/>
          <p:nvPr/>
        </p:nvSpPr>
        <p:spPr>
          <a:xfrm>
            <a:off x="2096114" y="2447925"/>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64" name="object 564"/>
          <p:cNvSpPr/>
          <p:nvPr/>
        </p:nvSpPr>
        <p:spPr>
          <a:xfrm>
            <a:off x="2116216" y="2447923"/>
            <a:ext cx="8087" cy="10108"/>
          </a:xfrm>
          <a:custGeom>
            <a:avLst/>
            <a:gdLst/>
            <a:ahLst/>
            <a:cxnLst/>
            <a:rect l="l" t="t" r="r" b="b"/>
            <a:pathLst>
              <a:path w="17779" h="22225">
                <a:moveTo>
                  <a:pt x="15758" y="0"/>
                </a:moveTo>
                <a:lnTo>
                  <a:pt x="0" y="0"/>
                </a:lnTo>
                <a:lnTo>
                  <a:pt x="0" y="22093"/>
                </a:lnTo>
                <a:lnTo>
                  <a:pt x="17308" y="22093"/>
                </a:lnTo>
                <a:lnTo>
                  <a:pt x="17182" y="18711"/>
                </a:lnTo>
                <a:lnTo>
                  <a:pt x="15758" y="0"/>
                </a:lnTo>
                <a:close/>
              </a:path>
            </a:pathLst>
          </a:custGeom>
          <a:solidFill>
            <a:srgbClr val="136C7D"/>
          </a:solidFill>
        </p:spPr>
        <p:txBody>
          <a:bodyPr wrap="square" lIns="0" tIns="0" rIns="0" bIns="0" rtlCol="0"/>
          <a:lstStyle/>
          <a:p>
            <a:endParaRPr/>
          </a:p>
        </p:txBody>
      </p:sp>
      <p:sp>
        <p:nvSpPr>
          <p:cNvPr id="565" name="object 565"/>
          <p:cNvSpPr/>
          <p:nvPr/>
        </p:nvSpPr>
        <p:spPr>
          <a:xfrm>
            <a:off x="1965474"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66" name="object 566"/>
          <p:cNvSpPr/>
          <p:nvPr/>
        </p:nvSpPr>
        <p:spPr>
          <a:xfrm>
            <a:off x="1925274"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67" name="object 567"/>
          <p:cNvSpPr/>
          <p:nvPr/>
        </p:nvSpPr>
        <p:spPr>
          <a:xfrm>
            <a:off x="2045870"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68" name="object 568"/>
          <p:cNvSpPr/>
          <p:nvPr/>
        </p:nvSpPr>
        <p:spPr>
          <a:xfrm>
            <a:off x="2065968"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69" name="object 569"/>
          <p:cNvSpPr/>
          <p:nvPr/>
        </p:nvSpPr>
        <p:spPr>
          <a:xfrm>
            <a:off x="2005669"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70" name="object 570"/>
          <p:cNvSpPr/>
          <p:nvPr/>
        </p:nvSpPr>
        <p:spPr>
          <a:xfrm>
            <a:off x="2090865" y="2468025"/>
            <a:ext cx="5488" cy="10108"/>
          </a:xfrm>
          <a:custGeom>
            <a:avLst/>
            <a:gdLst/>
            <a:ahLst/>
            <a:cxnLst/>
            <a:rect l="l" t="t" r="r" b="b"/>
            <a:pathLst>
              <a:path w="12064" h="22225">
                <a:moveTo>
                  <a:pt x="11549" y="0"/>
                </a:moveTo>
                <a:lnTo>
                  <a:pt x="0" y="0"/>
                </a:lnTo>
                <a:lnTo>
                  <a:pt x="2806" y="22093"/>
                </a:lnTo>
                <a:lnTo>
                  <a:pt x="11549" y="22093"/>
                </a:lnTo>
                <a:lnTo>
                  <a:pt x="11549" y="0"/>
                </a:lnTo>
                <a:close/>
              </a:path>
            </a:pathLst>
          </a:custGeom>
          <a:solidFill>
            <a:srgbClr val="258089"/>
          </a:solidFill>
        </p:spPr>
        <p:txBody>
          <a:bodyPr wrap="square" lIns="0" tIns="0" rIns="0" bIns="0" rtlCol="0"/>
          <a:lstStyle/>
          <a:p>
            <a:endParaRPr/>
          </a:p>
        </p:txBody>
      </p:sp>
      <p:sp>
        <p:nvSpPr>
          <p:cNvPr id="571" name="object 571"/>
          <p:cNvSpPr/>
          <p:nvPr/>
        </p:nvSpPr>
        <p:spPr>
          <a:xfrm>
            <a:off x="1945372" y="2468025"/>
            <a:ext cx="10109" cy="10108"/>
          </a:xfrm>
          <a:custGeom>
            <a:avLst/>
            <a:gdLst/>
            <a:ahLst/>
            <a:cxnLst/>
            <a:rect l="l" t="t" r="r" b="b"/>
            <a:pathLst>
              <a:path w="22225" h="22225">
                <a:moveTo>
                  <a:pt x="22093" y="0"/>
                </a:moveTo>
                <a:lnTo>
                  <a:pt x="0" y="0"/>
                </a:lnTo>
                <a:lnTo>
                  <a:pt x="0" y="22093"/>
                </a:lnTo>
                <a:lnTo>
                  <a:pt x="11444" y="22093"/>
                </a:lnTo>
                <a:lnTo>
                  <a:pt x="12638" y="14502"/>
                </a:lnTo>
                <a:lnTo>
                  <a:pt x="22093" y="14502"/>
                </a:lnTo>
                <a:lnTo>
                  <a:pt x="22093" y="0"/>
                </a:lnTo>
                <a:close/>
              </a:path>
              <a:path w="22225" h="22225">
                <a:moveTo>
                  <a:pt x="22093" y="14502"/>
                </a:moveTo>
                <a:lnTo>
                  <a:pt x="12638" y="14502"/>
                </a:lnTo>
                <a:lnTo>
                  <a:pt x="12093" y="22093"/>
                </a:lnTo>
                <a:lnTo>
                  <a:pt x="22093" y="22093"/>
                </a:lnTo>
                <a:lnTo>
                  <a:pt x="22093" y="14502"/>
                </a:lnTo>
                <a:close/>
              </a:path>
            </a:pathLst>
          </a:custGeom>
          <a:solidFill>
            <a:srgbClr val="258089"/>
          </a:solidFill>
        </p:spPr>
        <p:txBody>
          <a:bodyPr wrap="square" lIns="0" tIns="0" rIns="0" bIns="0" rtlCol="0"/>
          <a:lstStyle/>
          <a:p>
            <a:endParaRPr/>
          </a:p>
        </p:txBody>
      </p:sp>
      <p:sp>
        <p:nvSpPr>
          <p:cNvPr id="572" name="object 572"/>
          <p:cNvSpPr/>
          <p:nvPr/>
        </p:nvSpPr>
        <p:spPr>
          <a:xfrm>
            <a:off x="1985572"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73" name="object 573"/>
          <p:cNvSpPr/>
          <p:nvPr/>
        </p:nvSpPr>
        <p:spPr>
          <a:xfrm>
            <a:off x="2106168"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74" name="object 574"/>
          <p:cNvSpPr/>
          <p:nvPr/>
        </p:nvSpPr>
        <p:spPr>
          <a:xfrm>
            <a:off x="2025768"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75" name="object 575"/>
          <p:cNvSpPr/>
          <p:nvPr/>
        </p:nvSpPr>
        <p:spPr>
          <a:xfrm>
            <a:off x="1918884" y="2468025"/>
            <a:ext cx="6642" cy="10108"/>
          </a:xfrm>
          <a:custGeom>
            <a:avLst/>
            <a:gdLst/>
            <a:ahLst/>
            <a:cxnLst/>
            <a:rect l="l" t="t" r="r" b="b"/>
            <a:pathLst>
              <a:path w="14604" h="22225">
                <a:moveTo>
                  <a:pt x="14051" y="0"/>
                </a:moveTo>
                <a:lnTo>
                  <a:pt x="764" y="0"/>
                </a:lnTo>
                <a:lnTo>
                  <a:pt x="0" y="22093"/>
                </a:lnTo>
                <a:lnTo>
                  <a:pt x="14051" y="22093"/>
                </a:lnTo>
                <a:lnTo>
                  <a:pt x="14051" y="0"/>
                </a:lnTo>
                <a:close/>
              </a:path>
            </a:pathLst>
          </a:custGeom>
          <a:solidFill>
            <a:srgbClr val="136C7D"/>
          </a:solidFill>
        </p:spPr>
        <p:txBody>
          <a:bodyPr wrap="square" lIns="0" tIns="0" rIns="0" bIns="0" rtlCol="0"/>
          <a:lstStyle/>
          <a:p>
            <a:endParaRPr/>
          </a:p>
        </p:txBody>
      </p:sp>
      <p:sp>
        <p:nvSpPr>
          <p:cNvPr id="576" name="object 576"/>
          <p:cNvSpPr/>
          <p:nvPr/>
        </p:nvSpPr>
        <p:spPr>
          <a:xfrm>
            <a:off x="1935323"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77" name="object 577"/>
          <p:cNvSpPr/>
          <p:nvPr/>
        </p:nvSpPr>
        <p:spPr>
          <a:xfrm>
            <a:off x="1955420"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78" name="object 578"/>
          <p:cNvSpPr/>
          <p:nvPr/>
        </p:nvSpPr>
        <p:spPr>
          <a:xfrm>
            <a:off x="1975523"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79" name="object 579"/>
          <p:cNvSpPr/>
          <p:nvPr/>
        </p:nvSpPr>
        <p:spPr>
          <a:xfrm>
            <a:off x="1995621"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80" name="object 580"/>
          <p:cNvSpPr/>
          <p:nvPr/>
        </p:nvSpPr>
        <p:spPr>
          <a:xfrm>
            <a:off x="2015719"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81" name="object 581"/>
          <p:cNvSpPr/>
          <p:nvPr/>
        </p:nvSpPr>
        <p:spPr>
          <a:xfrm>
            <a:off x="2035821"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82" name="object 582"/>
          <p:cNvSpPr/>
          <p:nvPr/>
        </p:nvSpPr>
        <p:spPr>
          <a:xfrm>
            <a:off x="2055918"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83" name="object 583"/>
          <p:cNvSpPr/>
          <p:nvPr/>
        </p:nvSpPr>
        <p:spPr>
          <a:xfrm>
            <a:off x="2076018" y="2468023"/>
            <a:ext cx="4332" cy="10108"/>
          </a:xfrm>
          <a:custGeom>
            <a:avLst/>
            <a:gdLst/>
            <a:ahLst/>
            <a:cxnLst/>
            <a:rect l="l" t="t" r="r" b="b"/>
            <a:pathLst>
              <a:path w="9525" h="22225">
                <a:moveTo>
                  <a:pt x="8659" y="0"/>
                </a:moveTo>
                <a:lnTo>
                  <a:pt x="0" y="0"/>
                </a:lnTo>
                <a:lnTo>
                  <a:pt x="0" y="22093"/>
                </a:lnTo>
                <a:lnTo>
                  <a:pt x="9497" y="22093"/>
                </a:lnTo>
                <a:lnTo>
                  <a:pt x="8313" y="10711"/>
                </a:lnTo>
                <a:lnTo>
                  <a:pt x="8659" y="0"/>
                </a:lnTo>
                <a:close/>
              </a:path>
            </a:pathLst>
          </a:custGeom>
          <a:solidFill>
            <a:srgbClr val="136C7D"/>
          </a:solidFill>
        </p:spPr>
        <p:txBody>
          <a:bodyPr wrap="square" lIns="0" tIns="0" rIns="0" bIns="0" rtlCol="0"/>
          <a:lstStyle/>
          <a:p>
            <a:endParaRPr/>
          </a:p>
        </p:txBody>
      </p:sp>
      <p:sp>
        <p:nvSpPr>
          <p:cNvPr id="584" name="object 584"/>
          <p:cNvSpPr/>
          <p:nvPr/>
        </p:nvSpPr>
        <p:spPr>
          <a:xfrm>
            <a:off x="2096114" y="246802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85" name="object 585"/>
          <p:cNvSpPr/>
          <p:nvPr/>
        </p:nvSpPr>
        <p:spPr>
          <a:xfrm>
            <a:off x="2116215" y="2468023"/>
            <a:ext cx="8665" cy="10108"/>
          </a:xfrm>
          <a:custGeom>
            <a:avLst/>
            <a:gdLst/>
            <a:ahLst/>
            <a:cxnLst/>
            <a:rect l="l" t="t" r="r" b="b"/>
            <a:pathLst>
              <a:path w="19050" h="22225">
                <a:moveTo>
                  <a:pt x="18114" y="0"/>
                </a:moveTo>
                <a:lnTo>
                  <a:pt x="0" y="0"/>
                </a:lnTo>
                <a:lnTo>
                  <a:pt x="0" y="22093"/>
                </a:lnTo>
                <a:lnTo>
                  <a:pt x="18931" y="22093"/>
                </a:lnTo>
                <a:lnTo>
                  <a:pt x="18114" y="0"/>
                </a:lnTo>
                <a:close/>
              </a:path>
            </a:pathLst>
          </a:custGeom>
          <a:solidFill>
            <a:srgbClr val="136C7D"/>
          </a:solidFill>
        </p:spPr>
        <p:txBody>
          <a:bodyPr wrap="square" lIns="0" tIns="0" rIns="0" bIns="0" rtlCol="0"/>
          <a:lstStyle/>
          <a:p>
            <a:endParaRPr/>
          </a:p>
        </p:txBody>
      </p:sp>
      <p:sp>
        <p:nvSpPr>
          <p:cNvPr id="586" name="object 586"/>
          <p:cNvSpPr/>
          <p:nvPr/>
        </p:nvSpPr>
        <p:spPr>
          <a:xfrm>
            <a:off x="1945372" y="2488120"/>
            <a:ext cx="3755" cy="10108"/>
          </a:xfrm>
          <a:custGeom>
            <a:avLst/>
            <a:gdLst/>
            <a:ahLst/>
            <a:cxnLst/>
            <a:rect l="l" t="t" r="r" b="b"/>
            <a:pathLst>
              <a:path w="8254" h="22225">
                <a:moveTo>
                  <a:pt x="7989" y="0"/>
                </a:moveTo>
                <a:lnTo>
                  <a:pt x="0" y="0"/>
                </a:lnTo>
                <a:lnTo>
                  <a:pt x="0" y="22093"/>
                </a:lnTo>
                <a:lnTo>
                  <a:pt x="4523" y="22093"/>
                </a:lnTo>
                <a:lnTo>
                  <a:pt x="7989" y="0"/>
                </a:lnTo>
                <a:close/>
              </a:path>
            </a:pathLst>
          </a:custGeom>
          <a:solidFill>
            <a:srgbClr val="258089"/>
          </a:solidFill>
        </p:spPr>
        <p:txBody>
          <a:bodyPr wrap="square" lIns="0" tIns="0" rIns="0" bIns="0" rtlCol="0"/>
          <a:lstStyle/>
          <a:p>
            <a:endParaRPr/>
          </a:p>
        </p:txBody>
      </p:sp>
      <p:sp>
        <p:nvSpPr>
          <p:cNvPr id="587" name="object 587"/>
          <p:cNvSpPr/>
          <p:nvPr/>
        </p:nvSpPr>
        <p:spPr>
          <a:xfrm>
            <a:off x="2065968"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88" name="object 588"/>
          <p:cNvSpPr/>
          <p:nvPr/>
        </p:nvSpPr>
        <p:spPr>
          <a:xfrm>
            <a:off x="1949441" y="2488120"/>
            <a:ext cx="6065" cy="10108"/>
          </a:xfrm>
          <a:custGeom>
            <a:avLst/>
            <a:gdLst/>
            <a:ahLst/>
            <a:cxnLst/>
            <a:rect l="l" t="t" r="r" b="b"/>
            <a:pathLst>
              <a:path w="13335" h="22225">
                <a:moveTo>
                  <a:pt x="13151" y="0"/>
                </a:moveTo>
                <a:lnTo>
                  <a:pt x="1570" y="0"/>
                </a:lnTo>
                <a:lnTo>
                  <a:pt x="0" y="22093"/>
                </a:lnTo>
                <a:lnTo>
                  <a:pt x="13151" y="22093"/>
                </a:lnTo>
                <a:lnTo>
                  <a:pt x="13151" y="0"/>
                </a:lnTo>
                <a:close/>
              </a:path>
            </a:pathLst>
          </a:custGeom>
          <a:solidFill>
            <a:srgbClr val="258089"/>
          </a:solidFill>
        </p:spPr>
        <p:txBody>
          <a:bodyPr wrap="square" lIns="0" tIns="0" rIns="0" bIns="0" rtlCol="0"/>
          <a:lstStyle/>
          <a:p>
            <a:endParaRPr/>
          </a:p>
        </p:txBody>
      </p:sp>
      <p:sp>
        <p:nvSpPr>
          <p:cNvPr id="589" name="object 589"/>
          <p:cNvSpPr/>
          <p:nvPr/>
        </p:nvSpPr>
        <p:spPr>
          <a:xfrm>
            <a:off x="1925274"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90" name="object 590"/>
          <p:cNvSpPr/>
          <p:nvPr/>
        </p:nvSpPr>
        <p:spPr>
          <a:xfrm>
            <a:off x="2025768"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91" name="object 591"/>
          <p:cNvSpPr/>
          <p:nvPr/>
        </p:nvSpPr>
        <p:spPr>
          <a:xfrm>
            <a:off x="2045870"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92" name="object 592"/>
          <p:cNvSpPr/>
          <p:nvPr/>
        </p:nvSpPr>
        <p:spPr>
          <a:xfrm>
            <a:off x="2005669"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93" name="object 593"/>
          <p:cNvSpPr/>
          <p:nvPr/>
        </p:nvSpPr>
        <p:spPr>
          <a:xfrm>
            <a:off x="2093418" y="2488120"/>
            <a:ext cx="2888" cy="10108"/>
          </a:xfrm>
          <a:custGeom>
            <a:avLst/>
            <a:gdLst/>
            <a:ahLst/>
            <a:cxnLst/>
            <a:rect l="l" t="t" r="r" b="b"/>
            <a:pathLst>
              <a:path w="6350" h="22225">
                <a:moveTo>
                  <a:pt x="5936" y="0"/>
                </a:moveTo>
                <a:lnTo>
                  <a:pt x="0" y="0"/>
                </a:lnTo>
                <a:lnTo>
                  <a:pt x="2806" y="22093"/>
                </a:lnTo>
                <a:lnTo>
                  <a:pt x="5936" y="22093"/>
                </a:lnTo>
                <a:lnTo>
                  <a:pt x="5936" y="0"/>
                </a:lnTo>
                <a:close/>
              </a:path>
            </a:pathLst>
          </a:custGeom>
          <a:solidFill>
            <a:srgbClr val="258089"/>
          </a:solidFill>
        </p:spPr>
        <p:txBody>
          <a:bodyPr wrap="square" lIns="0" tIns="0" rIns="0" bIns="0" rtlCol="0"/>
          <a:lstStyle/>
          <a:p>
            <a:endParaRPr/>
          </a:p>
        </p:txBody>
      </p:sp>
      <p:sp>
        <p:nvSpPr>
          <p:cNvPr id="594" name="object 594"/>
          <p:cNvSpPr/>
          <p:nvPr/>
        </p:nvSpPr>
        <p:spPr>
          <a:xfrm>
            <a:off x="1985572"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95" name="object 595"/>
          <p:cNvSpPr/>
          <p:nvPr/>
        </p:nvSpPr>
        <p:spPr>
          <a:xfrm>
            <a:off x="2106168"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96" name="object 596"/>
          <p:cNvSpPr/>
          <p:nvPr/>
        </p:nvSpPr>
        <p:spPr>
          <a:xfrm>
            <a:off x="1965474"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597" name="object 597"/>
          <p:cNvSpPr/>
          <p:nvPr/>
        </p:nvSpPr>
        <p:spPr>
          <a:xfrm>
            <a:off x="1918184" y="2488120"/>
            <a:ext cx="7220" cy="10108"/>
          </a:xfrm>
          <a:custGeom>
            <a:avLst/>
            <a:gdLst/>
            <a:ahLst/>
            <a:cxnLst/>
            <a:rect l="l" t="t" r="r" b="b"/>
            <a:pathLst>
              <a:path w="15875" h="22225">
                <a:moveTo>
                  <a:pt x="15591" y="0"/>
                </a:moveTo>
                <a:lnTo>
                  <a:pt x="774" y="0"/>
                </a:lnTo>
                <a:lnTo>
                  <a:pt x="0" y="22093"/>
                </a:lnTo>
                <a:lnTo>
                  <a:pt x="15591" y="22093"/>
                </a:lnTo>
                <a:lnTo>
                  <a:pt x="15591" y="0"/>
                </a:lnTo>
                <a:close/>
              </a:path>
            </a:pathLst>
          </a:custGeom>
          <a:solidFill>
            <a:srgbClr val="136C7D"/>
          </a:solidFill>
        </p:spPr>
        <p:txBody>
          <a:bodyPr wrap="square" lIns="0" tIns="0" rIns="0" bIns="0" rtlCol="0"/>
          <a:lstStyle/>
          <a:p>
            <a:endParaRPr/>
          </a:p>
        </p:txBody>
      </p:sp>
      <p:sp>
        <p:nvSpPr>
          <p:cNvPr id="598" name="object 598"/>
          <p:cNvSpPr/>
          <p:nvPr/>
        </p:nvSpPr>
        <p:spPr>
          <a:xfrm>
            <a:off x="1935323"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599" name="object 599"/>
          <p:cNvSpPr/>
          <p:nvPr/>
        </p:nvSpPr>
        <p:spPr>
          <a:xfrm>
            <a:off x="1955420"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00" name="object 600"/>
          <p:cNvSpPr/>
          <p:nvPr/>
        </p:nvSpPr>
        <p:spPr>
          <a:xfrm>
            <a:off x="1975523"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01" name="object 601"/>
          <p:cNvSpPr/>
          <p:nvPr/>
        </p:nvSpPr>
        <p:spPr>
          <a:xfrm>
            <a:off x="1995621"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02" name="object 602"/>
          <p:cNvSpPr/>
          <p:nvPr/>
        </p:nvSpPr>
        <p:spPr>
          <a:xfrm>
            <a:off x="2015719"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03" name="object 603"/>
          <p:cNvSpPr/>
          <p:nvPr/>
        </p:nvSpPr>
        <p:spPr>
          <a:xfrm>
            <a:off x="2035821"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04" name="object 604"/>
          <p:cNvSpPr/>
          <p:nvPr/>
        </p:nvSpPr>
        <p:spPr>
          <a:xfrm>
            <a:off x="2055918"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05" name="object 605"/>
          <p:cNvSpPr/>
          <p:nvPr/>
        </p:nvSpPr>
        <p:spPr>
          <a:xfrm>
            <a:off x="2076017" y="2488118"/>
            <a:ext cx="6642" cy="10108"/>
          </a:xfrm>
          <a:custGeom>
            <a:avLst/>
            <a:gdLst/>
            <a:ahLst/>
            <a:cxnLst/>
            <a:rect l="l" t="t" r="r" b="b"/>
            <a:pathLst>
              <a:path w="14604" h="22225">
                <a:moveTo>
                  <a:pt x="11811" y="0"/>
                </a:moveTo>
                <a:lnTo>
                  <a:pt x="0" y="0"/>
                </a:lnTo>
                <a:lnTo>
                  <a:pt x="0" y="22093"/>
                </a:lnTo>
                <a:lnTo>
                  <a:pt x="14114" y="22093"/>
                </a:lnTo>
                <a:lnTo>
                  <a:pt x="11811" y="0"/>
                </a:lnTo>
                <a:close/>
              </a:path>
            </a:pathLst>
          </a:custGeom>
          <a:solidFill>
            <a:srgbClr val="136C7D"/>
          </a:solidFill>
        </p:spPr>
        <p:txBody>
          <a:bodyPr wrap="square" lIns="0" tIns="0" rIns="0" bIns="0" rtlCol="0"/>
          <a:lstStyle/>
          <a:p>
            <a:endParaRPr/>
          </a:p>
        </p:txBody>
      </p:sp>
      <p:sp>
        <p:nvSpPr>
          <p:cNvPr id="606" name="object 606"/>
          <p:cNvSpPr/>
          <p:nvPr/>
        </p:nvSpPr>
        <p:spPr>
          <a:xfrm>
            <a:off x="2096114" y="2488117"/>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07" name="object 607"/>
          <p:cNvSpPr/>
          <p:nvPr/>
        </p:nvSpPr>
        <p:spPr>
          <a:xfrm>
            <a:off x="2116215" y="2488118"/>
            <a:ext cx="9531" cy="10108"/>
          </a:xfrm>
          <a:custGeom>
            <a:avLst/>
            <a:gdLst/>
            <a:ahLst/>
            <a:cxnLst/>
            <a:rect l="l" t="t" r="r" b="b"/>
            <a:pathLst>
              <a:path w="20954" h="22225">
                <a:moveTo>
                  <a:pt x="19737" y="0"/>
                </a:moveTo>
                <a:lnTo>
                  <a:pt x="0" y="0"/>
                </a:lnTo>
                <a:lnTo>
                  <a:pt x="0" y="22093"/>
                </a:lnTo>
                <a:lnTo>
                  <a:pt x="20543" y="22093"/>
                </a:lnTo>
                <a:lnTo>
                  <a:pt x="19737" y="0"/>
                </a:lnTo>
                <a:close/>
              </a:path>
            </a:pathLst>
          </a:custGeom>
          <a:solidFill>
            <a:srgbClr val="136C7D"/>
          </a:solidFill>
        </p:spPr>
        <p:txBody>
          <a:bodyPr wrap="square" lIns="0" tIns="0" rIns="0" bIns="0" rtlCol="0"/>
          <a:lstStyle/>
          <a:p>
            <a:endParaRPr/>
          </a:p>
        </p:txBody>
      </p:sp>
      <p:sp>
        <p:nvSpPr>
          <p:cNvPr id="608" name="object 608"/>
          <p:cNvSpPr/>
          <p:nvPr/>
        </p:nvSpPr>
        <p:spPr>
          <a:xfrm>
            <a:off x="2065968"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09" name="object 609"/>
          <p:cNvSpPr/>
          <p:nvPr/>
        </p:nvSpPr>
        <p:spPr>
          <a:xfrm>
            <a:off x="2106168"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10" name="object 610"/>
          <p:cNvSpPr/>
          <p:nvPr/>
        </p:nvSpPr>
        <p:spPr>
          <a:xfrm>
            <a:off x="1945372" y="2508219"/>
            <a:ext cx="578" cy="3177"/>
          </a:xfrm>
          <a:custGeom>
            <a:avLst/>
            <a:gdLst/>
            <a:ahLst/>
            <a:cxnLst/>
            <a:rect l="l" t="t" r="r" b="b"/>
            <a:pathLst>
              <a:path w="1270" h="6985">
                <a:moveTo>
                  <a:pt x="1068" y="0"/>
                </a:moveTo>
                <a:lnTo>
                  <a:pt x="0" y="0"/>
                </a:lnTo>
                <a:lnTo>
                  <a:pt x="0" y="6816"/>
                </a:lnTo>
                <a:lnTo>
                  <a:pt x="1068" y="0"/>
                </a:lnTo>
                <a:close/>
              </a:path>
            </a:pathLst>
          </a:custGeom>
          <a:solidFill>
            <a:srgbClr val="258089"/>
          </a:solidFill>
        </p:spPr>
        <p:txBody>
          <a:bodyPr wrap="square" lIns="0" tIns="0" rIns="0" bIns="0" rtlCol="0"/>
          <a:lstStyle/>
          <a:p>
            <a:endParaRPr/>
          </a:p>
        </p:txBody>
      </p:sp>
      <p:sp>
        <p:nvSpPr>
          <p:cNvPr id="611" name="object 611"/>
          <p:cNvSpPr/>
          <p:nvPr/>
        </p:nvSpPr>
        <p:spPr>
          <a:xfrm>
            <a:off x="2126265" y="2517491"/>
            <a:ext cx="289" cy="866"/>
          </a:xfrm>
          <a:custGeom>
            <a:avLst/>
            <a:gdLst/>
            <a:ahLst/>
            <a:cxnLst/>
            <a:rect l="l" t="t" r="r" b="b"/>
            <a:pathLst>
              <a:path w="635" h="1904">
                <a:moveTo>
                  <a:pt x="0" y="0"/>
                </a:moveTo>
                <a:lnTo>
                  <a:pt x="0" y="1706"/>
                </a:lnTo>
                <a:lnTo>
                  <a:pt x="0" y="0"/>
                </a:lnTo>
                <a:close/>
              </a:path>
            </a:pathLst>
          </a:custGeom>
          <a:solidFill>
            <a:srgbClr val="258089"/>
          </a:solidFill>
        </p:spPr>
        <p:txBody>
          <a:bodyPr wrap="square" lIns="0" tIns="0" rIns="0" bIns="0" rtlCol="0"/>
          <a:lstStyle/>
          <a:p>
            <a:endParaRPr/>
          </a:p>
        </p:txBody>
      </p:sp>
      <p:sp>
        <p:nvSpPr>
          <p:cNvPr id="612" name="object 612"/>
          <p:cNvSpPr/>
          <p:nvPr/>
        </p:nvSpPr>
        <p:spPr>
          <a:xfrm>
            <a:off x="1985572"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13" name="object 613"/>
          <p:cNvSpPr/>
          <p:nvPr/>
        </p:nvSpPr>
        <p:spPr>
          <a:xfrm>
            <a:off x="1948007" y="2508219"/>
            <a:ext cx="7509" cy="10108"/>
          </a:xfrm>
          <a:custGeom>
            <a:avLst/>
            <a:gdLst/>
            <a:ahLst/>
            <a:cxnLst/>
            <a:rect l="l" t="t" r="r" b="b"/>
            <a:pathLst>
              <a:path w="16510" h="22225">
                <a:moveTo>
                  <a:pt x="16303" y="0"/>
                </a:moveTo>
                <a:lnTo>
                  <a:pt x="1570" y="0"/>
                </a:lnTo>
                <a:lnTo>
                  <a:pt x="0" y="22093"/>
                </a:lnTo>
                <a:lnTo>
                  <a:pt x="16303" y="22093"/>
                </a:lnTo>
                <a:lnTo>
                  <a:pt x="16303" y="0"/>
                </a:lnTo>
                <a:close/>
              </a:path>
            </a:pathLst>
          </a:custGeom>
          <a:solidFill>
            <a:srgbClr val="258089"/>
          </a:solidFill>
        </p:spPr>
        <p:txBody>
          <a:bodyPr wrap="square" lIns="0" tIns="0" rIns="0" bIns="0" rtlCol="0"/>
          <a:lstStyle/>
          <a:p>
            <a:endParaRPr/>
          </a:p>
        </p:txBody>
      </p:sp>
      <p:sp>
        <p:nvSpPr>
          <p:cNvPr id="614" name="object 614"/>
          <p:cNvSpPr/>
          <p:nvPr/>
        </p:nvSpPr>
        <p:spPr>
          <a:xfrm>
            <a:off x="2005669"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15" name="object 615"/>
          <p:cNvSpPr/>
          <p:nvPr/>
        </p:nvSpPr>
        <p:spPr>
          <a:xfrm>
            <a:off x="2095969" y="2508218"/>
            <a:ext cx="289" cy="1155"/>
          </a:xfrm>
          <a:custGeom>
            <a:avLst/>
            <a:gdLst/>
            <a:ahLst/>
            <a:cxnLst/>
            <a:rect l="l" t="t" r="r" b="b"/>
            <a:pathLst>
              <a:path w="635" h="2539">
                <a:moveTo>
                  <a:pt x="324" y="0"/>
                </a:moveTo>
                <a:lnTo>
                  <a:pt x="0" y="0"/>
                </a:lnTo>
                <a:lnTo>
                  <a:pt x="324" y="2523"/>
                </a:lnTo>
                <a:lnTo>
                  <a:pt x="324" y="0"/>
                </a:lnTo>
                <a:close/>
              </a:path>
            </a:pathLst>
          </a:custGeom>
          <a:solidFill>
            <a:srgbClr val="258089"/>
          </a:solidFill>
        </p:spPr>
        <p:txBody>
          <a:bodyPr wrap="square" lIns="0" tIns="0" rIns="0" bIns="0" rtlCol="0"/>
          <a:lstStyle/>
          <a:p>
            <a:endParaRPr/>
          </a:p>
        </p:txBody>
      </p:sp>
      <p:sp>
        <p:nvSpPr>
          <p:cNvPr id="616" name="object 616"/>
          <p:cNvSpPr/>
          <p:nvPr/>
        </p:nvSpPr>
        <p:spPr>
          <a:xfrm>
            <a:off x="2025768"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17" name="object 617"/>
          <p:cNvSpPr/>
          <p:nvPr/>
        </p:nvSpPr>
        <p:spPr>
          <a:xfrm>
            <a:off x="1965474"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18" name="object 618"/>
          <p:cNvSpPr/>
          <p:nvPr/>
        </p:nvSpPr>
        <p:spPr>
          <a:xfrm>
            <a:off x="1925274"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19" name="object 619"/>
          <p:cNvSpPr/>
          <p:nvPr/>
        </p:nvSpPr>
        <p:spPr>
          <a:xfrm>
            <a:off x="2045870"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20" name="object 620"/>
          <p:cNvSpPr/>
          <p:nvPr/>
        </p:nvSpPr>
        <p:spPr>
          <a:xfrm>
            <a:off x="1917482" y="2508219"/>
            <a:ext cx="7798" cy="10108"/>
          </a:xfrm>
          <a:custGeom>
            <a:avLst/>
            <a:gdLst/>
            <a:ahLst/>
            <a:cxnLst/>
            <a:rect l="l" t="t" r="r" b="b"/>
            <a:pathLst>
              <a:path w="17145" h="22225">
                <a:moveTo>
                  <a:pt x="17130" y="0"/>
                </a:moveTo>
                <a:lnTo>
                  <a:pt x="774" y="0"/>
                </a:lnTo>
                <a:lnTo>
                  <a:pt x="0" y="22093"/>
                </a:lnTo>
                <a:lnTo>
                  <a:pt x="17130" y="22093"/>
                </a:lnTo>
                <a:lnTo>
                  <a:pt x="17130" y="0"/>
                </a:lnTo>
                <a:close/>
              </a:path>
            </a:pathLst>
          </a:custGeom>
          <a:solidFill>
            <a:srgbClr val="136C7D"/>
          </a:solidFill>
        </p:spPr>
        <p:txBody>
          <a:bodyPr wrap="square" lIns="0" tIns="0" rIns="0" bIns="0" rtlCol="0"/>
          <a:lstStyle/>
          <a:p>
            <a:endParaRPr/>
          </a:p>
        </p:txBody>
      </p:sp>
      <p:sp>
        <p:nvSpPr>
          <p:cNvPr id="621" name="object 621"/>
          <p:cNvSpPr/>
          <p:nvPr/>
        </p:nvSpPr>
        <p:spPr>
          <a:xfrm>
            <a:off x="1935323" y="2508219"/>
            <a:ext cx="10109" cy="10108"/>
          </a:xfrm>
          <a:custGeom>
            <a:avLst/>
            <a:gdLst/>
            <a:ahLst/>
            <a:cxnLst/>
            <a:rect l="l" t="t" r="r" b="b"/>
            <a:pathLst>
              <a:path w="22225" h="22225">
                <a:moveTo>
                  <a:pt x="22093" y="0"/>
                </a:moveTo>
                <a:lnTo>
                  <a:pt x="0" y="0"/>
                </a:lnTo>
                <a:lnTo>
                  <a:pt x="0" y="22093"/>
                </a:lnTo>
                <a:lnTo>
                  <a:pt x="19706" y="22093"/>
                </a:lnTo>
                <a:lnTo>
                  <a:pt x="22093" y="6816"/>
                </a:lnTo>
                <a:lnTo>
                  <a:pt x="22093" y="0"/>
                </a:lnTo>
                <a:close/>
              </a:path>
            </a:pathLst>
          </a:custGeom>
          <a:solidFill>
            <a:srgbClr val="136C7D"/>
          </a:solidFill>
        </p:spPr>
        <p:txBody>
          <a:bodyPr wrap="square" lIns="0" tIns="0" rIns="0" bIns="0" rtlCol="0"/>
          <a:lstStyle/>
          <a:p>
            <a:endParaRPr/>
          </a:p>
        </p:txBody>
      </p:sp>
      <p:sp>
        <p:nvSpPr>
          <p:cNvPr id="622" name="object 622"/>
          <p:cNvSpPr/>
          <p:nvPr/>
        </p:nvSpPr>
        <p:spPr>
          <a:xfrm>
            <a:off x="1955420"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23" name="object 623"/>
          <p:cNvSpPr/>
          <p:nvPr/>
        </p:nvSpPr>
        <p:spPr>
          <a:xfrm>
            <a:off x="1975523"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24" name="object 624"/>
          <p:cNvSpPr/>
          <p:nvPr/>
        </p:nvSpPr>
        <p:spPr>
          <a:xfrm>
            <a:off x="1995621"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25" name="object 625"/>
          <p:cNvSpPr/>
          <p:nvPr/>
        </p:nvSpPr>
        <p:spPr>
          <a:xfrm>
            <a:off x="2015719"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26" name="object 626"/>
          <p:cNvSpPr/>
          <p:nvPr/>
        </p:nvSpPr>
        <p:spPr>
          <a:xfrm>
            <a:off x="2035821"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27" name="object 627"/>
          <p:cNvSpPr/>
          <p:nvPr/>
        </p:nvSpPr>
        <p:spPr>
          <a:xfrm>
            <a:off x="2055918" y="2508218"/>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28" name="object 628"/>
          <p:cNvSpPr/>
          <p:nvPr/>
        </p:nvSpPr>
        <p:spPr>
          <a:xfrm>
            <a:off x="2076016" y="2508217"/>
            <a:ext cx="8665" cy="10108"/>
          </a:xfrm>
          <a:custGeom>
            <a:avLst/>
            <a:gdLst/>
            <a:ahLst/>
            <a:cxnLst/>
            <a:rect l="l" t="t" r="r" b="b"/>
            <a:pathLst>
              <a:path w="19050" h="22225">
                <a:moveTo>
                  <a:pt x="16418" y="0"/>
                </a:moveTo>
                <a:lnTo>
                  <a:pt x="0" y="0"/>
                </a:lnTo>
                <a:lnTo>
                  <a:pt x="0" y="22093"/>
                </a:lnTo>
                <a:lnTo>
                  <a:pt x="18732" y="22093"/>
                </a:lnTo>
                <a:lnTo>
                  <a:pt x="16418" y="0"/>
                </a:lnTo>
                <a:close/>
              </a:path>
            </a:pathLst>
          </a:custGeom>
          <a:solidFill>
            <a:srgbClr val="136C7D"/>
          </a:solidFill>
        </p:spPr>
        <p:txBody>
          <a:bodyPr wrap="square" lIns="0" tIns="0" rIns="0" bIns="0" rtlCol="0"/>
          <a:lstStyle/>
          <a:p>
            <a:endParaRPr/>
          </a:p>
        </p:txBody>
      </p:sp>
      <p:sp>
        <p:nvSpPr>
          <p:cNvPr id="629" name="object 629"/>
          <p:cNvSpPr/>
          <p:nvPr/>
        </p:nvSpPr>
        <p:spPr>
          <a:xfrm>
            <a:off x="2096117" y="2508218"/>
            <a:ext cx="10109" cy="10108"/>
          </a:xfrm>
          <a:custGeom>
            <a:avLst/>
            <a:gdLst/>
            <a:ahLst/>
            <a:cxnLst/>
            <a:rect l="l" t="t" r="r" b="b"/>
            <a:pathLst>
              <a:path w="22225" h="22225">
                <a:moveTo>
                  <a:pt x="22093" y="0"/>
                </a:moveTo>
                <a:lnTo>
                  <a:pt x="0" y="0"/>
                </a:lnTo>
                <a:lnTo>
                  <a:pt x="0" y="2523"/>
                </a:lnTo>
                <a:lnTo>
                  <a:pt x="2481" y="22093"/>
                </a:lnTo>
                <a:lnTo>
                  <a:pt x="22093" y="22093"/>
                </a:lnTo>
                <a:lnTo>
                  <a:pt x="22093" y="0"/>
                </a:lnTo>
                <a:close/>
              </a:path>
            </a:pathLst>
          </a:custGeom>
          <a:solidFill>
            <a:srgbClr val="136C7D"/>
          </a:solidFill>
        </p:spPr>
        <p:txBody>
          <a:bodyPr wrap="square" lIns="0" tIns="0" rIns="0" bIns="0" rtlCol="0"/>
          <a:lstStyle/>
          <a:p>
            <a:endParaRPr/>
          </a:p>
        </p:txBody>
      </p:sp>
      <p:sp>
        <p:nvSpPr>
          <p:cNvPr id="630" name="object 630"/>
          <p:cNvSpPr/>
          <p:nvPr/>
        </p:nvSpPr>
        <p:spPr>
          <a:xfrm>
            <a:off x="2116215" y="2508217"/>
            <a:ext cx="10109" cy="10108"/>
          </a:xfrm>
          <a:custGeom>
            <a:avLst/>
            <a:gdLst/>
            <a:ahLst/>
            <a:cxnLst/>
            <a:rect l="l" t="t" r="r" b="b"/>
            <a:pathLst>
              <a:path w="22225" h="22225">
                <a:moveTo>
                  <a:pt x="21350" y="0"/>
                </a:moveTo>
                <a:lnTo>
                  <a:pt x="0" y="0"/>
                </a:lnTo>
                <a:lnTo>
                  <a:pt x="0" y="22093"/>
                </a:lnTo>
                <a:lnTo>
                  <a:pt x="22093" y="22093"/>
                </a:lnTo>
                <a:lnTo>
                  <a:pt x="22093" y="20386"/>
                </a:lnTo>
                <a:lnTo>
                  <a:pt x="21350" y="0"/>
                </a:lnTo>
                <a:close/>
              </a:path>
            </a:pathLst>
          </a:custGeom>
          <a:solidFill>
            <a:srgbClr val="136C7D"/>
          </a:solidFill>
        </p:spPr>
        <p:txBody>
          <a:bodyPr wrap="square" lIns="0" tIns="0" rIns="0" bIns="0" rtlCol="0"/>
          <a:lstStyle/>
          <a:p>
            <a:endParaRPr/>
          </a:p>
        </p:txBody>
      </p:sp>
      <p:sp>
        <p:nvSpPr>
          <p:cNvPr id="631" name="object 631"/>
          <p:cNvSpPr/>
          <p:nvPr/>
        </p:nvSpPr>
        <p:spPr>
          <a:xfrm>
            <a:off x="1946835" y="2528319"/>
            <a:ext cx="8665" cy="10108"/>
          </a:xfrm>
          <a:custGeom>
            <a:avLst/>
            <a:gdLst/>
            <a:ahLst/>
            <a:cxnLst/>
            <a:rect l="l" t="t" r="r" b="b"/>
            <a:pathLst>
              <a:path w="19050" h="22225">
                <a:moveTo>
                  <a:pt x="18879" y="0"/>
                </a:moveTo>
                <a:lnTo>
                  <a:pt x="1057" y="0"/>
                </a:lnTo>
                <a:lnTo>
                  <a:pt x="0" y="22093"/>
                </a:lnTo>
                <a:lnTo>
                  <a:pt x="18879" y="22093"/>
                </a:lnTo>
                <a:lnTo>
                  <a:pt x="18879" y="0"/>
                </a:lnTo>
                <a:close/>
              </a:path>
            </a:pathLst>
          </a:custGeom>
          <a:solidFill>
            <a:srgbClr val="258089"/>
          </a:solidFill>
        </p:spPr>
        <p:txBody>
          <a:bodyPr wrap="square" lIns="0" tIns="0" rIns="0" bIns="0" rtlCol="0"/>
          <a:lstStyle/>
          <a:p>
            <a:endParaRPr/>
          </a:p>
        </p:txBody>
      </p:sp>
      <p:sp>
        <p:nvSpPr>
          <p:cNvPr id="632" name="object 632"/>
          <p:cNvSpPr/>
          <p:nvPr/>
        </p:nvSpPr>
        <p:spPr>
          <a:xfrm>
            <a:off x="2065968"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33" name="object 633"/>
          <p:cNvSpPr/>
          <p:nvPr/>
        </p:nvSpPr>
        <p:spPr>
          <a:xfrm>
            <a:off x="1925274"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34" name="object 634"/>
          <p:cNvSpPr/>
          <p:nvPr/>
        </p:nvSpPr>
        <p:spPr>
          <a:xfrm>
            <a:off x="2106168"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35" name="object 635"/>
          <p:cNvSpPr/>
          <p:nvPr/>
        </p:nvSpPr>
        <p:spPr>
          <a:xfrm>
            <a:off x="1965474"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36" name="object 636"/>
          <p:cNvSpPr/>
          <p:nvPr/>
        </p:nvSpPr>
        <p:spPr>
          <a:xfrm>
            <a:off x="2005669"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37" name="object 637"/>
          <p:cNvSpPr/>
          <p:nvPr/>
        </p:nvSpPr>
        <p:spPr>
          <a:xfrm>
            <a:off x="1985572"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38" name="object 638"/>
          <p:cNvSpPr/>
          <p:nvPr/>
        </p:nvSpPr>
        <p:spPr>
          <a:xfrm>
            <a:off x="2126265" y="2528317"/>
            <a:ext cx="866" cy="10108"/>
          </a:xfrm>
          <a:custGeom>
            <a:avLst/>
            <a:gdLst/>
            <a:ahLst/>
            <a:cxnLst/>
            <a:rect l="l" t="t" r="r" b="b"/>
            <a:pathLst>
              <a:path w="1904" h="22225">
                <a:moveTo>
                  <a:pt x="869" y="0"/>
                </a:moveTo>
                <a:lnTo>
                  <a:pt x="0" y="0"/>
                </a:lnTo>
                <a:lnTo>
                  <a:pt x="0" y="22093"/>
                </a:lnTo>
                <a:lnTo>
                  <a:pt x="1675" y="22093"/>
                </a:lnTo>
                <a:lnTo>
                  <a:pt x="869" y="0"/>
                </a:lnTo>
                <a:close/>
              </a:path>
            </a:pathLst>
          </a:custGeom>
          <a:solidFill>
            <a:srgbClr val="258089"/>
          </a:solidFill>
        </p:spPr>
        <p:txBody>
          <a:bodyPr wrap="square" lIns="0" tIns="0" rIns="0" bIns="0" rtlCol="0"/>
          <a:lstStyle/>
          <a:p>
            <a:endParaRPr/>
          </a:p>
        </p:txBody>
      </p:sp>
      <p:sp>
        <p:nvSpPr>
          <p:cNvPr id="639" name="object 639"/>
          <p:cNvSpPr/>
          <p:nvPr/>
        </p:nvSpPr>
        <p:spPr>
          <a:xfrm>
            <a:off x="2045870"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40" name="object 640"/>
          <p:cNvSpPr/>
          <p:nvPr/>
        </p:nvSpPr>
        <p:spPr>
          <a:xfrm>
            <a:off x="2025768"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41" name="object 641"/>
          <p:cNvSpPr/>
          <p:nvPr/>
        </p:nvSpPr>
        <p:spPr>
          <a:xfrm>
            <a:off x="1916780" y="2528319"/>
            <a:ext cx="8665" cy="10108"/>
          </a:xfrm>
          <a:custGeom>
            <a:avLst/>
            <a:gdLst/>
            <a:ahLst/>
            <a:cxnLst/>
            <a:rect l="l" t="t" r="r" b="b"/>
            <a:pathLst>
              <a:path w="19050" h="22225">
                <a:moveTo>
                  <a:pt x="18669" y="0"/>
                </a:moveTo>
                <a:lnTo>
                  <a:pt x="774" y="0"/>
                </a:lnTo>
                <a:lnTo>
                  <a:pt x="0" y="22093"/>
                </a:lnTo>
                <a:lnTo>
                  <a:pt x="18669" y="22093"/>
                </a:lnTo>
                <a:lnTo>
                  <a:pt x="18669" y="0"/>
                </a:lnTo>
                <a:close/>
              </a:path>
            </a:pathLst>
          </a:custGeom>
          <a:solidFill>
            <a:srgbClr val="136C7D"/>
          </a:solidFill>
        </p:spPr>
        <p:txBody>
          <a:bodyPr wrap="square" lIns="0" tIns="0" rIns="0" bIns="0" rtlCol="0"/>
          <a:lstStyle/>
          <a:p>
            <a:endParaRPr/>
          </a:p>
        </p:txBody>
      </p:sp>
      <p:sp>
        <p:nvSpPr>
          <p:cNvPr id="642" name="object 642"/>
          <p:cNvSpPr/>
          <p:nvPr/>
        </p:nvSpPr>
        <p:spPr>
          <a:xfrm>
            <a:off x="1935323" y="2528319"/>
            <a:ext cx="7509" cy="10108"/>
          </a:xfrm>
          <a:custGeom>
            <a:avLst/>
            <a:gdLst/>
            <a:ahLst/>
            <a:cxnLst/>
            <a:rect l="l" t="t" r="r" b="b"/>
            <a:pathLst>
              <a:path w="16510" h="22225">
                <a:moveTo>
                  <a:pt x="16240" y="0"/>
                </a:moveTo>
                <a:lnTo>
                  <a:pt x="0" y="0"/>
                </a:lnTo>
                <a:lnTo>
                  <a:pt x="0" y="22093"/>
                </a:lnTo>
                <a:lnTo>
                  <a:pt x="12784" y="22093"/>
                </a:lnTo>
                <a:lnTo>
                  <a:pt x="16240" y="0"/>
                </a:lnTo>
                <a:close/>
              </a:path>
            </a:pathLst>
          </a:custGeom>
          <a:solidFill>
            <a:srgbClr val="136C7D"/>
          </a:solidFill>
        </p:spPr>
        <p:txBody>
          <a:bodyPr wrap="square" lIns="0" tIns="0" rIns="0" bIns="0" rtlCol="0"/>
          <a:lstStyle/>
          <a:p>
            <a:endParaRPr/>
          </a:p>
        </p:txBody>
      </p:sp>
      <p:sp>
        <p:nvSpPr>
          <p:cNvPr id="643" name="object 643"/>
          <p:cNvSpPr/>
          <p:nvPr/>
        </p:nvSpPr>
        <p:spPr>
          <a:xfrm>
            <a:off x="1955420"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44" name="object 644"/>
          <p:cNvSpPr/>
          <p:nvPr/>
        </p:nvSpPr>
        <p:spPr>
          <a:xfrm>
            <a:off x="1975523"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45" name="object 645"/>
          <p:cNvSpPr/>
          <p:nvPr/>
        </p:nvSpPr>
        <p:spPr>
          <a:xfrm>
            <a:off x="1995621"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46" name="object 646"/>
          <p:cNvSpPr/>
          <p:nvPr/>
        </p:nvSpPr>
        <p:spPr>
          <a:xfrm>
            <a:off x="2015719"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47" name="object 647"/>
          <p:cNvSpPr/>
          <p:nvPr/>
        </p:nvSpPr>
        <p:spPr>
          <a:xfrm>
            <a:off x="2035821"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48" name="object 648"/>
          <p:cNvSpPr/>
          <p:nvPr/>
        </p:nvSpPr>
        <p:spPr>
          <a:xfrm>
            <a:off x="2055918"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49" name="object 649"/>
          <p:cNvSpPr/>
          <p:nvPr/>
        </p:nvSpPr>
        <p:spPr>
          <a:xfrm>
            <a:off x="2076017" y="2528317"/>
            <a:ext cx="10109" cy="10108"/>
          </a:xfrm>
          <a:custGeom>
            <a:avLst/>
            <a:gdLst/>
            <a:ahLst/>
            <a:cxnLst/>
            <a:rect l="l" t="t" r="r" b="b"/>
            <a:pathLst>
              <a:path w="22225" h="22225">
                <a:moveTo>
                  <a:pt x="20784" y="0"/>
                </a:moveTo>
                <a:lnTo>
                  <a:pt x="0" y="0"/>
                </a:lnTo>
                <a:lnTo>
                  <a:pt x="0" y="22093"/>
                </a:lnTo>
                <a:lnTo>
                  <a:pt x="21727" y="22093"/>
                </a:lnTo>
                <a:lnTo>
                  <a:pt x="20784" y="0"/>
                </a:lnTo>
                <a:close/>
              </a:path>
            </a:pathLst>
          </a:custGeom>
          <a:solidFill>
            <a:srgbClr val="136C7D"/>
          </a:solidFill>
        </p:spPr>
        <p:txBody>
          <a:bodyPr wrap="square" lIns="0" tIns="0" rIns="0" bIns="0" rtlCol="0"/>
          <a:lstStyle/>
          <a:p>
            <a:endParaRPr/>
          </a:p>
        </p:txBody>
      </p:sp>
      <p:sp>
        <p:nvSpPr>
          <p:cNvPr id="650" name="object 650"/>
          <p:cNvSpPr/>
          <p:nvPr/>
        </p:nvSpPr>
        <p:spPr>
          <a:xfrm>
            <a:off x="2098524" y="2528319"/>
            <a:ext cx="7798" cy="10108"/>
          </a:xfrm>
          <a:custGeom>
            <a:avLst/>
            <a:gdLst/>
            <a:ahLst/>
            <a:cxnLst/>
            <a:rect l="l" t="t" r="r" b="b"/>
            <a:pathLst>
              <a:path w="17145" h="22225">
                <a:moveTo>
                  <a:pt x="16805" y="0"/>
                </a:moveTo>
                <a:lnTo>
                  <a:pt x="0" y="0"/>
                </a:lnTo>
                <a:lnTo>
                  <a:pt x="2806" y="22093"/>
                </a:lnTo>
                <a:lnTo>
                  <a:pt x="16805" y="22093"/>
                </a:lnTo>
                <a:lnTo>
                  <a:pt x="16805" y="0"/>
                </a:lnTo>
                <a:close/>
              </a:path>
            </a:pathLst>
          </a:custGeom>
          <a:solidFill>
            <a:srgbClr val="136C7D"/>
          </a:solidFill>
        </p:spPr>
        <p:txBody>
          <a:bodyPr wrap="square" lIns="0" tIns="0" rIns="0" bIns="0" rtlCol="0"/>
          <a:lstStyle/>
          <a:p>
            <a:endParaRPr/>
          </a:p>
        </p:txBody>
      </p:sp>
      <p:sp>
        <p:nvSpPr>
          <p:cNvPr id="651" name="object 651"/>
          <p:cNvSpPr/>
          <p:nvPr/>
        </p:nvSpPr>
        <p:spPr>
          <a:xfrm>
            <a:off x="2116217" y="2528319"/>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52" name="object 652"/>
          <p:cNvSpPr/>
          <p:nvPr/>
        </p:nvSpPr>
        <p:spPr>
          <a:xfrm>
            <a:off x="2025768"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53" name="object 653"/>
          <p:cNvSpPr/>
          <p:nvPr/>
        </p:nvSpPr>
        <p:spPr>
          <a:xfrm>
            <a:off x="2045870"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54" name="object 654"/>
          <p:cNvSpPr/>
          <p:nvPr/>
        </p:nvSpPr>
        <p:spPr>
          <a:xfrm>
            <a:off x="2086068" y="2548413"/>
            <a:ext cx="866" cy="10108"/>
          </a:xfrm>
          <a:custGeom>
            <a:avLst/>
            <a:gdLst/>
            <a:ahLst/>
            <a:cxnLst/>
            <a:rect l="l" t="t" r="r" b="b"/>
            <a:pathLst>
              <a:path w="1904" h="22225">
                <a:moveTo>
                  <a:pt x="575" y="0"/>
                </a:moveTo>
                <a:lnTo>
                  <a:pt x="0" y="0"/>
                </a:lnTo>
                <a:lnTo>
                  <a:pt x="0" y="22093"/>
                </a:lnTo>
                <a:lnTo>
                  <a:pt x="1518" y="22093"/>
                </a:lnTo>
                <a:lnTo>
                  <a:pt x="575" y="0"/>
                </a:lnTo>
                <a:close/>
              </a:path>
            </a:pathLst>
          </a:custGeom>
          <a:solidFill>
            <a:srgbClr val="258089"/>
          </a:solidFill>
        </p:spPr>
        <p:txBody>
          <a:bodyPr wrap="square" lIns="0" tIns="0" rIns="0" bIns="0" rtlCol="0"/>
          <a:lstStyle/>
          <a:p>
            <a:endParaRPr/>
          </a:p>
        </p:txBody>
      </p:sp>
      <p:sp>
        <p:nvSpPr>
          <p:cNvPr id="655" name="object 655"/>
          <p:cNvSpPr/>
          <p:nvPr/>
        </p:nvSpPr>
        <p:spPr>
          <a:xfrm>
            <a:off x="1925274"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56" name="object 656"/>
          <p:cNvSpPr/>
          <p:nvPr/>
        </p:nvSpPr>
        <p:spPr>
          <a:xfrm>
            <a:off x="1985572"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57" name="object 657"/>
          <p:cNvSpPr/>
          <p:nvPr/>
        </p:nvSpPr>
        <p:spPr>
          <a:xfrm>
            <a:off x="2005669"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58" name="object 658"/>
          <p:cNvSpPr/>
          <p:nvPr/>
        </p:nvSpPr>
        <p:spPr>
          <a:xfrm>
            <a:off x="1945879" y="2548414"/>
            <a:ext cx="9820" cy="10108"/>
          </a:xfrm>
          <a:custGeom>
            <a:avLst/>
            <a:gdLst/>
            <a:ahLst/>
            <a:cxnLst/>
            <a:rect l="l" t="t" r="r" b="b"/>
            <a:pathLst>
              <a:path w="21589" h="22225">
                <a:moveTo>
                  <a:pt x="20983" y="0"/>
                </a:moveTo>
                <a:lnTo>
                  <a:pt x="1047" y="0"/>
                </a:lnTo>
                <a:lnTo>
                  <a:pt x="0" y="22093"/>
                </a:lnTo>
                <a:lnTo>
                  <a:pt x="20983" y="22093"/>
                </a:lnTo>
                <a:lnTo>
                  <a:pt x="20983" y="0"/>
                </a:lnTo>
                <a:close/>
              </a:path>
            </a:pathLst>
          </a:custGeom>
          <a:solidFill>
            <a:srgbClr val="258089"/>
          </a:solidFill>
        </p:spPr>
        <p:txBody>
          <a:bodyPr wrap="square" lIns="0" tIns="0" rIns="0" bIns="0" rtlCol="0"/>
          <a:lstStyle/>
          <a:p>
            <a:endParaRPr/>
          </a:p>
        </p:txBody>
      </p:sp>
      <p:sp>
        <p:nvSpPr>
          <p:cNvPr id="659" name="object 659"/>
          <p:cNvSpPr/>
          <p:nvPr/>
        </p:nvSpPr>
        <p:spPr>
          <a:xfrm>
            <a:off x="2065968"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60" name="object 660"/>
          <p:cNvSpPr/>
          <p:nvPr/>
        </p:nvSpPr>
        <p:spPr>
          <a:xfrm>
            <a:off x="2106168"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61" name="object 661"/>
          <p:cNvSpPr/>
          <p:nvPr/>
        </p:nvSpPr>
        <p:spPr>
          <a:xfrm>
            <a:off x="1965474"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62" name="object 662"/>
          <p:cNvSpPr/>
          <p:nvPr/>
        </p:nvSpPr>
        <p:spPr>
          <a:xfrm>
            <a:off x="2126265" y="2548413"/>
            <a:ext cx="1733" cy="10108"/>
          </a:xfrm>
          <a:custGeom>
            <a:avLst/>
            <a:gdLst/>
            <a:ahLst/>
            <a:cxnLst/>
            <a:rect l="l" t="t" r="r" b="b"/>
            <a:pathLst>
              <a:path w="3810" h="22225">
                <a:moveTo>
                  <a:pt x="2492" y="0"/>
                </a:moveTo>
                <a:lnTo>
                  <a:pt x="0" y="0"/>
                </a:lnTo>
                <a:lnTo>
                  <a:pt x="0" y="22093"/>
                </a:lnTo>
                <a:lnTo>
                  <a:pt x="3298" y="22093"/>
                </a:lnTo>
                <a:lnTo>
                  <a:pt x="2492" y="0"/>
                </a:lnTo>
                <a:close/>
              </a:path>
            </a:pathLst>
          </a:custGeom>
          <a:solidFill>
            <a:srgbClr val="258089"/>
          </a:solidFill>
        </p:spPr>
        <p:txBody>
          <a:bodyPr wrap="square" lIns="0" tIns="0" rIns="0" bIns="0" rtlCol="0"/>
          <a:lstStyle/>
          <a:p>
            <a:endParaRPr/>
          </a:p>
        </p:txBody>
      </p:sp>
      <p:sp>
        <p:nvSpPr>
          <p:cNvPr id="663" name="object 663"/>
          <p:cNvSpPr/>
          <p:nvPr/>
        </p:nvSpPr>
        <p:spPr>
          <a:xfrm>
            <a:off x="1916081" y="2548414"/>
            <a:ext cx="9242" cy="10108"/>
          </a:xfrm>
          <a:custGeom>
            <a:avLst/>
            <a:gdLst/>
            <a:ahLst/>
            <a:cxnLst/>
            <a:rect l="l" t="t" r="r" b="b"/>
            <a:pathLst>
              <a:path w="20320" h="22225">
                <a:moveTo>
                  <a:pt x="20208" y="0"/>
                </a:moveTo>
                <a:lnTo>
                  <a:pt x="764" y="0"/>
                </a:lnTo>
                <a:lnTo>
                  <a:pt x="0" y="22093"/>
                </a:lnTo>
                <a:lnTo>
                  <a:pt x="20208" y="22093"/>
                </a:lnTo>
                <a:lnTo>
                  <a:pt x="20208" y="0"/>
                </a:lnTo>
                <a:close/>
              </a:path>
            </a:pathLst>
          </a:custGeom>
          <a:solidFill>
            <a:srgbClr val="136C7D"/>
          </a:solidFill>
        </p:spPr>
        <p:txBody>
          <a:bodyPr wrap="square" lIns="0" tIns="0" rIns="0" bIns="0" rtlCol="0"/>
          <a:lstStyle/>
          <a:p>
            <a:endParaRPr/>
          </a:p>
        </p:txBody>
      </p:sp>
      <p:sp>
        <p:nvSpPr>
          <p:cNvPr id="664" name="object 664"/>
          <p:cNvSpPr/>
          <p:nvPr/>
        </p:nvSpPr>
        <p:spPr>
          <a:xfrm>
            <a:off x="1935323" y="2548414"/>
            <a:ext cx="4332" cy="10108"/>
          </a:xfrm>
          <a:custGeom>
            <a:avLst/>
            <a:gdLst/>
            <a:ahLst/>
            <a:cxnLst/>
            <a:rect l="l" t="t" r="r" b="b"/>
            <a:pathLst>
              <a:path w="9525" h="22225">
                <a:moveTo>
                  <a:pt x="9319" y="0"/>
                </a:moveTo>
                <a:lnTo>
                  <a:pt x="0" y="0"/>
                </a:lnTo>
                <a:lnTo>
                  <a:pt x="0" y="22093"/>
                </a:lnTo>
                <a:lnTo>
                  <a:pt x="5863" y="22093"/>
                </a:lnTo>
                <a:lnTo>
                  <a:pt x="9319" y="0"/>
                </a:lnTo>
                <a:close/>
              </a:path>
            </a:pathLst>
          </a:custGeom>
          <a:solidFill>
            <a:srgbClr val="136C7D"/>
          </a:solidFill>
        </p:spPr>
        <p:txBody>
          <a:bodyPr wrap="square" lIns="0" tIns="0" rIns="0" bIns="0" rtlCol="0"/>
          <a:lstStyle/>
          <a:p>
            <a:endParaRPr/>
          </a:p>
        </p:txBody>
      </p:sp>
      <p:sp>
        <p:nvSpPr>
          <p:cNvPr id="665" name="object 665"/>
          <p:cNvSpPr/>
          <p:nvPr/>
        </p:nvSpPr>
        <p:spPr>
          <a:xfrm>
            <a:off x="1955420"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66" name="object 666"/>
          <p:cNvSpPr/>
          <p:nvPr/>
        </p:nvSpPr>
        <p:spPr>
          <a:xfrm>
            <a:off x="1975523"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67" name="object 667"/>
          <p:cNvSpPr/>
          <p:nvPr/>
        </p:nvSpPr>
        <p:spPr>
          <a:xfrm>
            <a:off x="1995621"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68" name="object 668"/>
          <p:cNvSpPr/>
          <p:nvPr/>
        </p:nvSpPr>
        <p:spPr>
          <a:xfrm>
            <a:off x="2015719"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69" name="object 669"/>
          <p:cNvSpPr/>
          <p:nvPr/>
        </p:nvSpPr>
        <p:spPr>
          <a:xfrm>
            <a:off x="2035821"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70" name="object 670"/>
          <p:cNvSpPr/>
          <p:nvPr/>
        </p:nvSpPr>
        <p:spPr>
          <a:xfrm>
            <a:off x="2055918"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71" name="object 671"/>
          <p:cNvSpPr/>
          <p:nvPr/>
        </p:nvSpPr>
        <p:spPr>
          <a:xfrm>
            <a:off x="2076017"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72" name="object 672"/>
          <p:cNvSpPr/>
          <p:nvPr/>
        </p:nvSpPr>
        <p:spPr>
          <a:xfrm>
            <a:off x="2101077" y="2548414"/>
            <a:ext cx="5199" cy="10108"/>
          </a:xfrm>
          <a:custGeom>
            <a:avLst/>
            <a:gdLst/>
            <a:ahLst/>
            <a:cxnLst/>
            <a:rect l="l" t="t" r="r" b="b"/>
            <a:pathLst>
              <a:path w="11429" h="22225">
                <a:moveTo>
                  <a:pt x="11193" y="0"/>
                </a:moveTo>
                <a:lnTo>
                  <a:pt x="0" y="0"/>
                </a:lnTo>
                <a:lnTo>
                  <a:pt x="2806" y="22093"/>
                </a:lnTo>
                <a:lnTo>
                  <a:pt x="11193" y="22093"/>
                </a:lnTo>
                <a:lnTo>
                  <a:pt x="11193" y="0"/>
                </a:lnTo>
                <a:close/>
              </a:path>
            </a:pathLst>
          </a:custGeom>
          <a:solidFill>
            <a:srgbClr val="136C7D"/>
          </a:solidFill>
        </p:spPr>
        <p:txBody>
          <a:bodyPr wrap="square" lIns="0" tIns="0" rIns="0" bIns="0" rtlCol="0"/>
          <a:lstStyle/>
          <a:p>
            <a:endParaRPr/>
          </a:p>
        </p:txBody>
      </p:sp>
      <p:sp>
        <p:nvSpPr>
          <p:cNvPr id="673" name="object 673"/>
          <p:cNvSpPr/>
          <p:nvPr/>
        </p:nvSpPr>
        <p:spPr>
          <a:xfrm>
            <a:off x="2116217" y="2548416"/>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74" name="object 674"/>
          <p:cNvSpPr/>
          <p:nvPr/>
        </p:nvSpPr>
        <p:spPr>
          <a:xfrm>
            <a:off x="2005669" y="256851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75" name="object 675"/>
          <p:cNvSpPr/>
          <p:nvPr/>
        </p:nvSpPr>
        <p:spPr>
          <a:xfrm>
            <a:off x="2065968" y="256851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76" name="object 676"/>
          <p:cNvSpPr/>
          <p:nvPr/>
        </p:nvSpPr>
        <p:spPr>
          <a:xfrm>
            <a:off x="2045870" y="256851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77" name="object 677"/>
          <p:cNvSpPr/>
          <p:nvPr/>
        </p:nvSpPr>
        <p:spPr>
          <a:xfrm>
            <a:off x="1945372" y="2568512"/>
            <a:ext cx="10109" cy="10108"/>
          </a:xfrm>
          <a:custGeom>
            <a:avLst/>
            <a:gdLst/>
            <a:ahLst/>
            <a:cxnLst/>
            <a:rect l="l" t="t" r="r" b="b"/>
            <a:pathLst>
              <a:path w="22225" h="22225">
                <a:moveTo>
                  <a:pt x="22093" y="0"/>
                </a:moveTo>
                <a:lnTo>
                  <a:pt x="62" y="0"/>
                </a:lnTo>
                <a:lnTo>
                  <a:pt x="0" y="7696"/>
                </a:lnTo>
                <a:lnTo>
                  <a:pt x="2575" y="12638"/>
                </a:lnTo>
                <a:lnTo>
                  <a:pt x="5947" y="17486"/>
                </a:lnTo>
                <a:lnTo>
                  <a:pt x="9978" y="22093"/>
                </a:lnTo>
                <a:lnTo>
                  <a:pt x="22093" y="22093"/>
                </a:lnTo>
                <a:lnTo>
                  <a:pt x="22093" y="0"/>
                </a:lnTo>
                <a:close/>
              </a:path>
            </a:pathLst>
          </a:custGeom>
          <a:solidFill>
            <a:srgbClr val="258089"/>
          </a:solidFill>
        </p:spPr>
        <p:txBody>
          <a:bodyPr wrap="square" lIns="0" tIns="0" rIns="0" bIns="0" rtlCol="0"/>
          <a:lstStyle/>
          <a:p>
            <a:endParaRPr/>
          </a:p>
        </p:txBody>
      </p:sp>
      <p:sp>
        <p:nvSpPr>
          <p:cNvPr id="678" name="object 678"/>
          <p:cNvSpPr/>
          <p:nvPr/>
        </p:nvSpPr>
        <p:spPr>
          <a:xfrm>
            <a:off x="2025768" y="256851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79" name="object 679"/>
          <p:cNvSpPr/>
          <p:nvPr/>
        </p:nvSpPr>
        <p:spPr>
          <a:xfrm>
            <a:off x="2086068" y="2568512"/>
            <a:ext cx="1444" cy="4043"/>
          </a:xfrm>
          <a:custGeom>
            <a:avLst/>
            <a:gdLst/>
            <a:ahLst/>
            <a:cxnLst/>
            <a:rect l="l" t="t" r="r" b="b"/>
            <a:pathLst>
              <a:path w="3175" h="8889">
                <a:moveTo>
                  <a:pt x="2460" y="0"/>
                </a:moveTo>
                <a:lnTo>
                  <a:pt x="0" y="0"/>
                </a:lnTo>
                <a:lnTo>
                  <a:pt x="0" y="8313"/>
                </a:lnTo>
                <a:lnTo>
                  <a:pt x="900" y="7476"/>
                </a:lnTo>
                <a:lnTo>
                  <a:pt x="1821" y="6732"/>
                </a:lnTo>
                <a:lnTo>
                  <a:pt x="2711" y="5874"/>
                </a:lnTo>
                <a:lnTo>
                  <a:pt x="2460" y="0"/>
                </a:lnTo>
                <a:close/>
              </a:path>
            </a:pathLst>
          </a:custGeom>
          <a:solidFill>
            <a:srgbClr val="258089"/>
          </a:solidFill>
        </p:spPr>
        <p:txBody>
          <a:bodyPr wrap="square" lIns="0" tIns="0" rIns="0" bIns="0" rtlCol="0"/>
          <a:lstStyle/>
          <a:p>
            <a:endParaRPr/>
          </a:p>
        </p:txBody>
      </p:sp>
      <p:sp>
        <p:nvSpPr>
          <p:cNvPr id="680" name="object 680"/>
          <p:cNvSpPr/>
          <p:nvPr/>
        </p:nvSpPr>
        <p:spPr>
          <a:xfrm>
            <a:off x="1985571" y="2568513"/>
            <a:ext cx="10109" cy="10108"/>
          </a:xfrm>
          <a:custGeom>
            <a:avLst/>
            <a:gdLst/>
            <a:ahLst/>
            <a:cxnLst/>
            <a:rect l="l" t="t" r="r" b="b"/>
            <a:pathLst>
              <a:path w="22225" h="22225">
                <a:moveTo>
                  <a:pt x="22093" y="0"/>
                </a:moveTo>
                <a:lnTo>
                  <a:pt x="0" y="0"/>
                </a:lnTo>
                <a:lnTo>
                  <a:pt x="0" y="22093"/>
                </a:lnTo>
                <a:lnTo>
                  <a:pt x="18931" y="22093"/>
                </a:lnTo>
                <a:lnTo>
                  <a:pt x="22093" y="17025"/>
                </a:lnTo>
                <a:lnTo>
                  <a:pt x="22093" y="0"/>
                </a:lnTo>
                <a:close/>
              </a:path>
            </a:pathLst>
          </a:custGeom>
          <a:solidFill>
            <a:srgbClr val="258089"/>
          </a:solidFill>
        </p:spPr>
        <p:txBody>
          <a:bodyPr wrap="square" lIns="0" tIns="0" rIns="0" bIns="0" rtlCol="0"/>
          <a:lstStyle/>
          <a:p>
            <a:endParaRPr/>
          </a:p>
        </p:txBody>
      </p:sp>
      <p:sp>
        <p:nvSpPr>
          <p:cNvPr id="681" name="object 681"/>
          <p:cNvSpPr/>
          <p:nvPr/>
        </p:nvSpPr>
        <p:spPr>
          <a:xfrm>
            <a:off x="1965474" y="256851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258089"/>
          </a:solidFill>
        </p:spPr>
        <p:txBody>
          <a:bodyPr wrap="square" lIns="0" tIns="0" rIns="0" bIns="0" rtlCol="0"/>
          <a:lstStyle/>
          <a:p>
            <a:endParaRPr/>
          </a:p>
        </p:txBody>
      </p:sp>
      <p:sp>
        <p:nvSpPr>
          <p:cNvPr id="682" name="object 682"/>
          <p:cNvSpPr/>
          <p:nvPr/>
        </p:nvSpPr>
        <p:spPr>
          <a:xfrm>
            <a:off x="1945244" y="2569100"/>
            <a:ext cx="289" cy="3177"/>
          </a:xfrm>
          <a:custGeom>
            <a:avLst/>
            <a:gdLst/>
            <a:ahLst/>
            <a:cxnLst/>
            <a:rect l="l" t="t" r="r" b="b"/>
            <a:pathLst>
              <a:path w="635" h="6985">
                <a:moveTo>
                  <a:pt x="282" y="0"/>
                </a:moveTo>
                <a:lnTo>
                  <a:pt x="0" y="5905"/>
                </a:lnTo>
                <a:lnTo>
                  <a:pt x="83" y="6073"/>
                </a:lnTo>
                <a:lnTo>
                  <a:pt x="198" y="6240"/>
                </a:lnTo>
                <a:lnTo>
                  <a:pt x="282" y="6408"/>
                </a:lnTo>
                <a:lnTo>
                  <a:pt x="282" y="0"/>
                </a:lnTo>
                <a:close/>
              </a:path>
            </a:pathLst>
          </a:custGeom>
          <a:solidFill>
            <a:srgbClr val="136C7D"/>
          </a:solidFill>
        </p:spPr>
        <p:txBody>
          <a:bodyPr wrap="square" lIns="0" tIns="0" rIns="0" bIns="0" rtlCol="0"/>
          <a:lstStyle/>
          <a:p>
            <a:endParaRPr/>
          </a:p>
        </p:txBody>
      </p:sp>
      <p:sp>
        <p:nvSpPr>
          <p:cNvPr id="683" name="object 683"/>
          <p:cNvSpPr/>
          <p:nvPr/>
        </p:nvSpPr>
        <p:spPr>
          <a:xfrm>
            <a:off x="1955420" y="256851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84" name="object 684"/>
          <p:cNvSpPr/>
          <p:nvPr/>
        </p:nvSpPr>
        <p:spPr>
          <a:xfrm>
            <a:off x="1975523" y="256851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85" name="object 685"/>
          <p:cNvSpPr/>
          <p:nvPr/>
        </p:nvSpPr>
        <p:spPr>
          <a:xfrm>
            <a:off x="1995620" y="2568512"/>
            <a:ext cx="10109" cy="10108"/>
          </a:xfrm>
          <a:custGeom>
            <a:avLst/>
            <a:gdLst/>
            <a:ahLst/>
            <a:cxnLst/>
            <a:rect l="l" t="t" r="r" b="b"/>
            <a:pathLst>
              <a:path w="22225" h="22225">
                <a:moveTo>
                  <a:pt x="22093" y="586"/>
                </a:moveTo>
                <a:lnTo>
                  <a:pt x="9790" y="586"/>
                </a:lnTo>
                <a:lnTo>
                  <a:pt x="14701" y="10491"/>
                </a:lnTo>
                <a:lnTo>
                  <a:pt x="21266" y="22093"/>
                </a:lnTo>
                <a:lnTo>
                  <a:pt x="22093" y="22093"/>
                </a:lnTo>
                <a:lnTo>
                  <a:pt x="22093" y="586"/>
                </a:lnTo>
                <a:close/>
              </a:path>
              <a:path w="22225" h="22225">
                <a:moveTo>
                  <a:pt x="22093" y="0"/>
                </a:moveTo>
                <a:lnTo>
                  <a:pt x="0" y="0"/>
                </a:lnTo>
                <a:lnTo>
                  <a:pt x="0" y="17025"/>
                </a:lnTo>
                <a:lnTo>
                  <a:pt x="5654" y="7853"/>
                </a:lnTo>
                <a:lnTo>
                  <a:pt x="9790" y="586"/>
                </a:lnTo>
                <a:lnTo>
                  <a:pt x="22093" y="586"/>
                </a:lnTo>
                <a:lnTo>
                  <a:pt x="22093" y="0"/>
                </a:lnTo>
                <a:close/>
              </a:path>
            </a:pathLst>
          </a:custGeom>
          <a:solidFill>
            <a:srgbClr val="136C7D"/>
          </a:solidFill>
        </p:spPr>
        <p:txBody>
          <a:bodyPr wrap="square" lIns="0" tIns="0" rIns="0" bIns="0" rtlCol="0"/>
          <a:lstStyle/>
          <a:p>
            <a:endParaRPr/>
          </a:p>
        </p:txBody>
      </p:sp>
      <p:sp>
        <p:nvSpPr>
          <p:cNvPr id="686" name="object 686"/>
          <p:cNvSpPr/>
          <p:nvPr/>
        </p:nvSpPr>
        <p:spPr>
          <a:xfrm>
            <a:off x="2015719" y="256851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87" name="object 687"/>
          <p:cNvSpPr/>
          <p:nvPr/>
        </p:nvSpPr>
        <p:spPr>
          <a:xfrm>
            <a:off x="2035821" y="256851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88" name="object 688"/>
          <p:cNvSpPr/>
          <p:nvPr/>
        </p:nvSpPr>
        <p:spPr>
          <a:xfrm>
            <a:off x="2055918" y="2568512"/>
            <a:ext cx="10109" cy="10108"/>
          </a:xfrm>
          <a:custGeom>
            <a:avLst/>
            <a:gdLst/>
            <a:ahLst/>
            <a:cxnLst/>
            <a:rect l="l" t="t" r="r" b="b"/>
            <a:pathLst>
              <a:path w="22225" h="22225">
                <a:moveTo>
                  <a:pt x="0" y="22093"/>
                </a:moveTo>
                <a:lnTo>
                  <a:pt x="22093" y="22093"/>
                </a:lnTo>
                <a:lnTo>
                  <a:pt x="22093" y="0"/>
                </a:lnTo>
                <a:lnTo>
                  <a:pt x="0" y="0"/>
                </a:lnTo>
                <a:lnTo>
                  <a:pt x="0" y="22093"/>
                </a:lnTo>
                <a:close/>
              </a:path>
            </a:pathLst>
          </a:custGeom>
          <a:solidFill>
            <a:srgbClr val="136C7D"/>
          </a:solidFill>
        </p:spPr>
        <p:txBody>
          <a:bodyPr wrap="square" lIns="0" tIns="0" rIns="0" bIns="0" rtlCol="0"/>
          <a:lstStyle/>
          <a:p>
            <a:endParaRPr/>
          </a:p>
        </p:txBody>
      </p:sp>
      <p:sp>
        <p:nvSpPr>
          <p:cNvPr id="689" name="object 689"/>
          <p:cNvSpPr/>
          <p:nvPr/>
        </p:nvSpPr>
        <p:spPr>
          <a:xfrm>
            <a:off x="2076017" y="2568513"/>
            <a:ext cx="10109" cy="10108"/>
          </a:xfrm>
          <a:custGeom>
            <a:avLst/>
            <a:gdLst/>
            <a:ahLst/>
            <a:cxnLst/>
            <a:rect l="l" t="t" r="r" b="b"/>
            <a:pathLst>
              <a:path w="22225" h="22225">
                <a:moveTo>
                  <a:pt x="22093" y="0"/>
                </a:moveTo>
                <a:lnTo>
                  <a:pt x="0" y="0"/>
                </a:lnTo>
                <a:lnTo>
                  <a:pt x="0" y="22093"/>
                </a:lnTo>
                <a:lnTo>
                  <a:pt x="5162" y="22093"/>
                </a:lnTo>
                <a:lnTo>
                  <a:pt x="10973" y="17968"/>
                </a:lnTo>
                <a:lnTo>
                  <a:pt x="16617" y="13371"/>
                </a:lnTo>
                <a:lnTo>
                  <a:pt x="22093" y="8313"/>
                </a:lnTo>
                <a:lnTo>
                  <a:pt x="22093" y="0"/>
                </a:lnTo>
                <a:close/>
              </a:path>
            </a:pathLst>
          </a:custGeom>
          <a:solidFill>
            <a:srgbClr val="136C7D"/>
          </a:solidFill>
        </p:spPr>
        <p:txBody>
          <a:bodyPr wrap="square" lIns="0" tIns="0" rIns="0" bIns="0" rtlCol="0"/>
          <a:lstStyle/>
          <a:p>
            <a:endParaRPr/>
          </a:p>
        </p:txBody>
      </p:sp>
      <p:sp>
        <p:nvSpPr>
          <p:cNvPr id="690" name="object 690"/>
          <p:cNvSpPr/>
          <p:nvPr/>
        </p:nvSpPr>
        <p:spPr>
          <a:xfrm>
            <a:off x="1985571" y="2588611"/>
            <a:ext cx="1733" cy="2310"/>
          </a:xfrm>
          <a:custGeom>
            <a:avLst/>
            <a:gdLst/>
            <a:ahLst/>
            <a:cxnLst/>
            <a:rect l="l" t="t" r="r" b="b"/>
            <a:pathLst>
              <a:path w="3810" h="5079">
                <a:moveTo>
                  <a:pt x="3727" y="0"/>
                </a:moveTo>
                <a:lnTo>
                  <a:pt x="0" y="0"/>
                </a:lnTo>
                <a:lnTo>
                  <a:pt x="0" y="4460"/>
                </a:lnTo>
                <a:lnTo>
                  <a:pt x="1183" y="3151"/>
                </a:lnTo>
                <a:lnTo>
                  <a:pt x="2429" y="1643"/>
                </a:lnTo>
                <a:lnTo>
                  <a:pt x="3727" y="0"/>
                </a:lnTo>
                <a:close/>
              </a:path>
            </a:pathLst>
          </a:custGeom>
          <a:solidFill>
            <a:srgbClr val="258089"/>
          </a:solidFill>
        </p:spPr>
        <p:txBody>
          <a:bodyPr wrap="square" lIns="0" tIns="0" rIns="0" bIns="0" rtlCol="0"/>
          <a:lstStyle/>
          <a:p>
            <a:endParaRPr/>
          </a:p>
        </p:txBody>
      </p:sp>
      <p:sp>
        <p:nvSpPr>
          <p:cNvPr id="691" name="object 691"/>
          <p:cNvSpPr/>
          <p:nvPr/>
        </p:nvSpPr>
        <p:spPr>
          <a:xfrm>
            <a:off x="1965472" y="2588610"/>
            <a:ext cx="10109" cy="4043"/>
          </a:xfrm>
          <a:custGeom>
            <a:avLst/>
            <a:gdLst/>
            <a:ahLst/>
            <a:cxnLst/>
            <a:rect l="l" t="t" r="r" b="b"/>
            <a:pathLst>
              <a:path w="22225" h="8889">
                <a:moveTo>
                  <a:pt x="22093" y="0"/>
                </a:moveTo>
                <a:lnTo>
                  <a:pt x="0" y="0"/>
                </a:lnTo>
                <a:lnTo>
                  <a:pt x="0" y="2345"/>
                </a:lnTo>
                <a:lnTo>
                  <a:pt x="6910" y="5266"/>
                </a:lnTo>
                <a:lnTo>
                  <a:pt x="14313" y="7455"/>
                </a:lnTo>
                <a:lnTo>
                  <a:pt x="22093" y="8680"/>
                </a:lnTo>
                <a:lnTo>
                  <a:pt x="22093" y="0"/>
                </a:lnTo>
                <a:close/>
              </a:path>
            </a:pathLst>
          </a:custGeom>
          <a:solidFill>
            <a:srgbClr val="258089"/>
          </a:solidFill>
        </p:spPr>
        <p:txBody>
          <a:bodyPr wrap="square" lIns="0" tIns="0" rIns="0" bIns="0" rtlCol="0"/>
          <a:lstStyle/>
          <a:p>
            <a:endParaRPr/>
          </a:p>
        </p:txBody>
      </p:sp>
      <p:sp>
        <p:nvSpPr>
          <p:cNvPr id="692" name="object 692"/>
          <p:cNvSpPr/>
          <p:nvPr/>
        </p:nvSpPr>
        <p:spPr>
          <a:xfrm>
            <a:off x="2011528" y="2588610"/>
            <a:ext cx="4332" cy="5198"/>
          </a:xfrm>
          <a:custGeom>
            <a:avLst/>
            <a:gdLst/>
            <a:ahLst/>
            <a:cxnLst/>
            <a:rect l="l" t="t" r="r" b="b"/>
            <a:pathLst>
              <a:path w="9525" h="11429">
                <a:moveTo>
                  <a:pt x="9214" y="0"/>
                </a:moveTo>
                <a:lnTo>
                  <a:pt x="0" y="0"/>
                </a:lnTo>
                <a:lnTo>
                  <a:pt x="3245" y="4607"/>
                </a:lnTo>
                <a:lnTo>
                  <a:pt x="6397" y="8523"/>
                </a:lnTo>
                <a:lnTo>
                  <a:pt x="9214" y="11067"/>
                </a:lnTo>
                <a:lnTo>
                  <a:pt x="9214" y="0"/>
                </a:lnTo>
                <a:close/>
              </a:path>
            </a:pathLst>
          </a:custGeom>
          <a:solidFill>
            <a:srgbClr val="258089"/>
          </a:solidFill>
        </p:spPr>
        <p:txBody>
          <a:bodyPr wrap="square" lIns="0" tIns="0" rIns="0" bIns="0" rtlCol="0"/>
          <a:lstStyle/>
          <a:p>
            <a:endParaRPr/>
          </a:p>
        </p:txBody>
      </p:sp>
      <p:sp>
        <p:nvSpPr>
          <p:cNvPr id="693" name="object 693"/>
          <p:cNvSpPr/>
          <p:nvPr/>
        </p:nvSpPr>
        <p:spPr>
          <a:xfrm>
            <a:off x="2025770" y="2588613"/>
            <a:ext cx="10109" cy="6354"/>
          </a:xfrm>
          <a:custGeom>
            <a:avLst/>
            <a:gdLst/>
            <a:ahLst/>
            <a:cxnLst/>
            <a:rect l="l" t="t" r="r" b="b"/>
            <a:pathLst>
              <a:path w="22225" h="13970">
                <a:moveTo>
                  <a:pt x="22093" y="0"/>
                </a:moveTo>
                <a:lnTo>
                  <a:pt x="0" y="0"/>
                </a:lnTo>
                <a:lnTo>
                  <a:pt x="0" y="13800"/>
                </a:lnTo>
                <a:lnTo>
                  <a:pt x="7193" y="13465"/>
                </a:lnTo>
                <a:lnTo>
                  <a:pt x="14575" y="12868"/>
                </a:lnTo>
                <a:lnTo>
                  <a:pt x="22093" y="11957"/>
                </a:lnTo>
                <a:lnTo>
                  <a:pt x="22093" y="0"/>
                </a:lnTo>
                <a:close/>
              </a:path>
            </a:pathLst>
          </a:custGeom>
          <a:solidFill>
            <a:srgbClr val="258089"/>
          </a:solidFill>
        </p:spPr>
        <p:txBody>
          <a:bodyPr wrap="square" lIns="0" tIns="0" rIns="0" bIns="0" rtlCol="0"/>
          <a:lstStyle/>
          <a:p>
            <a:endParaRPr/>
          </a:p>
        </p:txBody>
      </p:sp>
      <p:sp>
        <p:nvSpPr>
          <p:cNvPr id="694" name="object 694"/>
          <p:cNvSpPr/>
          <p:nvPr/>
        </p:nvSpPr>
        <p:spPr>
          <a:xfrm>
            <a:off x="2045868" y="2588612"/>
            <a:ext cx="10109" cy="4043"/>
          </a:xfrm>
          <a:custGeom>
            <a:avLst/>
            <a:gdLst/>
            <a:ahLst/>
            <a:cxnLst/>
            <a:rect l="l" t="t" r="r" b="b"/>
            <a:pathLst>
              <a:path w="22225" h="8889">
                <a:moveTo>
                  <a:pt x="22093" y="0"/>
                </a:moveTo>
                <a:lnTo>
                  <a:pt x="0" y="0"/>
                </a:lnTo>
                <a:lnTo>
                  <a:pt x="0" y="8282"/>
                </a:lnTo>
                <a:lnTo>
                  <a:pt x="7350" y="6732"/>
                </a:lnTo>
                <a:lnTo>
                  <a:pt x="14732" y="4785"/>
                </a:lnTo>
                <a:lnTo>
                  <a:pt x="22093" y="2397"/>
                </a:lnTo>
                <a:lnTo>
                  <a:pt x="22093" y="0"/>
                </a:lnTo>
                <a:close/>
              </a:path>
            </a:pathLst>
          </a:custGeom>
          <a:solidFill>
            <a:srgbClr val="258089"/>
          </a:solidFill>
        </p:spPr>
        <p:txBody>
          <a:bodyPr wrap="square" lIns="0" tIns="0" rIns="0" bIns="0" rtlCol="0"/>
          <a:lstStyle/>
          <a:p>
            <a:endParaRPr/>
          </a:p>
        </p:txBody>
      </p:sp>
      <p:sp>
        <p:nvSpPr>
          <p:cNvPr id="695" name="object 695"/>
          <p:cNvSpPr/>
          <p:nvPr/>
        </p:nvSpPr>
        <p:spPr>
          <a:xfrm>
            <a:off x="1963139" y="2588610"/>
            <a:ext cx="2599" cy="1155"/>
          </a:xfrm>
          <a:custGeom>
            <a:avLst/>
            <a:gdLst/>
            <a:ahLst/>
            <a:cxnLst/>
            <a:rect l="l" t="t" r="r" b="b"/>
            <a:pathLst>
              <a:path w="5714" h="2539">
                <a:moveTo>
                  <a:pt x="5130" y="0"/>
                </a:moveTo>
                <a:lnTo>
                  <a:pt x="0" y="0"/>
                </a:lnTo>
                <a:lnTo>
                  <a:pt x="1675" y="816"/>
                </a:lnTo>
                <a:lnTo>
                  <a:pt x="3382" y="1612"/>
                </a:lnTo>
                <a:lnTo>
                  <a:pt x="5130" y="2345"/>
                </a:lnTo>
                <a:lnTo>
                  <a:pt x="5130" y="0"/>
                </a:lnTo>
                <a:close/>
              </a:path>
            </a:pathLst>
          </a:custGeom>
          <a:solidFill>
            <a:srgbClr val="136C7D"/>
          </a:solidFill>
        </p:spPr>
        <p:txBody>
          <a:bodyPr wrap="square" lIns="0" tIns="0" rIns="0" bIns="0" rtlCol="0"/>
          <a:lstStyle/>
          <a:p>
            <a:endParaRPr/>
          </a:p>
        </p:txBody>
      </p:sp>
      <p:sp>
        <p:nvSpPr>
          <p:cNvPr id="696" name="object 696"/>
          <p:cNvSpPr/>
          <p:nvPr/>
        </p:nvSpPr>
        <p:spPr>
          <a:xfrm>
            <a:off x="1975521" y="2588612"/>
            <a:ext cx="10109" cy="4621"/>
          </a:xfrm>
          <a:custGeom>
            <a:avLst/>
            <a:gdLst/>
            <a:ahLst/>
            <a:cxnLst/>
            <a:rect l="l" t="t" r="r" b="b"/>
            <a:pathLst>
              <a:path w="22225" h="10160">
                <a:moveTo>
                  <a:pt x="22093" y="0"/>
                </a:moveTo>
                <a:lnTo>
                  <a:pt x="0" y="0"/>
                </a:lnTo>
                <a:lnTo>
                  <a:pt x="0" y="8680"/>
                </a:lnTo>
                <a:lnTo>
                  <a:pt x="4816" y="9444"/>
                </a:lnTo>
                <a:lnTo>
                  <a:pt x="9769" y="9863"/>
                </a:lnTo>
                <a:lnTo>
                  <a:pt x="16554" y="9832"/>
                </a:lnTo>
                <a:lnTo>
                  <a:pt x="19109" y="7758"/>
                </a:lnTo>
                <a:lnTo>
                  <a:pt x="22093" y="4460"/>
                </a:lnTo>
                <a:lnTo>
                  <a:pt x="22093" y="0"/>
                </a:lnTo>
                <a:close/>
              </a:path>
            </a:pathLst>
          </a:custGeom>
          <a:solidFill>
            <a:srgbClr val="136C7D"/>
          </a:solidFill>
        </p:spPr>
        <p:txBody>
          <a:bodyPr wrap="square" lIns="0" tIns="0" rIns="0" bIns="0" rtlCol="0"/>
          <a:lstStyle/>
          <a:p>
            <a:endParaRPr/>
          </a:p>
        </p:txBody>
      </p:sp>
      <p:sp>
        <p:nvSpPr>
          <p:cNvPr id="697" name="object 697"/>
          <p:cNvSpPr/>
          <p:nvPr/>
        </p:nvSpPr>
        <p:spPr>
          <a:xfrm>
            <a:off x="2015719" y="2588609"/>
            <a:ext cx="10109" cy="6642"/>
          </a:xfrm>
          <a:custGeom>
            <a:avLst/>
            <a:gdLst/>
            <a:ahLst/>
            <a:cxnLst/>
            <a:rect l="l" t="t" r="r" b="b"/>
            <a:pathLst>
              <a:path w="22225" h="14604">
                <a:moveTo>
                  <a:pt x="22093" y="0"/>
                </a:moveTo>
                <a:lnTo>
                  <a:pt x="0" y="0"/>
                </a:lnTo>
                <a:lnTo>
                  <a:pt x="0" y="11067"/>
                </a:lnTo>
                <a:lnTo>
                  <a:pt x="2188" y="13046"/>
                </a:lnTo>
                <a:lnTo>
                  <a:pt x="4167" y="14240"/>
                </a:lnTo>
                <a:lnTo>
                  <a:pt x="11078" y="14219"/>
                </a:lnTo>
                <a:lnTo>
                  <a:pt x="16543" y="14072"/>
                </a:lnTo>
                <a:lnTo>
                  <a:pt x="22093" y="13811"/>
                </a:lnTo>
                <a:lnTo>
                  <a:pt x="22093" y="0"/>
                </a:lnTo>
                <a:close/>
              </a:path>
            </a:pathLst>
          </a:custGeom>
          <a:solidFill>
            <a:srgbClr val="136C7D"/>
          </a:solidFill>
        </p:spPr>
        <p:txBody>
          <a:bodyPr wrap="square" lIns="0" tIns="0" rIns="0" bIns="0" rtlCol="0"/>
          <a:lstStyle/>
          <a:p>
            <a:endParaRPr/>
          </a:p>
        </p:txBody>
      </p:sp>
      <p:sp>
        <p:nvSpPr>
          <p:cNvPr id="698" name="object 698"/>
          <p:cNvSpPr/>
          <p:nvPr/>
        </p:nvSpPr>
        <p:spPr>
          <a:xfrm>
            <a:off x="2035819" y="2588610"/>
            <a:ext cx="10109" cy="5487"/>
          </a:xfrm>
          <a:custGeom>
            <a:avLst/>
            <a:gdLst/>
            <a:ahLst/>
            <a:cxnLst/>
            <a:rect l="l" t="t" r="r" b="b"/>
            <a:pathLst>
              <a:path w="22225" h="12064">
                <a:moveTo>
                  <a:pt x="22093" y="0"/>
                </a:moveTo>
                <a:lnTo>
                  <a:pt x="0" y="0"/>
                </a:lnTo>
                <a:lnTo>
                  <a:pt x="0" y="11968"/>
                </a:lnTo>
                <a:lnTo>
                  <a:pt x="7277" y="11088"/>
                </a:lnTo>
                <a:lnTo>
                  <a:pt x="14669" y="9863"/>
                </a:lnTo>
                <a:lnTo>
                  <a:pt x="22093" y="8282"/>
                </a:lnTo>
                <a:lnTo>
                  <a:pt x="22093" y="0"/>
                </a:lnTo>
                <a:close/>
              </a:path>
            </a:pathLst>
          </a:custGeom>
          <a:solidFill>
            <a:srgbClr val="136C7D"/>
          </a:solidFill>
        </p:spPr>
        <p:txBody>
          <a:bodyPr wrap="square" lIns="0" tIns="0" rIns="0" bIns="0" rtlCol="0"/>
          <a:lstStyle/>
          <a:p>
            <a:endParaRPr/>
          </a:p>
        </p:txBody>
      </p:sp>
      <p:sp>
        <p:nvSpPr>
          <p:cNvPr id="699" name="object 699"/>
          <p:cNvSpPr/>
          <p:nvPr/>
        </p:nvSpPr>
        <p:spPr>
          <a:xfrm>
            <a:off x="2055918" y="2588610"/>
            <a:ext cx="3177" cy="1155"/>
          </a:xfrm>
          <a:custGeom>
            <a:avLst/>
            <a:gdLst/>
            <a:ahLst/>
            <a:cxnLst/>
            <a:rect l="l" t="t" r="r" b="b"/>
            <a:pathLst>
              <a:path w="6985" h="2539">
                <a:moveTo>
                  <a:pt x="6963" y="0"/>
                </a:moveTo>
                <a:lnTo>
                  <a:pt x="0" y="0"/>
                </a:lnTo>
                <a:lnTo>
                  <a:pt x="0" y="2397"/>
                </a:lnTo>
                <a:lnTo>
                  <a:pt x="2324" y="1654"/>
                </a:lnTo>
                <a:lnTo>
                  <a:pt x="4649" y="848"/>
                </a:lnTo>
                <a:lnTo>
                  <a:pt x="6963" y="0"/>
                </a:lnTo>
                <a:close/>
              </a:path>
            </a:pathLst>
          </a:custGeom>
          <a:solidFill>
            <a:srgbClr val="136C7D"/>
          </a:solidFill>
        </p:spPr>
        <p:txBody>
          <a:bodyPr wrap="square" lIns="0" tIns="0" rIns="0" bIns="0" rtlCol="0"/>
          <a:lstStyle/>
          <a:p>
            <a:endParaRPr/>
          </a:p>
        </p:txBody>
      </p:sp>
      <p:sp>
        <p:nvSpPr>
          <p:cNvPr id="700" name="object 700"/>
          <p:cNvSpPr/>
          <p:nvPr/>
        </p:nvSpPr>
        <p:spPr>
          <a:xfrm>
            <a:off x="1948842" y="2394727"/>
            <a:ext cx="289" cy="578"/>
          </a:xfrm>
          <a:custGeom>
            <a:avLst/>
            <a:gdLst/>
            <a:ahLst/>
            <a:cxnLst/>
            <a:rect l="l" t="t" r="r" b="b"/>
            <a:pathLst>
              <a:path w="635" h="1270">
                <a:moveTo>
                  <a:pt x="0" y="670"/>
                </a:moveTo>
                <a:lnTo>
                  <a:pt x="146" y="73"/>
                </a:lnTo>
                <a:lnTo>
                  <a:pt x="0" y="219"/>
                </a:lnTo>
                <a:lnTo>
                  <a:pt x="0" y="670"/>
                </a:lnTo>
                <a:close/>
              </a:path>
            </a:pathLst>
          </a:custGeom>
          <a:solidFill>
            <a:srgbClr val="000000">
              <a:alpha val="9999"/>
            </a:srgbClr>
          </a:solidFill>
        </p:spPr>
        <p:txBody>
          <a:bodyPr wrap="square" lIns="0" tIns="0" rIns="0" bIns="0" rtlCol="0"/>
          <a:lstStyle/>
          <a:p>
            <a:endParaRPr/>
          </a:p>
        </p:txBody>
      </p:sp>
      <p:sp>
        <p:nvSpPr>
          <p:cNvPr id="701" name="object 701"/>
          <p:cNvSpPr/>
          <p:nvPr/>
        </p:nvSpPr>
        <p:spPr>
          <a:xfrm>
            <a:off x="1964371" y="2171267"/>
            <a:ext cx="80292" cy="101945"/>
          </a:xfrm>
          <a:custGeom>
            <a:avLst/>
            <a:gdLst/>
            <a:ahLst/>
            <a:cxnLst/>
            <a:rect l="l" t="t" r="r" b="b"/>
            <a:pathLst>
              <a:path w="176529" h="224154">
                <a:moveTo>
                  <a:pt x="58280" y="0"/>
                </a:moveTo>
                <a:lnTo>
                  <a:pt x="13308" y="32983"/>
                </a:lnTo>
                <a:lnTo>
                  <a:pt x="0" y="65725"/>
                </a:lnTo>
                <a:lnTo>
                  <a:pt x="17653" y="160194"/>
                </a:lnTo>
                <a:lnTo>
                  <a:pt x="29484" y="189487"/>
                </a:lnTo>
                <a:lnTo>
                  <a:pt x="50876" y="211214"/>
                </a:lnTo>
                <a:lnTo>
                  <a:pt x="78848" y="223332"/>
                </a:lnTo>
                <a:lnTo>
                  <a:pt x="110415" y="223794"/>
                </a:lnTo>
                <a:lnTo>
                  <a:pt x="124620" y="216624"/>
                </a:lnTo>
                <a:lnTo>
                  <a:pt x="139023" y="202597"/>
                </a:lnTo>
                <a:lnTo>
                  <a:pt x="151048" y="185493"/>
                </a:lnTo>
                <a:lnTo>
                  <a:pt x="158120" y="169094"/>
                </a:lnTo>
                <a:lnTo>
                  <a:pt x="164041" y="149123"/>
                </a:lnTo>
                <a:lnTo>
                  <a:pt x="171085" y="125489"/>
                </a:lnTo>
                <a:lnTo>
                  <a:pt x="176151" y="101347"/>
                </a:lnTo>
                <a:lnTo>
                  <a:pt x="176141" y="79850"/>
                </a:lnTo>
                <a:lnTo>
                  <a:pt x="167649" y="34396"/>
                </a:lnTo>
                <a:lnTo>
                  <a:pt x="58280" y="0"/>
                </a:lnTo>
                <a:close/>
              </a:path>
            </a:pathLst>
          </a:custGeom>
          <a:solidFill>
            <a:srgbClr val="F4CFB1"/>
          </a:solidFill>
        </p:spPr>
        <p:txBody>
          <a:bodyPr wrap="square" lIns="0" tIns="0" rIns="0" bIns="0" rtlCol="0"/>
          <a:lstStyle/>
          <a:p>
            <a:endParaRPr/>
          </a:p>
        </p:txBody>
      </p:sp>
      <p:sp>
        <p:nvSpPr>
          <p:cNvPr id="702" name="object 702"/>
          <p:cNvSpPr/>
          <p:nvPr/>
        </p:nvSpPr>
        <p:spPr>
          <a:xfrm>
            <a:off x="1989733" y="2241731"/>
            <a:ext cx="48233" cy="108011"/>
          </a:xfrm>
          <a:custGeom>
            <a:avLst/>
            <a:gdLst/>
            <a:ahLst/>
            <a:cxnLst/>
            <a:rect l="l" t="t" r="r" b="b"/>
            <a:pathLst>
              <a:path w="106045" h="237489">
                <a:moveTo>
                  <a:pt x="94279" y="0"/>
                </a:moveTo>
                <a:lnTo>
                  <a:pt x="0" y="9162"/>
                </a:lnTo>
                <a:lnTo>
                  <a:pt x="5350" y="114059"/>
                </a:lnTo>
                <a:lnTo>
                  <a:pt x="10610" y="139672"/>
                </a:lnTo>
                <a:lnTo>
                  <a:pt x="17994" y="177066"/>
                </a:lnTo>
                <a:lnTo>
                  <a:pt x="26477" y="213791"/>
                </a:lnTo>
                <a:lnTo>
                  <a:pt x="35035" y="237395"/>
                </a:lnTo>
                <a:lnTo>
                  <a:pt x="76850" y="162860"/>
                </a:lnTo>
                <a:lnTo>
                  <a:pt x="98152" y="122822"/>
                </a:lnTo>
                <a:lnTo>
                  <a:pt x="105568" y="103608"/>
                </a:lnTo>
                <a:lnTo>
                  <a:pt x="105724" y="91546"/>
                </a:lnTo>
                <a:lnTo>
                  <a:pt x="94279" y="0"/>
                </a:lnTo>
                <a:close/>
              </a:path>
            </a:pathLst>
          </a:custGeom>
          <a:solidFill>
            <a:srgbClr val="F4CFB1"/>
          </a:solidFill>
        </p:spPr>
        <p:txBody>
          <a:bodyPr wrap="square" lIns="0" tIns="0" rIns="0" bIns="0" rtlCol="0"/>
          <a:lstStyle/>
          <a:p>
            <a:endParaRPr/>
          </a:p>
        </p:txBody>
      </p:sp>
      <p:sp>
        <p:nvSpPr>
          <p:cNvPr id="703" name="object 703"/>
          <p:cNvSpPr/>
          <p:nvPr/>
        </p:nvSpPr>
        <p:spPr>
          <a:xfrm>
            <a:off x="1958430" y="2157761"/>
            <a:ext cx="89245" cy="94725"/>
          </a:xfrm>
          <a:custGeom>
            <a:avLst/>
            <a:gdLst/>
            <a:ahLst/>
            <a:cxnLst/>
            <a:rect l="l" t="t" r="r" b="b"/>
            <a:pathLst>
              <a:path w="196214" h="208279">
                <a:moveTo>
                  <a:pt x="195690" y="109891"/>
                </a:moveTo>
                <a:lnTo>
                  <a:pt x="179800" y="109891"/>
                </a:lnTo>
                <a:lnTo>
                  <a:pt x="181322" y="125734"/>
                </a:lnTo>
                <a:lnTo>
                  <a:pt x="181317" y="127954"/>
                </a:lnTo>
                <a:lnTo>
                  <a:pt x="181074" y="150375"/>
                </a:lnTo>
                <a:lnTo>
                  <a:pt x="176570" y="163356"/>
                </a:lnTo>
                <a:lnTo>
                  <a:pt x="171312" y="168484"/>
                </a:lnTo>
                <a:lnTo>
                  <a:pt x="168785" y="169387"/>
                </a:lnTo>
                <a:lnTo>
                  <a:pt x="171182" y="198789"/>
                </a:lnTo>
                <a:lnTo>
                  <a:pt x="167738" y="208129"/>
                </a:lnTo>
                <a:lnTo>
                  <a:pt x="176004" y="192903"/>
                </a:lnTo>
                <a:lnTo>
                  <a:pt x="186945" y="173641"/>
                </a:lnTo>
                <a:lnTo>
                  <a:pt x="195395" y="148147"/>
                </a:lnTo>
                <a:lnTo>
                  <a:pt x="196187" y="114226"/>
                </a:lnTo>
                <a:lnTo>
                  <a:pt x="195690" y="109891"/>
                </a:lnTo>
                <a:close/>
              </a:path>
              <a:path w="196214" h="208279">
                <a:moveTo>
                  <a:pt x="190844" y="71078"/>
                </a:moveTo>
                <a:lnTo>
                  <a:pt x="82469" y="71078"/>
                </a:lnTo>
                <a:lnTo>
                  <a:pt x="111498" y="75819"/>
                </a:lnTo>
                <a:lnTo>
                  <a:pt x="126179" y="82147"/>
                </a:lnTo>
                <a:lnTo>
                  <a:pt x="136475" y="92298"/>
                </a:lnTo>
                <a:lnTo>
                  <a:pt x="142654" y="102515"/>
                </a:lnTo>
                <a:lnTo>
                  <a:pt x="144984" y="109043"/>
                </a:lnTo>
                <a:lnTo>
                  <a:pt x="149057" y="127954"/>
                </a:lnTo>
                <a:lnTo>
                  <a:pt x="160931" y="125734"/>
                </a:lnTo>
                <a:lnTo>
                  <a:pt x="162827" y="113472"/>
                </a:lnTo>
                <a:lnTo>
                  <a:pt x="174407" y="111305"/>
                </a:lnTo>
                <a:lnTo>
                  <a:pt x="179800" y="109891"/>
                </a:lnTo>
                <a:lnTo>
                  <a:pt x="195690" y="109891"/>
                </a:lnTo>
                <a:lnTo>
                  <a:pt x="192981" y="86244"/>
                </a:lnTo>
                <a:lnTo>
                  <a:pt x="190844" y="71078"/>
                </a:lnTo>
                <a:close/>
              </a:path>
              <a:path w="196214" h="208279">
                <a:moveTo>
                  <a:pt x="99568" y="0"/>
                </a:moveTo>
                <a:lnTo>
                  <a:pt x="61154" y="8343"/>
                </a:lnTo>
                <a:lnTo>
                  <a:pt x="17487" y="33062"/>
                </a:lnTo>
                <a:lnTo>
                  <a:pt x="0" y="62833"/>
                </a:lnTo>
                <a:lnTo>
                  <a:pt x="538" y="83494"/>
                </a:lnTo>
                <a:lnTo>
                  <a:pt x="2622" y="94593"/>
                </a:lnTo>
                <a:lnTo>
                  <a:pt x="15135" y="100363"/>
                </a:lnTo>
                <a:lnTo>
                  <a:pt x="43322" y="81049"/>
                </a:lnTo>
                <a:lnTo>
                  <a:pt x="62755" y="72055"/>
                </a:lnTo>
                <a:lnTo>
                  <a:pt x="82469" y="71078"/>
                </a:lnTo>
                <a:lnTo>
                  <a:pt x="190844" y="71078"/>
                </a:lnTo>
                <a:lnTo>
                  <a:pt x="189657" y="62651"/>
                </a:lnTo>
                <a:lnTo>
                  <a:pt x="184579" y="43390"/>
                </a:lnTo>
                <a:lnTo>
                  <a:pt x="176114" y="28407"/>
                </a:lnTo>
                <a:lnTo>
                  <a:pt x="140418" y="4182"/>
                </a:lnTo>
                <a:lnTo>
                  <a:pt x="99568" y="0"/>
                </a:lnTo>
                <a:close/>
              </a:path>
            </a:pathLst>
          </a:custGeom>
          <a:solidFill>
            <a:srgbClr val="2F2A2A"/>
          </a:solidFill>
        </p:spPr>
        <p:txBody>
          <a:bodyPr wrap="square" lIns="0" tIns="0" rIns="0" bIns="0" rtlCol="0"/>
          <a:lstStyle/>
          <a:p>
            <a:endParaRPr/>
          </a:p>
        </p:txBody>
      </p:sp>
      <p:sp>
        <p:nvSpPr>
          <p:cNvPr id="704" name="object 704"/>
          <p:cNvSpPr/>
          <p:nvPr/>
        </p:nvSpPr>
        <p:spPr>
          <a:xfrm>
            <a:off x="1990931" y="2265557"/>
            <a:ext cx="32925" cy="11552"/>
          </a:xfrm>
          <a:custGeom>
            <a:avLst/>
            <a:gdLst/>
            <a:ahLst/>
            <a:cxnLst/>
            <a:rect l="l" t="t" r="r" b="b"/>
            <a:pathLst>
              <a:path w="72389" h="25400">
                <a:moveTo>
                  <a:pt x="0" y="8443"/>
                </a:moveTo>
                <a:lnTo>
                  <a:pt x="670" y="21689"/>
                </a:lnTo>
                <a:lnTo>
                  <a:pt x="10205" y="25088"/>
                </a:lnTo>
                <a:lnTo>
                  <a:pt x="48994" y="25088"/>
                </a:lnTo>
                <a:lnTo>
                  <a:pt x="53964" y="21571"/>
                </a:lnTo>
                <a:lnTo>
                  <a:pt x="56427" y="18593"/>
                </a:lnTo>
                <a:lnTo>
                  <a:pt x="33642" y="18593"/>
                </a:lnTo>
                <a:lnTo>
                  <a:pt x="19622" y="16716"/>
                </a:lnTo>
                <a:lnTo>
                  <a:pt x="0" y="8443"/>
                </a:lnTo>
                <a:close/>
              </a:path>
              <a:path w="72389" h="25400">
                <a:moveTo>
                  <a:pt x="71803" y="0"/>
                </a:moveTo>
                <a:lnTo>
                  <a:pt x="48794" y="13283"/>
                </a:lnTo>
                <a:lnTo>
                  <a:pt x="33642" y="18593"/>
                </a:lnTo>
                <a:lnTo>
                  <a:pt x="56427" y="18593"/>
                </a:lnTo>
                <a:lnTo>
                  <a:pt x="71803" y="0"/>
                </a:lnTo>
                <a:close/>
              </a:path>
            </a:pathLst>
          </a:custGeom>
          <a:solidFill>
            <a:srgbClr val="000000">
              <a:alpha val="9999"/>
            </a:srgbClr>
          </a:solidFill>
        </p:spPr>
        <p:txBody>
          <a:bodyPr wrap="square" lIns="0" tIns="0" rIns="0" bIns="0" rtlCol="0"/>
          <a:lstStyle/>
          <a:p>
            <a:endParaRPr/>
          </a:p>
        </p:txBody>
      </p:sp>
      <p:sp>
        <p:nvSpPr>
          <p:cNvPr id="705" name="object 705"/>
          <p:cNvSpPr/>
          <p:nvPr/>
        </p:nvSpPr>
        <p:spPr>
          <a:xfrm>
            <a:off x="2079188" y="2372510"/>
            <a:ext cx="0" cy="208512"/>
          </a:xfrm>
          <a:custGeom>
            <a:avLst/>
            <a:gdLst/>
            <a:ahLst/>
            <a:cxnLst/>
            <a:rect l="l" t="t" r="r" b="b"/>
            <a:pathLst>
              <a:path h="458470">
                <a:moveTo>
                  <a:pt x="0" y="0"/>
                </a:moveTo>
                <a:lnTo>
                  <a:pt x="0" y="458038"/>
                </a:lnTo>
              </a:path>
            </a:pathLst>
          </a:custGeom>
          <a:ln w="35663">
            <a:solidFill>
              <a:srgbClr val="000000"/>
            </a:solidFill>
          </a:ln>
        </p:spPr>
        <p:txBody>
          <a:bodyPr wrap="square" lIns="0" tIns="0" rIns="0" bIns="0" rtlCol="0"/>
          <a:lstStyle/>
          <a:p>
            <a:endParaRPr/>
          </a:p>
        </p:txBody>
      </p:sp>
      <p:sp>
        <p:nvSpPr>
          <p:cNvPr id="706" name="object 706"/>
          <p:cNvSpPr/>
          <p:nvPr/>
        </p:nvSpPr>
        <p:spPr>
          <a:xfrm>
            <a:off x="1947409" y="2362215"/>
            <a:ext cx="0" cy="218620"/>
          </a:xfrm>
          <a:custGeom>
            <a:avLst/>
            <a:gdLst/>
            <a:ahLst/>
            <a:cxnLst/>
            <a:rect l="l" t="t" r="r" b="b"/>
            <a:pathLst>
              <a:path h="480695">
                <a:moveTo>
                  <a:pt x="0" y="0"/>
                </a:moveTo>
                <a:lnTo>
                  <a:pt x="0" y="480676"/>
                </a:lnTo>
              </a:path>
            </a:pathLst>
          </a:custGeom>
          <a:ln w="43759">
            <a:solidFill>
              <a:srgbClr val="000000"/>
            </a:solidFill>
          </a:ln>
        </p:spPr>
        <p:txBody>
          <a:bodyPr wrap="square" lIns="0" tIns="0" rIns="0" bIns="0" rtlCol="0"/>
          <a:lstStyle/>
          <a:p>
            <a:endParaRPr/>
          </a:p>
        </p:txBody>
      </p:sp>
      <p:sp>
        <p:nvSpPr>
          <p:cNvPr id="707" name="object 707"/>
          <p:cNvSpPr/>
          <p:nvPr/>
        </p:nvSpPr>
        <p:spPr>
          <a:xfrm>
            <a:off x="1968987" y="2266673"/>
            <a:ext cx="84792" cy="83028"/>
          </a:xfrm>
          <a:prstGeom prst="rect">
            <a:avLst/>
          </a:prstGeom>
          <a:blipFill>
            <a:blip r:embed="rId12" cstate="print"/>
            <a:stretch>
              <a:fillRect/>
            </a:stretch>
          </a:blipFill>
        </p:spPr>
        <p:txBody>
          <a:bodyPr wrap="square" lIns="0" tIns="0" rIns="0" bIns="0" rtlCol="0"/>
          <a:lstStyle/>
          <a:p>
            <a:endParaRPr/>
          </a:p>
        </p:txBody>
      </p:sp>
      <p:sp>
        <p:nvSpPr>
          <p:cNvPr id="708" name="object 708"/>
          <p:cNvSpPr/>
          <p:nvPr/>
        </p:nvSpPr>
        <p:spPr>
          <a:xfrm>
            <a:off x="1915447" y="2544925"/>
            <a:ext cx="24550" cy="18772"/>
          </a:xfrm>
          <a:custGeom>
            <a:avLst/>
            <a:gdLst/>
            <a:ahLst/>
            <a:cxnLst/>
            <a:rect l="l" t="t" r="r" b="b"/>
            <a:pathLst>
              <a:path w="53975" h="41275">
                <a:moveTo>
                  <a:pt x="0" y="0"/>
                </a:moveTo>
                <a:lnTo>
                  <a:pt x="1078" y="38763"/>
                </a:lnTo>
                <a:lnTo>
                  <a:pt x="47768" y="41202"/>
                </a:lnTo>
                <a:lnTo>
                  <a:pt x="53527" y="4408"/>
                </a:lnTo>
                <a:lnTo>
                  <a:pt x="0" y="0"/>
                </a:lnTo>
                <a:close/>
              </a:path>
            </a:pathLst>
          </a:custGeom>
          <a:solidFill>
            <a:srgbClr val="E0DCD5"/>
          </a:solidFill>
        </p:spPr>
        <p:txBody>
          <a:bodyPr wrap="square" lIns="0" tIns="0" rIns="0" bIns="0" rtlCol="0"/>
          <a:lstStyle/>
          <a:p>
            <a:endParaRPr/>
          </a:p>
        </p:txBody>
      </p:sp>
      <p:sp>
        <p:nvSpPr>
          <p:cNvPr id="709" name="object 709"/>
          <p:cNvSpPr/>
          <p:nvPr/>
        </p:nvSpPr>
        <p:spPr>
          <a:xfrm>
            <a:off x="2100418" y="2542127"/>
            <a:ext cx="27727" cy="21660"/>
          </a:xfrm>
          <a:custGeom>
            <a:avLst/>
            <a:gdLst/>
            <a:ahLst/>
            <a:cxnLst/>
            <a:rect l="l" t="t" r="r" b="b"/>
            <a:pathLst>
              <a:path w="60960" h="47625">
                <a:moveTo>
                  <a:pt x="60542" y="0"/>
                </a:moveTo>
                <a:lnTo>
                  <a:pt x="0" y="2439"/>
                </a:lnTo>
                <a:lnTo>
                  <a:pt x="5706" y="47359"/>
                </a:lnTo>
                <a:lnTo>
                  <a:pt x="60542" y="47359"/>
                </a:lnTo>
                <a:lnTo>
                  <a:pt x="60542" y="0"/>
                </a:lnTo>
                <a:close/>
              </a:path>
            </a:pathLst>
          </a:custGeom>
          <a:solidFill>
            <a:srgbClr val="E0DCD5"/>
          </a:solidFill>
        </p:spPr>
        <p:txBody>
          <a:bodyPr wrap="square" lIns="0" tIns="0" rIns="0" bIns="0" rtlCol="0"/>
          <a:lstStyle/>
          <a:p>
            <a:endParaRPr/>
          </a:p>
        </p:txBody>
      </p:sp>
      <p:sp>
        <p:nvSpPr>
          <p:cNvPr id="710" name="object 710"/>
          <p:cNvSpPr/>
          <p:nvPr/>
        </p:nvSpPr>
        <p:spPr>
          <a:xfrm>
            <a:off x="1998956" y="2348657"/>
            <a:ext cx="7509" cy="221219"/>
          </a:xfrm>
          <a:custGeom>
            <a:avLst/>
            <a:gdLst/>
            <a:ahLst/>
            <a:cxnLst/>
            <a:rect l="l" t="t" r="r" b="b"/>
            <a:pathLst>
              <a:path w="16510" h="486410">
                <a:moveTo>
                  <a:pt x="13488" y="0"/>
                </a:moveTo>
                <a:lnTo>
                  <a:pt x="7449" y="103156"/>
                </a:lnTo>
                <a:lnTo>
                  <a:pt x="4287" y="160445"/>
                </a:lnTo>
                <a:lnTo>
                  <a:pt x="2428" y="221296"/>
                </a:lnTo>
                <a:lnTo>
                  <a:pt x="1764" y="260885"/>
                </a:lnTo>
                <a:lnTo>
                  <a:pt x="779" y="322910"/>
                </a:lnTo>
                <a:lnTo>
                  <a:pt x="17" y="391049"/>
                </a:lnTo>
                <a:lnTo>
                  <a:pt x="0" y="450409"/>
                </a:lnTo>
                <a:lnTo>
                  <a:pt x="1247" y="486100"/>
                </a:lnTo>
                <a:lnTo>
                  <a:pt x="2452" y="483995"/>
                </a:lnTo>
                <a:lnTo>
                  <a:pt x="3551" y="483995"/>
                </a:lnTo>
                <a:lnTo>
                  <a:pt x="6874" y="257993"/>
                </a:lnTo>
                <a:lnTo>
                  <a:pt x="7489" y="219867"/>
                </a:lnTo>
                <a:lnTo>
                  <a:pt x="9339" y="157124"/>
                </a:lnTo>
                <a:lnTo>
                  <a:pt x="12031" y="90015"/>
                </a:lnTo>
                <a:lnTo>
                  <a:pt x="14713" y="28015"/>
                </a:lnTo>
                <a:lnTo>
                  <a:pt x="15937" y="4293"/>
                </a:lnTo>
                <a:lnTo>
                  <a:pt x="14210" y="4293"/>
                </a:lnTo>
                <a:lnTo>
                  <a:pt x="13488" y="0"/>
                </a:lnTo>
                <a:close/>
              </a:path>
              <a:path w="16510" h="486410">
                <a:moveTo>
                  <a:pt x="3551" y="483995"/>
                </a:moveTo>
                <a:lnTo>
                  <a:pt x="2452" y="483995"/>
                </a:lnTo>
                <a:lnTo>
                  <a:pt x="3520" y="486100"/>
                </a:lnTo>
                <a:lnTo>
                  <a:pt x="3551" y="483995"/>
                </a:lnTo>
                <a:close/>
              </a:path>
              <a:path w="16510" h="486410">
                <a:moveTo>
                  <a:pt x="16158" y="0"/>
                </a:moveTo>
                <a:lnTo>
                  <a:pt x="14210" y="4293"/>
                </a:lnTo>
                <a:lnTo>
                  <a:pt x="15937" y="4293"/>
                </a:lnTo>
                <a:lnTo>
                  <a:pt x="16158" y="0"/>
                </a:lnTo>
                <a:close/>
              </a:path>
            </a:pathLst>
          </a:custGeom>
          <a:solidFill>
            <a:srgbClr val="E0DCD5"/>
          </a:solidFill>
        </p:spPr>
        <p:txBody>
          <a:bodyPr wrap="square" lIns="0" tIns="0" rIns="0" bIns="0" rtlCol="0"/>
          <a:lstStyle/>
          <a:p>
            <a:endParaRPr/>
          </a:p>
        </p:txBody>
      </p:sp>
      <p:sp>
        <p:nvSpPr>
          <p:cNvPr id="711" name="object 711"/>
          <p:cNvSpPr/>
          <p:nvPr/>
        </p:nvSpPr>
        <p:spPr>
          <a:xfrm>
            <a:off x="1784953" y="2481026"/>
            <a:ext cx="130835" cy="97903"/>
          </a:xfrm>
          <a:custGeom>
            <a:avLst/>
            <a:gdLst/>
            <a:ahLst/>
            <a:cxnLst/>
            <a:rect l="l" t="t" r="r" b="b"/>
            <a:pathLst>
              <a:path w="287654" h="215264">
                <a:moveTo>
                  <a:pt x="229794" y="0"/>
                </a:moveTo>
                <a:lnTo>
                  <a:pt x="57422" y="0"/>
                </a:lnTo>
                <a:lnTo>
                  <a:pt x="35069" y="4512"/>
                </a:lnTo>
                <a:lnTo>
                  <a:pt x="16817" y="16817"/>
                </a:lnTo>
                <a:lnTo>
                  <a:pt x="4512" y="35069"/>
                </a:lnTo>
                <a:lnTo>
                  <a:pt x="0" y="57422"/>
                </a:lnTo>
                <a:lnTo>
                  <a:pt x="0" y="157523"/>
                </a:lnTo>
                <a:lnTo>
                  <a:pt x="4512" y="179876"/>
                </a:lnTo>
                <a:lnTo>
                  <a:pt x="16817" y="198128"/>
                </a:lnTo>
                <a:lnTo>
                  <a:pt x="35069" y="210434"/>
                </a:lnTo>
                <a:lnTo>
                  <a:pt x="57422" y="214946"/>
                </a:lnTo>
                <a:lnTo>
                  <a:pt x="229794" y="214946"/>
                </a:lnTo>
                <a:lnTo>
                  <a:pt x="252146" y="210434"/>
                </a:lnTo>
                <a:lnTo>
                  <a:pt x="270398" y="198128"/>
                </a:lnTo>
                <a:lnTo>
                  <a:pt x="282704" y="179876"/>
                </a:lnTo>
                <a:lnTo>
                  <a:pt x="287216" y="157523"/>
                </a:lnTo>
                <a:lnTo>
                  <a:pt x="287216" y="57422"/>
                </a:lnTo>
                <a:lnTo>
                  <a:pt x="282704" y="35069"/>
                </a:lnTo>
                <a:lnTo>
                  <a:pt x="270398" y="16817"/>
                </a:lnTo>
                <a:lnTo>
                  <a:pt x="252146" y="4512"/>
                </a:lnTo>
                <a:lnTo>
                  <a:pt x="229794" y="0"/>
                </a:lnTo>
                <a:close/>
              </a:path>
            </a:pathLst>
          </a:custGeom>
          <a:solidFill>
            <a:srgbClr val="FFFFFF"/>
          </a:solidFill>
        </p:spPr>
        <p:txBody>
          <a:bodyPr wrap="square" lIns="0" tIns="0" rIns="0" bIns="0" rtlCol="0"/>
          <a:lstStyle/>
          <a:p>
            <a:endParaRPr/>
          </a:p>
        </p:txBody>
      </p:sp>
      <p:sp>
        <p:nvSpPr>
          <p:cNvPr id="712" name="object 712"/>
          <p:cNvSpPr/>
          <p:nvPr/>
        </p:nvSpPr>
        <p:spPr>
          <a:xfrm>
            <a:off x="1800307" y="2481026"/>
            <a:ext cx="115281" cy="97758"/>
          </a:xfrm>
          <a:prstGeom prst="rect">
            <a:avLst/>
          </a:prstGeom>
          <a:blipFill>
            <a:blip r:embed="rId13" cstate="print"/>
            <a:stretch>
              <a:fillRect/>
            </a:stretch>
          </a:blipFill>
        </p:spPr>
        <p:txBody>
          <a:bodyPr wrap="square" lIns="0" tIns="0" rIns="0" bIns="0" rtlCol="0"/>
          <a:lstStyle/>
          <a:p>
            <a:endParaRPr/>
          </a:p>
        </p:txBody>
      </p:sp>
      <p:sp>
        <p:nvSpPr>
          <p:cNvPr id="713" name="object 713"/>
          <p:cNvSpPr/>
          <p:nvPr/>
        </p:nvSpPr>
        <p:spPr>
          <a:xfrm>
            <a:off x="1807602" y="2526176"/>
            <a:ext cx="132857" cy="460633"/>
          </a:xfrm>
          <a:custGeom>
            <a:avLst/>
            <a:gdLst/>
            <a:ahLst/>
            <a:cxnLst/>
            <a:rect l="l" t="t" r="r" b="b"/>
            <a:pathLst>
              <a:path w="292100" h="1012825">
                <a:moveTo>
                  <a:pt x="291792" y="0"/>
                </a:moveTo>
                <a:lnTo>
                  <a:pt x="51359" y="0"/>
                </a:lnTo>
                <a:lnTo>
                  <a:pt x="45504" y="22876"/>
                </a:lnTo>
                <a:lnTo>
                  <a:pt x="38422" y="58059"/>
                </a:lnTo>
                <a:lnTo>
                  <a:pt x="32456" y="96869"/>
                </a:lnTo>
                <a:lnTo>
                  <a:pt x="29946" y="130624"/>
                </a:lnTo>
                <a:lnTo>
                  <a:pt x="30791" y="170516"/>
                </a:lnTo>
                <a:lnTo>
                  <a:pt x="32903" y="232283"/>
                </a:lnTo>
                <a:lnTo>
                  <a:pt x="35648" y="303490"/>
                </a:lnTo>
                <a:lnTo>
                  <a:pt x="40504" y="424493"/>
                </a:lnTo>
                <a:lnTo>
                  <a:pt x="41349" y="449420"/>
                </a:lnTo>
                <a:lnTo>
                  <a:pt x="39942" y="480943"/>
                </a:lnTo>
                <a:lnTo>
                  <a:pt x="36521" y="522758"/>
                </a:lnTo>
                <a:lnTo>
                  <a:pt x="32280" y="566820"/>
                </a:lnTo>
                <a:lnTo>
                  <a:pt x="28417" y="605081"/>
                </a:lnTo>
                <a:lnTo>
                  <a:pt x="25264" y="668738"/>
                </a:lnTo>
                <a:lnTo>
                  <a:pt x="20827" y="783853"/>
                </a:lnTo>
                <a:lnTo>
                  <a:pt x="16872" y="894173"/>
                </a:lnTo>
                <a:lnTo>
                  <a:pt x="15161" y="943447"/>
                </a:lnTo>
                <a:lnTo>
                  <a:pt x="7020" y="966528"/>
                </a:lnTo>
                <a:lnTo>
                  <a:pt x="2727" y="981395"/>
                </a:lnTo>
                <a:lnTo>
                  <a:pt x="861" y="994505"/>
                </a:lnTo>
                <a:lnTo>
                  <a:pt x="0" y="1012314"/>
                </a:lnTo>
                <a:lnTo>
                  <a:pt x="159733" y="1012314"/>
                </a:lnTo>
                <a:lnTo>
                  <a:pt x="158123" y="996235"/>
                </a:lnTo>
                <a:lnTo>
                  <a:pt x="153408" y="987418"/>
                </a:lnTo>
                <a:lnTo>
                  <a:pt x="141831" y="982754"/>
                </a:lnTo>
                <a:lnTo>
                  <a:pt x="119629" y="979132"/>
                </a:lnTo>
                <a:lnTo>
                  <a:pt x="73516" y="946128"/>
                </a:lnTo>
                <a:lnTo>
                  <a:pt x="142529" y="493053"/>
                </a:lnTo>
                <a:lnTo>
                  <a:pt x="186266" y="147126"/>
                </a:lnTo>
                <a:lnTo>
                  <a:pt x="291792" y="0"/>
                </a:lnTo>
                <a:close/>
              </a:path>
            </a:pathLst>
          </a:custGeom>
          <a:solidFill>
            <a:srgbClr val="806452"/>
          </a:solidFill>
        </p:spPr>
        <p:txBody>
          <a:bodyPr wrap="square" lIns="0" tIns="0" rIns="0" bIns="0" rtlCol="0"/>
          <a:lstStyle/>
          <a:p>
            <a:endParaRPr/>
          </a:p>
        </p:txBody>
      </p:sp>
      <p:sp>
        <p:nvSpPr>
          <p:cNvPr id="714" name="object 714"/>
          <p:cNvSpPr/>
          <p:nvPr/>
        </p:nvSpPr>
        <p:spPr>
          <a:xfrm>
            <a:off x="1807602" y="2526176"/>
            <a:ext cx="132857" cy="460633"/>
          </a:xfrm>
          <a:custGeom>
            <a:avLst/>
            <a:gdLst/>
            <a:ahLst/>
            <a:cxnLst/>
            <a:rect l="l" t="t" r="r" b="b"/>
            <a:pathLst>
              <a:path w="292100" h="1012825">
                <a:moveTo>
                  <a:pt x="291792" y="0"/>
                </a:moveTo>
                <a:lnTo>
                  <a:pt x="51359" y="0"/>
                </a:lnTo>
                <a:lnTo>
                  <a:pt x="45504" y="22876"/>
                </a:lnTo>
                <a:lnTo>
                  <a:pt x="38422" y="58059"/>
                </a:lnTo>
                <a:lnTo>
                  <a:pt x="32456" y="96869"/>
                </a:lnTo>
                <a:lnTo>
                  <a:pt x="29946" y="130624"/>
                </a:lnTo>
                <a:lnTo>
                  <a:pt x="30791" y="170516"/>
                </a:lnTo>
                <a:lnTo>
                  <a:pt x="32903" y="232283"/>
                </a:lnTo>
                <a:lnTo>
                  <a:pt x="35648" y="303490"/>
                </a:lnTo>
                <a:lnTo>
                  <a:pt x="40504" y="424493"/>
                </a:lnTo>
                <a:lnTo>
                  <a:pt x="41349" y="449420"/>
                </a:lnTo>
                <a:lnTo>
                  <a:pt x="39942" y="480943"/>
                </a:lnTo>
                <a:lnTo>
                  <a:pt x="36521" y="522758"/>
                </a:lnTo>
                <a:lnTo>
                  <a:pt x="32280" y="566820"/>
                </a:lnTo>
                <a:lnTo>
                  <a:pt x="28417" y="605081"/>
                </a:lnTo>
                <a:lnTo>
                  <a:pt x="25264" y="668738"/>
                </a:lnTo>
                <a:lnTo>
                  <a:pt x="20827" y="783853"/>
                </a:lnTo>
                <a:lnTo>
                  <a:pt x="16856" y="894640"/>
                </a:lnTo>
                <a:lnTo>
                  <a:pt x="15161" y="943447"/>
                </a:lnTo>
                <a:lnTo>
                  <a:pt x="7020" y="966528"/>
                </a:lnTo>
                <a:lnTo>
                  <a:pt x="2727" y="981395"/>
                </a:lnTo>
                <a:lnTo>
                  <a:pt x="861" y="994505"/>
                </a:lnTo>
                <a:lnTo>
                  <a:pt x="0" y="1012314"/>
                </a:lnTo>
                <a:lnTo>
                  <a:pt x="79233" y="1012314"/>
                </a:lnTo>
                <a:lnTo>
                  <a:pt x="67544" y="999413"/>
                </a:lnTo>
                <a:lnTo>
                  <a:pt x="58311" y="984154"/>
                </a:lnTo>
                <a:lnTo>
                  <a:pt x="50960" y="966864"/>
                </a:lnTo>
                <a:lnTo>
                  <a:pt x="44920" y="947866"/>
                </a:lnTo>
                <a:lnTo>
                  <a:pt x="44679" y="947248"/>
                </a:lnTo>
                <a:lnTo>
                  <a:pt x="32018" y="894640"/>
                </a:lnTo>
                <a:lnTo>
                  <a:pt x="30949" y="868628"/>
                </a:lnTo>
                <a:lnTo>
                  <a:pt x="32731" y="842403"/>
                </a:lnTo>
                <a:lnTo>
                  <a:pt x="34497" y="811387"/>
                </a:lnTo>
                <a:lnTo>
                  <a:pt x="37416" y="780493"/>
                </a:lnTo>
                <a:lnTo>
                  <a:pt x="40843" y="750060"/>
                </a:lnTo>
                <a:lnTo>
                  <a:pt x="44134" y="720428"/>
                </a:lnTo>
                <a:lnTo>
                  <a:pt x="49453" y="664661"/>
                </a:lnTo>
                <a:lnTo>
                  <a:pt x="54887" y="608646"/>
                </a:lnTo>
                <a:lnTo>
                  <a:pt x="61802" y="552843"/>
                </a:lnTo>
                <a:lnTo>
                  <a:pt x="71568" y="497712"/>
                </a:lnTo>
                <a:lnTo>
                  <a:pt x="84116" y="450912"/>
                </a:lnTo>
                <a:lnTo>
                  <a:pt x="91165" y="427737"/>
                </a:lnTo>
                <a:lnTo>
                  <a:pt x="97819" y="404427"/>
                </a:lnTo>
                <a:lnTo>
                  <a:pt x="117848" y="357906"/>
                </a:lnTo>
                <a:lnTo>
                  <a:pt x="139409" y="339727"/>
                </a:lnTo>
                <a:lnTo>
                  <a:pt x="145828" y="334387"/>
                </a:lnTo>
                <a:lnTo>
                  <a:pt x="154560" y="333120"/>
                </a:lnTo>
                <a:lnTo>
                  <a:pt x="162755" y="333120"/>
                </a:lnTo>
                <a:lnTo>
                  <a:pt x="186266" y="147126"/>
                </a:lnTo>
                <a:lnTo>
                  <a:pt x="291792" y="0"/>
                </a:lnTo>
                <a:close/>
              </a:path>
              <a:path w="292100" h="1012825">
                <a:moveTo>
                  <a:pt x="162755" y="333120"/>
                </a:moveTo>
                <a:lnTo>
                  <a:pt x="154560" y="333120"/>
                </a:lnTo>
                <a:lnTo>
                  <a:pt x="162497" y="335162"/>
                </a:lnTo>
                <a:lnTo>
                  <a:pt x="162755" y="333120"/>
                </a:lnTo>
                <a:close/>
              </a:path>
            </a:pathLst>
          </a:custGeom>
          <a:solidFill>
            <a:srgbClr val="000000">
              <a:alpha val="9999"/>
            </a:srgbClr>
          </a:solidFill>
        </p:spPr>
        <p:txBody>
          <a:bodyPr wrap="square" lIns="0" tIns="0" rIns="0" bIns="0" rtlCol="0"/>
          <a:lstStyle/>
          <a:p>
            <a:endParaRPr/>
          </a:p>
        </p:txBody>
      </p:sp>
      <p:sp>
        <p:nvSpPr>
          <p:cNvPr id="715" name="object 715"/>
          <p:cNvSpPr/>
          <p:nvPr/>
        </p:nvSpPr>
        <p:spPr>
          <a:xfrm>
            <a:off x="1807534" y="2971487"/>
            <a:ext cx="72782" cy="15306"/>
          </a:xfrm>
          <a:custGeom>
            <a:avLst/>
            <a:gdLst/>
            <a:ahLst/>
            <a:cxnLst/>
            <a:rect l="l" t="t" r="r" b="b"/>
            <a:pathLst>
              <a:path w="160020" h="33654">
                <a:moveTo>
                  <a:pt x="2765" y="3434"/>
                </a:moveTo>
                <a:lnTo>
                  <a:pt x="1793" y="10113"/>
                </a:lnTo>
                <a:lnTo>
                  <a:pt x="710" y="17966"/>
                </a:lnTo>
                <a:lnTo>
                  <a:pt x="0" y="25991"/>
                </a:lnTo>
                <a:lnTo>
                  <a:pt x="147" y="33182"/>
                </a:lnTo>
                <a:lnTo>
                  <a:pt x="159880" y="33182"/>
                </a:lnTo>
                <a:lnTo>
                  <a:pt x="158276" y="17096"/>
                </a:lnTo>
                <a:lnTo>
                  <a:pt x="153564" y="8278"/>
                </a:lnTo>
                <a:lnTo>
                  <a:pt x="146992" y="5632"/>
                </a:lnTo>
                <a:lnTo>
                  <a:pt x="53300" y="5632"/>
                </a:lnTo>
                <a:lnTo>
                  <a:pt x="29046" y="4943"/>
                </a:lnTo>
                <a:lnTo>
                  <a:pt x="10698" y="4014"/>
                </a:lnTo>
                <a:lnTo>
                  <a:pt x="2765" y="3434"/>
                </a:lnTo>
                <a:close/>
              </a:path>
              <a:path w="160020" h="33654">
                <a:moveTo>
                  <a:pt x="119777" y="0"/>
                </a:moveTo>
                <a:lnTo>
                  <a:pt x="78584" y="5476"/>
                </a:lnTo>
                <a:lnTo>
                  <a:pt x="53300" y="5632"/>
                </a:lnTo>
                <a:lnTo>
                  <a:pt x="146992" y="5632"/>
                </a:lnTo>
                <a:lnTo>
                  <a:pt x="141984" y="3616"/>
                </a:lnTo>
                <a:lnTo>
                  <a:pt x="119777" y="0"/>
                </a:lnTo>
                <a:close/>
              </a:path>
            </a:pathLst>
          </a:custGeom>
          <a:solidFill>
            <a:srgbClr val="FF7900"/>
          </a:solidFill>
        </p:spPr>
        <p:txBody>
          <a:bodyPr wrap="square" lIns="0" tIns="0" rIns="0" bIns="0" rtlCol="0"/>
          <a:lstStyle/>
          <a:p>
            <a:endParaRPr/>
          </a:p>
        </p:txBody>
      </p:sp>
      <p:sp>
        <p:nvSpPr>
          <p:cNvPr id="716" name="object 716"/>
          <p:cNvSpPr/>
          <p:nvPr/>
        </p:nvSpPr>
        <p:spPr>
          <a:xfrm>
            <a:off x="1881529" y="2526176"/>
            <a:ext cx="93866" cy="460633"/>
          </a:xfrm>
          <a:custGeom>
            <a:avLst/>
            <a:gdLst/>
            <a:ahLst/>
            <a:cxnLst/>
            <a:rect l="l" t="t" r="r" b="b"/>
            <a:pathLst>
              <a:path w="206375" h="1012825">
                <a:moveTo>
                  <a:pt x="129252" y="0"/>
                </a:moveTo>
                <a:lnTo>
                  <a:pt x="0" y="62615"/>
                </a:lnTo>
                <a:lnTo>
                  <a:pt x="35883" y="471996"/>
                </a:lnTo>
                <a:lnTo>
                  <a:pt x="34036" y="516064"/>
                </a:lnTo>
                <a:lnTo>
                  <a:pt x="32535" y="543677"/>
                </a:lnTo>
                <a:lnTo>
                  <a:pt x="30582" y="566463"/>
                </a:lnTo>
                <a:lnTo>
                  <a:pt x="27381" y="596055"/>
                </a:lnTo>
                <a:lnTo>
                  <a:pt x="24642" y="640565"/>
                </a:lnTo>
                <a:lnTo>
                  <a:pt x="24308" y="695617"/>
                </a:lnTo>
                <a:lnTo>
                  <a:pt x="25740" y="755980"/>
                </a:lnTo>
                <a:lnTo>
                  <a:pt x="28296" y="816425"/>
                </a:lnTo>
                <a:lnTo>
                  <a:pt x="31335" y="871725"/>
                </a:lnTo>
                <a:lnTo>
                  <a:pt x="34218" y="916649"/>
                </a:lnTo>
                <a:lnTo>
                  <a:pt x="36302" y="945971"/>
                </a:lnTo>
                <a:lnTo>
                  <a:pt x="31404" y="956936"/>
                </a:lnTo>
                <a:lnTo>
                  <a:pt x="25130" y="973830"/>
                </a:lnTo>
                <a:lnTo>
                  <a:pt x="20143" y="993380"/>
                </a:lnTo>
                <a:lnTo>
                  <a:pt x="19109" y="1012314"/>
                </a:lnTo>
                <a:lnTo>
                  <a:pt x="206381" y="1012314"/>
                </a:lnTo>
                <a:lnTo>
                  <a:pt x="204817" y="996780"/>
                </a:lnTo>
                <a:lnTo>
                  <a:pt x="200229" y="988244"/>
                </a:lnTo>
                <a:lnTo>
                  <a:pt x="188958" y="983686"/>
                </a:lnTo>
                <a:lnTo>
                  <a:pt x="167345" y="980085"/>
                </a:lnTo>
                <a:lnTo>
                  <a:pt x="93201" y="945342"/>
                </a:lnTo>
                <a:lnTo>
                  <a:pt x="131964" y="512591"/>
                </a:lnTo>
                <a:lnTo>
                  <a:pt x="141690" y="334997"/>
                </a:lnTo>
                <a:lnTo>
                  <a:pt x="146478" y="239228"/>
                </a:lnTo>
                <a:lnTo>
                  <a:pt x="147718" y="192368"/>
                </a:lnTo>
                <a:lnTo>
                  <a:pt x="146801" y="161502"/>
                </a:lnTo>
                <a:lnTo>
                  <a:pt x="143494" y="120561"/>
                </a:lnTo>
                <a:lnTo>
                  <a:pt x="137925" y="69823"/>
                </a:lnTo>
                <a:lnTo>
                  <a:pt x="132406" y="24550"/>
                </a:lnTo>
                <a:lnTo>
                  <a:pt x="129252" y="0"/>
                </a:lnTo>
                <a:close/>
              </a:path>
            </a:pathLst>
          </a:custGeom>
          <a:solidFill>
            <a:srgbClr val="806452"/>
          </a:solidFill>
        </p:spPr>
        <p:txBody>
          <a:bodyPr wrap="square" lIns="0" tIns="0" rIns="0" bIns="0" rtlCol="0"/>
          <a:lstStyle/>
          <a:p>
            <a:endParaRPr/>
          </a:p>
        </p:txBody>
      </p:sp>
      <p:sp>
        <p:nvSpPr>
          <p:cNvPr id="717" name="object 717"/>
          <p:cNvSpPr/>
          <p:nvPr/>
        </p:nvSpPr>
        <p:spPr>
          <a:xfrm>
            <a:off x="1881528" y="2526178"/>
            <a:ext cx="67006" cy="460633"/>
          </a:xfrm>
          <a:custGeom>
            <a:avLst/>
            <a:gdLst/>
            <a:ahLst/>
            <a:cxnLst/>
            <a:rect l="l" t="t" r="r" b="b"/>
            <a:pathLst>
              <a:path w="147320" h="1012825">
                <a:moveTo>
                  <a:pt x="129252" y="0"/>
                </a:moveTo>
                <a:lnTo>
                  <a:pt x="0" y="62605"/>
                </a:lnTo>
                <a:lnTo>
                  <a:pt x="35883" y="471985"/>
                </a:lnTo>
                <a:lnTo>
                  <a:pt x="34036" y="516054"/>
                </a:lnTo>
                <a:lnTo>
                  <a:pt x="32535" y="543668"/>
                </a:lnTo>
                <a:lnTo>
                  <a:pt x="30582" y="566457"/>
                </a:lnTo>
                <a:lnTo>
                  <a:pt x="27381" y="596055"/>
                </a:lnTo>
                <a:lnTo>
                  <a:pt x="24642" y="640562"/>
                </a:lnTo>
                <a:lnTo>
                  <a:pt x="24308" y="695612"/>
                </a:lnTo>
                <a:lnTo>
                  <a:pt x="25740" y="755975"/>
                </a:lnTo>
                <a:lnTo>
                  <a:pt x="28296" y="816422"/>
                </a:lnTo>
                <a:lnTo>
                  <a:pt x="31335" y="871723"/>
                </a:lnTo>
                <a:lnTo>
                  <a:pt x="34218" y="916649"/>
                </a:lnTo>
                <a:lnTo>
                  <a:pt x="36302" y="945971"/>
                </a:lnTo>
                <a:lnTo>
                  <a:pt x="31404" y="956935"/>
                </a:lnTo>
                <a:lnTo>
                  <a:pt x="25130" y="973826"/>
                </a:lnTo>
                <a:lnTo>
                  <a:pt x="20143" y="993375"/>
                </a:lnTo>
                <a:lnTo>
                  <a:pt x="19109" y="1012314"/>
                </a:lnTo>
                <a:lnTo>
                  <a:pt x="78856" y="1012314"/>
                </a:lnTo>
                <a:lnTo>
                  <a:pt x="66074" y="997436"/>
                </a:lnTo>
                <a:lnTo>
                  <a:pt x="56333" y="980915"/>
                </a:lnTo>
                <a:lnTo>
                  <a:pt x="45527" y="943217"/>
                </a:lnTo>
                <a:lnTo>
                  <a:pt x="39339" y="878775"/>
                </a:lnTo>
                <a:lnTo>
                  <a:pt x="36543" y="814090"/>
                </a:lnTo>
                <a:lnTo>
                  <a:pt x="37902" y="765203"/>
                </a:lnTo>
                <a:lnTo>
                  <a:pt x="43183" y="717092"/>
                </a:lnTo>
                <a:lnTo>
                  <a:pt x="50943" y="669442"/>
                </a:lnTo>
                <a:lnTo>
                  <a:pt x="59738" y="621938"/>
                </a:lnTo>
                <a:lnTo>
                  <a:pt x="68124" y="574262"/>
                </a:lnTo>
                <a:lnTo>
                  <a:pt x="74657" y="526099"/>
                </a:lnTo>
                <a:lnTo>
                  <a:pt x="76216" y="484217"/>
                </a:lnTo>
                <a:lnTo>
                  <a:pt x="76104" y="441117"/>
                </a:lnTo>
                <a:lnTo>
                  <a:pt x="79953" y="399294"/>
                </a:lnTo>
                <a:lnTo>
                  <a:pt x="93394" y="361245"/>
                </a:lnTo>
                <a:lnTo>
                  <a:pt x="122059" y="329466"/>
                </a:lnTo>
                <a:lnTo>
                  <a:pt x="128896" y="324482"/>
                </a:lnTo>
                <a:lnTo>
                  <a:pt x="135660" y="323696"/>
                </a:lnTo>
                <a:lnTo>
                  <a:pt x="141577" y="323696"/>
                </a:lnTo>
                <a:lnTo>
                  <a:pt x="143889" y="271949"/>
                </a:lnTo>
                <a:lnTo>
                  <a:pt x="145765" y="223647"/>
                </a:lnTo>
                <a:lnTo>
                  <a:pt x="146832" y="185295"/>
                </a:lnTo>
                <a:lnTo>
                  <a:pt x="146801" y="161502"/>
                </a:lnTo>
                <a:lnTo>
                  <a:pt x="143494" y="120555"/>
                </a:lnTo>
                <a:lnTo>
                  <a:pt x="137925" y="69815"/>
                </a:lnTo>
                <a:lnTo>
                  <a:pt x="132406" y="24544"/>
                </a:lnTo>
                <a:lnTo>
                  <a:pt x="129252" y="0"/>
                </a:lnTo>
                <a:close/>
              </a:path>
              <a:path w="147320" h="1012825">
                <a:moveTo>
                  <a:pt x="141577" y="323696"/>
                </a:moveTo>
                <a:lnTo>
                  <a:pt x="135660" y="323696"/>
                </a:lnTo>
                <a:lnTo>
                  <a:pt x="141493" y="325592"/>
                </a:lnTo>
                <a:lnTo>
                  <a:pt x="141577" y="323696"/>
                </a:lnTo>
                <a:close/>
              </a:path>
            </a:pathLst>
          </a:custGeom>
          <a:solidFill>
            <a:srgbClr val="000000">
              <a:alpha val="9999"/>
            </a:srgbClr>
          </a:solidFill>
        </p:spPr>
        <p:txBody>
          <a:bodyPr wrap="square" lIns="0" tIns="0" rIns="0" bIns="0" rtlCol="0"/>
          <a:lstStyle/>
          <a:p>
            <a:endParaRPr/>
          </a:p>
        </p:txBody>
      </p:sp>
      <p:sp>
        <p:nvSpPr>
          <p:cNvPr id="718" name="object 718"/>
          <p:cNvSpPr/>
          <p:nvPr/>
        </p:nvSpPr>
        <p:spPr>
          <a:xfrm>
            <a:off x="1817329" y="2526178"/>
            <a:ext cx="134590" cy="146132"/>
          </a:xfrm>
          <a:custGeom>
            <a:avLst/>
            <a:gdLst/>
            <a:ahLst/>
            <a:cxnLst/>
            <a:rect l="l" t="t" r="r" b="b"/>
            <a:pathLst>
              <a:path w="295910" h="321310">
                <a:moveTo>
                  <a:pt x="294385" y="245018"/>
                </a:moveTo>
                <a:lnTo>
                  <a:pt x="153021" y="245018"/>
                </a:lnTo>
                <a:lnTo>
                  <a:pt x="157356" y="319937"/>
                </a:lnTo>
                <a:lnTo>
                  <a:pt x="187375" y="320755"/>
                </a:lnTo>
                <a:lnTo>
                  <a:pt x="224353" y="320046"/>
                </a:lnTo>
                <a:lnTo>
                  <a:pt x="262271" y="318110"/>
                </a:lnTo>
                <a:lnTo>
                  <a:pt x="295111" y="315246"/>
                </a:lnTo>
                <a:lnTo>
                  <a:pt x="295442" y="264859"/>
                </a:lnTo>
                <a:lnTo>
                  <a:pt x="294385" y="245018"/>
                </a:lnTo>
                <a:close/>
              </a:path>
              <a:path w="295910" h="321310">
                <a:moveTo>
                  <a:pt x="270400" y="0"/>
                </a:moveTo>
                <a:lnTo>
                  <a:pt x="29967" y="0"/>
                </a:lnTo>
                <a:lnTo>
                  <a:pt x="24112" y="22874"/>
                </a:lnTo>
                <a:lnTo>
                  <a:pt x="17030" y="58055"/>
                </a:lnTo>
                <a:lnTo>
                  <a:pt x="11064" y="96864"/>
                </a:lnTo>
                <a:lnTo>
                  <a:pt x="8554" y="130624"/>
                </a:lnTo>
                <a:lnTo>
                  <a:pt x="6826" y="158975"/>
                </a:lnTo>
                <a:lnTo>
                  <a:pt x="3232" y="203012"/>
                </a:lnTo>
                <a:lnTo>
                  <a:pt x="161" y="255675"/>
                </a:lnTo>
                <a:lnTo>
                  <a:pt x="0" y="309906"/>
                </a:lnTo>
                <a:lnTo>
                  <a:pt x="32044" y="316084"/>
                </a:lnTo>
                <a:lnTo>
                  <a:pt x="65484" y="319016"/>
                </a:lnTo>
                <a:lnTo>
                  <a:pt x="102168" y="319898"/>
                </a:lnTo>
                <a:lnTo>
                  <a:pt x="143943" y="319927"/>
                </a:lnTo>
                <a:lnTo>
                  <a:pt x="153021" y="245018"/>
                </a:lnTo>
                <a:lnTo>
                  <a:pt x="294385" y="245018"/>
                </a:lnTo>
                <a:lnTo>
                  <a:pt x="293034" y="219664"/>
                </a:lnTo>
                <a:lnTo>
                  <a:pt x="289873" y="183824"/>
                </a:lnTo>
                <a:lnTo>
                  <a:pt x="287949" y="161502"/>
                </a:lnTo>
                <a:lnTo>
                  <a:pt x="284641" y="120555"/>
                </a:lnTo>
                <a:lnTo>
                  <a:pt x="279072" y="69815"/>
                </a:lnTo>
                <a:lnTo>
                  <a:pt x="273554" y="24544"/>
                </a:lnTo>
                <a:lnTo>
                  <a:pt x="270400" y="0"/>
                </a:lnTo>
                <a:close/>
              </a:path>
            </a:pathLst>
          </a:custGeom>
          <a:solidFill>
            <a:srgbClr val="4AB4E6"/>
          </a:solidFill>
        </p:spPr>
        <p:txBody>
          <a:bodyPr wrap="square" lIns="0" tIns="0" rIns="0" bIns="0" rtlCol="0"/>
          <a:lstStyle/>
          <a:p>
            <a:endParaRPr/>
          </a:p>
        </p:txBody>
      </p:sp>
      <p:sp>
        <p:nvSpPr>
          <p:cNvPr id="719" name="object 719"/>
          <p:cNvSpPr/>
          <p:nvPr/>
        </p:nvSpPr>
        <p:spPr>
          <a:xfrm>
            <a:off x="1886821" y="2638484"/>
            <a:ext cx="16751" cy="33501"/>
          </a:xfrm>
          <a:custGeom>
            <a:avLst/>
            <a:gdLst/>
            <a:ahLst/>
            <a:cxnLst/>
            <a:rect l="l" t="t" r="r" b="b"/>
            <a:pathLst>
              <a:path w="36829" h="73660">
                <a:moveTo>
                  <a:pt x="0" y="0"/>
                </a:moveTo>
                <a:lnTo>
                  <a:pt x="4575" y="73003"/>
                </a:lnTo>
                <a:lnTo>
                  <a:pt x="10224" y="73129"/>
                </a:lnTo>
                <a:lnTo>
                  <a:pt x="36417" y="73442"/>
                </a:lnTo>
                <a:lnTo>
                  <a:pt x="31030" y="59353"/>
                </a:lnTo>
                <a:lnTo>
                  <a:pt x="19002" y="30497"/>
                </a:lnTo>
                <a:lnTo>
                  <a:pt x="6576" y="4753"/>
                </a:lnTo>
                <a:lnTo>
                  <a:pt x="0" y="0"/>
                </a:lnTo>
                <a:close/>
              </a:path>
            </a:pathLst>
          </a:custGeom>
          <a:solidFill>
            <a:srgbClr val="000000">
              <a:alpha val="9999"/>
            </a:srgbClr>
          </a:solidFill>
        </p:spPr>
        <p:txBody>
          <a:bodyPr wrap="square" lIns="0" tIns="0" rIns="0" bIns="0" rtlCol="0"/>
          <a:lstStyle/>
          <a:p>
            <a:endParaRPr/>
          </a:p>
        </p:txBody>
      </p:sp>
      <p:sp>
        <p:nvSpPr>
          <p:cNvPr id="720" name="object 720"/>
          <p:cNvSpPr/>
          <p:nvPr/>
        </p:nvSpPr>
        <p:spPr>
          <a:xfrm>
            <a:off x="1817140" y="2526177"/>
            <a:ext cx="127369" cy="128227"/>
          </a:xfrm>
          <a:custGeom>
            <a:avLst/>
            <a:gdLst/>
            <a:ahLst/>
            <a:cxnLst/>
            <a:rect l="l" t="t" r="r" b="b"/>
            <a:pathLst>
              <a:path w="280035" h="281939">
                <a:moveTo>
                  <a:pt x="270818" y="0"/>
                </a:moveTo>
                <a:lnTo>
                  <a:pt x="30386" y="0"/>
                </a:lnTo>
                <a:lnTo>
                  <a:pt x="24531" y="22874"/>
                </a:lnTo>
                <a:lnTo>
                  <a:pt x="17449" y="58055"/>
                </a:lnTo>
                <a:lnTo>
                  <a:pt x="11482" y="96864"/>
                </a:lnTo>
                <a:lnTo>
                  <a:pt x="8973" y="130624"/>
                </a:lnTo>
                <a:lnTo>
                  <a:pt x="7631" y="154201"/>
                </a:lnTo>
                <a:lnTo>
                  <a:pt x="4647" y="190312"/>
                </a:lnTo>
                <a:lnTo>
                  <a:pt x="1583" y="234328"/>
                </a:lnTo>
                <a:lnTo>
                  <a:pt x="0" y="281624"/>
                </a:lnTo>
                <a:lnTo>
                  <a:pt x="4502" y="262622"/>
                </a:lnTo>
                <a:lnTo>
                  <a:pt x="10042" y="244080"/>
                </a:lnTo>
                <a:lnTo>
                  <a:pt x="22323" y="206967"/>
                </a:lnTo>
                <a:lnTo>
                  <a:pt x="28031" y="187994"/>
                </a:lnTo>
                <a:lnTo>
                  <a:pt x="33950" y="168962"/>
                </a:lnTo>
                <a:lnTo>
                  <a:pt x="51192" y="133461"/>
                </a:lnTo>
                <a:lnTo>
                  <a:pt x="86768" y="100765"/>
                </a:lnTo>
                <a:lnTo>
                  <a:pt x="131516" y="82594"/>
                </a:lnTo>
                <a:lnTo>
                  <a:pt x="181353" y="74810"/>
                </a:lnTo>
                <a:lnTo>
                  <a:pt x="232196" y="73275"/>
                </a:lnTo>
                <a:lnTo>
                  <a:pt x="279891" y="73275"/>
                </a:lnTo>
                <a:lnTo>
                  <a:pt x="276917" y="48308"/>
                </a:lnTo>
                <a:lnTo>
                  <a:pt x="274164" y="26056"/>
                </a:lnTo>
                <a:lnTo>
                  <a:pt x="272023" y="9239"/>
                </a:lnTo>
                <a:lnTo>
                  <a:pt x="270818" y="0"/>
                </a:lnTo>
                <a:close/>
              </a:path>
              <a:path w="280035" h="281939">
                <a:moveTo>
                  <a:pt x="279891" y="73275"/>
                </a:moveTo>
                <a:lnTo>
                  <a:pt x="232196" y="73275"/>
                </a:lnTo>
                <a:lnTo>
                  <a:pt x="279960" y="73851"/>
                </a:lnTo>
                <a:lnTo>
                  <a:pt x="279891" y="73275"/>
                </a:lnTo>
                <a:close/>
              </a:path>
            </a:pathLst>
          </a:custGeom>
          <a:solidFill>
            <a:srgbClr val="000000">
              <a:alpha val="5000"/>
            </a:srgbClr>
          </a:solidFill>
        </p:spPr>
        <p:txBody>
          <a:bodyPr wrap="square" lIns="0" tIns="0" rIns="0" bIns="0" rtlCol="0"/>
          <a:lstStyle/>
          <a:p>
            <a:endParaRPr/>
          </a:p>
        </p:txBody>
      </p:sp>
      <p:sp>
        <p:nvSpPr>
          <p:cNvPr id="721" name="object 721"/>
          <p:cNvSpPr/>
          <p:nvPr/>
        </p:nvSpPr>
        <p:spPr>
          <a:xfrm>
            <a:off x="1890105" y="2971548"/>
            <a:ext cx="85490" cy="15306"/>
          </a:xfrm>
          <a:custGeom>
            <a:avLst/>
            <a:gdLst/>
            <a:ahLst/>
            <a:cxnLst/>
            <a:rect l="l" t="t" r="r" b="b"/>
            <a:pathLst>
              <a:path w="187960" h="33654">
                <a:moveTo>
                  <a:pt x="2361" y="1905"/>
                </a:moveTo>
                <a:lnTo>
                  <a:pt x="1371" y="8714"/>
                </a:lnTo>
                <a:lnTo>
                  <a:pt x="469" y="17130"/>
                </a:lnTo>
                <a:lnTo>
                  <a:pt x="0" y="25633"/>
                </a:lnTo>
                <a:lnTo>
                  <a:pt x="257" y="33046"/>
                </a:lnTo>
                <a:lnTo>
                  <a:pt x="187528" y="33046"/>
                </a:lnTo>
                <a:lnTo>
                  <a:pt x="185964" y="17511"/>
                </a:lnTo>
                <a:lnTo>
                  <a:pt x="181584" y="9360"/>
                </a:lnTo>
                <a:lnTo>
                  <a:pt x="116756" y="9360"/>
                </a:lnTo>
                <a:lnTo>
                  <a:pt x="5880" y="2310"/>
                </a:lnTo>
                <a:lnTo>
                  <a:pt x="2361" y="1905"/>
                </a:lnTo>
                <a:close/>
              </a:path>
              <a:path w="187960" h="33654">
                <a:moveTo>
                  <a:pt x="146807" y="0"/>
                </a:moveTo>
                <a:lnTo>
                  <a:pt x="140583" y="3909"/>
                </a:lnTo>
                <a:lnTo>
                  <a:pt x="133501" y="6855"/>
                </a:lnTo>
                <a:lnTo>
                  <a:pt x="125559" y="8714"/>
                </a:lnTo>
                <a:lnTo>
                  <a:pt x="116756" y="9360"/>
                </a:lnTo>
                <a:lnTo>
                  <a:pt x="181584" y="9360"/>
                </a:lnTo>
                <a:lnTo>
                  <a:pt x="181377" y="8976"/>
                </a:lnTo>
                <a:lnTo>
                  <a:pt x="170106" y="4418"/>
                </a:lnTo>
                <a:lnTo>
                  <a:pt x="148493" y="816"/>
                </a:lnTo>
                <a:lnTo>
                  <a:pt x="146807" y="0"/>
                </a:lnTo>
                <a:close/>
              </a:path>
            </a:pathLst>
          </a:custGeom>
          <a:solidFill>
            <a:srgbClr val="FF7900"/>
          </a:solidFill>
        </p:spPr>
        <p:txBody>
          <a:bodyPr wrap="square" lIns="0" tIns="0" rIns="0" bIns="0" rtlCol="0"/>
          <a:lstStyle/>
          <a:p>
            <a:endParaRPr/>
          </a:p>
        </p:txBody>
      </p:sp>
      <p:sp>
        <p:nvSpPr>
          <p:cNvPr id="722" name="object 722"/>
          <p:cNvSpPr/>
          <p:nvPr/>
        </p:nvSpPr>
        <p:spPr>
          <a:xfrm>
            <a:off x="1925301" y="2359925"/>
            <a:ext cx="61807" cy="283311"/>
          </a:xfrm>
          <a:custGeom>
            <a:avLst/>
            <a:gdLst/>
            <a:ahLst/>
            <a:cxnLst/>
            <a:rect l="l" t="t" r="r" b="b"/>
            <a:pathLst>
              <a:path w="135889" h="622935">
                <a:moveTo>
                  <a:pt x="106826" y="609656"/>
                </a:moveTo>
                <a:lnTo>
                  <a:pt x="94489" y="609656"/>
                </a:lnTo>
                <a:lnTo>
                  <a:pt x="94028" y="611112"/>
                </a:lnTo>
                <a:lnTo>
                  <a:pt x="91389" y="620159"/>
                </a:lnTo>
                <a:lnTo>
                  <a:pt x="99620" y="622902"/>
                </a:lnTo>
                <a:lnTo>
                  <a:pt x="106826" y="609656"/>
                </a:lnTo>
                <a:close/>
              </a:path>
              <a:path w="135889" h="622935">
                <a:moveTo>
                  <a:pt x="130955" y="580223"/>
                </a:moveTo>
                <a:lnTo>
                  <a:pt x="90573" y="580223"/>
                </a:lnTo>
                <a:lnTo>
                  <a:pt x="90437" y="583605"/>
                </a:lnTo>
                <a:lnTo>
                  <a:pt x="85013" y="605667"/>
                </a:lnTo>
                <a:lnTo>
                  <a:pt x="82960" y="614578"/>
                </a:lnTo>
                <a:lnTo>
                  <a:pt x="90175" y="617551"/>
                </a:lnTo>
                <a:lnTo>
                  <a:pt x="94489" y="609656"/>
                </a:lnTo>
                <a:lnTo>
                  <a:pt x="106826" y="609656"/>
                </a:lnTo>
                <a:lnTo>
                  <a:pt x="115315" y="594055"/>
                </a:lnTo>
                <a:lnTo>
                  <a:pt x="129043" y="594055"/>
                </a:lnTo>
                <a:lnTo>
                  <a:pt x="130955" y="580223"/>
                </a:lnTo>
                <a:close/>
              </a:path>
              <a:path w="135889" h="622935">
                <a:moveTo>
                  <a:pt x="129043" y="594055"/>
                </a:moveTo>
                <a:lnTo>
                  <a:pt x="115315" y="594055"/>
                </a:lnTo>
                <a:lnTo>
                  <a:pt x="112645" y="604871"/>
                </a:lnTo>
                <a:lnTo>
                  <a:pt x="110603" y="613771"/>
                </a:lnTo>
                <a:lnTo>
                  <a:pt x="117818" y="616756"/>
                </a:lnTo>
                <a:lnTo>
                  <a:pt x="128645" y="596934"/>
                </a:lnTo>
                <a:lnTo>
                  <a:pt x="129043" y="594055"/>
                </a:lnTo>
                <a:close/>
              </a:path>
              <a:path w="135889" h="622935">
                <a:moveTo>
                  <a:pt x="0" y="0"/>
                </a:moveTo>
                <a:lnTo>
                  <a:pt x="22585" y="280033"/>
                </a:lnTo>
                <a:lnTo>
                  <a:pt x="30529" y="330489"/>
                </a:lnTo>
                <a:lnTo>
                  <a:pt x="43741" y="376971"/>
                </a:lnTo>
                <a:lnTo>
                  <a:pt x="70481" y="442885"/>
                </a:lnTo>
                <a:lnTo>
                  <a:pt x="83536" y="472844"/>
                </a:lnTo>
                <a:lnTo>
                  <a:pt x="81319" y="481211"/>
                </a:lnTo>
                <a:lnTo>
                  <a:pt x="79013" y="491746"/>
                </a:lnTo>
                <a:lnTo>
                  <a:pt x="77579" y="502246"/>
                </a:lnTo>
                <a:lnTo>
                  <a:pt x="77976" y="510508"/>
                </a:lnTo>
                <a:lnTo>
                  <a:pt x="79813" y="519788"/>
                </a:lnTo>
                <a:lnTo>
                  <a:pt x="81573" y="531534"/>
                </a:lnTo>
                <a:lnTo>
                  <a:pt x="83027" y="542788"/>
                </a:lnTo>
                <a:lnTo>
                  <a:pt x="83945" y="550590"/>
                </a:lnTo>
                <a:lnTo>
                  <a:pt x="81432" y="565008"/>
                </a:lnTo>
                <a:lnTo>
                  <a:pt x="71945" y="585563"/>
                </a:lnTo>
                <a:lnTo>
                  <a:pt x="68259" y="593898"/>
                </a:lnTo>
                <a:lnTo>
                  <a:pt x="74772" y="598254"/>
                </a:lnTo>
                <a:lnTo>
                  <a:pt x="90573" y="580223"/>
                </a:lnTo>
                <a:lnTo>
                  <a:pt x="130955" y="580223"/>
                </a:lnTo>
                <a:lnTo>
                  <a:pt x="135262" y="549061"/>
                </a:lnTo>
                <a:lnTo>
                  <a:pt x="134844" y="549051"/>
                </a:lnTo>
                <a:lnTo>
                  <a:pt x="135126" y="548129"/>
                </a:lnTo>
                <a:lnTo>
                  <a:pt x="135210" y="546297"/>
                </a:lnTo>
                <a:lnTo>
                  <a:pt x="134866" y="538485"/>
                </a:lnTo>
                <a:lnTo>
                  <a:pt x="134531" y="526430"/>
                </a:lnTo>
                <a:lnTo>
                  <a:pt x="125629" y="483199"/>
                </a:lnTo>
                <a:lnTo>
                  <a:pt x="86091" y="282598"/>
                </a:lnTo>
                <a:lnTo>
                  <a:pt x="86112" y="4963"/>
                </a:lnTo>
                <a:lnTo>
                  <a:pt x="0" y="0"/>
                </a:lnTo>
                <a:close/>
              </a:path>
            </a:pathLst>
          </a:custGeom>
          <a:solidFill>
            <a:srgbClr val="806452"/>
          </a:solidFill>
        </p:spPr>
        <p:txBody>
          <a:bodyPr wrap="square" lIns="0" tIns="0" rIns="0" bIns="0" rtlCol="0"/>
          <a:lstStyle/>
          <a:p>
            <a:endParaRPr/>
          </a:p>
        </p:txBody>
      </p:sp>
      <p:sp>
        <p:nvSpPr>
          <p:cNvPr id="723" name="object 723"/>
          <p:cNvSpPr/>
          <p:nvPr/>
        </p:nvSpPr>
        <p:spPr>
          <a:xfrm>
            <a:off x="1925300" y="2359927"/>
            <a:ext cx="50832" cy="278690"/>
          </a:xfrm>
          <a:custGeom>
            <a:avLst/>
            <a:gdLst/>
            <a:ahLst/>
            <a:cxnLst/>
            <a:rect l="l" t="t" r="r" b="b"/>
            <a:pathLst>
              <a:path w="111760" h="612775">
                <a:moveTo>
                  <a:pt x="98624" y="580223"/>
                </a:moveTo>
                <a:lnTo>
                  <a:pt x="90573" y="580223"/>
                </a:lnTo>
                <a:lnTo>
                  <a:pt x="90437" y="583605"/>
                </a:lnTo>
                <a:lnTo>
                  <a:pt x="85013" y="605656"/>
                </a:lnTo>
                <a:lnTo>
                  <a:pt x="84217" y="609143"/>
                </a:lnTo>
                <a:lnTo>
                  <a:pt x="85379" y="612483"/>
                </a:lnTo>
                <a:lnTo>
                  <a:pt x="86332" y="605615"/>
                </a:lnTo>
                <a:lnTo>
                  <a:pt x="89044" y="598452"/>
                </a:lnTo>
                <a:lnTo>
                  <a:pt x="94028" y="591228"/>
                </a:lnTo>
                <a:lnTo>
                  <a:pt x="98624" y="580223"/>
                </a:lnTo>
                <a:close/>
              </a:path>
              <a:path w="111760" h="612775">
                <a:moveTo>
                  <a:pt x="0" y="0"/>
                </a:moveTo>
                <a:lnTo>
                  <a:pt x="22585" y="280033"/>
                </a:lnTo>
                <a:lnTo>
                  <a:pt x="30529" y="330480"/>
                </a:lnTo>
                <a:lnTo>
                  <a:pt x="43747" y="376965"/>
                </a:lnTo>
                <a:lnTo>
                  <a:pt x="70487" y="442880"/>
                </a:lnTo>
                <a:lnTo>
                  <a:pt x="83536" y="472844"/>
                </a:lnTo>
                <a:lnTo>
                  <a:pt x="81320" y="481210"/>
                </a:lnTo>
                <a:lnTo>
                  <a:pt x="79018" y="491742"/>
                </a:lnTo>
                <a:lnTo>
                  <a:pt x="77587" y="502242"/>
                </a:lnTo>
                <a:lnTo>
                  <a:pt x="77987" y="510508"/>
                </a:lnTo>
                <a:lnTo>
                  <a:pt x="79822" y="519786"/>
                </a:lnTo>
                <a:lnTo>
                  <a:pt x="81579" y="531530"/>
                </a:lnTo>
                <a:lnTo>
                  <a:pt x="83033" y="542784"/>
                </a:lnTo>
                <a:lnTo>
                  <a:pt x="83955" y="550590"/>
                </a:lnTo>
                <a:lnTo>
                  <a:pt x="81432" y="565008"/>
                </a:lnTo>
                <a:lnTo>
                  <a:pt x="71945" y="585563"/>
                </a:lnTo>
                <a:lnTo>
                  <a:pt x="68259" y="593887"/>
                </a:lnTo>
                <a:lnTo>
                  <a:pt x="74772" y="598243"/>
                </a:lnTo>
                <a:lnTo>
                  <a:pt x="90573" y="580223"/>
                </a:lnTo>
                <a:lnTo>
                  <a:pt x="98624" y="580223"/>
                </a:lnTo>
                <a:lnTo>
                  <a:pt x="110372" y="552089"/>
                </a:lnTo>
                <a:lnTo>
                  <a:pt x="111652" y="510000"/>
                </a:lnTo>
                <a:lnTo>
                  <a:pt x="102856" y="466880"/>
                </a:lnTo>
                <a:lnTo>
                  <a:pt x="88970" y="424648"/>
                </a:lnTo>
                <a:lnTo>
                  <a:pt x="74982" y="385223"/>
                </a:lnTo>
                <a:lnTo>
                  <a:pt x="64480" y="353327"/>
                </a:lnTo>
                <a:lnTo>
                  <a:pt x="54855" y="320314"/>
                </a:lnTo>
                <a:lnTo>
                  <a:pt x="47993" y="286783"/>
                </a:lnTo>
                <a:lnTo>
                  <a:pt x="45778" y="253332"/>
                </a:lnTo>
                <a:lnTo>
                  <a:pt x="49324" y="223930"/>
                </a:lnTo>
                <a:lnTo>
                  <a:pt x="56262" y="195127"/>
                </a:lnTo>
                <a:lnTo>
                  <a:pt x="63047" y="166359"/>
                </a:lnTo>
                <a:lnTo>
                  <a:pt x="67621" y="124050"/>
                </a:lnTo>
                <a:lnTo>
                  <a:pt x="86112" y="96866"/>
                </a:lnTo>
                <a:lnTo>
                  <a:pt x="86112" y="4952"/>
                </a:lnTo>
                <a:lnTo>
                  <a:pt x="0" y="0"/>
                </a:lnTo>
                <a:close/>
              </a:path>
            </a:pathLst>
          </a:custGeom>
          <a:solidFill>
            <a:srgbClr val="000000">
              <a:alpha val="9999"/>
            </a:srgbClr>
          </a:solidFill>
        </p:spPr>
        <p:txBody>
          <a:bodyPr wrap="square" lIns="0" tIns="0" rIns="0" bIns="0" rtlCol="0"/>
          <a:lstStyle/>
          <a:p>
            <a:endParaRPr/>
          </a:p>
        </p:txBody>
      </p:sp>
      <p:sp>
        <p:nvSpPr>
          <p:cNvPr id="724" name="object 724"/>
          <p:cNvSpPr/>
          <p:nvPr/>
        </p:nvSpPr>
        <p:spPr>
          <a:xfrm>
            <a:off x="1794989" y="2312582"/>
            <a:ext cx="173291" cy="245479"/>
          </a:xfrm>
          <a:custGeom>
            <a:avLst/>
            <a:gdLst/>
            <a:ahLst/>
            <a:cxnLst/>
            <a:rect l="l" t="t" r="r" b="b"/>
            <a:pathLst>
              <a:path w="381000" h="539750">
                <a:moveTo>
                  <a:pt x="201972" y="0"/>
                </a:moveTo>
                <a:lnTo>
                  <a:pt x="191742" y="0"/>
                </a:lnTo>
                <a:lnTo>
                  <a:pt x="191648" y="795"/>
                </a:lnTo>
                <a:lnTo>
                  <a:pt x="71652" y="42857"/>
                </a:lnTo>
                <a:lnTo>
                  <a:pt x="36593" y="64384"/>
                </a:lnTo>
                <a:lnTo>
                  <a:pt x="0" y="176999"/>
                </a:lnTo>
                <a:lnTo>
                  <a:pt x="9152" y="181346"/>
                </a:lnTo>
                <a:lnTo>
                  <a:pt x="27444" y="189619"/>
                </a:lnTo>
                <a:lnTo>
                  <a:pt x="52717" y="198556"/>
                </a:lnTo>
                <a:lnTo>
                  <a:pt x="82814" y="204894"/>
                </a:lnTo>
                <a:lnTo>
                  <a:pt x="92332" y="410343"/>
                </a:lnTo>
                <a:lnTo>
                  <a:pt x="61191" y="539669"/>
                </a:lnTo>
                <a:lnTo>
                  <a:pt x="328220" y="539669"/>
                </a:lnTo>
                <a:lnTo>
                  <a:pt x="313194" y="410343"/>
                </a:lnTo>
                <a:lnTo>
                  <a:pt x="311896" y="270609"/>
                </a:lnTo>
                <a:lnTo>
                  <a:pt x="321512" y="262720"/>
                </a:lnTo>
                <a:lnTo>
                  <a:pt x="328966" y="252413"/>
                </a:lnTo>
                <a:lnTo>
                  <a:pt x="333785" y="240203"/>
                </a:lnTo>
                <a:lnTo>
                  <a:pt x="335497" y="226600"/>
                </a:lnTo>
                <a:lnTo>
                  <a:pt x="335497" y="223113"/>
                </a:lnTo>
                <a:lnTo>
                  <a:pt x="334978" y="216493"/>
                </a:lnTo>
                <a:lnTo>
                  <a:pt x="334521" y="211539"/>
                </a:lnTo>
                <a:lnTo>
                  <a:pt x="333764" y="204894"/>
                </a:lnTo>
                <a:lnTo>
                  <a:pt x="332775" y="196737"/>
                </a:lnTo>
                <a:lnTo>
                  <a:pt x="348953" y="191357"/>
                </a:lnTo>
                <a:lnTo>
                  <a:pt x="363467" y="186155"/>
                </a:lnTo>
                <a:lnTo>
                  <a:pt x="380543" y="179806"/>
                </a:lnTo>
                <a:lnTo>
                  <a:pt x="373622" y="93012"/>
                </a:lnTo>
                <a:lnTo>
                  <a:pt x="373758" y="93012"/>
                </a:lnTo>
                <a:lnTo>
                  <a:pt x="352282" y="59509"/>
                </a:lnTo>
                <a:lnTo>
                  <a:pt x="202067" y="795"/>
                </a:lnTo>
                <a:lnTo>
                  <a:pt x="201972" y="0"/>
                </a:lnTo>
                <a:close/>
              </a:path>
            </a:pathLst>
          </a:custGeom>
          <a:solidFill>
            <a:srgbClr val="FF7900"/>
          </a:solidFill>
        </p:spPr>
        <p:txBody>
          <a:bodyPr wrap="square" lIns="0" tIns="0" rIns="0" bIns="0" rtlCol="0"/>
          <a:lstStyle/>
          <a:p>
            <a:endParaRPr/>
          </a:p>
        </p:txBody>
      </p:sp>
      <p:sp>
        <p:nvSpPr>
          <p:cNvPr id="725" name="object 725"/>
          <p:cNvSpPr/>
          <p:nvPr/>
        </p:nvSpPr>
        <p:spPr>
          <a:xfrm>
            <a:off x="1809232" y="2338037"/>
            <a:ext cx="150763" cy="0"/>
          </a:xfrm>
          <a:custGeom>
            <a:avLst/>
            <a:gdLst/>
            <a:ahLst/>
            <a:cxnLst/>
            <a:rect l="l" t="t" r="r" b="b"/>
            <a:pathLst>
              <a:path w="331470">
                <a:moveTo>
                  <a:pt x="0" y="0"/>
                </a:moveTo>
                <a:lnTo>
                  <a:pt x="331026" y="0"/>
                </a:lnTo>
              </a:path>
            </a:pathLst>
          </a:custGeom>
          <a:ln w="29978">
            <a:solidFill>
              <a:srgbClr val="FF7900"/>
            </a:solidFill>
          </a:ln>
        </p:spPr>
        <p:txBody>
          <a:bodyPr wrap="square" lIns="0" tIns="0" rIns="0" bIns="0" rtlCol="0"/>
          <a:lstStyle/>
          <a:p>
            <a:endParaRPr/>
          </a:p>
        </p:txBody>
      </p:sp>
      <p:sp>
        <p:nvSpPr>
          <p:cNvPr id="726" name="object 726"/>
          <p:cNvSpPr/>
          <p:nvPr/>
        </p:nvSpPr>
        <p:spPr>
          <a:xfrm>
            <a:off x="1798455" y="2372116"/>
            <a:ext cx="168670" cy="0"/>
          </a:xfrm>
          <a:custGeom>
            <a:avLst/>
            <a:gdLst/>
            <a:ahLst/>
            <a:cxnLst/>
            <a:rect l="l" t="t" r="r" b="b"/>
            <a:pathLst>
              <a:path w="370839">
                <a:moveTo>
                  <a:pt x="0" y="0"/>
                </a:moveTo>
                <a:lnTo>
                  <a:pt x="370219" y="0"/>
                </a:lnTo>
              </a:path>
            </a:pathLst>
          </a:custGeom>
          <a:ln w="29967">
            <a:solidFill>
              <a:srgbClr val="FF7900"/>
            </a:solidFill>
          </a:ln>
        </p:spPr>
        <p:txBody>
          <a:bodyPr wrap="square" lIns="0" tIns="0" rIns="0" bIns="0" rtlCol="0"/>
          <a:lstStyle/>
          <a:p>
            <a:endParaRPr/>
          </a:p>
        </p:txBody>
      </p:sp>
      <p:sp>
        <p:nvSpPr>
          <p:cNvPr id="727" name="object 727"/>
          <p:cNvSpPr/>
          <p:nvPr/>
        </p:nvSpPr>
        <p:spPr>
          <a:xfrm>
            <a:off x="1808878" y="2406195"/>
            <a:ext cx="145565" cy="0"/>
          </a:xfrm>
          <a:custGeom>
            <a:avLst/>
            <a:gdLst/>
            <a:ahLst/>
            <a:cxnLst/>
            <a:rect l="l" t="t" r="r" b="b"/>
            <a:pathLst>
              <a:path w="320039">
                <a:moveTo>
                  <a:pt x="0" y="0"/>
                </a:moveTo>
                <a:lnTo>
                  <a:pt x="319864" y="0"/>
                </a:lnTo>
              </a:path>
            </a:pathLst>
          </a:custGeom>
          <a:ln w="29967">
            <a:solidFill>
              <a:srgbClr val="FF7900"/>
            </a:solidFill>
          </a:ln>
        </p:spPr>
        <p:txBody>
          <a:bodyPr wrap="square" lIns="0" tIns="0" rIns="0" bIns="0" rtlCol="0"/>
          <a:lstStyle/>
          <a:p>
            <a:endParaRPr/>
          </a:p>
        </p:txBody>
      </p:sp>
      <p:sp>
        <p:nvSpPr>
          <p:cNvPr id="728" name="object 728"/>
          <p:cNvSpPr/>
          <p:nvPr/>
        </p:nvSpPr>
        <p:spPr>
          <a:xfrm>
            <a:off x="1834194" y="2433462"/>
            <a:ext cx="105708" cy="13862"/>
          </a:xfrm>
          <a:custGeom>
            <a:avLst/>
            <a:gdLst/>
            <a:ahLst/>
            <a:cxnLst/>
            <a:rect l="l" t="t" r="r" b="b"/>
            <a:pathLst>
              <a:path w="232410" h="30479">
                <a:moveTo>
                  <a:pt x="232045" y="0"/>
                </a:moveTo>
                <a:lnTo>
                  <a:pt x="806" y="0"/>
                </a:lnTo>
                <a:lnTo>
                  <a:pt x="0" y="29967"/>
                </a:lnTo>
                <a:lnTo>
                  <a:pt x="224401" y="29967"/>
                </a:lnTo>
                <a:lnTo>
                  <a:pt x="225699" y="4827"/>
                </a:lnTo>
                <a:lnTo>
                  <a:pt x="227951" y="3434"/>
                </a:lnTo>
                <a:lnTo>
                  <a:pt x="230045" y="1780"/>
                </a:lnTo>
                <a:lnTo>
                  <a:pt x="232045" y="0"/>
                </a:lnTo>
                <a:close/>
              </a:path>
            </a:pathLst>
          </a:custGeom>
          <a:solidFill>
            <a:srgbClr val="FF7900"/>
          </a:solidFill>
        </p:spPr>
        <p:txBody>
          <a:bodyPr wrap="square" lIns="0" tIns="0" rIns="0" bIns="0" rtlCol="0"/>
          <a:lstStyle/>
          <a:p>
            <a:endParaRPr/>
          </a:p>
        </p:txBody>
      </p:sp>
      <p:sp>
        <p:nvSpPr>
          <p:cNvPr id="729" name="object 729"/>
          <p:cNvSpPr/>
          <p:nvPr/>
        </p:nvSpPr>
        <p:spPr>
          <a:xfrm>
            <a:off x="1835515" y="2467541"/>
            <a:ext cx="101953" cy="13862"/>
          </a:xfrm>
          <a:custGeom>
            <a:avLst/>
            <a:gdLst/>
            <a:ahLst/>
            <a:cxnLst/>
            <a:rect l="l" t="t" r="r" b="b"/>
            <a:pathLst>
              <a:path w="224154" h="30479">
                <a:moveTo>
                  <a:pt x="223720" y="0"/>
                </a:moveTo>
                <a:lnTo>
                  <a:pt x="0" y="0"/>
                </a:lnTo>
                <a:lnTo>
                  <a:pt x="1392" y="29967"/>
                </a:lnTo>
                <a:lnTo>
                  <a:pt x="223720" y="29967"/>
                </a:lnTo>
                <a:lnTo>
                  <a:pt x="223720" y="0"/>
                </a:lnTo>
                <a:close/>
              </a:path>
            </a:pathLst>
          </a:custGeom>
          <a:solidFill>
            <a:srgbClr val="FF7900"/>
          </a:solidFill>
        </p:spPr>
        <p:txBody>
          <a:bodyPr wrap="square" lIns="0" tIns="0" rIns="0" bIns="0" rtlCol="0"/>
          <a:lstStyle/>
          <a:p>
            <a:endParaRPr/>
          </a:p>
        </p:txBody>
      </p:sp>
      <p:sp>
        <p:nvSpPr>
          <p:cNvPr id="730" name="object 730"/>
          <p:cNvSpPr/>
          <p:nvPr/>
        </p:nvSpPr>
        <p:spPr>
          <a:xfrm>
            <a:off x="1833113" y="2500535"/>
            <a:ext cx="106285" cy="15018"/>
          </a:xfrm>
          <a:custGeom>
            <a:avLst/>
            <a:gdLst/>
            <a:ahLst/>
            <a:cxnLst/>
            <a:rect l="l" t="t" r="r" b="b"/>
            <a:pathLst>
              <a:path w="233679" h="33020">
                <a:moveTo>
                  <a:pt x="7423" y="0"/>
                </a:moveTo>
                <a:lnTo>
                  <a:pt x="0" y="30009"/>
                </a:lnTo>
                <a:lnTo>
                  <a:pt x="233479" y="32396"/>
                </a:lnTo>
                <a:lnTo>
                  <a:pt x="230003" y="2471"/>
                </a:lnTo>
                <a:lnTo>
                  <a:pt x="7423" y="0"/>
                </a:lnTo>
                <a:close/>
              </a:path>
            </a:pathLst>
          </a:custGeom>
          <a:solidFill>
            <a:srgbClr val="FF7900"/>
          </a:solidFill>
        </p:spPr>
        <p:txBody>
          <a:bodyPr wrap="square" lIns="0" tIns="0" rIns="0" bIns="0" rtlCol="0"/>
          <a:lstStyle/>
          <a:p>
            <a:endParaRPr/>
          </a:p>
        </p:txBody>
      </p:sp>
      <p:sp>
        <p:nvSpPr>
          <p:cNvPr id="731" name="object 731"/>
          <p:cNvSpPr/>
          <p:nvPr/>
        </p:nvSpPr>
        <p:spPr>
          <a:xfrm>
            <a:off x="1824923" y="2535037"/>
            <a:ext cx="118704" cy="14440"/>
          </a:xfrm>
          <a:custGeom>
            <a:avLst/>
            <a:gdLst/>
            <a:ahLst/>
            <a:cxnLst/>
            <a:rect l="l" t="t" r="r" b="b"/>
            <a:pathLst>
              <a:path w="260985" h="31750">
                <a:moveTo>
                  <a:pt x="7423" y="0"/>
                </a:moveTo>
                <a:lnTo>
                  <a:pt x="0" y="30009"/>
                </a:lnTo>
                <a:lnTo>
                  <a:pt x="260819" y="31171"/>
                </a:lnTo>
                <a:lnTo>
                  <a:pt x="257342" y="1246"/>
                </a:lnTo>
                <a:lnTo>
                  <a:pt x="7423" y="0"/>
                </a:lnTo>
                <a:close/>
              </a:path>
            </a:pathLst>
          </a:custGeom>
          <a:solidFill>
            <a:srgbClr val="FF7900"/>
          </a:solidFill>
        </p:spPr>
        <p:txBody>
          <a:bodyPr wrap="square" lIns="0" tIns="0" rIns="0" bIns="0" rtlCol="0"/>
          <a:lstStyle/>
          <a:p>
            <a:endParaRPr/>
          </a:p>
        </p:txBody>
      </p:sp>
      <p:sp>
        <p:nvSpPr>
          <p:cNvPr id="732" name="object 732"/>
          <p:cNvSpPr/>
          <p:nvPr/>
        </p:nvSpPr>
        <p:spPr>
          <a:xfrm>
            <a:off x="1822823" y="2406896"/>
            <a:ext cx="23105" cy="151330"/>
          </a:xfrm>
          <a:custGeom>
            <a:avLst/>
            <a:gdLst/>
            <a:ahLst/>
            <a:cxnLst/>
            <a:rect l="l" t="t" r="r" b="b"/>
            <a:pathLst>
              <a:path w="50800" h="332739">
                <a:moveTo>
                  <a:pt x="21727" y="0"/>
                </a:moveTo>
                <a:lnTo>
                  <a:pt x="31140" y="202967"/>
                </a:lnTo>
                <a:lnTo>
                  <a:pt x="0" y="332293"/>
                </a:lnTo>
                <a:lnTo>
                  <a:pt x="50249" y="332293"/>
                </a:lnTo>
                <a:lnTo>
                  <a:pt x="48919" y="327864"/>
                </a:lnTo>
                <a:lnTo>
                  <a:pt x="47747" y="323351"/>
                </a:lnTo>
                <a:lnTo>
                  <a:pt x="46836" y="318702"/>
                </a:lnTo>
                <a:lnTo>
                  <a:pt x="43859" y="290067"/>
                </a:lnTo>
                <a:lnTo>
                  <a:pt x="44780" y="261461"/>
                </a:lnTo>
                <a:lnTo>
                  <a:pt x="47462" y="232838"/>
                </a:lnTo>
                <a:lnTo>
                  <a:pt x="49768" y="204150"/>
                </a:lnTo>
                <a:lnTo>
                  <a:pt x="50360" y="167311"/>
                </a:lnTo>
                <a:lnTo>
                  <a:pt x="48955" y="130540"/>
                </a:lnTo>
                <a:lnTo>
                  <a:pt x="46173" y="93824"/>
                </a:lnTo>
                <a:lnTo>
                  <a:pt x="42637" y="57150"/>
                </a:lnTo>
                <a:lnTo>
                  <a:pt x="41180" y="27878"/>
                </a:lnTo>
                <a:lnTo>
                  <a:pt x="38807" y="12943"/>
                </a:lnTo>
                <a:lnTo>
                  <a:pt x="33433" y="3067"/>
                </a:lnTo>
                <a:lnTo>
                  <a:pt x="31517" y="1497"/>
                </a:lnTo>
                <a:lnTo>
                  <a:pt x="27035" y="586"/>
                </a:lnTo>
                <a:lnTo>
                  <a:pt x="21727" y="0"/>
                </a:lnTo>
                <a:close/>
              </a:path>
            </a:pathLst>
          </a:custGeom>
          <a:solidFill>
            <a:srgbClr val="000000">
              <a:alpha val="9999"/>
            </a:srgbClr>
          </a:solidFill>
        </p:spPr>
        <p:txBody>
          <a:bodyPr wrap="square" lIns="0" tIns="0" rIns="0" bIns="0" rtlCol="0"/>
          <a:lstStyle/>
          <a:p>
            <a:endParaRPr/>
          </a:p>
        </p:txBody>
      </p:sp>
      <p:sp>
        <p:nvSpPr>
          <p:cNvPr id="733" name="object 733"/>
          <p:cNvSpPr/>
          <p:nvPr/>
        </p:nvSpPr>
        <p:spPr>
          <a:xfrm>
            <a:off x="1794989" y="2186660"/>
            <a:ext cx="144747" cy="214550"/>
          </a:xfrm>
          <a:prstGeom prst="rect">
            <a:avLst/>
          </a:prstGeom>
          <a:blipFill>
            <a:blip r:embed="rId14" cstate="print"/>
            <a:stretch>
              <a:fillRect/>
            </a:stretch>
          </a:blipFill>
        </p:spPr>
        <p:txBody>
          <a:bodyPr wrap="square" lIns="0" tIns="0" rIns="0" bIns="0" rtlCol="0"/>
          <a:lstStyle/>
          <a:p>
            <a:endParaRPr/>
          </a:p>
        </p:txBody>
      </p:sp>
      <p:sp>
        <p:nvSpPr>
          <p:cNvPr id="734" name="object 734"/>
          <p:cNvSpPr/>
          <p:nvPr/>
        </p:nvSpPr>
        <p:spPr>
          <a:xfrm>
            <a:off x="1973061" y="2585582"/>
            <a:ext cx="11553" cy="40432"/>
          </a:xfrm>
          <a:custGeom>
            <a:avLst/>
            <a:gdLst/>
            <a:ahLst/>
            <a:cxnLst/>
            <a:rect l="l" t="t" r="r" b="b"/>
            <a:pathLst>
              <a:path w="25400" h="88900">
                <a:moveTo>
                  <a:pt x="4672" y="0"/>
                </a:moveTo>
                <a:lnTo>
                  <a:pt x="1168" y="11764"/>
                </a:lnTo>
                <a:lnTo>
                  <a:pt x="0" y="19703"/>
                </a:lnTo>
                <a:lnTo>
                  <a:pt x="1168" y="27435"/>
                </a:lnTo>
                <a:lnTo>
                  <a:pt x="4672" y="38574"/>
                </a:lnTo>
                <a:lnTo>
                  <a:pt x="7760" y="52665"/>
                </a:lnTo>
                <a:lnTo>
                  <a:pt x="8480" y="65399"/>
                </a:lnTo>
                <a:lnTo>
                  <a:pt x="8031" y="74622"/>
                </a:lnTo>
                <a:lnTo>
                  <a:pt x="7614" y="78175"/>
                </a:lnTo>
                <a:lnTo>
                  <a:pt x="10902" y="88353"/>
                </a:lnTo>
                <a:lnTo>
                  <a:pt x="25001" y="50628"/>
                </a:lnTo>
                <a:lnTo>
                  <a:pt x="25352" y="45527"/>
                </a:lnTo>
                <a:lnTo>
                  <a:pt x="4672" y="0"/>
                </a:lnTo>
                <a:close/>
              </a:path>
            </a:pathLst>
          </a:custGeom>
          <a:solidFill>
            <a:srgbClr val="806452"/>
          </a:solidFill>
        </p:spPr>
        <p:txBody>
          <a:bodyPr wrap="square" lIns="0" tIns="0" rIns="0" bIns="0" rtlCol="0"/>
          <a:lstStyle/>
          <a:p>
            <a:endParaRPr/>
          </a:p>
        </p:txBody>
      </p:sp>
      <p:sp>
        <p:nvSpPr>
          <p:cNvPr id="735" name="object 735"/>
          <p:cNvSpPr/>
          <p:nvPr/>
        </p:nvSpPr>
        <p:spPr>
          <a:xfrm>
            <a:off x="1887192" y="2655437"/>
            <a:ext cx="64695" cy="17906"/>
          </a:xfrm>
          <a:custGeom>
            <a:avLst/>
            <a:gdLst/>
            <a:ahLst/>
            <a:cxnLst/>
            <a:rect l="l" t="t" r="r" b="b"/>
            <a:pathLst>
              <a:path w="142239" h="39370">
                <a:moveTo>
                  <a:pt x="0" y="4188"/>
                </a:moveTo>
                <a:lnTo>
                  <a:pt x="3759" y="35726"/>
                </a:lnTo>
                <a:lnTo>
                  <a:pt x="42110" y="38362"/>
                </a:lnTo>
                <a:lnTo>
                  <a:pt x="69243" y="38752"/>
                </a:lnTo>
                <a:lnTo>
                  <a:pt x="98073" y="36457"/>
                </a:lnTo>
                <a:lnTo>
                  <a:pt x="141514" y="31035"/>
                </a:lnTo>
                <a:lnTo>
                  <a:pt x="142019" y="5622"/>
                </a:lnTo>
                <a:lnTo>
                  <a:pt x="67306" y="5622"/>
                </a:lnTo>
                <a:lnTo>
                  <a:pt x="49863" y="5601"/>
                </a:lnTo>
                <a:lnTo>
                  <a:pt x="0" y="4188"/>
                </a:lnTo>
                <a:close/>
              </a:path>
              <a:path w="142239" h="39370">
                <a:moveTo>
                  <a:pt x="142131" y="0"/>
                </a:moveTo>
                <a:lnTo>
                  <a:pt x="90991" y="4495"/>
                </a:lnTo>
                <a:lnTo>
                  <a:pt x="79225" y="5216"/>
                </a:lnTo>
                <a:lnTo>
                  <a:pt x="67306" y="5622"/>
                </a:lnTo>
                <a:lnTo>
                  <a:pt x="142019" y="5622"/>
                </a:lnTo>
                <a:lnTo>
                  <a:pt x="142131" y="0"/>
                </a:lnTo>
                <a:close/>
              </a:path>
            </a:pathLst>
          </a:custGeom>
          <a:solidFill>
            <a:srgbClr val="61A0AF"/>
          </a:solidFill>
        </p:spPr>
        <p:txBody>
          <a:bodyPr wrap="square" lIns="0" tIns="0" rIns="0" bIns="0" rtlCol="0"/>
          <a:lstStyle/>
          <a:p>
            <a:endParaRPr/>
          </a:p>
        </p:txBody>
      </p:sp>
      <p:sp>
        <p:nvSpPr>
          <p:cNvPr id="736" name="object 736"/>
          <p:cNvSpPr/>
          <p:nvPr/>
        </p:nvSpPr>
        <p:spPr>
          <a:xfrm>
            <a:off x="1815772" y="2650966"/>
            <a:ext cx="69028" cy="23681"/>
          </a:xfrm>
          <a:custGeom>
            <a:avLst/>
            <a:gdLst/>
            <a:ahLst/>
            <a:cxnLst/>
            <a:rect l="l" t="t" r="r" b="b"/>
            <a:pathLst>
              <a:path w="151764" h="52070">
                <a:moveTo>
                  <a:pt x="0" y="0"/>
                </a:moveTo>
                <a:lnTo>
                  <a:pt x="0" y="33611"/>
                </a:lnTo>
                <a:lnTo>
                  <a:pt x="12020" y="46143"/>
                </a:lnTo>
                <a:lnTo>
                  <a:pt x="31378" y="51563"/>
                </a:lnTo>
                <a:lnTo>
                  <a:pt x="71888" y="50992"/>
                </a:lnTo>
                <a:lnTo>
                  <a:pt x="147367" y="45548"/>
                </a:lnTo>
                <a:lnTo>
                  <a:pt x="150885" y="16478"/>
                </a:lnTo>
                <a:lnTo>
                  <a:pt x="53955" y="16478"/>
                </a:lnTo>
                <a:lnTo>
                  <a:pt x="28615" y="11591"/>
                </a:lnTo>
                <a:lnTo>
                  <a:pt x="0" y="0"/>
                </a:lnTo>
                <a:close/>
              </a:path>
              <a:path w="151764" h="52070">
                <a:moveTo>
                  <a:pt x="151691" y="9821"/>
                </a:moveTo>
                <a:lnTo>
                  <a:pt x="90240" y="15581"/>
                </a:lnTo>
                <a:lnTo>
                  <a:pt x="53955" y="16478"/>
                </a:lnTo>
                <a:lnTo>
                  <a:pt x="150885" y="16478"/>
                </a:lnTo>
                <a:lnTo>
                  <a:pt x="151691" y="9821"/>
                </a:lnTo>
                <a:close/>
              </a:path>
            </a:pathLst>
          </a:custGeom>
          <a:solidFill>
            <a:srgbClr val="61A0AF"/>
          </a:solidFill>
        </p:spPr>
        <p:txBody>
          <a:bodyPr wrap="square" lIns="0" tIns="0" rIns="0" bIns="0" rtlCol="0"/>
          <a:lstStyle/>
          <a:p>
            <a:endParaRPr/>
          </a:p>
        </p:txBody>
      </p:sp>
      <p:sp>
        <p:nvSpPr>
          <p:cNvPr id="737" name="object 737"/>
          <p:cNvSpPr/>
          <p:nvPr/>
        </p:nvSpPr>
        <p:spPr>
          <a:xfrm>
            <a:off x="1833112" y="2321890"/>
            <a:ext cx="105708" cy="192339"/>
          </a:xfrm>
          <a:custGeom>
            <a:avLst/>
            <a:gdLst/>
            <a:ahLst/>
            <a:cxnLst/>
            <a:rect l="l" t="t" r="r" b="b"/>
            <a:pathLst>
              <a:path w="232410" h="422910">
                <a:moveTo>
                  <a:pt x="186214" y="0"/>
                </a:moveTo>
                <a:lnTo>
                  <a:pt x="192652" y="132919"/>
                </a:lnTo>
                <a:lnTo>
                  <a:pt x="175951" y="215252"/>
                </a:lnTo>
                <a:lnTo>
                  <a:pt x="119150" y="281223"/>
                </a:lnTo>
                <a:lnTo>
                  <a:pt x="5287" y="365056"/>
                </a:lnTo>
                <a:lnTo>
                  <a:pt x="0" y="422814"/>
                </a:lnTo>
                <a:lnTo>
                  <a:pt x="84224" y="373103"/>
                </a:lnTo>
                <a:lnTo>
                  <a:pt x="133573" y="333360"/>
                </a:lnTo>
                <a:lnTo>
                  <a:pt x="167194" y="282731"/>
                </a:lnTo>
                <a:lnTo>
                  <a:pt x="204234" y="200360"/>
                </a:lnTo>
                <a:lnTo>
                  <a:pt x="219644" y="145844"/>
                </a:lnTo>
                <a:lnTo>
                  <a:pt x="228042" y="85345"/>
                </a:lnTo>
                <a:lnTo>
                  <a:pt x="231537" y="36277"/>
                </a:lnTo>
                <a:lnTo>
                  <a:pt x="232233" y="16051"/>
                </a:lnTo>
                <a:lnTo>
                  <a:pt x="186214" y="0"/>
                </a:lnTo>
                <a:close/>
              </a:path>
            </a:pathLst>
          </a:custGeom>
          <a:solidFill>
            <a:srgbClr val="FFFFFF"/>
          </a:solidFill>
        </p:spPr>
        <p:txBody>
          <a:bodyPr wrap="square" lIns="0" tIns="0" rIns="0" bIns="0" rtlCol="0"/>
          <a:lstStyle/>
          <a:p>
            <a:endParaRPr/>
          </a:p>
        </p:txBody>
      </p:sp>
      <p:sp>
        <p:nvSpPr>
          <p:cNvPr id="738" name="object 738"/>
          <p:cNvSpPr/>
          <p:nvPr/>
        </p:nvSpPr>
        <p:spPr>
          <a:xfrm>
            <a:off x="1874787" y="2497446"/>
            <a:ext cx="145853" cy="0"/>
          </a:xfrm>
          <a:custGeom>
            <a:avLst/>
            <a:gdLst/>
            <a:ahLst/>
            <a:cxnLst/>
            <a:rect l="l" t="t" r="r" b="b"/>
            <a:pathLst>
              <a:path w="320675">
                <a:moveTo>
                  <a:pt x="0" y="0"/>
                </a:moveTo>
                <a:lnTo>
                  <a:pt x="320335" y="0"/>
                </a:lnTo>
              </a:path>
            </a:pathLst>
          </a:custGeom>
          <a:ln w="13591">
            <a:solidFill>
              <a:srgbClr val="162C38"/>
            </a:solidFill>
          </a:ln>
        </p:spPr>
        <p:txBody>
          <a:bodyPr wrap="square" lIns="0" tIns="0" rIns="0" bIns="0" rtlCol="0"/>
          <a:lstStyle/>
          <a:p>
            <a:endParaRPr/>
          </a:p>
        </p:txBody>
      </p:sp>
      <p:sp>
        <p:nvSpPr>
          <p:cNvPr id="739" name="object 739"/>
          <p:cNvSpPr/>
          <p:nvPr/>
        </p:nvSpPr>
        <p:spPr>
          <a:xfrm>
            <a:off x="1921414" y="2409579"/>
            <a:ext cx="152785" cy="90972"/>
          </a:xfrm>
          <a:custGeom>
            <a:avLst/>
            <a:gdLst/>
            <a:ahLst/>
            <a:cxnLst/>
            <a:rect l="l" t="t" r="r" b="b"/>
            <a:pathLst>
              <a:path w="335914" h="200025">
                <a:moveTo>
                  <a:pt x="333036" y="0"/>
                </a:moveTo>
                <a:lnTo>
                  <a:pt x="46605" y="0"/>
                </a:lnTo>
                <a:lnTo>
                  <a:pt x="44312" y="1853"/>
                </a:lnTo>
                <a:lnTo>
                  <a:pt x="0" y="199993"/>
                </a:lnTo>
                <a:lnTo>
                  <a:pt x="280117" y="199993"/>
                </a:lnTo>
                <a:lnTo>
                  <a:pt x="285855" y="195543"/>
                </a:lnTo>
                <a:lnTo>
                  <a:pt x="335748" y="3507"/>
                </a:lnTo>
                <a:lnTo>
                  <a:pt x="333036" y="0"/>
                </a:lnTo>
                <a:close/>
              </a:path>
            </a:pathLst>
          </a:custGeom>
          <a:solidFill>
            <a:srgbClr val="162C38"/>
          </a:solidFill>
        </p:spPr>
        <p:txBody>
          <a:bodyPr wrap="square" lIns="0" tIns="0" rIns="0" bIns="0" rtlCol="0"/>
          <a:lstStyle/>
          <a:p>
            <a:endParaRPr/>
          </a:p>
        </p:txBody>
      </p:sp>
      <p:sp>
        <p:nvSpPr>
          <p:cNvPr id="740" name="object 740"/>
          <p:cNvSpPr/>
          <p:nvPr/>
        </p:nvSpPr>
        <p:spPr>
          <a:xfrm>
            <a:off x="1925797" y="2411672"/>
            <a:ext cx="148453" cy="88950"/>
          </a:xfrm>
          <a:custGeom>
            <a:avLst/>
            <a:gdLst/>
            <a:ahLst/>
            <a:cxnLst/>
            <a:rect l="l" t="t" r="r" b="b"/>
            <a:pathLst>
              <a:path w="326389" h="195579">
                <a:moveTo>
                  <a:pt x="323456" y="0"/>
                </a:moveTo>
                <a:lnTo>
                  <a:pt x="45265" y="0"/>
                </a:lnTo>
                <a:lnTo>
                  <a:pt x="43024" y="1800"/>
                </a:lnTo>
                <a:lnTo>
                  <a:pt x="0" y="195386"/>
                </a:lnTo>
                <a:lnTo>
                  <a:pt x="272054" y="195386"/>
                </a:lnTo>
                <a:lnTo>
                  <a:pt x="277635" y="191041"/>
                </a:lnTo>
                <a:lnTo>
                  <a:pt x="326094" y="3423"/>
                </a:lnTo>
                <a:lnTo>
                  <a:pt x="323456" y="0"/>
                </a:lnTo>
                <a:close/>
              </a:path>
            </a:pathLst>
          </a:custGeom>
          <a:solidFill>
            <a:srgbClr val="000000"/>
          </a:solidFill>
        </p:spPr>
        <p:txBody>
          <a:bodyPr wrap="square" lIns="0" tIns="0" rIns="0" bIns="0" rtlCol="0"/>
          <a:lstStyle/>
          <a:p>
            <a:endParaRPr/>
          </a:p>
        </p:txBody>
      </p:sp>
      <p:sp>
        <p:nvSpPr>
          <p:cNvPr id="741" name="object 741"/>
          <p:cNvSpPr/>
          <p:nvPr/>
        </p:nvSpPr>
        <p:spPr>
          <a:xfrm>
            <a:off x="1793125" y="2393844"/>
            <a:ext cx="157117" cy="124183"/>
          </a:xfrm>
          <a:custGeom>
            <a:avLst/>
            <a:gdLst/>
            <a:ahLst/>
            <a:cxnLst/>
            <a:rect l="l" t="t" r="r" b="b"/>
            <a:pathLst>
              <a:path w="345439" h="273050">
                <a:moveTo>
                  <a:pt x="15015" y="0"/>
                </a:moveTo>
                <a:lnTo>
                  <a:pt x="8630" y="49617"/>
                </a:lnTo>
                <a:lnTo>
                  <a:pt x="4291" y="97406"/>
                </a:lnTo>
                <a:lnTo>
                  <a:pt x="1561" y="139818"/>
                </a:lnTo>
                <a:lnTo>
                  <a:pt x="0" y="173303"/>
                </a:lnTo>
                <a:lnTo>
                  <a:pt x="1449" y="184607"/>
                </a:lnTo>
                <a:lnTo>
                  <a:pt x="6378" y="194538"/>
                </a:lnTo>
                <a:lnTo>
                  <a:pt x="14246" y="202349"/>
                </a:lnTo>
                <a:lnTo>
                  <a:pt x="24512" y="207292"/>
                </a:lnTo>
                <a:lnTo>
                  <a:pt x="260484" y="272515"/>
                </a:lnTo>
                <a:lnTo>
                  <a:pt x="310660" y="261269"/>
                </a:lnTo>
                <a:lnTo>
                  <a:pt x="344939" y="234778"/>
                </a:lnTo>
                <a:lnTo>
                  <a:pt x="316172" y="234778"/>
                </a:lnTo>
                <a:lnTo>
                  <a:pt x="309857" y="234731"/>
                </a:lnTo>
                <a:lnTo>
                  <a:pt x="264598" y="232043"/>
                </a:lnTo>
                <a:lnTo>
                  <a:pt x="257007" y="223595"/>
                </a:lnTo>
                <a:lnTo>
                  <a:pt x="271991" y="220726"/>
                </a:lnTo>
                <a:lnTo>
                  <a:pt x="285444" y="220726"/>
                </a:lnTo>
                <a:lnTo>
                  <a:pt x="286631" y="216150"/>
                </a:lnTo>
                <a:lnTo>
                  <a:pt x="196831" y="216150"/>
                </a:lnTo>
                <a:lnTo>
                  <a:pt x="74542" y="156665"/>
                </a:lnTo>
                <a:lnTo>
                  <a:pt x="87274" y="26585"/>
                </a:lnTo>
                <a:lnTo>
                  <a:pt x="15015" y="0"/>
                </a:lnTo>
                <a:close/>
              </a:path>
              <a:path w="345439" h="273050">
                <a:moveTo>
                  <a:pt x="345183" y="234589"/>
                </a:moveTo>
                <a:lnTo>
                  <a:pt x="316172" y="234778"/>
                </a:lnTo>
                <a:lnTo>
                  <a:pt x="344939" y="234778"/>
                </a:lnTo>
                <a:lnTo>
                  <a:pt x="345183" y="234589"/>
                </a:lnTo>
                <a:close/>
              </a:path>
              <a:path w="345439" h="273050">
                <a:moveTo>
                  <a:pt x="285444" y="220726"/>
                </a:moveTo>
                <a:lnTo>
                  <a:pt x="271991" y="220726"/>
                </a:lnTo>
                <a:lnTo>
                  <a:pt x="280713" y="220778"/>
                </a:lnTo>
                <a:lnTo>
                  <a:pt x="285373" y="220998"/>
                </a:lnTo>
                <a:lnTo>
                  <a:pt x="285444" y="220726"/>
                </a:lnTo>
                <a:close/>
              </a:path>
              <a:path w="345439" h="273050">
                <a:moveTo>
                  <a:pt x="236799" y="207752"/>
                </a:moveTo>
                <a:lnTo>
                  <a:pt x="196831" y="216150"/>
                </a:lnTo>
                <a:lnTo>
                  <a:pt x="286631" y="216150"/>
                </a:lnTo>
                <a:lnTo>
                  <a:pt x="288211" y="210066"/>
                </a:lnTo>
                <a:lnTo>
                  <a:pt x="236799" y="207752"/>
                </a:lnTo>
                <a:close/>
              </a:path>
            </a:pathLst>
          </a:custGeom>
          <a:solidFill>
            <a:srgbClr val="806452"/>
          </a:solidFill>
        </p:spPr>
        <p:txBody>
          <a:bodyPr wrap="square" lIns="0" tIns="0" rIns="0" bIns="0" rtlCol="0"/>
          <a:lstStyle/>
          <a:p>
            <a:endParaRPr/>
          </a:p>
        </p:txBody>
      </p:sp>
      <p:sp>
        <p:nvSpPr>
          <p:cNvPr id="742" name="object 742"/>
          <p:cNvSpPr/>
          <p:nvPr/>
        </p:nvSpPr>
        <p:spPr>
          <a:xfrm>
            <a:off x="1793126" y="2393841"/>
            <a:ext cx="39695" cy="99662"/>
          </a:xfrm>
          <a:prstGeom prst="rect">
            <a:avLst/>
          </a:prstGeom>
          <a:blipFill>
            <a:blip r:embed="rId15" cstate="print"/>
            <a:stretch>
              <a:fillRect/>
            </a:stretch>
          </a:blipFill>
        </p:spPr>
        <p:txBody>
          <a:bodyPr wrap="square" lIns="0" tIns="0" rIns="0" bIns="0" rtlCol="0"/>
          <a:lstStyle/>
          <a:p>
            <a:endParaRPr/>
          </a:p>
        </p:txBody>
      </p:sp>
      <p:sp>
        <p:nvSpPr>
          <p:cNvPr id="743" name="object 743"/>
          <p:cNvSpPr/>
          <p:nvPr/>
        </p:nvSpPr>
        <p:spPr>
          <a:xfrm>
            <a:off x="2323314" y="2593092"/>
            <a:ext cx="38424" cy="80099"/>
          </a:xfrm>
          <a:prstGeom prst="rect">
            <a:avLst/>
          </a:prstGeom>
          <a:blipFill>
            <a:blip r:embed="rId16" cstate="print"/>
            <a:stretch>
              <a:fillRect/>
            </a:stretch>
          </a:blipFill>
        </p:spPr>
        <p:txBody>
          <a:bodyPr wrap="square" lIns="0" tIns="0" rIns="0" bIns="0" rtlCol="0"/>
          <a:lstStyle/>
          <a:p>
            <a:endParaRPr/>
          </a:p>
        </p:txBody>
      </p:sp>
      <p:sp>
        <p:nvSpPr>
          <p:cNvPr id="744" name="object 744"/>
          <p:cNvSpPr/>
          <p:nvPr/>
        </p:nvSpPr>
        <p:spPr>
          <a:xfrm>
            <a:off x="2374883" y="2566210"/>
            <a:ext cx="148453" cy="385546"/>
          </a:xfrm>
          <a:custGeom>
            <a:avLst/>
            <a:gdLst/>
            <a:ahLst/>
            <a:cxnLst/>
            <a:rect l="l" t="t" r="r" b="b"/>
            <a:pathLst>
              <a:path w="326389" h="847725">
                <a:moveTo>
                  <a:pt x="4219" y="890"/>
                </a:moveTo>
                <a:lnTo>
                  <a:pt x="0" y="166455"/>
                </a:lnTo>
                <a:lnTo>
                  <a:pt x="13926" y="445818"/>
                </a:lnTo>
                <a:lnTo>
                  <a:pt x="49590" y="847398"/>
                </a:lnTo>
                <a:lnTo>
                  <a:pt x="117985" y="847398"/>
                </a:lnTo>
                <a:lnTo>
                  <a:pt x="131064" y="452719"/>
                </a:lnTo>
                <a:lnTo>
                  <a:pt x="151963" y="159618"/>
                </a:lnTo>
                <a:lnTo>
                  <a:pt x="167596" y="158916"/>
                </a:lnTo>
                <a:lnTo>
                  <a:pt x="325980" y="158916"/>
                </a:lnTo>
                <a:lnTo>
                  <a:pt x="326147" y="151775"/>
                </a:lnTo>
                <a:lnTo>
                  <a:pt x="320299" y="1233"/>
                </a:lnTo>
                <a:lnTo>
                  <a:pt x="28119" y="1233"/>
                </a:lnTo>
                <a:lnTo>
                  <a:pt x="4219" y="890"/>
                </a:lnTo>
                <a:close/>
              </a:path>
              <a:path w="326389" h="847725">
                <a:moveTo>
                  <a:pt x="325980" y="158916"/>
                </a:moveTo>
                <a:lnTo>
                  <a:pt x="167596" y="158916"/>
                </a:lnTo>
                <a:lnTo>
                  <a:pt x="198999" y="442792"/>
                </a:lnTo>
                <a:lnTo>
                  <a:pt x="259332" y="847398"/>
                </a:lnTo>
                <a:lnTo>
                  <a:pt x="325298" y="847398"/>
                </a:lnTo>
                <a:lnTo>
                  <a:pt x="319372" y="441379"/>
                </a:lnTo>
                <a:lnTo>
                  <a:pt x="325980" y="158916"/>
                </a:lnTo>
                <a:close/>
              </a:path>
              <a:path w="326389" h="847725">
                <a:moveTo>
                  <a:pt x="320252" y="0"/>
                </a:moveTo>
                <a:lnTo>
                  <a:pt x="28119" y="1233"/>
                </a:lnTo>
                <a:lnTo>
                  <a:pt x="320299" y="1233"/>
                </a:lnTo>
                <a:lnTo>
                  <a:pt x="320252" y="0"/>
                </a:lnTo>
                <a:close/>
              </a:path>
            </a:pathLst>
          </a:custGeom>
          <a:solidFill>
            <a:srgbClr val="4AB4E6"/>
          </a:solidFill>
        </p:spPr>
        <p:txBody>
          <a:bodyPr wrap="square" lIns="0" tIns="0" rIns="0" bIns="0" rtlCol="0"/>
          <a:lstStyle/>
          <a:p>
            <a:endParaRPr/>
          </a:p>
        </p:txBody>
      </p:sp>
      <p:sp>
        <p:nvSpPr>
          <p:cNvPr id="745" name="object 745"/>
          <p:cNvSpPr/>
          <p:nvPr/>
        </p:nvSpPr>
        <p:spPr>
          <a:xfrm>
            <a:off x="2376102" y="2566210"/>
            <a:ext cx="147298" cy="385546"/>
          </a:xfrm>
          <a:custGeom>
            <a:avLst/>
            <a:gdLst/>
            <a:ahLst/>
            <a:cxnLst/>
            <a:rect l="l" t="t" r="r" b="b"/>
            <a:pathLst>
              <a:path w="323850" h="847725">
                <a:moveTo>
                  <a:pt x="317571" y="0"/>
                </a:moveTo>
                <a:lnTo>
                  <a:pt x="239961" y="565"/>
                </a:lnTo>
                <a:lnTo>
                  <a:pt x="215445" y="8807"/>
                </a:lnTo>
                <a:lnTo>
                  <a:pt x="155013" y="24968"/>
                </a:lnTo>
                <a:lnTo>
                  <a:pt x="23113" y="58900"/>
                </a:lnTo>
                <a:lnTo>
                  <a:pt x="0" y="65600"/>
                </a:lnTo>
                <a:lnTo>
                  <a:pt x="53537" y="71708"/>
                </a:lnTo>
                <a:lnTo>
                  <a:pt x="175883" y="81200"/>
                </a:lnTo>
                <a:lnTo>
                  <a:pt x="229305" y="87800"/>
                </a:lnTo>
                <a:lnTo>
                  <a:pt x="267302" y="97781"/>
                </a:lnTo>
                <a:lnTo>
                  <a:pt x="282179" y="112750"/>
                </a:lnTo>
                <a:lnTo>
                  <a:pt x="282397" y="140727"/>
                </a:lnTo>
                <a:lnTo>
                  <a:pt x="281736" y="184758"/>
                </a:lnTo>
                <a:lnTo>
                  <a:pt x="280526" y="240001"/>
                </a:lnTo>
                <a:lnTo>
                  <a:pt x="279096" y="301619"/>
                </a:lnTo>
                <a:lnTo>
                  <a:pt x="277773" y="364769"/>
                </a:lnTo>
                <a:lnTo>
                  <a:pt x="276887" y="424613"/>
                </a:lnTo>
                <a:lnTo>
                  <a:pt x="276767" y="476310"/>
                </a:lnTo>
                <a:lnTo>
                  <a:pt x="277740" y="515020"/>
                </a:lnTo>
                <a:lnTo>
                  <a:pt x="279732" y="558558"/>
                </a:lnTo>
                <a:lnTo>
                  <a:pt x="281817" y="613107"/>
                </a:lnTo>
                <a:lnTo>
                  <a:pt x="283920" y="672848"/>
                </a:lnTo>
                <a:lnTo>
                  <a:pt x="285967" y="731966"/>
                </a:lnTo>
                <a:lnTo>
                  <a:pt x="287882" y="784641"/>
                </a:lnTo>
                <a:lnTo>
                  <a:pt x="289590" y="825058"/>
                </a:lnTo>
                <a:lnTo>
                  <a:pt x="291017" y="847398"/>
                </a:lnTo>
                <a:lnTo>
                  <a:pt x="322618" y="847398"/>
                </a:lnTo>
                <a:lnTo>
                  <a:pt x="316691" y="441379"/>
                </a:lnTo>
                <a:lnTo>
                  <a:pt x="323466" y="151775"/>
                </a:lnTo>
                <a:lnTo>
                  <a:pt x="317571" y="0"/>
                </a:lnTo>
                <a:close/>
              </a:path>
            </a:pathLst>
          </a:custGeom>
          <a:solidFill>
            <a:srgbClr val="000000">
              <a:alpha val="7998"/>
            </a:srgbClr>
          </a:solidFill>
        </p:spPr>
        <p:txBody>
          <a:bodyPr wrap="square" lIns="0" tIns="0" rIns="0" bIns="0" rtlCol="0"/>
          <a:lstStyle/>
          <a:p>
            <a:endParaRPr/>
          </a:p>
        </p:txBody>
      </p:sp>
      <p:sp>
        <p:nvSpPr>
          <p:cNvPr id="746" name="object 746"/>
          <p:cNvSpPr/>
          <p:nvPr/>
        </p:nvSpPr>
        <p:spPr>
          <a:xfrm>
            <a:off x="2414928" y="2638804"/>
            <a:ext cx="29171" cy="313057"/>
          </a:xfrm>
          <a:custGeom>
            <a:avLst/>
            <a:gdLst/>
            <a:ahLst/>
            <a:cxnLst/>
            <a:rect l="l" t="t" r="r" b="b"/>
            <a:pathLst>
              <a:path w="64135" h="688339">
                <a:moveTo>
                  <a:pt x="63924" y="0"/>
                </a:moveTo>
                <a:lnTo>
                  <a:pt x="37393" y="112348"/>
                </a:lnTo>
                <a:lnTo>
                  <a:pt x="23263" y="177474"/>
                </a:lnTo>
                <a:lnTo>
                  <a:pt x="16779" y="220288"/>
                </a:lnTo>
                <a:lnTo>
                  <a:pt x="13182" y="265698"/>
                </a:lnTo>
                <a:lnTo>
                  <a:pt x="10030" y="313725"/>
                </a:lnTo>
                <a:lnTo>
                  <a:pt x="7189" y="361776"/>
                </a:lnTo>
                <a:lnTo>
                  <a:pt x="4796" y="409850"/>
                </a:lnTo>
                <a:lnTo>
                  <a:pt x="2991" y="457943"/>
                </a:lnTo>
                <a:lnTo>
                  <a:pt x="1912" y="506054"/>
                </a:lnTo>
                <a:lnTo>
                  <a:pt x="1696" y="554182"/>
                </a:lnTo>
                <a:lnTo>
                  <a:pt x="1719" y="621075"/>
                </a:lnTo>
                <a:lnTo>
                  <a:pt x="1177" y="654460"/>
                </a:lnTo>
                <a:lnTo>
                  <a:pt x="0" y="687780"/>
                </a:lnTo>
                <a:lnTo>
                  <a:pt x="29946" y="687780"/>
                </a:lnTo>
                <a:lnTo>
                  <a:pt x="43024" y="293101"/>
                </a:lnTo>
                <a:lnTo>
                  <a:pt x="63924" y="0"/>
                </a:lnTo>
                <a:close/>
              </a:path>
            </a:pathLst>
          </a:custGeom>
          <a:solidFill>
            <a:srgbClr val="000000">
              <a:alpha val="7998"/>
            </a:srgbClr>
          </a:solidFill>
        </p:spPr>
        <p:txBody>
          <a:bodyPr wrap="square" lIns="0" tIns="0" rIns="0" bIns="0" rtlCol="0"/>
          <a:lstStyle/>
          <a:p>
            <a:endParaRPr/>
          </a:p>
        </p:txBody>
      </p:sp>
      <p:sp>
        <p:nvSpPr>
          <p:cNvPr id="747" name="object 747"/>
          <p:cNvSpPr/>
          <p:nvPr/>
        </p:nvSpPr>
        <p:spPr>
          <a:xfrm>
            <a:off x="2512495" y="2391795"/>
            <a:ext cx="0" cy="174434"/>
          </a:xfrm>
          <a:custGeom>
            <a:avLst/>
            <a:gdLst/>
            <a:ahLst/>
            <a:cxnLst/>
            <a:rect l="l" t="t" r="r" b="b"/>
            <a:pathLst>
              <a:path h="383539">
                <a:moveTo>
                  <a:pt x="0" y="0"/>
                </a:moveTo>
                <a:lnTo>
                  <a:pt x="0" y="383496"/>
                </a:lnTo>
              </a:path>
            </a:pathLst>
          </a:custGeom>
          <a:ln w="35391">
            <a:solidFill>
              <a:srgbClr val="000000"/>
            </a:solidFill>
          </a:ln>
        </p:spPr>
        <p:txBody>
          <a:bodyPr wrap="square" lIns="0" tIns="0" rIns="0" bIns="0" rtlCol="0"/>
          <a:lstStyle/>
          <a:p>
            <a:endParaRPr/>
          </a:p>
        </p:txBody>
      </p:sp>
      <p:sp>
        <p:nvSpPr>
          <p:cNvPr id="748" name="object 748"/>
          <p:cNvSpPr/>
          <p:nvPr/>
        </p:nvSpPr>
        <p:spPr>
          <a:xfrm>
            <a:off x="2453622" y="2951606"/>
            <a:ext cx="75039" cy="34973"/>
          </a:xfrm>
          <a:prstGeom prst="rect">
            <a:avLst/>
          </a:prstGeom>
          <a:blipFill>
            <a:blip r:embed="rId17" cstate="print"/>
            <a:stretch>
              <a:fillRect/>
            </a:stretch>
          </a:blipFill>
        </p:spPr>
        <p:txBody>
          <a:bodyPr wrap="square" lIns="0" tIns="0" rIns="0" bIns="0" rtlCol="0"/>
          <a:lstStyle/>
          <a:p>
            <a:endParaRPr/>
          </a:p>
        </p:txBody>
      </p:sp>
      <p:sp>
        <p:nvSpPr>
          <p:cNvPr id="749" name="object 749"/>
          <p:cNvSpPr/>
          <p:nvPr/>
        </p:nvSpPr>
        <p:spPr>
          <a:xfrm>
            <a:off x="2341603" y="2951606"/>
            <a:ext cx="90790" cy="34973"/>
          </a:xfrm>
          <a:prstGeom prst="rect">
            <a:avLst/>
          </a:prstGeom>
          <a:blipFill>
            <a:blip r:embed="rId18" cstate="print"/>
            <a:stretch>
              <a:fillRect/>
            </a:stretch>
          </a:blipFill>
        </p:spPr>
        <p:txBody>
          <a:bodyPr wrap="square" lIns="0" tIns="0" rIns="0" bIns="0" rtlCol="0"/>
          <a:lstStyle/>
          <a:p>
            <a:endParaRPr/>
          </a:p>
        </p:txBody>
      </p:sp>
      <p:sp>
        <p:nvSpPr>
          <p:cNvPr id="750" name="object 750"/>
          <p:cNvSpPr/>
          <p:nvPr/>
        </p:nvSpPr>
        <p:spPr>
          <a:xfrm>
            <a:off x="2332111" y="2299764"/>
            <a:ext cx="241164" cy="305260"/>
          </a:xfrm>
          <a:custGeom>
            <a:avLst/>
            <a:gdLst/>
            <a:ahLst/>
            <a:cxnLst/>
            <a:rect l="l" t="t" r="r" b="b"/>
            <a:pathLst>
              <a:path w="530225" h="671195">
                <a:moveTo>
                  <a:pt x="257541" y="0"/>
                </a:moveTo>
                <a:lnTo>
                  <a:pt x="256547" y="356"/>
                </a:lnTo>
                <a:lnTo>
                  <a:pt x="256526" y="1193"/>
                </a:lnTo>
                <a:lnTo>
                  <a:pt x="256452" y="1842"/>
                </a:lnTo>
                <a:lnTo>
                  <a:pt x="99735" y="58762"/>
                </a:lnTo>
                <a:lnTo>
                  <a:pt x="56994" y="83212"/>
                </a:lnTo>
                <a:lnTo>
                  <a:pt x="41401" y="107693"/>
                </a:lnTo>
                <a:lnTo>
                  <a:pt x="24596" y="393569"/>
                </a:lnTo>
                <a:lnTo>
                  <a:pt x="0" y="659602"/>
                </a:lnTo>
                <a:lnTo>
                  <a:pt x="56354" y="670806"/>
                </a:lnTo>
                <a:lnTo>
                  <a:pt x="98750" y="426981"/>
                </a:lnTo>
                <a:lnTo>
                  <a:pt x="102469" y="354562"/>
                </a:lnTo>
                <a:lnTo>
                  <a:pt x="104350" y="315169"/>
                </a:lnTo>
                <a:lnTo>
                  <a:pt x="104970" y="295073"/>
                </a:lnTo>
                <a:lnTo>
                  <a:pt x="104907" y="280546"/>
                </a:lnTo>
                <a:lnTo>
                  <a:pt x="405176" y="280546"/>
                </a:lnTo>
                <a:lnTo>
                  <a:pt x="406249" y="248495"/>
                </a:lnTo>
                <a:lnTo>
                  <a:pt x="502780" y="248495"/>
                </a:lnTo>
                <a:lnTo>
                  <a:pt x="477776" y="107703"/>
                </a:lnTo>
                <a:lnTo>
                  <a:pt x="472563" y="97208"/>
                </a:lnTo>
                <a:lnTo>
                  <a:pt x="462084" y="83212"/>
                </a:lnTo>
                <a:lnTo>
                  <a:pt x="444817" y="69223"/>
                </a:lnTo>
                <a:lnTo>
                  <a:pt x="419338" y="58762"/>
                </a:lnTo>
                <a:lnTo>
                  <a:pt x="262620" y="1842"/>
                </a:lnTo>
                <a:lnTo>
                  <a:pt x="262479" y="732"/>
                </a:lnTo>
                <a:lnTo>
                  <a:pt x="259531" y="732"/>
                </a:lnTo>
                <a:lnTo>
                  <a:pt x="257541" y="0"/>
                </a:lnTo>
                <a:close/>
              </a:path>
              <a:path w="530225" h="671195">
                <a:moveTo>
                  <a:pt x="412605" y="548391"/>
                </a:moveTo>
                <a:lnTo>
                  <a:pt x="99096" y="548391"/>
                </a:lnTo>
                <a:lnTo>
                  <a:pt x="96719" y="651446"/>
                </a:lnTo>
                <a:lnTo>
                  <a:pt x="417097" y="650367"/>
                </a:lnTo>
                <a:lnTo>
                  <a:pt x="412605" y="548391"/>
                </a:lnTo>
                <a:close/>
              </a:path>
              <a:path w="530225" h="671195">
                <a:moveTo>
                  <a:pt x="405176" y="280546"/>
                </a:moveTo>
                <a:lnTo>
                  <a:pt x="104907" y="280546"/>
                </a:lnTo>
                <a:lnTo>
                  <a:pt x="107829" y="426981"/>
                </a:lnTo>
                <a:lnTo>
                  <a:pt x="107840" y="434112"/>
                </a:lnTo>
                <a:lnTo>
                  <a:pt x="99222" y="548391"/>
                </a:lnTo>
                <a:lnTo>
                  <a:pt x="412364" y="548391"/>
                </a:lnTo>
                <a:lnTo>
                  <a:pt x="400040" y="434112"/>
                </a:lnTo>
                <a:lnTo>
                  <a:pt x="400270" y="427316"/>
                </a:lnTo>
                <a:lnTo>
                  <a:pt x="518908" y="427316"/>
                </a:lnTo>
                <a:lnTo>
                  <a:pt x="526951" y="415786"/>
                </a:lnTo>
                <a:lnTo>
                  <a:pt x="529617" y="399443"/>
                </a:lnTo>
                <a:lnTo>
                  <a:pt x="525041" y="373957"/>
                </a:lnTo>
                <a:lnTo>
                  <a:pt x="518717" y="338230"/>
                </a:lnTo>
                <a:lnTo>
                  <a:pt x="403244" y="338230"/>
                </a:lnTo>
                <a:lnTo>
                  <a:pt x="405176" y="280546"/>
                </a:lnTo>
                <a:close/>
              </a:path>
              <a:path w="530225" h="671195">
                <a:moveTo>
                  <a:pt x="518908" y="427316"/>
                </a:moveTo>
                <a:lnTo>
                  <a:pt x="400270" y="427316"/>
                </a:lnTo>
                <a:lnTo>
                  <a:pt x="486896" y="439159"/>
                </a:lnTo>
                <a:lnTo>
                  <a:pt x="503856" y="437251"/>
                </a:lnTo>
                <a:lnTo>
                  <a:pt x="517786" y="428925"/>
                </a:lnTo>
                <a:lnTo>
                  <a:pt x="518908" y="427316"/>
                </a:lnTo>
                <a:close/>
              </a:path>
              <a:path w="530225" h="671195">
                <a:moveTo>
                  <a:pt x="502780" y="248495"/>
                </a:moveTo>
                <a:lnTo>
                  <a:pt x="406249" y="248495"/>
                </a:lnTo>
                <a:lnTo>
                  <a:pt x="419348" y="337968"/>
                </a:lnTo>
                <a:lnTo>
                  <a:pt x="403244" y="338230"/>
                </a:lnTo>
                <a:lnTo>
                  <a:pt x="518717" y="338230"/>
                </a:lnTo>
                <a:lnTo>
                  <a:pt x="502780" y="248495"/>
                </a:lnTo>
                <a:close/>
              </a:path>
              <a:path w="530225" h="671195">
                <a:moveTo>
                  <a:pt x="261541" y="0"/>
                </a:moveTo>
                <a:lnTo>
                  <a:pt x="259531" y="732"/>
                </a:lnTo>
                <a:lnTo>
                  <a:pt x="262479" y="732"/>
                </a:lnTo>
                <a:lnTo>
                  <a:pt x="262536" y="356"/>
                </a:lnTo>
                <a:lnTo>
                  <a:pt x="261541" y="0"/>
                </a:lnTo>
                <a:close/>
              </a:path>
            </a:pathLst>
          </a:custGeom>
          <a:solidFill>
            <a:srgbClr val="000000"/>
          </a:solidFill>
        </p:spPr>
        <p:txBody>
          <a:bodyPr wrap="square" lIns="0" tIns="0" rIns="0" bIns="0" rtlCol="0"/>
          <a:lstStyle/>
          <a:p>
            <a:endParaRPr/>
          </a:p>
        </p:txBody>
      </p:sp>
      <p:sp>
        <p:nvSpPr>
          <p:cNvPr id="751" name="object 751"/>
          <p:cNvSpPr/>
          <p:nvPr/>
        </p:nvSpPr>
        <p:spPr>
          <a:xfrm>
            <a:off x="2378233" y="2332228"/>
            <a:ext cx="194953" cy="181077"/>
          </a:xfrm>
          <a:custGeom>
            <a:avLst/>
            <a:gdLst/>
            <a:ahLst/>
            <a:cxnLst/>
            <a:rect l="l" t="t" r="r" b="b"/>
            <a:pathLst>
              <a:path w="428625" h="398145">
                <a:moveTo>
                  <a:pt x="294830" y="335822"/>
                </a:moveTo>
                <a:lnTo>
                  <a:pt x="93986" y="335822"/>
                </a:lnTo>
                <a:lnTo>
                  <a:pt x="139063" y="338391"/>
                </a:lnTo>
                <a:lnTo>
                  <a:pt x="184795" y="348625"/>
                </a:lnTo>
                <a:lnTo>
                  <a:pt x="229388" y="363834"/>
                </a:lnTo>
                <a:lnTo>
                  <a:pt x="271049" y="381328"/>
                </a:lnTo>
                <a:lnTo>
                  <a:pt x="302441" y="398029"/>
                </a:lnTo>
                <a:lnTo>
                  <a:pt x="298758" y="363834"/>
                </a:lnTo>
                <a:lnTo>
                  <a:pt x="298860" y="355936"/>
                </a:lnTo>
                <a:lnTo>
                  <a:pt x="417504" y="355936"/>
                </a:lnTo>
                <a:lnTo>
                  <a:pt x="425551" y="344402"/>
                </a:lnTo>
                <a:lnTo>
                  <a:pt x="426844" y="336480"/>
                </a:lnTo>
                <a:lnTo>
                  <a:pt x="310776" y="336480"/>
                </a:lnTo>
                <a:lnTo>
                  <a:pt x="294830" y="335822"/>
                </a:lnTo>
                <a:close/>
              </a:path>
              <a:path w="428625" h="398145">
                <a:moveTo>
                  <a:pt x="417504" y="355936"/>
                </a:moveTo>
                <a:lnTo>
                  <a:pt x="298860" y="355936"/>
                </a:lnTo>
                <a:lnTo>
                  <a:pt x="385485" y="367779"/>
                </a:lnTo>
                <a:lnTo>
                  <a:pt x="402452" y="365870"/>
                </a:lnTo>
                <a:lnTo>
                  <a:pt x="416385" y="357541"/>
                </a:lnTo>
                <a:lnTo>
                  <a:pt x="417504" y="355936"/>
                </a:lnTo>
                <a:close/>
              </a:path>
              <a:path w="428625" h="398145">
                <a:moveTo>
                  <a:pt x="135694" y="257896"/>
                </a:moveTo>
                <a:lnTo>
                  <a:pt x="91998" y="259688"/>
                </a:lnTo>
                <a:lnTo>
                  <a:pt x="4628" y="265374"/>
                </a:lnTo>
                <a:lnTo>
                  <a:pt x="0" y="358449"/>
                </a:lnTo>
                <a:lnTo>
                  <a:pt x="36004" y="361381"/>
                </a:lnTo>
                <a:lnTo>
                  <a:pt x="76688" y="363622"/>
                </a:lnTo>
                <a:lnTo>
                  <a:pt x="83589" y="358994"/>
                </a:lnTo>
                <a:lnTo>
                  <a:pt x="87086" y="344146"/>
                </a:lnTo>
                <a:lnTo>
                  <a:pt x="83850" y="336314"/>
                </a:lnTo>
                <a:lnTo>
                  <a:pt x="93986" y="335822"/>
                </a:lnTo>
                <a:lnTo>
                  <a:pt x="294830" y="335822"/>
                </a:lnTo>
                <a:lnTo>
                  <a:pt x="248541" y="333911"/>
                </a:lnTo>
                <a:lnTo>
                  <a:pt x="189446" y="329067"/>
                </a:lnTo>
                <a:lnTo>
                  <a:pt x="147053" y="324419"/>
                </a:lnTo>
                <a:lnTo>
                  <a:pt x="137119" y="315586"/>
                </a:lnTo>
                <a:lnTo>
                  <a:pt x="138972" y="299144"/>
                </a:lnTo>
                <a:lnTo>
                  <a:pt x="145383" y="283277"/>
                </a:lnTo>
                <a:lnTo>
                  <a:pt x="149126" y="276169"/>
                </a:lnTo>
                <a:lnTo>
                  <a:pt x="186161" y="275782"/>
                </a:lnTo>
                <a:lnTo>
                  <a:pt x="301844" y="266850"/>
                </a:lnTo>
                <a:lnTo>
                  <a:pt x="302096" y="259004"/>
                </a:lnTo>
                <a:lnTo>
                  <a:pt x="202180" y="259004"/>
                </a:lnTo>
                <a:lnTo>
                  <a:pt x="179439" y="258337"/>
                </a:lnTo>
                <a:lnTo>
                  <a:pt x="135694" y="257896"/>
                </a:lnTo>
                <a:close/>
              </a:path>
              <a:path w="428625" h="398145">
                <a:moveTo>
                  <a:pt x="346680" y="0"/>
                </a:moveTo>
                <a:lnTo>
                  <a:pt x="367746" y="62058"/>
                </a:lnTo>
                <a:lnTo>
                  <a:pt x="380074" y="138252"/>
                </a:lnTo>
                <a:lnTo>
                  <a:pt x="384466" y="174414"/>
                </a:lnTo>
                <a:lnTo>
                  <a:pt x="388961" y="210634"/>
                </a:lnTo>
                <a:lnTo>
                  <a:pt x="394647" y="246945"/>
                </a:lnTo>
                <a:lnTo>
                  <a:pt x="398186" y="265905"/>
                </a:lnTo>
                <a:lnTo>
                  <a:pt x="400558" y="286700"/>
                </a:lnTo>
                <a:lnTo>
                  <a:pt x="398917" y="307107"/>
                </a:lnTo>
                <a:lnTo>
                  <a:pt x="390417" y="324901"/>
                </a:lnTo>
                <a:lnTo>
                  <a:pt x="362589" y="334300"/>
                </a:lnTo>
                <a:lnTo>
                  <a:pt x="310776" y="336480"/>
                </a:lnTo>
                <a:lnTo>
                  <a:pt x="426844" y="336480"/>
                </a:lnTo>
                <a:lnTo>
                  <a:pt x="428217" y="328063"/>
                </a:lnTo>
                <a:lnTo>
                  <a:pt x="423641" y="302577"/>
                </a:lnTo>
                <a:lnTo>
                  <a:pt x="376365" y="36333"/>
                </a:lnTo>
                <a:lnTo>
                  <a:pt x="373121" y="29400"/>
                </a:lnTo>
                <a:lnTo>
                  <a:pt x="367471" y="20210"/>
                </a:lnTo>
                <a:lnTo>
                  <a:pt x="358823" y="9992"/>
                </a:lnTo>
                <a:lnTo>
                  <a:pt x="346680" y="0"/>
                </a:lnTo>
                <a:close/>
              </a:path>
              <a:path w="428625" h="398145">
                <a:moveTo>
                  <a:pt x="304838" y="177115"/>
                </a:moveTo>
                <a:lnTo>
                  <a:pt x="292963" y="214358"/>
                </a:lnTo>
                <a:lnTo>
                  <a:pt x="268044" y="243929"/>
                </a:lnTo>
                <a:lnTo>
                  <a:pt x="225147" y="257918"/>
                </a:lnTo>
                <a:lnTo>
                  <a:pt x="202180" y="259004"/>
                </a:lnTo>
                <a:lnTo>
                  <a:pt x="302096" y="259004"/>
                </a:lnTo>
                <a:lnTo>
                  <a:pt x="304143" y="195584"/>
                </a:lnTo>
                <a:lnTo>
                  <a:pt x="304509" y="185160"/>
                </a:lnTo>
                <a:lnTo>
                  <a:pt x="304838" y="177115"/>
                </a:lnTo>
                <a:close/>
              </a:path>
            </a:pathLst>
          </a:custGeom>
          <a:solidFill>
            <a:srgbClr val="000000">
              <a:alpha val="13998"/>
            </a:srgbClr>
          </a:solidFill>
        </p:spPr>
        <p:txBody>
          <a:bodyPr wrap="square" lIns="0" tIns="0" rIns="0" bIns="0" rtlCol="0"/>
          <a:lstStyle/>
          <a:p>
            <a:endParaRPr/>
          </a:p>
        </p:txBody>
      </p:sp>
      <p:sp>
        <p:nvSpPr>
          <p:cNvPr id="752" name="object 752"/>
          <p:cNvSpPr/>
          <p:nvPr/>
        </p:nvSpPr>
        <p:spPr>
          <a:xfrm>
            <a:off x="2297620" y="2426606"/>
            <a:ext cx="113217" cy="68734"/>
          </a:xfrm>
          <a:custGeom>
            <a:avLst/>
            <a:gdLst/>
            <a:ahLst/>
            <a:cxnLst/>
            <a:rect l="l" t="t" r="r" b="b"/>
            <a:pathLst>
              <a:path w="248920" h="151129">
                <a:moveTo>
                  <a:pt x="13109" y="0"/>
                </a:moveTo>
                <a:lnTo>
                  <a:pt x="2670" y="0"/>
                </a:lnTo>
                <a:lnTo>
                  <a:pt x="0" y="3738"/>
                </a:lnTo>
                <a:lnTo>
                  <a:pt x="0" y="11811"/>
                </a:lnTo>
                <a:lnTo>
                  <a:pt x="24554" y="138781"/>
                </a:lnTo>
                <a:lnTo>
                  <a:pt x="24554" y="146854"/>
                </a:lnTo>
                <a:lnTo>
                  <a:pt x="31192" y="150937"/>
                </a:lnTo>
                <a:lnTo>
                  <a:pt x="241961" y="150937"/>
                </a:lnTo>
                <a:lnTo>
                  <a:pt x="248599" y="147388"/>
                </a:lnTo>
                <a:lnTo>
                  <a:pt x="248494" y="138781"/>
                </a:lnTo>
                <a:lnTo>
                  <a:pt x="224045" y="14502"/>
                </a:lnTo>
                <a:lnTo>
                  <a:pt x="224045" y="6429"/>
                </a:lnTo>
                <a:lnTo>
                  <a:pt x="217406" y="303"/>
                </a:lnTo>
                <a:lnTo>
                  <a:pt x="13109" y="0"/>
                </a:lnTo>
                <a:close/>
              </a:path>
            </a:pathLst>
          </a:custGeom>
          <a:solidFill>
            <a:srgbClr val="4D5C66"/>
          </a:solidFill>
        </p:spPr>
        <p:txBody>
          <a:bodyPr wrap="square" lIns="0" tIns="0" rIns="0" bIns="0" rtlCol="0"/>
          <a:lstStyle/>
          <a:p>
            <a:endParaRPr/>
          </a:p>
        </p:txBody>
      </p:sp>
      <p:sp>
        <p:nvSpPr>
          <p:cNvPr id="753" name="object 753"/>
          <p:cNvSpPr/>
          <p:nvPr/>
        </p:nvSpPr>
        <p:spPr>
          <a:xfrm>
            <a:off x="2401060" y="2441688"/>
            <a:ext cx="44189" cy="38410"/>
          </a:xfrm>
          <a:custGeom>
            <a:avLst/>
            <a:gdLst/>
            <a:ahLst/>
            <a:cxnLst/>
            <a:rect l="l" t="t" r="r" b="b"/>
            <a:pathLst>
              <a:path w="97154" h="84454">
                <a:moveTo>
                  <a:pt x="15695" y="0"/>
                </a:moveTo>
                <a:lnTo>
                  <a:pt x="0" y="94"/>
                </a:lnTo>
                <a:lnTo>
                  <a:pt x="13434" y="74269"/>
                </a:lnTo>
                <a:lnTo>
                  <a:pt x="41370" y="83096"/>
                </a:lnTo>
                <a:lnTo>
                  <a:pt x="50285" y="84247"/>
                </a:lnTo>
                <a:lnTo>
                  <a:pt x="59290" y="84276"/>
                </a:lnTo>
                <a:lnTo>
                  <a:pt x="67947" y="82783"/>
                </a:lnTo>
                <a:lnTo>
                  <a:pt x="75819" y="79369"/>
                </a:lnTo>
                <a:lnTo>
                  <a:pt x="96443" y="79369"/>
                </a:lnTo>
                <a:lnTo>
                  <a:pt x="92363" y="37140"/>
                </a:lnTo>
                <a:lnTo>
                  <a:pt x="69055" y="20386"/>
                </a:lnTo>
                <a:lnTo>
                  <a:pt x="15695" y="0"/>
                </a:lnTo>
                <a:close/>
              </a:path>
              <a:path w="97154" h="84454">
                <a:moveTo>
                  <a:pt x="96443" y="79369"/>
                </a:moveTo>
                <a:lnTo>
                  <a:pt x="75819" y="79369"/>
                </a:lnTo>
                <a:lnTo>
                  <a:pt x="96866" y="83746"/>
                </a:lnTo>
                <a:lnTo>
                  <a:pt x="96443" y="79369"/>
                </a:lnTo>
                <a:close/>
              </a:path>
            </a:pathLst>
          </a:custGeom>
          <a:solidFill>
            <a:srgbClr val="AD806F"/>
          </a:solidFill>
        </p:spPr>
        <p:txBody>
          <a:bodyPr wrap="square" lIns="0" tIns="0" rIns="0" bIns="0" rtlCol="0"/>
          <a:lstStyle/>
          <a:p>
            <a:endParaRPr/>
          </a:p>
        </p:txBody>
      </p:sp>
      <p:sp>
        <p:nvSpPr>
          <p:cNvPr id="754" name="object 754"/>
          <p:cNvSpPr/>
          <p:nvPr/>
        </p:nvSpPr>
        <p:spPr>
          <a:xfrm>
            <a:off x="2371901" y="2448638"/>
            <a:ext cx="76826" cy="32634"/>
          </a:xfrm>
          <a:custGeom>
            <a:avLst/>
            <a:gdLst/>
            <a:ahLst/>
            <a:cxnLst/>
            <a:rect l="l" t="t" r="r" b="b"/>
            <a:pathLst>
              <a:path w="168910" h="71754">
                <a:moveTo>
                  <a:pt x="95326" y="0"/>
                </a:moveTo>
                <a:lnTo>
                  <a:pt x="0" y="5811"/>
                </a:lnTo>
                <a:lnTo>
                  <a:pt x="10261" y="38365"/>
                </a:lnTo>
                <a:lnTo>
                  <a:pt x="13329" y="44552"/>
                </a:lnTo>
                <a:lnTo>
                  <a:pt x="17780" y="49764"/>
                </a:lnTo>
                <a:lnTo>
                  <a:pt x="23388" y="53792"/>
                </a:lnTo>
                <a:lnTo>
                  <a:pt x="29925" y="56427"/>
                </a:lnTo>
                <a:lnTo>
                  <a:pt x="85306" y="71380"/>
                </a:lnTo>
                <a:lnTo>
                  <a:pt x="124718" y="68825"/>
                </a:lnTo>
                <a:lnTo>
                  <a:pt x="130540" y="67474"/>
                </a:lnTo>
                <a:lnTo>
                  <a:pt x="136142" y="65432"/>
                </a:lnTo>
                <a:lnTo>
                  <a:pt x="162463" y="65432"/>
                </a:lnTo>
                <a:lnTo>
                  <a:pt x="168811" y="19978"/>
                </a:lnTo>
                <a:lnTo>
                  <a:pt x="95326" y="0"/>
                </a:lnTo>
                <a:close/>
              </a:path>
              <a:path w="168910" h="71754">
                <a:moveTo>
                  <a:pt x="162463" y="65432"/>
                </a:moveTo>
                <a:lnTo>
                  <a:pt x="136142" y="65432"/>
                </a:lnTo>
                <a:lnTo>
                  <a:pt x="161974" y="68940"/>
                </a:lnTo>
                <a:lnTo>
                  <a:pt x="162463" y="65432"/>
                </a:lnTo>
                <a:close/>
              </a:path>
            </a:pathLst>
          </a:custGeom>
          <a:solidFill>
            <a:srgbClr val="AD806F"/>
          </a:solidFill>
        </p:spPr>
        <p:txBody>
          <a:bodyPr wrap="square" lIns="0" tIns="0" rIns="0" bIns="0" rtlCol="0"/>
          <a:lstStyle/>
          <a:p>
            <a:endParaRPr/>
          </a:p>
        </p:txBody>
      </p:sp>
      <p:sp>
        <p:nvSpPr>
          <p:cNvPr id="755" name="object 755"/>
          <p:cNvSpPr/>
          <p:nvPr/>
        </p:nvSpPr>
        <p:spPr>
          <a:xfrm>
            <a:off x="2396569" y="2211252"/>
            <a:ext cx="81736" cy="84907"/>
          </a:xfrm>
          <a:custGeom>
            <a:avLst/>
            <a:gdLst/>
            <a:ahLst/>
            <a:cxnLst/>
            <a:rect l="l" t="t" r="r" b="b"/>
            <a:pathLst>
              <a:path w="179704" h="186689">
                <a:moveTo>
                  <a:pt x="172099" y="0"/>
                </a:moveTo>
                <a:lnTo>
                  <a:pt x="0" y="20449"/>
                </a:lnTo>
                <a:lnTo>
                  <a:pt x="11486" y="117095"/>
                </a:lnTo>
                <a:lnTo>
                  <a:pt x="21309" y="147088"/>
                </a:lnTo>
                <a:lnTo>
                  <a:pt x="41250" y="170099"/>
                </a:lnTo>
                <a:lnTo>
                  <a:pt x="68674" y="183922"/>
                </a:lnTo>
                <a:lnTo>
                  <a:pt x="100949" y="186350"/>
                </a:lnTo>
                <a:lnTo>
                  <a:pt x="132277" y="169512"/>
                </a:lnTo>
                <a:lnTo>
                  <a:pt x="157182" y="135460"/>
                </a:lnTo>
                <a:lnTo>
                  <a:pt x="173541" y="96796"/>
                </a:lnTo>
                <a:lnTo>
                  <a:pt x="179230" y="66123"/>
                </a:lnTo>
                <a:lnTo>
                  <a:pt x="172099" y="0"/>
                </a:lnTo>
                <a:close/>
              </a:path>
            </a:pathLst>
          </a:custGeom>
          <a:solidFill>
            <a:srgbClr val="AD806F"/>
          </a:solidFill>
        </p:spPr>
        <p:txBody>
          <a:bodyPr wrap="square" lIns="0" tIns="0" rIns="0" bIns="0" rtlCol="0"/>
          <a:lstStyle/>
          <a:p>
            <a:endParaRPr/>
          </a:p>
        </p:txBody>
      </p:sp>
      <p:sp>
        <p:nvSpPr>
          <p:cNvPr id="756" name="object 756"/>
          <p:cNvSpPr/>
          <p:nvPr/>
        </p:nvSpPr>
        <p:spPr>
          <a:xfrm>
            <a:off x="2423757" y="2265459"/>
            <a:ext cx="46789" cy="83174"/>
          </a:xfrm>
          <a:custGeom>
            <a:avLst/>
            <a:gdLst/>
            <a:ahLst/>
            <a:cxnLst/>
            <a:rect l="l" t="t" r="r" b="b"/>
            <a:pathLst>
              <a:path w="102870" h="182879">
                <a:moveTo>
                  <a:pt x="93128" y="0"/>
                </a:moveTo>
                <a:lnTo>
                  <a:pt x="3141" y="6910"/>
                </a:lnTo>
                <a:lnTo>
                  <a:pt x="0" y="108007"/>
                </a:lnTo>
                <a:lnTo>
                  <a:pt x="6378" y="123996"/>
                </a:lnTo>
                <a:lnTo>
                  <a:pt x="16690" y="144143"/>
                </a:lnTo>
                <a:lnTo>
                  <a:pt x="27976" y="164787"/>
                </a:lnTo>
                <a:lnTo>
                  <a:pt x="37276" y="182266"/>
                </a:lnTo>
                <a:lnTo>
                  <a:pt x="39213" y="182078"/>
                </a:lnTo>
                <a:lnTo>
                  <a:pt x="48041" y="182078"/>
                </a:lnTo>
                <a:lnTo>
                  <a:pt x="62921" y="161995"/>
                </a:lnTo>
                <a:lnTo>
                  <a:pt x="80832" y="138048"/>
                </a:lnTo>
                <a:lnTo>
                  <a:pt x="95920" y="116008"/>
                </a:lnTo>
                <a:lnTo>
                  <a:pt x="102415" y="101536"/>
                </a:lnTo>
                <a:lnTo>
                  <a:pt x="93128" y="0"/>
                </a:lnTo>
                <a:close/>
              </a:path>
              <a:path w="102870" h="182879">
                <a:moveTo>
                  <a:pt x="48041" y="182078"/>
                </a:moveTo>
                <a:lnTo>
                  <a:pt x="46427" y="182078"/>
                </a:lnTo>
                <a:lnTo>
                  <a:pt x="47956" y="182193"/>
                </a:lnTo>
                <a:close/>
              </a:path>
            </a:pathLst>
          </a:custGeom>
          <a:solidFill>
            <a:srgbClr val="AD806F"/>
          </a:solidFill>
        </p:spPr>
        <p:txBody>
          <a:bodyPr wrap="square" lIns="0" tIns="0" rIns="0" bIns="0" rtlCol="0"/>
          <a:lstStyle/>
          <a:p>
            <a:endParaRPr/>
          </a:p>
        </p:txBody>
      </p:sp>
      <p:sp>
        <p:nvSpPr>
          <p:cNvPr id="757" name="object 757"/>
          <p:cNvSpPr/>
          <p:nvPr/>
        </p:nvSpPr>
        <p:spPr>
          <a:xfrm>
            <a:off x="2424005" y="2268336"/>
            <a:ext cx="44189" cy="41298"/>
          </a:xfrm>
          <a:custGeom>
            <a:avLst/>
            <a:gdLst/>
            <a:ahLst/>
            <a:cxnLst/>
            <a:rect l="l" t="t" r="r" b="b"/>
            <a:pathLst>
              <a:path w="97154" h="90804">
                <a:moveTo>
                  <a:pt x="93169" y="0"/>
                </a:moveTo>
                <a:lnTo>
                  <a:pt x="77230" y="23286"/>
                </a:lnTo>
                <a:lnTo>
                  <a:pt x="53993" y="42096"/>
                </a:lnTo>
                <a:lnTo>
                  <a:pt x="27182" y="56712"/>
                </a:lnTo>
                <a:lnTo>
                  <a:pt x="523" y="67411"/>
                </a:lnTo>
                <a:lnTo>
                  <a:pt x="0" y="84311"/>
                </a:lnTo>
                <a:lnTo>
                  <a:pt x="16920" y="90377"/>
                </a:lnTo>
                <a:lnTo>
                  <a:pt x="36875" y="88655"/>
                </a:lnTo>
                <a:lnTo>
                  <a:pt x="56466" y="81803"/>
                </a:lnTo>
                <a:lnTo>
                  <a:pt x="86702" y="58245"/>
                </a:lnTo>
                <a:lnTo>
                  <a:pt x="96928" y="41192"/>
                </a:lnTo>
                <a:lnTo>
                  <a:pt x="93169" y="0"/>
                </a:lnTo>
                <a:close/>
              </a:path>
            </a:pathLst>
          </a:custGeom>
          <a:solidFill>
            <a:srgbClr val="000000">
              <a:alpha val="9999"/>
            </a:srgbClr>
          </a:solidFill>
        </p:spPr>
        <p:txBody>
          <a:bodyPr wrap="square" lIns="0" tIns="0" rIns="0" bIns="0" rtlCol="0"/>
          <a:lstStyle/>
          <a:p>
            <a:endParaRPr/>
          </a:p>
        </p:txBody>
      </p:sp>
      <p:sp>
        <p:nvSpPr>
          <p:cNvPr id="758" name="object 758"/>
          <p:cNvSpPr/>
          <p:nvPr/>
        </p:nvSpPr>
        <p:spPr>
          <a:xfrm>
            <a:off x="2384706" y="2182383"/>
            <a:ext cx="94732" cy="95881"/>
          </a:xfrm>
          <a:custGeom>
            <a:avLst/>
            <a:gdLst/>
            <a:ahLst/>
            <a:cxnLst/>
            <a:rect l="l" t="t" r="r" b="b"/>
            <a:pathLst>
              <a:path w="208279" h="210820">
                <a:moveTo>
                  <a:pt x="205872" y="106168"/>
                </a:moveTo>
                <a:lnTo>
                  <a:pt x="195562" y="106168"/>
                </a:lnTo>
                <a:lnTo>
                  <a:pt x="197320" y="120911"/>
                </a:lnTo>
                <a:lnTo>
                  <a:pt x="197413" y="124984"/>
                </a:lnTo>
                <a:lnTo>
                  <a:pt x="196992" y="147226"/>
                </a:lnTo>
                <a:lnTo>
                  <a:pt x="190881" y="159757"/>
                </a:lnTo>
                <a:lnTo>
                  <a:pt x="183797" y="164087"/>
                </a:lnTo>
                <a:lnTo>
                  <a:pt x="180400" y="164564"/>
                </a:lnTo>
                <a:lnTo>
                  <a:pt x="177876" y="197066"/>
                </a:lnTo>
                <a:lnTo>
                  <a:pt x="203984" y="149080"/>
                </a:lnTo>
                <a:lnTo>
                  <a:pt x="208106" y="124984"/>
                </a:lnTo>
                <a:lnTo>
                  <a:pt x="205872" y="106168"/>
                </a:lnTo>
                <a:close/>
              </a:path>
              <a:path w="208279" h="210820">
                <a:moveTo>
                  <a:pt x="201774" y="71656"/>
                </a:moveTo>
                <a:lnTo>
                  <a:pt x="129333" y="71656"/>
                </a:lnTo>
                <a:lnTo>
                  <a:pt x="144889" y="73797"/>
                </a:lnTo>
                <a:lnTo>
                  <a:pt x="153067" y="81602"/>
                </a:lnTo>
                <a:lnTo>
                  <a:pt x="156237" y="90001"/>
                </a:lnTo>
                <a:lnTo>
                  <a:pt x="156767" y="93927"/>
                </a:lnTo>
                <a:lnTo>
                  <a:pt x="161489" y="120911"/>
                </a:lnTo>
                <a:lnTo>
                  <a:pt x="174861" y="119319"/>
                </a:lnTo>
                <a:lnTo>
                  <a:pt x="178368" y="107739"/>
                </a:lnTo>
                <a:lnTo>
                  <a:pt x="190473" y="106304"/>
                </a:lnTo>
                <a:lnTo>
                  <a:pt x="195562" y="106168"/>
                </a:lnTo>
                <a:lnTo>
                  <a:pt x="205872" y="106168"/>
                </a:lnTo>
                <a:lnTo>
                  <a:pt x="201774" y="71656"/>
                </a:lnTo>
                <a:close/>
              </a:path>
              <a:path w="208279" h="210820">
                <a:moveTo>
                  <a:pt x="122563" y="0"/>
                </a:moveTo>
                <a:lnTo>
                  <a:pt x="109480" y="77"/>
                </a:lnTo>
                <a:lnTo>
                  <a:pt x="4217" y="19835"/>
                </a:lnTo>
                <a:lnTo>
                  <a:pt x="0" y="52878"/>
                </a:lnTo>
                <a:lnTo>
                  <a:pt x="8363" y="72351"/>
                </a:lnTo>
                <a:lnTo>
                  <a:pt x="20151" y="81602"/>
                </a:lnTo>
                <a:lnTo>
                  <a:pt x="26080" y="83928"/>
                </a:lnTo>
                <a:lnTo>
                  <a:pt x="129333" y="71656"/>
                </a:lnTo>
                <a:lnTo>
                  <a:pt x="201774" y="71656"/>
                </a:lnTo>
                <a:lnTo>
                  <a:pt x="200766" y="63164"/>
                </a:lnTo>
                <a:lnTo>
                  <a:pt x="182960" y="23502"/>
                </a:lnTo>
                <a:lnTo>
                  <a:pt x="151974" y="5128"/>
                </a:lnTo>
                <a:lnTo>
                  <a:pt x="122563" y="0"/>
                </a:lnTo>
                <a:close/>
              </a:path>
            </a:pathLst>
          </a:custGeom>
          <a:solidFill>
            <a:srgbClr val="2F2A2A"/>
          </a:solidFill>
        </p:spPr>
        <p:txBody>
          <a:bodyPr wrap="square" lIns="0" tIns="0" rIns="0" bIns="0" rtlCol="0"/>
          <a:lstStyle/>
          <a:p>
            <a:endParaRPr/>
          </a:p>
        </p:txBody>
      </p:sp>
      <p:sp>
        <p:nvSpPr>
          <p:cNvPr id="759" name="object 759"/>
          <p:cNvSpPr/>
          <p:nvPr/>
        </p:nvSpPr>
        <p:spPr>
          <a:xfrm>
            <a:off x="2423595" y="2287730"/>
            <a:ext cx="32637" cy="11840"/>
          </a:xfrm>
          <a:custGeom>
            <a:avLst/>
            <a:gdLst/>
            <a:ahLst/>
            <a:cxnLst/>
            <a:rect l="l" t="t" r="r" b="b"/>
            <a:pathLst>
              <a:path w="71754" h="26035">
                <a:moveTo>
                  <a:pt x="0" y="13579"/>
                </a:moveTo>
                <a:lnTo>
                  <a:pt x="1068" y="22542"/>
                </a:lnTo>
                <a:lnTo>
                  <a:pt x="10059" y="25832"/>
                </a:lnTo>
                <a:lnTo>
                  <a:pt x="47981" y="25832"/>
                </a:lnTo>
                <a:lnTo>
                  <a:pt x="53200" y="22031"/>
                </a:lnTo>
                <a:lnTo>
                  <a:pt x="53383" y="21808"/>
                </a:lnTo>
                <a:lnTo>
                  <a:pt x="40274" y="21808"/>
                </a:lnTo>
                <a:lnTo>
                  <a:pt x="24642" y="20812"/>
                </a:lnTo>
                <a:lnTo>
                  <a:pt x="0" y="13579"/>
                </a:lnTo>
                <a:close/>
              </a:path>
              <a:path w="71754" h="26035">
                <a:moveTo>
                  <a:pt x="71211" y="0"/>
                </a:moveTo>
                <a:lnTo>
                  <a:pt x="53572" y="15294"/>
                </a:lnTo>
                <a:lnTo>
                  <a:pt x="40274" y="21808"/>
                </a:lnTo>
                <a:lnTo>
                  <a:pt x="53383" y="21808"/>
                </a:lnTo>
                <a:lnTo>
                  <a:pt x="71211" y="0"/>
                </a:lnTo>
                <a:close/>
              </a:path>
            </a:pathLst>
          </a:custGeom>
          <a:solidFill>
            <a:srgbClr val="000000">
              <a:alpha val="9999"/>
            </a:srgbClr>
          </a:solidFill>
        </p:spPr>
        <p:txBody>
          <a:bodyPr wrap="square" lIns="0" tIns="0" rIns="0" bIns="0" rtlCol="0"/>
          <a:lstStyle/>
          <a:p>
            <a:endParaRPr/>
          </a:p>
        </p:txBody>
      </p:sp>
      <p:sp>
        <p:nvSpPr>
          <p:cNvPr id="760" name="object 760"/>
          <p:cNvSpPr/>
          <p:nvPr/>
        </p:nvSpPr>
        <p:spPr>
          <a:xfrm>
            <a:off x="2401302" y="2230663"/>
            <a:ext cx="66139" cy="74510"/>
          </a:xfrm>
          <a:custGeom>
            <a:avLst/>
            <a:gdLst/>
            <a:ahLst/>
            <a:cxnLst/>
            <a:rect l="l" t="t" r="r" b="b"/>
            <a:pathLst>
              <a:path w="145414" h="163829">
                <a:moveTo>
                  <a:pt x="0" y="64804"/>
                </a:moveTo>
                <a:lnTo>
                  <a:pt x="906" y="123369"/>
                </a:lnTo>
                <a:lnTo>
                  <a:pt x="7451" y="153118"/>
                </a:lnTo>
                <a:lnTo>
                  <a:pt x="25251" y="163253"/>
                </a:lnTo>
                <a:lnTo>
                  <a:pt x="59924" y="162979"/>
                </a:lnTo>
                <a:lnTo>
                  <a:pt x="112041" y="144704"/>
                </a:lnTo>
                <a:lnTo>
                  <a:pt x="136938" y="109309"/>
                </a:lnTo>
                <a:lnTo>
                  <a:pt x="138704" y="101337"/>
                </a:lnTo>
                <a:lnTo>
                  <a:pt x="49600" y="101337"/>
                </a:lnTo>
                <a:lnTo>
                  <a:pt x="20920" y="98049"/>
                </a:lnTo>
                <a:lnTo>
                  <a:pt x="6196" y="85222"/>
                </a:lnTo>
                <a:lnTo>
                  <a:pt x="773" y="71319"/>
                </a:lnTo>
                <a:lnTo>
                  <a:pt x="0" y="64804"/>
                </a:lnTo>
                <a:close/>
              </a:path>
              <a:path w="145414" h="163829">
                <a:moveTo>
                  <a:pt x="137514" y="0"/>
                </a:moveTo>
                <a:lnTo>
                  <a:pt x="124477" y="1539"/>
                </a:lnTo>
                <a:lnTo>
                  <a:pt x="121420" y="55309"/>
                </a:lnTo>
                <a:lnTo>
                  <a:pt x="105835" y="84087"/>
                </a:lnTo>
                <a:lnTo>
                  <a:pt x="80853" y="96541"/>
                </a:lnTo>
                <a:lnTo>
                  <a:pt x="49600" y="101337"/>
                </a:lnTo>
                <a:lnTo>
                  <a:pt x="138704" y="101337"/>
                </a:lnTo>
                <a:lnTo>
                  <a:pt x="144574" y="74838"/>
                </a:lnTo>
                <a:lnTo>
                  <a:pt x="144906" y="59338"/>
                </a:lnTo>
                <a:lnTo>
                  <a:pt x="137514" y="0"/>
                </a:lnTo>
                <a:close/>
              </a:path>
            </a:pathLst>
          </a:custGeom>
          <a:solidFill>
            <a:srgbClr val="2F2A2A"/>
          </a:solidFill>
        </p:spPr>
        <p:txBody>
          <a:bodyPr wrap="square" lIns="0" tIns="0" rIns="0" bIns="0" rtlCol="0"/>
          <a:lstStyle/>
          <a:p>
            <a:endParaRPr/>
          </a:p>
        </p:txBody>
      </p:sp>
      <p:sp>
        <p:nvSpPr>
          <p:cNvPr id="761" name="object 761"/>
          <p:cNvSpPr/>
          <p:nvPr/>
        </p:nvSpPr>
        <p:spPr>
          <a:xfrm>
            <a:off x="2405042" y="2265283"/>
            <a:ext cx="36680" cy="30901"/>
          </a:xfrm>
          <a:custGeom>
            <a:avLst/>
            <a:gdLst/>
            <a:ahLst/>
            <a:cxnLst/>
            <a:rect l="l" t="t" r="r" b="b"/>
            <a:pathLst>
              <a:path w="80645" h="67945">
                <a:moveTo>
                  <a:pt x="46951" y="0"/>
                </a:moveTo>
                <a:lnTo>
                  <a:pt x="6094" y="13381"/>
                </a:lnTo>
                <a:lnTo>
                  <a:pt x="0" y="34690"/>
                </a:lnTo>
                <a:lnTo>
                  <a:pt x="952" y="42679"/>
                </a:lnTo>
                <a:lnTo>
                  <a:pt x="4562" y="53587"/>
                </a:lnTo>
                <a:lnTo>
                  <a:pt x="11868" y="61974"/>
                </a:lnTo>
                <a:lnTo>
                  <a:pt x="21829" y="67028"/>
                </a:lnTo>
                <a:lnTo>
                  <a:pt x="33402" y="67935"/>
                </a:lnTo>
                <a:lnTo>
                  <a:pt x="54720" y="65411"/>
                </a:lnTo>
                <a:lnTo>
                  <a:pt x="65758" y="61806"/>
                </a:lnTo>
                <a:lnTo>
                  <a:pt x="74259" y="54555"/>
                </a:lnTo>
                <a:lnTo>
                  <a:pt x="79399" y="44693"/>
                </a:lnTo>
                <a:lnTo>
                  <a:pt x="80353" y="33255"/>
                </a:lnTo>
                <a:lnTo>
                  <a:pt x="79400" y="25255"/>
                </a:lnTo>
                <a:lnTo>
                  <a:pt x="75789" y="14347"/>
                </a:lnTo>
                <a:lnTo>
                  <a:pt x="68480" y="5960"/>
                </a:lnTo>
                <a:lnTo>
                  <a:pt x="58519" y="907"/>
                </a:lnTo>
                <a:lnTo>
                  <a:pt x="46951" y="0"/>
                </a:lnTo>
                <a:close/>
              </a:path>
            </a:pathLst>
          </a:custGeom>
          <a:solidFill>
            <a:srgbClr val="2F2A2A"/>
          </a:solidFill>
        </p:spPr>
        <p:txBody>
          <a:bodyPr wrap="square" lIns="0" tIns="0" rIns="0" bIns="0" rtlCol="0"/>
          <a:lstStyle/>
          <a:p>
            <a:endParaRPr/>
          </a:p>
        </p:txBody>
      </p:sp>
      <p:sp>
        <p:nvSpPr>
          <p:cNvPr id="762" name="object 762"/>
          <p:cNvSpPr/>
          <p:nvPr/>
        </p:nvSpPr>
        <p:spPr>
          <a:xfrm>
            <a:off x="2412806" y="2276711"/>
            <a:ext cx="19062" cy="7509"/>
          </a:xfrm>
          <a:custGeom>
            <a:avLst/>
            <a:gdLst/>
            <a:ahLst/>
            <a:cxnLst/>
            <a:rect l="l" t="t" r="r" b="b"/>
            <a:pathLst>
              <a:path w="41910" h="16510">
                <a:moveTo>
                  <a:pt x="41663" y="0"/>
                </a:moveTo>
                <a:lnTo>
                  <a:pt x="0" y="4952"/>
                </a:lnTo>
                <a:lnTo>
                  <a:pt x="2525" y="12248"/>
                </a:lnTo>
                <a:lnTo>
                  <a:pt x="7433" y="15444"/>
                </a:lnTo>
                <a:lnTo>
                  <a:pt x="14207" y="15931"/>
                </a:lnTo>
                <a:lnTo>
                  <a:pt x="22334" y="15099"/>
                </a:lnTo>
                <a:lnTo>
                  <a:pt x="30428" y="14000"/>
                </a:lnTo>
                <a:lnTo>
                  <a:pt x="36899" y="11939"/>
                </a:lnTo>
                <a:lnTo>
                  <a:pt x="40919" y="7683"/>
                </a:lnTo>
                <a:lnTo>
                  <a:pt x="41663" y="0"/>
                </a:lnTo>
                <a:close/>
              </a:path>
            </a:pathLst>
          </a:custGeom>
          <a:solidFill>
            <a:srgbClr val="AD806F"/>
          </a:solidFill>
        </p:spPr>
        <p:txBody>
          <a:bodyPr wrap="square" lIns="0" tIns="0" rIns="0" bIns="0" rtlCol="0"/>
          <a:lstStyle/>
          <a:p>
            <a:endParaRPr/>
          </a:p>
        </p:txBody>
      </p:sp>
      <p:sp>
        <p:nvSpPr>
          <p:cNvPr id="763" name="object 763"/>
          <p:cNvSpPr/>
          <p:nvPr/>
        </p:nvSpPr>
        <p:spPr>
          <a:xfrm>
            <a:off x="2361513" y="2447583"/>
            <a:ext cx="43612" cy="10974"/>
          </a:xfrm>
          <a:custGeom>
            <a:avLst/>
            <a:gdLst/>
            <a:ahLst/>
            <a:cxnLst/>
            <a:rect l="l" t="t" r="r" b="b"/>
            <a:pathLst>
              <a:path w="95885" h="24129">
                <a:moveTo>
                  <a:pt x="93703" y="0"/>
                </a:moveTo>
                <a:lnTo>
                  <a:pt x="7800" y="7088"/>
                </a:lnTo>
                <a:lnTo>
                  <a:pt x="3298" y="7402"/>
                </a:lnTo>
                <a:lnTo>
                  <a:pt x="0" y="11308"/>
                </a:lnTo>
                <a:lnTo>
                  <a:pt x="1036" y="19381"/>
                </a:lnTo>
                <a:lnTo>
                  <a:pt x="4251" y="22219"/>
                </a:lnTo>
                <a:lnTo>
                  <a:pt x="8135" y="22334"/>
                </a:lnTo>
                <a:lnTo>
                  <a:pt x="95337" y="23936"/>
                </a:lnTo>
                <a:lnTo>
                  <a:pt x="93703" y="0"/>
                </a:lnTo>
                <a:close/>
              </a:path>
            </a:pathLst>
          </a:custGeom>
          <a:solidFill>
            <a:srgbClr val="AD806F"/>
          </a:solidFill>
        </p:spPr>
        <p:txBody>
          <a:bodyPr wrap="square" lIns="0" tIns="0" rIns="0" bIns="0" rtlCol="0"/>
          <a:lstStyle/>
          <a:p>
            <a:endParaRPr/>
          </a:p>
        </p:txBody>
      </p:sp>
      <p:sp>
        <p:nvSpPr>
          <p:cNvPr id="764" name="object 764"/>
          <p:cNvSpPr/>
          <p:nvPr/>
        </p:nvSpPr>
        <p:spPr>
          <a:xfrm>
            <a:off x="2412807" y="2304003"/>
            <a:ext cx="21084" cy="35522"/>
          </a:xfrm>
          <a:custGeom>
            <a:avLst/>
            <a:gdLst/>
            <a:ahLst/>
            <a:cxnLst/>
            <a:rect l="l" t="t" r="r" b="b"/>
            <a:pathLst>
              <a:path w="46354" h="78104">
                <a:moveTo>
                  <a:pt x="19224" y="0"/>
                </a:moveTo>
                <a:lnTo>
                  <a:pt x="0" y="16564"/>
                </a:lnTo>
                <a:lnTo>
                  <a:pt x="2369" y="36133"/>
                </a:lnTo>
                <a:lnTo>
                  <a:pt x="7580" y="56041"/>
                </a:lnTo>
                <a:lnTo>
                  <a:pt x="12792" y="71498"/>
                </a:lnTo>
                <a:lnTo>
                  <a:pt x="15161" y="77714"/>
                </a:lnTo>
                <a:lnTo>
                  <a:pt x="46260" y="39223"/>
                </a:lnTo>
                <a:lnTo>
                  <a:pt x="31681" y="26885"/>
                </a:lnTo>
                <a:lnTo>
                  <a:pt x="25538" y="14534"/>
                </a:lnTo>
                <a:lnTo>
                  <a:pt x="24382" y="5028"/>
                </a:lnTo>
                <a:lnTo>
                  <a:pt x="24763" y="1225"/>
                </a:lnTo>
                <a:lnTo>
                  <a:pt x="19224" y="0"/>
                </a:lnTo>
                <a:close/>
              </a:path>
            </a:pathLst>
          </a:custGeom>
          <a:solidFill>
            <a:srgbClr val="E8E9EA"/>
          </a:solidFill>
        </p:spPr>
        <p:txBody>
          <a:bodyPr wrap="square" lIns="0" tIns="0" rIns="0" bIns="0" rtlCol="0"/>
          <a:lstStyle/>
          <a:p>
            <a:endParaRPr/>
          </a:p>
        </p:txBody>
      </p:sp>
      <p:sp>
        <p:nvSpPr>
          <p:cNvPr id="765" name="object 765"/>
          <p:cNvSpPr/>
          <p:nvPr/>
        </p:nvSpPr>
        <p:spPr>
          <a:xfrm>
            <a:off x="2425032" y="2321842"/>
            <a:ext cx="15885" cy="26569"/>
          </a:xfrm>
          <a:custGeom>
            <a:avLst/>
            <a:gdLst/>
            <a:ahLst/>
            <a:cxnLst/>
            <a:rect l="l" t="t" r="r" b="b"/>
            <a:pathLst>
              <a:path w="34925" h="58420">
                <a:moveTo>
                  <a:pt x="19381" y="0"/>
                </a:moveTo>
                <a:lnTo>
                  <a:pt x="0" y="23988"/>
                </a:lnTo>
                <a:lnTo>
                  <a:pt x="6880" y="42945"/>
                </a:lnTo>
                <a:lnTo>
                  <a:pt x="18567" y="53226"/>
                </a:lnTo>
                <a:lnTo>
                  <a:pt x="29590" y="57463"/>
                </a:lnTo>
                <a:lnTo>
                  <a:pt x="34480" y="58291"/>
                </a:lnTo>
                <a:lnTo>
                  <a:pt x="19381" y="0"/>
                </a:lnTo>
                <a:close/>
              </a:path>
            </a:pathLst>
          </a:custGeom>
          <a:solidFill>
            <a:srgbClr val="C4CDD1"/>
          </a:solidFill>
        </p:spPr>
        <p:txBody>
          <a:bodyPr wrap="square" lIns="0" tIns="0" rIns="0" bIns="0" rtlCol="0"/>
          <a:lstStyle/>
          <a:p>
            <a:endParaRPr/>
          </a:p>
        </p:txBody>
      </p:sp>
      <p:sp>
        <p:nvSpPr>
          <p:cNvPr id="766" name="object 766"/>
          <p:cNvSpPr/>
          <p:nvPr/>
        </p:nvSpPr>
        <p:spPr>
          <a:xfrm>
            <a:off x="2455985" y="2300841"/>
            <a:ext cx="23394" cy="35233"/>
          </a:xfrm>
          <a:custGeom>
            <a:avLst/>
            <a:gdLst/>
            <a:ahLst/>
            <a:cxnLst/>
            <a:rect l="l" t="t" r="r" b="b"/>
            <a:pathLst>
              <a:path w="51435" h="77470">
                <a:moveTo>
                  <a:pt x="29391" y="0"/>
                </a:moveTo>
                <a:lnTo>
                  <a:pt x="24367" y="19265"/>
                </a:lnTo>
                <a:lnTo>
                  <a:pt x="19631" y="30315"/>
                </a:lnTo>
                <a:lnTo>
                  <a:pt x="12427" y="37318"/>
                </a:lnTo>
                <a:lnTo>
                  <a:pt x="0" y="44438"/>
                </a:lnTo>
                <a:lnTo>
                  <a:pt x="29056" y="77474"/>
                </a:lnTo>
                <a:lnTo>
                  <a:pt x="37074" y="63764"/>
                </a:lnTo>
                <a:lnTo>
                  <a:pt x="42074" y="53868"/>
                </a:lnTo>
                <a:lnTo>
                  <a:pt x="46152" y="42993"/>
                </a:lnTo>
                <a:lnTo>
                  <a:pt x="51401" y="26344"/>
                </a:lnTo>
                <a:lnTo>
                  <a:pt x="29391" y="0"/>
                </a:lnTo>
                <a:close/>
              </a:path>
            </a:pathLst>
          </a:custGeom>
          <a:solidFill>
            <a:srgbClr val="E8E9EA"/>
          </a:solidFill>
        </p:spPr>
        <p:txBody>
          <a:bodyPr wrap="square" lIns="0" tIns="0" rIns="0" bIns="0" rtlCol="0"/>
          <a:lstStyle/>
          <a:p>
            <a:endParaRPr/>
          </a:p>
        </p:txBody>
      </p:sp>
      <p:sp>
        <p:nvSpPr>
          <p:cNvPr id="767" name="object 767"/>
          <p:cNvSpPr/>
          <p:nvPr/>
        </p:nvSpPr>
        <p:spPr>
          <a:xfrm>
            <a:off x="2445568" y="2321049"/>
            <a:ext cx="20506" cy="27436"/>
          </a:xfrm>
          <a:custGeom>
            <a:avLst/>
            <a:gdLst/>
            <a:ahLst/>
            <a:cxnLst/>
            <a:rect l="l" t="t" r="r" b="b"/>
            <a:pathLst>
              <a:path w="45085" h="60325">
                <a:moveTo>
                  <a:pt x="22899" y="0"/>
                </a:moveTo>
                <a:lnTo>
                  <a:pt x="0" y="59966"/>
                </a:lnTo>
                <a:lnTo>
                  <a:pt x="12833" y="56190"/>
                </a:lnTo>
                <a:lnTo>
                  <a:pt x="20094" y="53593"/>
                </a:lnTo>
                <a:lnTo>
                  <a:pt x="44752" y="24062"/>
                </a:lnTo>
                <a:lnTo>
                  <a:pt x="22899" y="0"/>
                </a:lnTo>
                <a:close/>
              </a:path>
            </a:pathLst>
          </a:custGeom>
          <a:solidFill>
            <a:srgbClr val="C4CDD1"/>
          </a:solidFill>
        </p:spPr>
        <p:txBody>
          <a:bodyPr wrap="square" lIns="0" tIns="0" rIns="0" bIns="0" rtlCol="0"/>
          <a:lstStyle/>
          <a:p>
            <a:endParaRPr/>
          </a:p>
        </p:txBody>
      </p:sp>
      <p:sp>
        <p:nvSpPr>
          <p:cNvPr id="768" name="object 768"/>
          <p:cNvSpPr/>
          <p:nvPr/>
        </p:nvSpPr>
        <p:spPr>
          <a:xfrm>
            <a:off x="2144042" y="2187750"/>
            <a:ext cx="39406" cy="79713"/>
          </a:xfrm>
          <a:prstGeom prst="rect">
            <a:avLst/>
          </a:prstGeom>
          <a:blipFill>
            <a:blip r:embed="rId19" cstate="print"/>
            <a:stretch>
              <a:fillRect/>
            </a:stretch>
          </a:blipFill>
        </p:spPr>
        <p:txBody>
          <a:bodyPr wrap="square" lIns="0" tIns="0" rIns="0" bIns="0" rtlCol="0"/>
          <a:lstStyle/>
          <a:p>
            <a:endParaRPr/>
          </a:p>
        </p:txBody>
      </p:sp>
      <p:sp>
        <p:nvSpPr>
          <p:cNvPr id="769" name="object 769"/>
          <p:cNvSpPr/>
          <p:nvPr/>
        </p:nvSpPr>
        <p:spPr>
          <a:xfrm>
            <a:off x="2243572" y="2352126"/>
            <a:ext cx="59785" cy="88950"/>
          </a:xfrm>
          <a:custGeom>
            <a:avLst/>
            <a:gdLst/>
            <a:ahLst/>
            <a:cxnLst/>
            <a:rect l="l" t="t" r="r" b="b"/>
            <a:pathLst>
              <a:path w="131445" h="195579">
                <a:moveTo>
                  <a:pt x="0" y="0"/>
                </a:moveTo>
                <a:lnTo>
                  <a:pt x="55192" y="191753"/>
                </a:lnTo>
                <a:lnTo>
                  <a:pt x="131242" y="195491"/>
                </a:lnTo>
                <a:lnTo>
                  <a:pt x="89578" y="22397"/>
                </a:lnTo>
                <a:lnTo>
                  <a:pt x="0" y="0"/>
                </a:lnTo>
                <a:close/>
              </a:path>
            </a:pathLst>
          </a:custGeom>
          <a:solidFill>
            <a:srgbClr val="E7B59B"/>
          </a:solidFill>
        </p:spPr>
        <p:txBody>
          <a:bodyPr wrap="square" lIns="0" tIns="0" rIns="0" bIns="0" rtlCol="0"/>
          <a:lstStyle/>
          <a:p>
            <a:endParaRPr/>
          </a:p>
        </p:txBody>
      </p:sp>
      <p:sp>
        <p:nvSpPr>
          <p:cNvPr id="770" name="object 770"/>
          <p:cNvSpPr/>
          <p:nvPr/>
        </p:nvSpPr>
        <p:spPr>
          <a:xfrm>
            <a:off x="2243572" y="2352126"/>
            <a:ext cx="59785" cy="88950"/>
          </a:xfrm>
          <a:custGeom>
            <a:avLst/>
            <a:gdLst/>
            <a:ahLst/>
            <a:cxnLst/>
            <a:rect l="l" t="t" r="r" b="b"/>
            <a:pathLst>
              <a:path w="131445" h="195579">
                <a:moveTo>
                  <a:pt x="0" y="0"/>
                </a:moveTo>
                <a:lnTo>
                  <a:pt x="55192" y="191753"/>
                </a:lnTo>
                <a:lnTo>
                  <a:pt x="131242" y="195491"/>
                </a:lnTo>
                <a:lnTo>
                  <a:pt x="89578" y="22397"/>
                </a:lnTo>
                <a:lnTo>
                  <a:pt x="0" y="0"/>
                </a:lnTo>
                <a:close/>
              </a:path>
            </a:pathLst>
          </a:custGeom>
          <a:solidFill>
            <a:srgbClr val="000000">
              <a:alpha val="9999"/>
            </a:srgbClr>
          </a:solidFill>
        </p:spPr>
        <p:txBody>
          <a:bodyPr wrap="square" lIns="0" tIns="0" rIns="0" bIns="0" rtlCol="0"/>
          <a:lstStyle/>
          <a:p>
            <a:endParaRPr/>
          </a:p>
        </p:txBody>
      </p:sp>
      <p:sp>
        <p:nvSpPr>
          <p:cNvPr id="771" name="object 771"/>
          <p:cNvSpPr/>
          <p:nvPr/>
        </p:nvSpPr>
        <p:spPr>
          <a:xfrm>
            <a:off x="2107666" y="2485960"/>
            <a:ext cx="148164" cy="469009"/>
          </a:xfrm>
          <a:custGeom>
            <a:avLst/>
            <a:gdLst/>
            <a:ahLst/>
            <a:cxnLst/>
            <a:rect l="l" t="t" r="r" b="b"/>
            <a:pathLst>
              <a:path w="325754" h="1031239">
                <a:moveTo>
                  <a:pt x="273493" y="0"/>
                </a:moveTo>
                <a:lnTo>
                  <a:pt x="57740" y="0"/>
                </a:lnTo>
                <a:lnTo>
                  <a:pt x="16987" y="104614"/>
                </a:lnTo>
                <a:lnTo>
                  <a:pt x="7680" y="135259"/>
                </a:lnTo>
                <a:lnTo>
                  <a:pt x="2005" y="166669"/>
                </a:lnTo>
                <a:lnTo>
                  <a:pt x="0" y="198524"/>
                </a:lnTo>
                <a:lnTo>
                  <a:pt x="1700" y="230506"/>
                </a:lnTo>
                <a:lnTo>
                  <a:pt x="37071" y="546747"/>
                </a:lnTo>
                <a:lnTo>
                  <a:pt x="21058" y="628317"/>
                </a:lnTo>
                <a:lnTo>
                  <a:pt x="13970" y="676955"/>
                </a:lnTo>
                <a:lnTo>
                  <a:pt x="14231" y="711964"/>
                </a:lnTo>
                <a:lnTo>
                  <a:pt x="20265" y="752647"/>
                </a:lnTo>
                <a:lnTo>
                  <a:pt x="30242" y="824269"/>
                </a:lnTo>
                <a:lnTo>
                  <a:pt x="41267" y="916897"/>
                </a:lnTo>
                <a:lnTo>
                  <a:pt x="50191" y="997037"/>
                </a:lnTo>
                <a:lnTo>
                  <a:pt x="53866" y="1031193"/>
                </a:lnTo>
                <a:lnTo>
                  <a:pt x="104252" y="1031193"/>
                </a:lnTo>
                <a:lnTo>
                  <a:pt x="132240" y="528580"/>
                </a:lnTo>
                <a:lnTo>
                  <a:pt x="150910" y="210632"/>
                </a:lnTo>
                <a:lnTo>
                  <a:pt x="325401" y="210632"/>
                </a:lnTo>
                <a:lnTo>
                  <a:pt x="325501" y="198524"/>
                </a:lnTo>
                <a:lnTo>
                  <a:pt x="325346" y="179707"/>
                </a:lnTo>
                <a:lnTo>
                  <a:pt x="323365" y="154577"/>
                </a:lnTo>
                <a:lnTo>
                  <a:pt x="319626" y="129646"/>
                </a:lnTo>
                <a:lnTo>
                  <a:pt x="314141" y="105002"/>
                </a:lnTo>
                <a:lnTo>
                  <a:pt x="273493" y="0"/>
                </a:lnTo>
                <a:close/>
              </a:path>
              <a:path w="325754" h="1031239">
                <a:moveTo>
                  <a:pt x="325401" y="210632"/>
                </a:moveTo>
                <a:lnTo>
                  <a:pt x="150910" y="210632"/>
                </a:lnTo>
                <a:lnTo>
                  <a:pt x="170669" y="212611"/>
                </a:lnTo>
                <a:lnTo>
                  <a:pt x="221819" y="540695"/>
                </a:lnTo>
                <a:lnTo>
                  <a:pt x="205813" y="622253"/>
                </a:lnTo>
                <a:lnTo>
                  <a:pt x="198728" y="670886"/>
                </a:lnTo>
                <a:lnTo>
                  <a:pt x="198990" y="705896"/>
                </a:lnTo>
                <a:lnTo>
                  <a:pt x="205024" y="746584"/>
                </a:lnTo>
                <a:lnTo>
                  <a:pt x="214999" y="818214"/>
                </a:lnTo>
                <a:lnTo>
                  <a:pt x="226020" y="910849"/>
                </a:lnTo>
                <a:lnTo>
                  <a:pt x="234941" y="990993"/>
                </a:lnTo>
                <a:lnTo>
                  <a:pt x="238614" y="1025152"/>
                </a:lnTo>
                <a:lnTo>
                  <a:pt x="289000" y="1025152"/>
                </a:lnTo>
                <a:lnTo>
                  <a:pt x="316999" y="522528"/>
                </a:lnTo>
                <a:lnTo>
                  <a:pt x="325401" y="210632"/>
                </a:lnTo>
                <a:close/>
              </a:path>
            </a:pathLst>
          </a:custGeom>
          <a:solidFill>
            <a:srgbClr val="E7B59B"/>
          </a:solidFill>
        </p:spPr>
        <p:txBody>
          <a:bodyPr wrap="square" lIns="0" tIns="0" rIns="0" bIns="0" rtlCol="0"/>
          <a:lstStyle/>
          <a:p>
            <a:endParaRPr/>
          </a:p>
        </p:txBody>
      </p:sp>
      <p:sp>
        <p:nvSpPr>
          <p:cNvPr id="772" name="object 772"/>
          <p:cNvSpPr/>
          <p:nvPr/>
        </p:nvSpPr>
        <p:spPr>
          <a:xfrm>
            <a:off x="2107665" y="2485960"/>
            <a:ext cx="148164" cy="469009"/>
          </a:xfrm>
          <a:custGeom>
            <a:avLst/>
            <a:gdLst/>
            <a:ahLst/>
            <a:cxnLst/>
            <a:rect l="l" t="t" r="r" b="b"/>
            <a:pathLst>
              <a:path w="325754" h="1031239">
                <a:moveTo>
                  <a:pt x="273497" y="0"/>
                </a:moveTo>
                <a:lnTo>
                  <a:pt x="57744" y="0"/>
                </a:lnTo>
                <a:lnTo>
                  <a:pt x="16992" y="104614"/>
                </a:lnTo>
                <a:lnTo>
                  <a:pt x="7683" y="135255"/>
                </a:lnTo>
                <a:lnTo>
                  <a:pt x="2005" y="166665"/>
                </a:lnTo>
                <a:lnTo>
                  <a:pt x="0" y="198522"/>
                </a:lnTo>
                <a:lnTo>
                  <a:pt x="1704" y="230506"/>
                </a:lnTo>
                <a:lnTo>
                  <a:pt x="37064" y="546747"/>
                </a:lnTo>
                <a:lnTo>
                  <a:pt x="21058" y="628317"/>
                </a:lnTo>
                <a:lnTo>
                  <a:pt x="13974" y="676955"/>
                </a:lnTo>
                <a:lnTo>
                  <a:pt x="14235" y="711964"/>
                </a:lnTo>
                <a:lnTo>
                  <a:pt x="20269" y="752647"/>
                </a:lnTo>
                <a:lnTo>
                  <a:pt x="30244" y="824270"/>
                </a:lnTo>
                <a:lnTo>
                  <a:pt x="41304" y="917241"/>
                </a:lnTo>
                <a:lnTo>
                  <a:pt x="50187" y="997046"/>
                </a:lnTo>
                <a:lnTo>
                  <a:pt x="53860" y="1031204"/>
                </a:lnTo>
                <a:lnTo>
                  <a:pt x="67943" y="1031204"/>
                </a:lnTo>
                <a:lnTo>
                  <a:pt x="66807" y="1013288"/>
                </a:lnTo>
                <a:lnTo>
                  <a:pt x="65848" y="995334"/>
                </a:lnTo>
                <a:lnTo>
                  <a:pt x="64090" y="959300"/>
                </a:lnTo>
                <a:lnTo>
                  <a:pt x="61509" y="916902"/>
                </a:lnTo>
                <a:lnTo>
                  <a:pt x="59595" y="875701"/>
                </a:lnTo>
                <a:lnTo>
                  <a:pt x="60450" y="834246"/>
                </a:lnTo>
                <a:lnTo>
                  <a:pt x="66236" y="792447"/>
                </a:lnTo>
                <a:lnTo>
                  <a:pt x="74097" y="775505"/>
                </a:lnTo>
                <a:lnTo>
                  <a:pt x="87122" y="766137"/>
                </a:lnTo>
                <a:lnTo>
                  <a:pt x="102882" y="763647"/>
                </a:lnTo>
                <a:lnTo>
                  <a:pt x="119152" y="763647"/>
                </a:lnTo>
                <a:lnTo>
                  <a:pt x="132245" y="528580"/>
                </a:lnTo>
                <a:lnTo>
                  <a:pt x="150914" y="210632"/>
                </a:lnTo>
                <a:lnTo>
                  <a:pt x="325405" y="210632"/>
                </a:lnTo>
                <a:lnTo>
                  <a:pt x="325505" y="198522"/>
                </a:lnTo>
                <a:lnTo>
                  <a:pt x="325350" y="179706"/>
                </a:lnTo>
                <a:lnTo>
                  <a:pt x="323369" y="154573"/>
                </a:lnTo>
                <a:lnTo>
                  <a:pt x="319626" y="129641"/>
                </a:lnTo>
                <a:lnTo>
                  <a:pt x="314135" y="105002"/>
                </a:lnTo>
                <a:lnTo>
                  <a:pt x="273497" y="0"/>
                </a:lnTo>
                <a:close/>
              </a:path>
              <a:path w="325754" h="1031239">
                <a:moveTo>
                  <a:pt x="325405" y="210632"/>
                </a:moveTo>
                <a:lnTo>
                  <a:pt x="150914" y="210632"/>
                </a:lnTo>
                <a:lnTo>
                  <a:pt x="170673" y="212621"/>
                </a:lnTo>
                <a:lnTo>
                  <a:pt x="221823" y="540706"/>
                </a:lnTo>
                <a:lnTo>
                  <a:pt x="205817" y="622258"/>
                </a:lnTo>
                <a:lnTo>
                  <a:pt x="198732" y="670887"/>
                </a:lnTo>
                <a:lnTo>
                  <a:pt x="198994" y="705896"/>
                </a:lnTo>
                <a:lnTo>
                  <a:pt x="205028" y="746584"/>
                </a:lnTo>
                <a:lnTo>
                  <a:pt x="214999" y="818214"/>
                </a:lnTo>
                <a:lnTo>
                  <a:pt x="226021" y="910849"/>
                </a:lnTo>
                <a:lnTo>
                  <a:pt x="234944" y="990993"/>
                </a:lnTo>
                <a:lnTo>
                  <a:pt x="238619" y="1025152"/>
                </a:lnTo>
                <a:lnTo>
                  <a:pt x="270251" y="1025152"/>
                </a:lnTo>
                <a:lnTo>
                  <a:pt x="264083" y="977641"/>
                </a:lnTo>
                <a:lnTo>
                  <a:pt x="258732" y="930080"/>
                </a:lnTo>
                <a:lnTo>
                  <a:pt x="254855" y="882398"/>
                </a:lnTo>
                <a:lnTo>
                  <a:pt x="253108" y="834522"/>
                </a:lnTo>
                <a:lnTo>
                  <a:pt x="254147" y="786384"/>
                </a:lnTo>
                <a:lnTo>
                  <a:pt x="259560" y="767574"/>
                </a:lnTo>
                <a:lnTo>
                  <a:pt x="271570" y="754966"/>
                </a:lnTo>
                <a:lnTo>
                  <a:pt x="287436" y="748562"/>
                </a:lnTo>
                <a:lnTo>
                  <a:pt x="304418" y="748364"/>
                </a:lnTo>
                <a:lnTo>
                  <a:pt x="317004" y="522528"/>
                </a:lnTo>
                <a:lnTo>
                  <a:pt x="325405" y="210632"/>
                </a:lnTo>
                <a:close/>
              </a:path>
              <a:path w="325754" h="1031239">
                <a:moveTo>
                  <a:pt x="119152" y="763647"/>
                </a:moveTo>
                <a:lnTo>
                  <a:pt x="102882" y="763647"/>
                </a:lnTo>
                <a:lnTo>
                  <a:pt x="118947" y="767337"/>
                </a:lnTo>
                <a:lnTo>
                  <a:pt x="119152" y="763647"/>
                </a:lnTo>
                <a:close/>
              </a:path>
            </a:pathLst>
          </a:custGeom>
          <a:solidFill>
            <a:srgbClr val="000000">
              <a:alpha val="9999"/>
            </a:srgbClr>
          </a:solidFill>
        </p:spPr>
        <p:txBody>
          <a:bodyPr wrap="square" lIns="0" tIns="0" rIns="0" bIns="0" rtlCol="0"/>
          <a:lstStyle/>
          <a:p>
            <a:endParaRPr/>
          </a:p>
        </p:txBody>
      </p:sp>
      <p:sp>
        <p:nvSpPr>
          <p:cNvPr id="773" name="object 773"/>
          <p:cNvSpPr/>
          <p:nvPr/>
        </p:nvSpPr>
        <p:spPr>
          <a:xfrm>
            <a:off x="2107665" y="2485960"/>
            <a:ext cx="148164" cy="404895"/>
          </a:xfrm>
          <a:custGeom>
            <a:avLst/>
            <a:gdLst/>
            <a:ahLst/>
            <a:cxnLst/>
            <a:rect l="l" t="t" r="r" b="b"/>
            <a:pathLst>
              <a:path w="325754" h="890270">
                <a:moveTo>
                  <a:pt x="273497" y="0"/>
                </a:moveTo>
                <a:lnTo>
                  <a:pt x="57744" y="0"/>
                </a:lnTo>
                <a:lnTo>
                  <a:pt x="16992" y="104604"/>
                </a:lnTo>
                <a:lnTo>
                  <a:pt x="7683" y="135250"/>
                </a:lnTo>
                <a:lnTo>
                  <a:pt x="2005" y="166662"/>
                </a:lnTo>
                <a:lnTo>
                  <a:pt x="0" y="198518"/>
                </a:lnTo>
                <a:lnTo>
                  <a:pt x="1704" y="230495"/>
                </a:lnTo>
                <a:lnTo>
                  <a:pt x="37064" y="546747"/>
                </a:lnTo>
                <a:lnTo>
                  <a:pt x="21058" y="628317"/>
                </a:lnTo>
                <a:lnTo>
                  <a:pt x="13974" y="676955"/>
                </a:lnTo>
                <a:lnTo>
                  <a:pt x="14235" y="711964"/>
                </a:lnTo>
                <a:lnTo>
                  <a:pt x="20269" y="752647"/>
                </a:lnTo>
                <a:lnTo>
                  <a:pt x="24216" y="778623"/>
                </a:lnTo>
                <a:lnTo>
                  <a:pt x="28683" y="811976"/>
                </a:lnTo>
                <a:lnTo>
                  <a:pt x="33424" y="850067"/>
                </a:lnTo>
                <a:lnTo>
                  <a:pt x="38195" y="890255"/>
                </a:lnTo>
                <a:lnTo>
                  <a:pt x="113198" y="890255"/>
                </a:lnTo>
                <a:lnTo>
                  <a:pt x="140642" y="531533"/>
                </a:lnTo>
                <a:lnTo>
                  <a:pt x="154872" y="244641"/>
                </a:lnTo>
                <a:lnTo>
                  <a:pt x="172306" y="242757"/>
                </a:lnTo>
                <a:lnTo>
                  <a:pt x="325540" y="242757"/>
                </a:lnTo>
                <a:lnTo>
                  <a:pt x="325505" y="198518"/>
                </a:lnTo>
                <a:lnTo>
                  <a:pt x="325350" y="179707"/>
                </a:lnTo>
                <a:lnTo>
                  <a:pt x="323369" y="154575"/>
                </a:lnTo>
                <a:lnTo>
                  <a:pt x="319626" y="129644"/>
                </a:lnTo>
                <a:lnTo>
                  <a:pt x="314135" y="105002"/>
                </a:lnTo>
                <a:lnTo>
                  <a:pt x="273497" y="0"/>
                </a:lnTo>
                <a:close/>
              </a:path>
              <a:path w="325754" h="890270">
                <a:moveTo>
                  <a:pt x="325540" y="242757"/>
                </a:moveTo>
                <a:lnTo>
                  <a:pt x="172306" y="242757"/>
                </a:lnTo>
                <a:lnTo>
                  <a:pt x="221823" y="540706"/>
                </a:lnTo>
                <a:lnTo>
                  <a:pt x="205817" y="622258"/>
                </a:lnTo>
                <a:lnTo>
                  <a:pt x="198732" y="670887"/>
                </a:lnTo>
                <a:lnTo>
                  <a:pt x="198994" y="705896"/>
                </a:lnTo>
                <a:lnTo>
                  <a:pt x="205028" y="746584"/>
                </a:lnTo>
                <a:lnTo>
                  <a:pt x="209134" y="773703"/>
                </a:lnTo>
                <a:lnTo>
                  <a:pt x="213792" y="808650"/>
                </a:lnTo>
                <a:lnTo>
                  <a:pt x="218725" y="848482"/>
                </a:lnTo>
                <a:lnTo>
                  <a:pt x="223656" y="890255"/>
                </a:lnTo>
                <a:lnTo>
                  <a:pt x="297580" y="890255"/>
                </a:lnTo>
                <a:lnTo>
                  <a:pt x="325401" y="523135"/>
                </a:lnTo>
                <a:lnTo>
                  <a:pt x="325540" y="242757"/>
                </a:lnTo>
                <a:close/>
              </a:path>
            </a:pathLst>
          </a:custGeom>
          <a:solidFill>
            <a:srgbClr val="000000"/>
          </a:solidFill>
        </p:spPr>
        <p:txBody>
          <a:bodyPr wrap="square" lIns="0" tIns="0" rIns="0" bIns="0" rtlCol="0"/>
          <a:lstStyle/>
          <a:p>
            <a:endParaRPr/>
          </a:p>
        </p:txBody>
      </p:sp>
      <p:sp>
        <p:nvSpPr>
          <p:cNvPr id="774" name="object 774"/>
          <p:cNvSpPr/>
          <p:nvPr/>
        </p:nvSpPr>
        <p:spPr>
          <a:xfrm>
            <a:off x="2098704" y="2285290"/>
            <a:ext cx="94732" cy="211400"/>
          </a:xfrm>
          <a:custGeom>
            <a:avLst/>
            <a:gdLst/>
            <a:ahLst/>
            <a:cxnLst/>
            <a:rect l="l" t="t" r="r" b="b"/>
            <a:pathLst>
              <a:path w="208279" h="464820">
                <a:moveTo>
                  <a:pt x="207930" y="0"/>
                </a:moveTo>
                <a:lnTo>
                  <a:pt x="168738" y="0"/>
                </a:lnTo>
                <a:lnTo>
                  <a:pt x="35779" y="37789"/>
                </a:lnTo>
                <a:lnTo>
                  <a:pt x="1312" y="69644"/>
                </a:lnTo>
                <a:lnTo>
                  <a:pt x="0" y="86332"/>
                </a:lnTo>
                <a:lnTo>
                  <a:pt x="51171" y="153963"/>
                </a:lnTo>
                <a:lnTo>
                  <a:pt x="77442" y="441222"/>
                </a:lnTo>
                <a:lnTo>
                  <a:pt x="207930" y="464687"/>
                </a:lnTo>
                <a:lnTo>
                  <a:pt x="207930" y="0"/>
                </a:lnTo>
                <a:close/>
              </a:path>
            </a:pathLst>
          </a:custGeom>
          <a:solidFill>
            <a:srgbClr val="E7B59B"/>
          </a:solidFill>
        </p:spPr>
        <p:txBody>
          <a:bodyPr wrap="square" lIns="0" tIns="0" rIns="0" bIns="0" rtlCol="0"/>
          <a:lstStyle/>
          <a:p>
            <a:endParaRPr/>
          </a:p>
        </p:txBody>
      </p:sp>
      <p:sp>
        <p:nvSpPr>
          <p:cNvPr id="775" name="object 775"/>
          <p:cNvSpPr/>
          <p:nvPr/>
        </p:nvSpPr>
        <p:spPr>
          <a:xfrm>
            <a:off x="2108043" y="2285291"/>
            <a:ext cx="78270" cy="21082"/>
          </a:xfrm>
          <a:custGeom>
            <a:avLst/>
            <a:gdLst/>
            <a:ahLst/>
            <a:cxnLst/>
            <a:rect l="l" t="t" r="r" b="b"/>
            <a:pathLst>
              <a:path w="172085" h="46354">
                <a:moveTo>
                  <a:pt x="49188" y="45443"/>
                </a:moveTo>
                <a:lnTo>
                  <a:pt x="45621" y="45443"/>
                </a:lnTo>
                <a:lnTo>
                  <a:pt x="47160" y="45736"/>
                </a:lnTo>
                <a:lnTo>
                  <a:pt x="48794" y="45883"/>
                </a:lnTo>
                <a:lnTo>
                  <a:pt x="49188" y="45443"/>
                </a:lnTo>
                <a:close/>
              </a:path>
              <a:path w="172085" h="46354">
                <a:moveTo>
                  <a:pt x="171565" y="0"/>
                </a:moveTo>
                <a:lnTo>
                  <a:pt x="148204" y="0"/>
                </a:lnTo>
                <a:lnTo>
                  <a:pt x="15245" y="37789"/>
                </a:lnTo>
                <a:lnTo>
                  <a:pt x="9675" y="38857"/>
                </a:lnTo>
                <a:lnTo>
                  <a:pt x="4554" y="40962"/>
                </a:lnTo>
                <a:lnTo>
                  <a:pt x="0" y="43810"/>
                </a:lnTo>
                <a:lnTo>
                  <a:pt x="10949" y="44528"/>
                </a:lnTo>
                <a:lnTo>
                  <a:pt x="21907" y="45092"/>
                </a:lnTo>
                <a:lnTo>
                  <a:pt x="32877" y="45429"/>
                </a:lnTo>
                <a:lnTo>
                  <a:pt x="43862" y="45464"/>
                </a:lnTo>
                <a:lnTo>
                  <a:pt x="45621" y="45443"/>
                </a:lnTo>
                <a:lnTo>
                  <a:pt x="49188" y="45443"/>
                </a:lnTo>
                <a:lnTo>
                  <a:pt x="84295" y="29870"/>
                </a:lnTo>
                <a:lnTo>
                  <a:pt x="100301" y="25901"/>
                </a:lnTo>
                <a:lnTo>
                  <a:pt x="116208" y="21603"/>
                </a:lnTo>
                <a:lnTo>
                  <a:pt x="132676" y="16146"/>
                </a:lnTo>
                <a:lnTo>
                  <a:pt x="142111" y="12614"/>
                </a:lnTo>
                <a:lnTo>
                  <a:pt x="152336" y="8642"/>
                </a:lnTo>
                <a:lnTo>
                  <a:pt x="162454" y="4385"/>
                </a:lnTo>
                <a:lnTo>
                  <a:pt x="171565" y="0"/>
                </a:lnTo>
                <a:close/>
              </a:path>
            </a:pathLst>
          </a:custGeom>
          <a:solidFill>
            <a:srgbClr val="000000">
              <a:alpha val="9999"/>
            </a:srgbClr>
          </a:solidFill>
        </p:spPr>
        <p:txBody>
          <a:bodyPr wrap="square" lIns="0" tIns="0" rIns="0" bIns="0" rtlCol="0"/>
          <a:lstStyle/>
          <a:p>
            <a:endParaRPr/>
          </a:p>
        </p:txBody>
      </p:sp>
      <p:sp>
        <p:nvSpPr>
          <p:cNvPr id="776" name="object 776"/>
          <p:cNvSpPr/>
          <p:nvPr/>
        </p:nvSpPr>
        <p:spPr>
          <a:xfrm>
            <a:off x="2067231" y="2331601"/>
            <a:ext cx="62962" cy="112343"/>
          </a:xfrm>
          <a:custGeom>
            <a:avLst/>
            <a:gdLst/>
            <a:ahLst/>
            <a:cxnLst/>
            <a:rect l="l" t="t" r="r" b="b"/>
            <a:pathLst>
              <a:path w="138429" h="247014">
                <a:moveTo>
                  <a:pt x="138404" y="0"/>
                </a:moveTo>
                <a:lnTo>
                  <a:pt x="44092" y="35946"/>
                </a:lnTo>
                <a:lnTo>
                  <a:pt x="0" y="246683"/>
                </a:lnTo>
                <a:lnTo>
                  <a:pt x="81180" y="232684"/>
                </a:lnTo>
                <a:lnTo>
                  <a:pt x="138404" y="0"/>
                </a:lnTo>
                <a:close/>
              </a:path>
            </a:pathLst>
          </a:custGeom>
          <a:solidFill>
            <a:srgbClr val="E7B59B"/>
          </a:solidFill>
        </p:spPr>
        <p:txBody>
          <a:bodyPr wrap="square" lIns="0" tIns="0" rIns="0" bIns="0" rtlCol="0"/>
          <a:lstStyle/>
          <a:p>
            <a:endParaRPr/>
          </a:p>
        </p:txBody>
      </p:sp>
      <p:sp>
        <p:nvSpPr>
          <p:cNvPr id="777" name="object 777"/>
          <p:cNvSpPr/>
          <p:nvPr/>
        </p:nvSpPr>
        <p:spPr>
          <a:xfrm>
            <a:off x="2165481" y="2250158"/>
            <a:ext cx="47655" cy="70178"/>
          </a:xfrm>
          <a:custGeom>
            <a:avLst/>
            <a:gdLst/>
            <a:ahLst/>
            <a:cxnLst/>
            <a:rect l="l" t="t" r="r" b="b"/>
            <a:pathLst>
              <a:path w="104775" h="154304">
                <a:moveTo>
                  <a:pt x="19308" y="0"/>
                </a:moveTo>
                <a:lnTo>
                  <a:pt x="0" y="140917"/>
                </a:lnTo>
                <a:lnTo>
                  <a:pt x="86918" y="154225"/>
                </a:lnTo>
                <a:lnTo>
                  <a:pt x="104541" y="39182"/>
                </a:lnTo>
                <a:lnTo>
                  <a:pt x="19308" y="0"/>
                </a:lnTo>
                <a:close/>
              </a:path>
            </a:pathLst>
          </a:custGeom>
          <a:solidFill>
            <a:srgbClr val="E7B59B"/>
          </a:solidFill>
        </p:spPr>
        <p:txBody>
          <a:bodyPr wrap="square" lIns="0" tIns="0" rIns="0" bIns="0" rtlCol="0"/>
          <a:lstStyle/>
          <a:p>
            <a:endParaRPr/>
          </a:p>
        </p:txBody>
      </p:sp>
      <p:sp>
        <p:nvSpPr>
          <p:cNvPr id="778" name="object 778"/>
          <p:cNvSpPr/>
          <p:nvPr/>
        </p:nvSpPr>
        <p:spPr>
          <a:xfrm>
            <a:off x="2168570" y="2250157"/>
            <a:ext cx="44478" cy="41587"/>
          </a:xfrm>
          <a:custGeom>
            <a:avLst/>
            <a:gdLst/>
            <a:ahLst/>
            <a:cxnLst/>
            <a:rect l="l" t="t" r="r" b="b"/>
            <a:pathLst>
              <a:path w="97789" h="91439">
                <a:moveTo>
                  <a:pt x="12512" y="0"/>
                </a:moveTo>
                <a:lnTo>
                  <a:pt x="0" y="91327"/>
                </a:lnTo>
                <a:lnTo>
                  <a:pt x="4366" y="85013"/>
                </a:lnTo>
                <a:lnTo>
                  <a:pt x="9768" y="76776"/>
                </a:lnTo>
                <a:lnTo>
                  <a:pt x="18872" y="70104"/>
                </a:lnTo>
                <a:lnTo>
                  <a:pt x="33946" y="69097"/>
                </a:lnTo>
                <a:lnTo>
                  <a:pt x="93163" y="69097"/>
                </a:lnTo>
                <a:lnTo>
                  <a:pt x="97745" y="39192"/>
                </a:lnTo>
                <a:lnTo>
                  <a:pt x="12512" y="0"/>
                </a:lnTo>
                <a:close/>
              </a:path>
              <a:path w="97789" h="91439">
                <a:moveTo>
                  <a:pt x="93163" y="69097"/>
                </a:moveTo>
                <a:lnTo>
                  <a:pt x="33946" y="69097"/>
                </a:lnTo>
                <a:lnTo>
                  <a:pt x="40831" y="71840"/>
                </a:lnTo>
                <a:lnTo>
                  <a:pt x="52036" y="77133"/>
                </a:lnTo>
                <a:lnTo>
                  <a:pt x="64248" y="82387"/>
                </a:lnTo>
                <a:lnTo>
                  <a:pt x="74154" y="85013"/>
                </a:lnTo>
                <a:lnTo>
                  <a:pt x="80154" y="83656"/>
                </a:lnTo>
                <a:lnTo>
                  <a:pt x="83221" y="80209"/>
                </a:lnTo>
                <a:lnTo>
                  <a:pt x="86215" y="77088"/>
                </a:lnTo>
                <a:lnTo>
                  <a:pt x="91997" y="76709"/>
                </a:lnTo>
                <a:lnTo>
                  <a:pt x="93163" y="69097"/>
                </a:lnTo>
                <a:close/>
              </a:path>
            </a:pathLst>
          </a:custGeom>
          <a:solidFill>
            <a:srgbClr val="000000">
              <a:alpha val="9999"/>
            </a:srgbClr>
          </a:solidFill>
        </p:spPr>
        <p:txBody>
          <a:bodyPr wrap="square" lIns="0" tIns="0" rIns="0" bIns="0" rtlCol="0"/>
          <a:lstStyle/>
          <a:p>
            <a:endParaRPr/>
          </a:p>
        </p:txBody>
      </p:sp>
      <p:sp>
        <p:nvSpPr>
          <p:cNvPr id="779" name="object 779"/>
          <p:cNvSpPr/>
          <p:nvPr/>
        </p:nvSpPr>
        <p:spPr>
          <a:xfrm>
            <a:off x="2170275" y="2198834"/>
            <a:ext cx="77981" cy="90972"/>
          </a:xfrm>
          <a:custGeom>
            <a:avLst/>
            <a:gdLst/>
            <a:ahLst/>
            <a:cxnLst/>
            <a:rect l="l" t="t" r="r" b="b"/>
            <a:pathLst>
              <a:path w="171450" h="200025">
                <a:moveTo>
                  <a:pt x="14962" y="0"/>
                </a:moveTo>
                <a:lnTo>
                  <a:pt x="0" y="97745"/>
                </a:lnTo>
                <a:lnTo>
                  <a:pt x="5840" y="131911"/>
                </a:lnTo>
                <a:lnTo>
                  <a:pt x="27500" y="163820"/>
                </a:lnTo>
                <a:lnTo>
                  <a:pt x="55778" y="188165"/>
                </a:lnTo>
                <a:lnTo>
                  <a:pt x="81473" y="199637"/>
                </a:lnTo>
                <a:lnTo>
                  <a:pt x="99813" y="194907"/>
                </a:lnTo>
                <a:lnTo>
                  <a:pt x="123052" y="178452"/>
                </a:lnTo>
                <a:lnTo>
                  <a:pt x="144184" y="153096"/>
                </a:lnTo>
                <a:lnTo>
                  <a:pt x="156204" y="121661"/>
                </a:lnTo>
                <a:lnTo>
                  <a:pt x="171178" y="23915"/>
                </a:lnTo>
                <a:lnTo>
                  <a:pt x="14962" y="0"/>
                </a:lnTo>
                <a:close/>
              </a:path>
            </a:pathLst>
          </a:custGeom>
          <a:solidFill>
            <a:srgbClr val="E7B59B"/>
          </a:solidFill>
        </p:spPr>
        <p:txBody>
          <a:bodyPr wrap="square" lIns="0" tIns="0" rIns="0" bIns="0" rtlCol="0"/>
          <a:lstStyle/>
          <a:p>
            <a:endParaRPr/>
          </a:p>
        </p:txBody>
      </p:sp>
      <p:sp>
        <p:nvSpPr>
          <p:cNvPr id="780" name="object 780"/>
          <p:cNvSpPr/>
          <p:nvPr/>
        </p:nvSpPr>
        <p:spPr>
          <a:xfrm>
            <a:off x="2163563" y="2179599"/>
            <a:ext cx="87801" cy="84329"/>
          </a:xfrm>
          <a:custGeom>
            <a:avLst/>
            <a:gdLst/>
            <a:ahLst/>
            <a:cxnLst/>
            <a:rect l="l" t="t" r="r" b="b"/>
            <a:pathLst>
              <a:path w="193039" h="185420">
                <a:moveTo>
                  <a:pt x="91906" y="0"/>
                </a:moveTo>
                <a:lnTo>
                  <a:pt x="37577" y="14163"/>
                </a:lnTo>
                <a:lnTo>
                  <a:pt x="4788" y="59526"/>
                </a:lnTo>
                <a:lnTo>
                  <a:pt x="0" y="112930"/>
                </a:lnTo>
                <a:lnTo>
                  <a:pt x="6442" y="152329"/>
                </a:lnTo>
                <a:lnTo>
                  <a:pt x="16149" y="176710"/>
                </a:lnTo>
                <a:lnTo>
                  <a:pt x="21154" y="185062"/>
                </a:lnTo>
                <a:lnTo>
                  <a:pt x="19767" y="158839"/>
                </a:lnTo>
                <a:lnTo>
                  <a:pt x="21246" y="143182"/>
                </a:lnTo>
                <a:lnTo>
                  <a:pt x="27339" y="131866"/>
                </a:lnTo>
                <a:lnTo>
                  <a:pt x="39793" y="118666"/>
                </a:lnTo>
                <a:lnTo>
                  <a:pt x="53287" y="118666"/>
                </a:lnTo>
                <a:lnTo>
                  <a:pt x="58063" y="108559"/>
                </a:lnTo>
                <a:lnTo>
                  <a:pt x="67993" y="99868"/>
                </a:lnTo>
                <a:lnTo>
                  <a:pt x="78211" y="96026"/>
                </a:lnTo>
                <a:lnTo>
                  <a:pt x="86325" y="95222"/>
                </a:lnTo>
                <a:lnTo>
                  <a:pt x="112998" y="93107"/>
                </a:lnTo>
                <a:lnTo>
                  <a:pt x="132782" y="87780"/>
                </a:lnTo>
                <a:lnTo>
                  <a:pt x="145086" y="82323"/>
                </a:lnTo>
                <a:lnTo>
                  <a:pt x="149318" y="79819"/>
                </a:lnTo>
                <a:lnTo>
                  <a:pt x="192227" y="79819"/>
                </a:lnTo>
                <a:lnTo>
                  <a:pt x="189783" y="50795"/>
                </a:lnTo>
                <a:lnTo>
                  <a:pt x="169420" y="21440"/>
                </a:lnTo>
                <a:lnTo>
                  <a:pt x="121110" y="4481"/>
                </a:lnTo>
                <a:lnTo>
                  <a:pt x="91906" y="0"/>
                </a:lnTo>
                <a:close/>
              </a:path>
              <a:path w="193039" h="185420">
                <a:moveTo>
                  <a:pt x="53287" y="118666"/>
                </a:moveTo>
                <a:lnTo>
                  <a:pt x="39793" y="118666"/>
                </a:lnTo>
                <a:lnTo>
                  <a:pt x="41654" y="120184"/>
                </a:lnTo>
                <a:lnTo>
                  <a:pt x="44888" y="123936"/>
                </a:lnTo>
                <a:lnTo>
                  <a:pt x="48329" y="126364"/>
                </a:lnTo>
                <a:lnTo>
                  <a:pt x="50808" y="123912"/>
                </a:lnTo>
                <a:lnTo>
                  <a:pt x="53287" y="118666"/>
                </a:lnTo>
                <a:close/>
              </a:path>
              <a:path w="193039" h="185420">
                <a:moveTo>
                  <a:pt x="192227" y="79819"/>
                </a:moveTo>
                <a:lnTo>
                  <a:pt x="149318" y="79819"/>
                </a:lnTo>
                <a:lnTo>
                  <a:pt x="158187" y="93840"/>
                </a:lnTo>
                <a:lnTo>
                  <a:pt x="188500" y="116216"/>
                </a:lnTo>
                <a:lnTo>
                  <a:pt x="192657" y="84926"/>
                </a:lnTo>
                <a:lnTo>
                  <a:pt x="192227" y="79819"/>
                </a:lnTo>
                <a:close/>
              </a:path>
            </a:pathLst>
          </a:custGeom>
          <a:solidFill>
            <a:srgbClr val="BC872A"/>
          </a:solidFill>
        </p:spPr>
        <p:txBody>
          <a:bodyPr wrap="square" lIns="0" tIns="0" rIns="0" bIns="0" rtlCol="0"/>
          <a:lstStyle/>
          <a:p>
            <a:endParaRPr/>
          </a:p>
        </p:txBody>
      </p:sp>
      <p:sp>
        <p:nvSpPr>
          <p:cNvPr id="781" name="object 781"/>
          <p:cNvSpPr/>
          <p:nvPr/>
        </p:nvSpPr>
        <p:spPr>
          <a:xfrm>
            <a:off x="2170453" y="2227274"/>
            <a:ext cx="11841" cy="22526"/>
          </a:xfrm>
          <a:custGeom>
            <a:avLst/>
            <a:gdLst/>
            <a:ahLst/>
            <a:cxnLst/>
            <a:rect l="l" t="t" r="r" b="b"/>
            <a:pathLst>
              <a:path w="26035" h="49529">
                <a:moveTo>
                  <a:pt x="9719" y="0"/>
                </a:moveTo>
                <a:lnTo>
                  <a:pt x="3221" y="3373"/>
                </a:lnTo>
                <a:lnTo>
                  <a:pt x="0" y="11974"/>
                </a:lnTo>
                <a:lnTo>
                  <a:pt x="750" y="27370"/>
                </a:lnTo>
                <a:lnTo>
                  <a:pt x="6675" y="42290"/>
                </a:lnTo>
                <a:lnTo>
                  <a:pt x="18980" y="49466"/>
                </a:lnTo>
                <a:lnTo>
                  <a:pt x="25953" y="15153"/>
                </a:lnTo>
                <a:lnTo>
                  <a:pt x="18954" y="4785"/>
                </a:lnTo>
                <a:lnTo>
                  <a:pt x="14253" y="102"/>
                </a:lnTo>
                <a:lnTo>
                  <a:pt x="9719" y="0"/>
                </a:lnTo>
                <a:close/>
              </a:path>
            </a:pathLst>
          </a:custGeom>
          <a:solidFill>
            <a:srgbClr val="E7B59B"/>
          </a:solidFill>
        </p:spPr>
        <p:txBody>
          <a:bodyPr wrap="square" lIns="0" tIns="0" rIns="0" bIns="0" rtlCol="0"/>
          <a:lstStyle/>
          <a:p>
            <a:endParaRPr/>
          </a:p>
        </p:txBody>
      </p:sp>
      <p:sp>
        <p:nvSpPr>
          <p:cNvPr id="782" name="object 782"/>
          <p:cNvSpPr/>
          <p:nvPr/>
        </p:nvSpPr>
        <p:spPr>
          <a:xfrm>
            <a:off x="2170490" y="2227766"/>
            <a:ext cx="8665" cy="22237"/>
          </a:xfrm>
          <a:custGeom>
            <a:avLst/>
            <a:gdLst/>
            <a:ahLst/>
            <a:cxnLst/>
            <a:rect l="l" t="t" r="r" b="b"/>
            <a:pathLst>
              <a:path w="19050" h="48895">
                <a:moveTo>
                  <a:pt x="7090" y="0"/>
                </a:moveTo>
                <a:lnTo>
                  <a:pt x="3142" y="2293"/>
                </a:lnTo>
                <a:lnTo>
                  <a:pt x="0" y="10680"/>
                </a:lnTo>
                <a:lnTo>
                  <a:pt x="28" y="13130"/>
                </a:lnTo>
                <a:lnTo>
                  <a:pt x="667" y="26289"/>
                </a:lnTo>
                <a:lnTo>
                  <a:pt x="6592" y="41210"/>
                </a:lnTo>
                <a:lnTo>
                  <a:pt x="18901" y="48385"/>
                </a:lnTo>
                <a:lnTo>
                  <a:pt x="15100" y="46061"/>
                </a:lnTo>
                <a:lnTo>
                  <a:pt x="13414" y="44480"/>
                </a:lnTo>
                <a:lnTo>
                  <a:pt x="8009" y="37707"/>
                </a:lnTo>
                <a:lnTo>
                  <a:pt x="4852" y="29720"/>
                </a:lnTo>
                <a:lnTo>
                  <a:pt x="4518" y="21275"/>
                </a:lnTo>
                <a:lnTo>
                  <a:pt x="7582" y="13130"/>
                </a:lnTo>
                <a:lnTo>
                  <a:pt x="8462" y="11769"/>
                </a:lnTo>
                <a:lnTo>
                  <a:pt x="9446" y="10680"/>
                </a:lnTo>
                <a:lnTo>
                  <a:pt x="10514" y="9790"/>
                </a:lnTo>
                <a:lnTo>
                  <a:pt x="10556" y="8366"/>
                </a:lnTo>
                <a:lnTo>
                  <a:pt x="11184" y="4963"/>
                </a:lnTo>
                <a:lnTo>
                  <a:pt x="12807" y="3549"/>
                </a:lnTo>
                <a:lnTo>
                  <a:pt x="14734" y="3057"/>
                </a:lnTo>
                <a:lnTo>
                  <a:pt x="11153" y="952"/>
                </a:lnTo>
                <a:lnTo>
                  <a:pt x="7090" y="0"/>
                </a:lnTo>
                <a:close/>
              </a:path>
            </a:pathLst>
          </a:custGeom>
          <a:solidFill>
            <a:srgbClr val="000000">
              <a:alpha val="9999"/>
            </a:srgbClr>
          </a:solidFill>
        </p:spPr>
        <p:txBody>
          <a:bodyPr wrap="square" lIns="0" tIns="0" rIns="0" bIns="0" rtlCol="0"/>
          <a:lstStyle/>
          <a:p>
            <a:endParaRPr/>
          </a:p>
        </p:txBody>
      </p:sp>
      <p:sp>
        <p:nvSpPr>
          <p:cNvPr id="783" name="object 783"/>
          <p:cNvSpPr/>
          <p:nvPr/>
        </p:nvSpPr>
        <p:spPr>
          <a:xfrm>
            <a:off x="2176117" y="2285289"/>
            <a:ext cx="94444" cy="211400"/>
          </a:xfrm>
          <a:custGeom>
            <a:avLst/>
            <a:gdLst/>
            <a:ahLst/>
            <a:cxnLst/>
            <a:rect l="l" t="t" r="r" b="b"/>
            <a:pathLst>
              <a:path w="207645" h="464820">
                <a:moveTo>
                  <a:pt x="0" y="0"/>
                </a:moveTo>
                <a:lnTo>
                  <a:pt x="0" y="464687"/>
                </a:lnTo>
                <a:lnTo>
                  <a:pt x="122991" y="441232"/>
                </a:lnTo>
                <a:lnTo>
                  <a:pt x="156759" y="153963"/>
                </a:lnTo>
                <a:lnTo>
                  <a:pt x="207522" y="85578"/>
                </a:lnTo>
                <a:lnTo>
                  <a:pt x="187292" y="43228"/>
                </a:lnTo>
                <a:lnTo>
                  <a:pt x="74322" y="12795"/>
                </a:lnTo>
                <a:lnTo>
                  <a:pt x="0" y="0"/>
                </a:lnTo>
                <a:close/>
              </a:path>
            </a:pathLst>
          </a:custGeom>
          <a:solidFill>
            <a:srgbClr val="E7B59B"/>
          </a:solidFill>
        </p:spPr>
        <p:txBody>
          <a:bodyPr wrap="square" lIns="0" tIns="0" rIns="0" bIns="0" rtlCol="0"/>
          <a:lstStyle/>
          <a:p>
            <a:endParaRPr/>
          </a:p>
        </p:txBody>
      </p:sp>
      <p:sp>
        <p:nvSpPr>
          <p:cNvPr id="784" name="object 784"/>
          <p:cNvSpPr/>
          <p:nvPr/>
        </p:nvSpPr>
        <p:spPr>
          <a:xfrm>
            <a:off x="2120025" y="2362950"/>
            <a:ext cx="1444" cy="2022"/>
          </a:xfrm>
          <a:custGeom>
            <a:avLst/>
            <a:gdLst/>
            <a:ahLst/>
            <a:cxnLst/>
            <a:rect l="l" t="t" r="r" b="b"/>
            <a:pathLst>
              <a:path w="3175" h="4445">
                <a:moveTo>
                  <a:pt x="2198" y="0"/>
                </a:moveTo>
                <a:lnTo>
                  <a:pt x="0" y="4198"/>
                </a:lnTo>
                <a:lnTo>
                  <a:pt x="2575" y="4198"/>
                </a:lnTo>
                <a:lnTo>
                  <a:pt x="2198" y="0"/>
                </a:lnTo>
                <a:close/>
              </a:path>
            </a:pathLst>
          </a:custGeom>
          <a:solidFill>
            <a:srgbClr val="E7B59B"/>
          </a:solidFill>
        </p:spPr>
        <p:txBody>
          <a:bodyPr wrap="square" lIns="0" tIns="0" rIns="0" bIns="0" rtlCol="0"/>
          <a:lstStyle/>
          <a:p>
            <a:endParaRPr/>
          </a:p>
        </p:txBody>
      </p:sp>
      <p:sp>
        <p:nvSpPr>
          <p:cNvPr id="785" name="object 785"/>
          <p:cNvSpPr/>
          <p:nvPr/>
        </p:nvSpPr>
        <p:spPr>
          <a:xfrm>
            <a:off x="2076872" y="2307051"/>
            <a:ext cx="211993" cy="257031"/>
          </a:xfrm>
          <a:custGeom>
            <a:avLst/>
            <a:gdLst/>
            <a:ahLst/>
            <a:cxnLst/>
            <a:rect l="l" t="t" r="r" b="b"/>
            <a:pathLst>
              <a:path w="466089" h="565150">
                <a:moveTo>
                  <a:pt x="371944" y="141105"/>
                </a:moveTo>
                <a:lnTo>
                  <a:pt x="100572" y="141105"/>
                </a:lnTo>
                <a:lnTo>
                  <a:pt x="118069" y="353842"/>
                </a:lnTo>
                <a:lnTo>
                  <a:pt x="98453" y="435722"/>
                </a:lnTo>
                <a:lnTo>
                  <a:pt x="87103" y="481387"/>
                </a:lnTo>
                <a:lnTo>
                  <a:pt x="79689" y="507369"/>
                </a:lnTo>
                <a:lnTo>
                  <a:pt x="71882" y="530203"/>
                </a:lnTo>
                <a:lnTo>
                  <a:pt x="169646" y="556809"/>
                </a:lnTo>
                <a:lnTo>
                  <a:pt x="235594" y="564939"/>
                </a:lnTo>
                <a:lnTo>
                  <a:pt x="299752" y="553929"/>
                </a:lnTo>
                <a:lnTo>
                  <a:pt x="392145" y="523114"/>
                </a:lnTo>
                <a:lnTo>
                  <a:pt x="367204" y="433359"/>
                </a:lnTo>
                <a:lnTo>
                  <a:pt x="354397" y="384714"/>
                </a:lnTo>
                <a:lnTo>
                  <a:pt x="349679" y="360326"/>
                </a:lnTo>
                <a:lnTo>
                  <a:pt x="349005" y="343340"/>
                </a:lnTo>
                <a:lnTo>
                  <a:pt x="371944" y="141105"/>
                </a:lnTo>
                <a:close/>
              </a:path>
              <a:path w="466089" h="565150">
                <a:moveTo>
                  <a:pt x="62291" y="0"/>
                </a:moveTo>
                <a:lnTo>
                  <a:pt x="32341" y="41551"/>
                </a:lnTo>
                <a:lnTo>
                  <a:pt x="0" y="159848"/>
                </a:lnTo>
                <a:lnTo>
                  <a:pt x="86573" y="187292"/>
                </a:lnTo>
                <a:lnTo>
                  <a:pt x="100572" y="141105"/>
                </a:lnTo>
                <a:lnTo>
                  <a:pt x="371944" y="141105"/>
                </a:lnTo>
                <a:lnTo>
                  <a:pt x="372103" y="139702"/>
                </a:lnTo>
                <a:lnTo>
                  <a:pt x="464558" y="139702"/>
                </a:lnTo>
                <a:lnTo>
                  <a:pt x="448056" y="87316"/>
                </a:lnTo>
                <a:lnTo>
                  <a:pt x="250316" y="87316"/>
                </a:lnTo>
                <a:lnTo>
                  <a:pt x="203348" y="83700"/>
                </a:lnTo>
                <a:lnTo>
                  <a:pt x="158026" y="73839"/>
                </a:lnTo>
                <a:lnTo>
                  <a:pt x="115166" y="56866"/>
                </a:lnTo>
                <a:lnTo>
                  <a:pt x="75578" y="31915"/>
                </a:lnTo>
                <a:lnTo>
                  <a:pt x="61730" y="8240"/>
                </a:lnTo>
                <a:lnTo>
                  <a:pt x="62291" y="0"/>
                </a:lnTo>
                <a:close/>
              </a:path>
              <a:path w="466089" h="565150">
                <a:moveTo>
                  <a:pt x="464558" y="139702"/>
                </a:moveTo>
                <a:lnTo>
                  <a:pt x="372103" y="139702"/>
                </a:lnTo>
                <a:lnTo>
                  <a:pt x="380501" y="167691"/>
                </a:lnTo>
                <a:lnTo>
                  <a:pt x="465881" y="143901"/>
                </a:lnTo>
                <a:lnTo>
                  <a:pt x="464558" y="139702"/>
                </a:lnTo>
                <a:close/>
              </a:path>
              <a:path w="466089" h="565150">
                <a:moveTo>
                  <a:pt x="438405" y="56678"/>
                </a:moveTo>
                <a:lnTo>
                  <a:pt x="392977" y="69369"/>
                </a:lnTo>
                <a:lnTo>
                  <a:pt x="345944" y="79284"/>
                </a:lnTo>
                <a:lnTo>
                  <a:pt x="298120" y="85555"/>
                </a:lnTo>
                <a:lnTo>
                  <a:pt x="250316" y="87316"/>
                </a:lnTo>
                <a:lnTo>
                  <a:pt x="448056" y="87316"/>
                </a:lnTo>
                <a:lnTo>
                  <a:pt x="438405" y="56678"/>
                </a:lnTo>
                <a:close/>
              </a:path>
            </a:pathLst>
          </a:custGeom>
          <a:solidFill>
            <a:srgbClr val="FFFFFF"/>
          </a:solidFill>
        </p:spPr>
        <p:txBody>
          <a:bodyPr wrap="square" lIns="0" tIns="0" rIns="0" bIns="0" rtlCol="0"/>
          <a:lstStyle/>
          <a:p>
            <a:endParaRPr/>
          </a:p>
        </p:txBody>
      </p:sp>
      <p:sp>
        <p:nvSpPr>
          <p:cNvPr id="786" name="object 786"/>
          <p:cNvSpPr/>
          <p:nvPr/>
        </p:nvSpPr>
        <p:spPr>
          <a:xfrm>
            <a:off x="2076872" y="2307053"/>
            <a:ext cx="105419" cy="249811"/>
          </a:xfrm>
          <a:custGeom>
            <a:avLst/>
            <a:gdLst/>
            <a:ahLst/>
            <a:cxnLst/>
            <a:rect l="l" t="t" r="r" b="b"/>
            <a:pathLst>
              <a:path w="231775" h="549275">
                <a:moveTo>
                  <a:pt x="225178" y="141105"/>
                </a:moveTo>
                <a:lnTo>
                  <a:pt x="100572" y="141105"/>
                </a:lnTo>
                <a:lnTo>
                  <a:pt x="118069" y="353842"/>
                </a:lnTo>
                <a:lnTo>
                  <a:pt x="98453" y="435722"/>
                </a:lnTo>
                <a:lnTo>
                  <a:pt x="87103" y="481387"/>
                </a:lnTo>
                <a:lnTo>
                  <a:pt x="79689" y="507369"/>
                </a:lnTo>
                <a:lnTo>
                  <a:pt x="71882" y="530203"/>
                </a:lnTo>
                <a:lnTo>
                  <a:pt x="107931" y="540182"/>
                </a:lnTo>
                <a:lnTo>
                  <a:pt x="134731" y="545480"/>
                </a:lnTo>
                <a:lnTo>
                  <a:pt x="165587" y="547873"/>
                </a:lnTo>
                <a:lnTo>
                  <a:pt x="213805" y="549135"/>
                </a:lnTo>
                <a:lnTo>
                  <a:pt x="211954" y="509439"/>
                </a:lnTo>
                <a:lnTo>
                  <a:pt x="212854" y="469237"/>
                </a:lnTo>
                <a:lnTo>
                  <a:pt x="214850" y="428916"/>
                </a:lnTo>
                <a:lnTo>
                  <a:pt x="216286" y="388867"/>
                </a:lnTo>
                <a:lnTo>
                  <a:pt x="216297" y="387726"/>
                </a:lnTo>
                <a:lnTo>
                  <a:pt x="216558" y="386763"/>
                </a:lnTo>
                <a:lnTo>
                  <a:pt x="216653" y="385674"/>
                </a:lnTo>
                <a:lnTo>
                  <a:pt x="213526" y="338530"/>
                </a:lnTo>
                <a:lnTo>
                  <a:pt x="213739" y="290233"/>
                </a:lnTo>
                <a:lnTo>
                  <a:pt x="216363" y="241089"/>
                </a:lnTo>
                <a:lnTo>
                  <a:pt x="220474" y="191406"/>
                </a:lnTo>
                <a:lnTo>
                  <a:pt x="225178" y="141105"/>
                </a:lnTo>
                <a:close/>
              </a:path>
              <a:path w="231775" h="549275">
                <a:moveTo>
                  <a:pt x="62291" y="0"/>
                </a:moveTo>
                <a:lnTo>
                  <a:pt x="32341" y="41551"/>
                </a:lnTo>
                <a:lnTo>
                  <a:pt x="0" y="159848"/>
                </a:lnTo>
                <a:lnTo>
                  <a:pt x="86573" y="187292"/>
                </a:lnTo>
                <a:lnTo>
                  <a:pt x="100572" y="141105"/>
                </a:lnTo>
                <a:lnTo>
                  <a:pt x="225178" y="141105"/>
                </a:lnTo>
                <a:lnTo>
                  <a:pt x="229605" y="89693"/>
                </a:lnTo>
                <a:lnTo>
                  <a:pt x="230589" y="88133"/>
                </a:lnTo>
                <a:lnTo>
                  <a:pt x="231207" y="86437"/>
                </a:lnTo>
                <a:lnTo>
                  <a:pt x="189419" y="81312"/>
                </a:lnTo>
                <a:lnTo>
                  <a:pt x="149156" y="70952"/>
                </a:lnTo>
                <a:lnTo>
                  <a:pt x="111011" y="54703"/>
                </a:lnTo>
                <a:lnTo>
                  <a:pt x="75578" y="31915"/>
                </a:lnTo>
                <a:lnTo>
                  <a:pt x="61730" y="8239"/>
                </a:lnTo>
                <a:lnTo>
                  <a:pt x="62291" y="0"/>
                </a:lnTo>
                <a:close/>
              </a:path>
            </a:pathLst>
          </a:custGeom>
          <a:solidFill>
            <a:srgbClr val="000000">
              <a:alpha val="9999"/>
            </a:srgbClr>
          </a:solidFill>
        </p:spPr>
        <p:txBody>
          <a:bodyPr wrap="square" lIns="0" tIns="0" rIns="0" bIns="0" rtlCol="0"/>
          <a:lstStyle/>
          <a:p>
            <a:endParaRPr/>
          </a:p>
        </p:txBody>
      </p:sp>
      <p:sp>
        <p:nvSpPr>
          <p:cNvPr id="787" name="object 787"/>
          <p:cNvSpPr/>
          <p:nvPr/>
        </p:nvSpPr>
        <p:spPr>
          <a:xfrm>
            <a:off x="2076873" y="2292632"/>
            <a:ext cx="97332" cy="278402"/>
          </a:xfrm>
          <a:custGeom>
            <a:avLst/>
            <a:gdLst/>
            <a:ahLst/>
            <a:cxnLst/>
            <a:rect l="l" t="t" r="r" b="b"/>
            <a:pathLst>
              <a:path w="213995" h="612139">
                <a:moveTo>
                  <a:pt x="212555" y="172811"/>
                </a:moveTo>
                <a:lnTo>
                  <a:pt x="100572" y="172811"/>
                </a:lnTo>
                <a:lnTo>
                  <a:pt x="118069" y="385548"/>
                </a:lnTo>
                <a:lnTo>
                  <a:pt x="98453" y="467428"/>
                </a:lnTo>
                <a:lnTo>
                  <a:pt x="87103" y="513093"/>
                </a:lnTo>
                <a:lnTo>
                  <a:pt x="79689" y="539075"/>
                </a:lnTo>
                <a:lnTo>
                  <a:pt x="71882" y="561909"/>
                </a:lnTo>
                <a:lnTo>
                  <a:pt x="100059" y="588471"/>
                </a:lnTo>
                <a:lnTo>
                  <a:pt x="121700" y="602501"/>
                </a:lnTo>
                <a:lnTo>
                  <a:pt x="147829" y="608656"/>
                </a:lnTo>
                <a:lnTo>
                  <a:pt x="189470" y="611593"/>
                </a:lnTo>
                <a:lnTo>
                  <a:pt x="190368" y="567853"/>
                </a:lnTo>
                <a:lnTo>
                  <a:pt x="192073" y="519583"/>
                </a:lnTo>
                <a:lnTo>
                  <a:pt x="194370" y="469792"/>
                </a:lnTo>
                <a:lnTo>
                  <a:pt x="197040" y="421490"/>
                </a:lnTo>
                <a:lnTo>
                  <a:pt x="199868" y="377684"/>
                </a:lnTo>
                <a:lnTo>
                  <a:pt x="203467" y="327767"/>
                </a:lnTo>
                <a:lnTo>
                  <a:pt x="207052" y="277283"/>
                </a:lnTo>
                <a:lnTo>
                  <a:pt x="210203" y="226490"/>
                </a:lnTo>
                <a:lnTo>
                  <a:pt x="212498" y="175644"/>
                </a:lnTo>
                <a:lnTo>
                  <a:pt x="212555" y="172811"/>
                </a:lnTo>
                <a:close/>
              </a:path>
              <a:path w="213995" h="612139">
                <a:moveTo>
                  <a:pt x="164340" y="0"/>
                </a:moveTo>
                <a:lnTo>
                  <a:pt x="83777" y="21643"/>
                </a:lnTo>
                <a:lnTo>
                  <a:pt x="46336" y="47624"/>
                </a:lnTo>
                <a:lnTo>
                  <a:pt x="27789" y="88824"/>
                </a:lnTo>
                <a:lnTo>
                  <a:pt x="0" y="191554"/>
                </a:lnTo>
                <a:lnTo>
                  <a:pt x="86573" y="218998"/>
                </a:lnTo>
                <a:lnTo>
                  <a:pt x="100572" y="172811"/>
                </a:lnTo>
                <a:lnTo>
                  <a:pt x="212555" y="172811"/>
                </a:lnTo>
                <a:lnTo>
                  <a:pt x="213518" y="125003"/>
                </a:lnTo>
                <a:lnTo>
                  <a:pt x="212841" y="74824"/>
                </a:lnTo>
                <a:lnTo>
                  <a:pt x="205626" y="70194"/>
                </a:lnTo>
                <a:lnTo>
                  <a:pt x="197058" y="62447"/>
                </a:lnTo>
                <a:lnTo>
                  <a:pt x="169168" y="25369"/>
                </a:lnTo>
                <a:lnTo>
                  <a:pt x="163855" y="2905"/>
                </a:lnTo>
                <a:lnTo>
                  <a:pt x="164340" y="0"/>
                </a:lnTo>
                <a:close/>
              </a:path>
            </a:pathLst>
          </a:custGeom>
          <a:solidFill>
            <a:srgbClr val="FF7900"/>
          </a:solidFill>
        </p:spPr>
        <p:txBody>
          <a:bodyPr wrap="square" lIns="0" tIns="0" rIns="0" bIns="0" rtlCol="0"/>
          <a:lstStyle/>
          <a:p>
            <a:endParaRPr/>
          </a:p>
        </p:txBody>
      </p:sp>
      <p:sp>
        <p:nvSpPr>
          <p:cNvPr id="788" name="object 788"/>
          <p:cNvSpPr/>
          <p:nvPr/>
        </p:nvSpPr>
        <p:spPr>
          <a:xfrm>
            <a:off x="2204073" y="2295303"/>
            <a:ext cx="84913" cy="271759"/>
          </a:xfrm>
          <a:custGeom>
            <a:avLst/>
            <a:gdLst/>
            <a:ahLst/>
            <a:cxnLst/>
            <a:rect l="l" t="t" r="r" b="b"/>
            <a:pathLst>
              <a:path w="186689" h="597535">
                <a:moveTo>
                  <a:pt x="48878" y="0"/>
                </a:moveTo>
                <a:lnTo>
                  <a:pt x="51514" y="11564"/>
                </a:lnTo>
                <a:lnTo>
                  <a:pt x="51084" y="20305"/>
                </a:lnTo>
                <a:lnTo>
                  <a:pt x="46410" y="30621"/>
                </a:lnTo>
                <a:lnTo>
                  <a:pt x="15370" y="63171"/>
                </a:lnTo>
                <a:lnTo>
                  <a:pt x="9507" y="67013"/>
                </a:lnTo>
                <a:lnTo>
                  <a:pt x="10784" y="118018"/>
                </a:lnTo>
                <a:lnTo>
                  <a:pt x="10642" y="165534"/>
                </a:lnTo>
                <a:lnTo>
                  <a:pt x="9296" y="219533"/>
                </a:lnTo>
                <a:lnTo>
                  <a:pt x="7020" y="270209"/>
                </a:lnTo>
                <a:lnTo>
                  <a:pt x="4049" y="320940"/>
                </a:lnTo>
                <a:lnTo>
                  <a:pt x="628" y="371810"/>
                </a:lnTo>
                <a:lnTo>
                  <a:pt x="0" y="426006"/>
                </a:lnTo>
                <a:lnTo>
                  <a:pt x="3149" y="484639"/>
                </a:lnTo>
                <a:lnTo>
                  <a:pt x="7048" y="543241"/>
                </a:lnTo>
                <a:lnTo>
                  <a:pt x="8669" y="597343"/>
                </a:lnTo>
                <a:lnTo>
                  <a:pt x="35431" y="591898"/>
                </a:lnTo>
                <a:lnTo>
                  <a:pt x="59926" y="581856"/>
                </a:lnTo>
                <a:lnTo>
                  <a:pt x="84744" y="569749"/>
                </a:lnTo>
                <a:lnTo>
                  <a:pt x="112478" y="558108"/>
                </a:lnTo>
                <a:lnTo>
                  <a:pt x="87537" y="463056"/>
                </a:lnTo>
                <a:lnTo>
                  <a:pt x="74730" y="411691"/>
                </a:lnTo>
                <a:lnTo>
                  <a:pt x="70012" y="386301"/>
                </a:lnTo>
                <a:lnTo>
                  <a:pt x="69338" y="369172"/>
                </a:lnTo>
                <a:lnTo>
                  <a:pt x="92436" y="165534"/>
                </a:lnTo>
                <a:lnTo>
                  <a:pt x="184891" y="165534"/>
                </a:lnTo>
                <a:lnTo>
                  <a:pt x="154026" y="67558"/>
                </a:lnTo>
                <a:lnTo>
                  <a:pt x="148323" y="49632"/>
                </a:lnTo>
                <a:lnTo>
                  <a:pt x="138847" y="33747"/>
                </a:lnTo>
                <a:lnTo>
                  <a:pt x="126024" y="21631"/>
                </a:lnTo>
                <a:lnTo>
                  <a:pt x="110279" y="15015"/>
                </a:lnTo>
                <a:lnTo>
                  <a:pt x="48878" y="0"/>
                </a:lnTo>
                <a:close/>
              </a:path>
              <a:path w="186689" h="597535">
                <a:moveTo>
                  <a:pt x="184891" y="165534"/>
                </a:moveTo>
                <a:lnTo>
                  <a:pt x="92436" y="165534"/>
                </a:lnTo>
                <a:lnTo>
                  <a:pt x="100834" y="193522"/>
                </a:lnTo>
                <a:lnTo>
                  <a:pt x="186214" y="169733"/>
                </a:lnTo>
                <a:lnTo>
                  <a:pt x="184891" y="165534"/>
                </a:lnTo>
                <a:close/>
              </a:path>
            </a:pathLst>
          </a:custGeom>
          <a:solidFill>
            <a:srgbClr val="FF7900"/>
          </a:solidFill>
        </p:spPr>
        <p:txBody>
          <a:bodyPr wrap="square" lIns="0" tIns="0" rIns="0" bIns="0" rtlCol="0"/>
          <a:lstStyle/>
          <a:p>
            <a:endParaRPr/>
          </a:p>
        </p:txBody>
      </p:sp>
      <p:sp>
        <p:nvSpPr>
          <p:cNvPr id="789" name="object 789"/>
          <p:cNvSpPr/>
          <p:nvPr/>
        </p:nvSpPr>
        <p:spPr>
          <a:xfrm>
            <a:off x="2076872" y="2296110"/>
            <a:ext cx="63474" cy="86042"/>
          </a:xfrm>
          <a:prstGeom prst="rect">
            <a:avLst/>
          </a:prstGeom>
          <a:blipFill>
            <a:blip r:embed="rId20" cstate="print"/>
            <a:stretch>
              <a:fillRect/>
            </a:stretch>
          </a:blipFill>
        </p:spPr>
        <p:txBody>
          <a:bodyPr wrap="square" lIns="0" tIns="0" rIns="0" bIns="0" rtlCol="0"/>
          <a:lstStyle/>
          <a:p>
            <a:endParaRPr/>
          </a:p>
        </p:txBody>
      </p:sp>
      <p:sp>
        <p:nvSpPr>
          <p:cNvPr id="790" name="object 790"/>
          <p:cNvSpPr/>
          <p:nvPr/>
        </p:nvSpPr>
        <p:spPr>
          <a:xfrm>
            <a:off x="2109567" y="2371505"/>
            <a:ext cx="37258" cy="193783"/>
          </a:xfrm>
          <a:custGeom>
            <a:avLst/>
            <a:gdLst/>
            <a:ahLst/>
            <a:cxnLst/>
            <a:rect l="l" t="t" r="r" b="b"/>
            <a:pathLst>
              <a:path w="81914" h="426085">
                <a:moveTo>
                  <a:pt x="28784" y="0"/>
                </a:moveTo>
                <a:lnTo>
                  <a:pt x="46187" y="212129"/>
                </a:lnTo>
                <a:lnTo>
                  <a:pt x="26570" y="294003"/>
                </a:lnTo>
                <a:lnTo>
                  <a:pt x="15220" y="339666"/>
                </a:lnTo>
                <a:lnTo>
                  <a:pt x="0" y="388490"/>
                </a:lnTo>
                <a:lnTo>
                  <a:pt x="14756" y="400520"/>
                </a:lnTo>
                <a:lnTo>
                  <a:pt x="25814" y="408395"/>
                </a:lnTo>
                <a:lnTo>
                  <a:pt x="38700" y="415595"/>
                </a:lnTo>
                <a:lnTo>
                  <a:pt x="58940" y="425599"/>
                </a:lnTo>
                <a:lnTo>
                  <a:pt x="66289" y="387635"/>
                </a:lnTo>
                <a:lnTo>
                  <a:pt x="72991" y="344882"/>
                </a:lnTo>
                <a:lnTo>
                  <a:pt x="78340" y="301968"/>
                </a:lnTo>
                <a:lnTo>
                  <a:pt x="81631" y="263520"/>
                </a:lnTo>
                <a:lnTo>
                  <a:pt x="78128" y="204642"/>
                </a:lnTo>
                <a:lnTo>
                  <a:pt x="65593" y="134750"/>
                </a:lnTo>
                <a:lnTo>
                  <a:pt x="49526" y="67945"/>
                </a:lnTo>
                <a:lnTo>
                  <a:pt x="35423" y="18328"/>
                </a:lnTo>
                <a:lnTo>
                  <a:pt x="28784" y="0"/>
                </a:lnTo>
                <a:close/>
              </a:path>
            </a:pathLst>
          </a:custGeom>
          <a:solidFill>
            <a:srgbClr val="000000">
              <a:alpha val="9999"/>
            </a:srgbClr>
          </a:solidFill>
        </p:spPr>
        <p:txBody>
          <a:bodyPr wrap="square" lIns="0" tIns="0" rIns="0" bIns="0" rtlCol="0"/>
          <a:lstStyle/>
          <a:p>
            <a:endParaRPr/>
          </a:p>
        </p:txBody>
      </p:sp>
      <p:sp>
        <p:nvSpPr>
          <p:cNvPr id="791" name="object 791"/>
          <p:cNvSpPr/>
          <p:nvPr/>
        </p:nvSpPr>
        <p:spPr>
          <a:xfrm>
            <a:off x="2067866" y="2427050"/>
            <a:ext cx="112061" cy="35233"/>
          </a:xfrm>
          <a:custGeom>
            <a:avLst/>
            <a:gdLst/>
            <a:ahLst/>
            <a:cxnLst/>
            <a:rect l="l" t="t" r="r" b="b"/>
            <a:pathLst>
              <a:path w="246379" h="77470">
                <a:moveTo>
                  <a:pt x="72995" y="0"/>
                </a:moveTo>
                <a:lnTo>
                  <a:pt x="28995" y="9877"/>
                </a:lnTo>
                <a:lnTo>
                  <a:pt x="0" y="32614"/>
                </a:lnTo>
                <a:lnTo>
                  <a:pt x="2445" y="53876"/>
                </a:lnTo>
                <a:lnTo>
                  <a:pt x="24713" y="67853"/>
                </a:lnTo>
                <a:lnTo>
                  <a:pt x="54572" y="75406"/>
                </a:lnTo>
                <a:lnTo>
                  <a:pt x="79788" y="77398"/>
                </a:lnTo>
                <a:lnTo>
                  <a:pt x="246338" y="64801"/>
                </a:lnTo>
                <a:lnTo>
                  <a:pt x="239343" y="20719"/>
                </a:lnTo>
                <a:lnTo>
                  <a:pt x="149445" y="7252"/>
                </a:lnTo>
                <a:lnTo>
                  <a:pt x="99876" y="904"/>
                </a:lnTo>
                <a:lnTo>
                  <a:pt x="72995" y="0"/>
                </a:lnTo>
                <a:close/>
              </a:path>
            </a:pathLst>
          </a:custGeom>
          <a:solidFill>
            <a:srgbClr val="E7B59B"/>
          </a:solidFill>
        </p:spPr>
        <p:txBody>
          <a:bodyPr wrap="square" lIns="0" tIns="0" rIns="0" bIns="0" rtlCol="0"/>
          <a:lstStyle/>
          <a:p>
            <a:endParaRPr/>
          </a:p>
        </p:txBody>
      </p:sp>
      <p:sp>
        <p:nvSpPr>
          <p:cNvPr id="792" name="object 792"/>
          <p:cNvSpPr/>
          <p:nvPr/>
        </p:nvSpPr>
        <p:spPr>
          <a:xfrm>
            <a:off x="2201057" y="2392431"/>
            <a:ext cx="102531" cy="63247"/>
          </a:xfrm>
          <a:custGeom>
            <a:avLst/>
            <a:gdLst/>
            <a:ahLst/>
            <a:cxnLst/>
            <a:rect l="l" t="t" r="r" b="b"/>
            <a:pathLst>
              <a:path w="225425" h="139064">
                <a:moveTo>
                  <a:pt x="55663" y="0"/>
                </a:moveTo>
                <a:lnTo>
                  <a:pt x="52919" y="0"/>
                </a:lnTo>
                <a:lnTo>
                  <a:pt x="6156" y="15161"/>
                </a:lnTo>
                <a:lnTo>
                  <a:pt x="2230" y="20198"/>
                </a:lnTo>
                <a:lnTo>
                  <a:pt x="0" y="51967"/>
                </a:lnTo>
                <a:lnTo>
                  <a:pt x="80877" y="62542"/>
                </a:lnTo>
                <a:lnTo>
                  <a:pt x="108102" y="91592"/>
                </a:lnTo>
                <a:lnTo>
                  <a:pt x="145136" y="126676"/>
                </a:lnTo>
                <a:lnTo>
                  <a:pt x="190742" y="138782"/>
                </a:lnTo>
                <a:lnTo>
                  <a:pt x="213430" y="131596"/>
                </a:lnTo>
                <a:lnTo>
                  <a:pt x="225040" y="111535"/>
                </a:lnTo>
                <a:lnTo>
                  <a:pt x="223276" y="93976"/>
                </a:lnTo>
                <a:lnTo>
                  <a:pt x="196967" y="59432"/>
                </a:lnTo>
                <a:lnTo>
                  <a:pt x="126746" y="25223"/>
                </a:lnTo>
                <a:lnTo>
                  <a:pt x="85385" y="10056"/>
                </a:lnTo>
                <a:lnTo>
                  <a:pt x="58228" y="837"/>
                </a:lnTo>
                <a:lnTo>
                  <a:pt x="55663" y="0"/>
                </a:lnTo>
                <a:close/>
              </a:path>
            </a:pathLst>
          </a:custGeom>
          <a:solidFill>
            <a:srgbClr val="E7B59B"/>
          </a:solidFill>
        </p:spPr>
        <p:txBody>
          <a:bodyPr wrap="square" lIns="0" tIns="0" rIns="0" bIns="0" rtlCol="0"/>
          <a:lstStyle/>
          <a:p>
            <a:endParaRPr/>
          </a:p>
        </p:txBody>
      </p:sp>
      <p:sp>
        <p:nvSpPr>
          <p:cNvPr id="793" name="object 793"/>
          <p:cNvSpPr/>
          <p:nvPr/>
        </p:nvSpPr>
        <p:spPr>
          <a:xfrm>
            <a:off x="2216157" y="2414146"/>
            <a:ext cx="77692" cy="41587"/>
          </a:xfrm>
          <a:custGeom>
            <a:avLst/>
            <a:gdLst/>
            <a:ahLst/>
            <a:cxnLst/>
            <a:rect l="l" t="t" r="r" b="b"/>
            <a:pathLst>
              <a:path w="170814" h="91439">
                <a:moveTo>
                  <a:pt x="41056" y="0"/>
                </a:moveTo>
                <a:lnTo>
                  <a:pt x="30466" y="676"/>
                </a:lnTo>
                <a:lnTo>
                  <a:pt x="20045" y="2213"/>
                </a:lnTo>
                <a:lnTo>
                  <a:pt x="9865" y="4698"/>
                </a:lnTo>
                <a:lnTo>
                  <a:pt x="0" y="8219"/>
                </a:lnTo>
                <a:lnTo>
                  <a:pt x="47673" y="14795"/>
                </a:lnTo>
                <a:lnTo>
                  <a:pt x="74899" y="43845"/>
                </a:lnTo>
                <a:lnTo>
                  <a:pt x="111933" y="78940"/>
                </a:lnTo>
                <a:lnTo>
                  <a:pt x="155177" y="91107"/>
                </a:lnTo>
                <a:lnTo>
                  <a:pt x="170748" y="88478"/>
                </a:lnTo>
                <a:lnTo>
                  <a:pt x="140223" y="75532"/>
                </a:lnTo>
                <a:lnTo>
                  <a:pt x="109576" y="56177"/>
                </a:lnTo>
                <a:lnTo>
                  <a:pt x="54521" y="15528"/>
                </a:lnTo>
                <a:lnTo>
                  <a:pt x="48207" y="11120"/>
                </a:lnTo>
                <a:lnTo>
                  <a:pt x="43946" y="5748"/>
                </a:lnTo>
                <a:lnTo>
                  <a:pt x="41056" y="0"/>
                </a:lnTo>
                <a:close/>
              </a:path>
            </a:pathLst>
          </a:custGeom>
          <a:solidFill>
            <a:srgbClr val="000000">
              <a:alpha val="9999"/>
            </a:srgbClr>
          </a:solidFill>
        </p:spPr>
        <p:txBody>
          <a:bodyPr wrap="square" lIns="0" tIns="0" rIns="0" bIns="0" rtlCol="0"/>
          <a:lstStyle/>
          <a:p>
            <a:endParaRPr/>
          </a:p>
        </p:txBody>
      </p:sp>
      <p:sp>
        <p:nvSpPr>
          <p:cNvPr id="794" name="object 794"/>
          <p:cNvSpPr/>
          <p:nvPr/>
        </p:nvSpPr>
        <p:spPr>
          <a:xfrm>
            <a:off x="2172272" y="2420611"/>
            <a:ext cx="59208" cy="41876"/>
          </a:xfrm>
          <a:custGeom>
            <a:avLst/>
            <a:gdLst/>
            <a:ahLst/>
            <a:cxnLst/>
            <a:rect l="l" t="t" r="r" b="b"/>
            <a:pathLst>
              <a:path w="130175" h="92075">
                <a:moveTo>
                  <a:pt x="57087" y="0"/>
                </a:moveTo>
                <a:lnTo>
                  <a:pt x="14147" y="19580"/>
                </a:lnTo>
                <a:lnTo>
                  <a:pt x="0" y="70563"/>
                </a:lnTo>
                <a:lnTo>
                  <a:pt x="8194" y="80107"/>
                </a:lnTo>
                <a:lnTo>
                  <a:pt x="15372" y="85111"/>
                </a:lnTo>
                <a:lnTo>
                  <a:pt x="25537" y="87215"/>
                </a:lnTo>
                <a:lnTo>
                  <a:pt x="42689" y="88060"/>
                </a:lnTo>
                <a:lnTo>
                  <a:pt x="69725" y="91484"/>
                </a:lnTo>
                <a:lnTo>
                  <a:pt x="77809" y="91232"/>
                </a:lnTo>
                <a:lnTo>
                  <a:pt x="85306" y="87149"/>
                </a:lnTo>
                <a:lnTo>
                  <a:pt x="113357" y="46679"/>
                </a:lnTo>
                <a:lnTo>
                  <a:pt x="123296" y="46406"/>
                </a:lnTo>
                <a:lnTo>
                  <a:pt x="128311" y="44337"/>
                </a:lnTo>
                <a:lnTo>
                  <a:pt x="129936" y="38694"/>
                </a:lnTo>
                <a:lnTo>
                  <a:pt x="129707" y="27915"/>
                </a:lnTo>
                <a:lnTo>
                  <a:pt x="39778" y="27915"/>
                </a:lnTo>
                <a:lnTo>
                  <a:pt x="57087" y="0"/>
                </a:lnTo>
                <a:close/>
              </a:path>
              <a:path w="130175" h="92075">
                <a:moveTo>
                  <a:pt x="129702" y="27695"/>
                </a:moveTo>
                <a:lnTo>
                  <a:pt x="39778" y="27915"/>
                </a:lnTo>
                <a:lnTo>
                  <a:pt x="129707" y="27915"/>
                </a:lnTo>
                <a:lnTo>
                  <a:pt x="129702" y="27695"/>
                </a:lnTo>
                <a:close/>
              </a:path>
            </a:pathLst>
          </a:custGeom>
          <a:solidFill>
            <a:srgbClr val="E7B59B"/>
          </a:solidFill>
        </p:spPr>
        <p:txBody>
          <a:bodyPr wrap="square" lIns="0" tIns="0" rIns="0" bIns="0" rtlCol="0"/>
          <a:lstStyle/>
          <a:p>
            <a:endParaRPr/>
          </a:p>
        </p:txBody>
      </p:sp>
      <p:sp>
        <p:nvSpPr>
          <p:cNvPr id="795" name="object 795"/>
          <p:cNvSpPr/>
          <p:nvPr/>
        </p:nvSpPr>
        <p:spPr>
          <a:xfrm>
            <a:off x="2190366" y="2399937"/>
            <a:ext cx="55453" cy="33501"/>
          </a:xfrm>
          <a:custGeom>
            <a:avLst/>
            <a:gdLst/>
            <a:ahLst/>
            <a:cxnLst/>
            <a:rect l="l" t="t" r="r" b="b"/>
            <a:pathLst>
              <a:path w="121920" h="73660">
                <a:moveTo>
                  <a:pt x="50249" y="0"/>
                </a:moveTo>
                <a:lnTo>
                  <a:pt x="43140" y="3811"/>
                </a:lnTo>
                <a:lnTo>
                  <a:pt x="0" y="73369"/>
                </a:lnTo>
                <a:lnTo>
                  <a:pt x="86562" y="73201"/>
                </a:lnTo>
                <a:lnTo>
                  <a:pt x="118677" y="15402"/>
                </a:lnTo>
                <a:lnTo>
                  <a:pt x="121608" y="10366"/>
                </a:lnTo>
                <a:lnTo>
                  <a:pt x="117001" y="1999"/>
                </a:lnTo>
                <a:lnTo>
                  <a:pt x="108342" y="1434"/>
                </a:lnTo>
                <a:lnTo>
                  <a:pt x="50249" y="0"/>
                </a:lnTo>
                <a:close/>
              </a:path>
            </a:pathLst>
          </a:custGeom>
          <a:solidFill>
            <a:srgbClr val="000000"/>
          </a:solidFill>
        </p:spPr>
        <p:txBody>
          <a:bodyPr wrap="square" lIns="0" tIns="0" rIns="0" bIns="0" rtlCol="0"/>
          <a:lstStyle/>
          <a:p>
            <a:endParaRPr/>
          </a:p>
        </p:txBody>
      </p:sp>
      <p:sp>
        <p:nvSpPr>
          <p:cNvPr id="796" name="object 796"/>
          <p:cNvSpPr/>
          <p:nvPr/>
        </p:nvSpPr>
        <p:spPr>
          <a:xfrm>
            <a:off x="2195223" y="2402637"/>
            <a:ext cx="49966" cy="30901"/>
          </a:xfrm>
          <a:custGeom>
            <a:avLst/>
            <a:gdLst/>
            <a:ahLst/>
            <a:cxnLst/>
            <a:rect l="l" t="t" r="r" b="b"/>
            <a:pathLst>
              <a:path w="109854" h="67945">
                <a:moveTo>
                  <a:pt x="45286" y="0"/>
                </a:moveTo>
                <a:lnTo>
                  <a:pt x="38187" y="3800"/>
                </a:lnTo>
                <a:lnTo>
                  <a:pt x="34208" y="10219"/>
                </a:lnTo>
                <a:lnTo>
                  <a:pt x="0" y="67484"/>
                </a:lnTo>
                <a:lnTo>
                  <a:pt x="79170" y="67285"/>
                </a:lnTo>
                <a:lnTo>
                  <a:pt x="106876" y="12816"/>
                </a:lnTo>
                <a:lnTo>
                  <a:pt x="109818" y="7769"/>
                </a:lnTo>
                <a:lnTo>
                  <a:pt x="106300" y="1424"/>
                </a:lnTo>
                <a:lnTo>
                  <a:pt x="100468" y="1225"/>
                </a:lnTo>
                <a:lnTo>
                  <a:pt x="52836" y="251"/>
                </a:lnTo>
                <a:lnTo>
                  <a:pt x="45286" y="0"/>
                </a:lnTo>
                <a:close/>
              </a:path>
            </a:pathLst>
          </a:custGeom>
          <a:solidFill>
            <a:srgbClr val="4D5C66"/>
          </a:solidFill>
        </p:spPr>
        <p:txBody>
          <a:bodyPr wrap="square" lIns="0" tIns="0" rIns="0" bIns="0" rtlCol="0"/>
          <a:lstStyle/>
          <a:p>
            <a:endParaRPr/>
          </a:p>
        </p:txBody>
      </p:sp>
      <p:sp>
        <p:nvSpPr>
          <p:cNvPr id="797" name="object 797"/>
          <p:cNvSpPr/>
          <p:nvPr/>
        </p:nvSpPr>
        <p:spPr>
          <a:xfrm>
            <a:off x="2125011" y="2954297"/>
            <a:ext cx="71549" cy="32283"/>
          </a:xfrm>
          <a:prstGeom prst="rect">
            <a:avLst/>
          </a:prstGeom>
          <a:blipFill>
            <a:blip r:embed="rId21" cstate="print"/>
            <a:stretch>
              <a:fillRect/>
            </a:stretch>
          </a:blipFill>
        </p:spPr>
        <p:txBody>
          <a:bodyPr wrap="square" lIns="0" tIns="0" rIns="0" bIns="0" rtlCol="0"/>
          <a:lstStyle/>
          <a:p>
            <a:endParaRPr/>
          </a:p>
        </p:txBody>
      </p:sp>
      <p:sp>
        <p:nvSpPr>
          <p:cNvPr id="798" name="object 798"/>
          <p:cNvSpPr/>
          <p:nvPr/>
        </p:nvSpPr>
        <p:spPr>
          <a:xfrm>
            <a:off x="2067229" y="2380372"/>
            <a:ext cx="109462" cy="82019"/>
          </a:xfrm>
          <a:custGeom>
            <a:avLst/>
            <a:gdLst/>
            <a:ahLst/>
            <a:cxnLst/>
            <a:rect l="l" t="t" r="r" b="b"/>
            <a:pathLst>
              <a:path w="240664" h="180339">
                <a:moveTo>
                  <a:pt x="6729" y="139430"/>
                </a:moveTo>
                <a:lnTo>
                  <a:pt x="73" y="139430"/>
                </a:lnTo>
                <a:lnTo>
                  <a:pt x="6046" y="158671"/>
                </a:lnTo>
                <a:lnTo>
                  <a:pt x="28674" y="171357"/>
                </a:lnTo>
                <a:lnTo>
                  <a:pt x="57278" y="178234"/>
                </a:lnTo>
                <a:lnTo>
                  <a:pt x="81180" y="180046"/>
                </a:lnTo>
                <a:lnTo>
                  <a:pt x="234582" y="167790"/>
                </a:lnTo>
                <a:lnTo>
                  <a:pt x="188875" y="167790"/>
                </a:lnTo>
                <a:lnTo>
                  <a:pt x="122526" y="167714"/>
                </a:lnTo>
                <a:lnTo>
                  <a:pt x="61118" y="164266"/>
                </a:lnTo>
                <a:lnTo>
                  <a:pt x="21737" y="153325"/>
                </a:lnTo>
                <a:lnTo>
                  <a:pt x="17214" y="149806"/>
                </a:lnTo>
                <a:lnTo>
                  <a:pt x="11538" y="146854"/>
                </a:lnTo>
                <a:lnTo>
                  <a:pt x="6764" y="142341"/>
                </a:lnTo>
                <a:lnTo>
                  <a:pt x="6729" y="139430"/>
                </a:lnTo>
                <a:close/>
              </a:path>
              <a:path w="240664" h="180339">
                <a:moveTo>
                  <a:pt x="240275" y="167335"/>
                </a:moveTo>
                <a:lnTo>
                  <a:pt x="188875" y="167790"/>
                </a:lnTo>
                <a:lnTo>
                  <a:pt x="234582" y="167790"/>
                </a:lnTo>
                <a:lnTo>
                  <a:pt x="240275" y="167335"/>
                </a:lnTo>
                <a:close/>
              </a:path>
              <a:path w="240664" h="180339">
                <a:moveTo>
                  <a:pt x="29182" y="0"/>
                </a:moveTo>
                <a:lnTo>
                  <a:pt x="0" y="139451"/>
                </a:lnTo>
                <a:lnTo>
                  <a:pt x="6729" y="139430"/>
                </a:lnTo>
                <a:lnTo>
                  <a:pt x="6659" y="133556"/>
                </a:lnTo>
                <a:lnTo>
                  <a:pt x="6942" y="132781"/>
                </a:lnTo>
                <a:lnTo>
                  <a:pt x="6881" y="121830"/>
                </a:lnTo>
                <a:lnTo>
                  <a:pt x="10002" y="108312"/>
                </a:lnTo>
                <a:lnTo>
                  <a:pt x="14242" y="96374"/>
                </a:lnTo>
                <a:lnTo>
                  <a:pt x="17538" y="90164"/>
                </a:lnTo>
                <a:lnTo>
                  <a:pt x="29557" y="66986"/>
                </a:lnTo>
                <a:lnTo>
                  <a:pt x="46994" y="48012"/>
                </a:lnTo>
                <a:lnTo>
                  <a:pt x="69082" y="34919"/>
                </a:lnTo>
                <a:lnTo>
                  <a:pt x="95054" y="29381"/>
                </a:lnTo>
                <a:lnTo>
                  <a:pt x="98028" y="29245"/>
                </a:lnTo>
                <a:lnTo>
                  <a:pt x="104880" y="29245"/>
                </a:lnTo>
                <a:lnTo>
                  <a:pt x="106227" y="24910"/>
                </a:lnTo>
                <a:lnTo>
                  <a:pt x="88091" y="19652"/>
                </a:lnTo>
                <a:lnTo>
                  <a:pt x="52244" y="6919"/>
                </a:lnTo>
                <a:lnTo>
                  <a:pt x="34103" y="1685"/>
                </a:lnTo>
                <a:lnTo>
                  <a:pt x="32302" y="1266"/>
                </a:lnTo>
                <a:lnTo>
                  <a:pt x="30794" y="586"/>
                </a:lnTo>
                <a:lnTo>
                  <a:pt x="29182" y="0"/>
                </a:lnTo>
                <a:close/>
              </a:path>
              <a:path w="240664" h="180339">
                <a:moveTo>
                  <a:pt x="104880" y="29245"/>
                </a:moveTo>
                <a:lnTo>
                  <a:pt x="98028" y="29245"/>
                </a:lnTo>
                <a:lnTo>
                  <a:pt x="100876" y="29538"/>
                </a:lnTo>
                <a:lnTo>
                  <a:pt x="103619" y="30093"/>
                </a:lnTo>
                <a:lnTo>
                  <a:pt x="103986" y="30020"/>
                </a:lnTo>
                <a:lnTo>
                  <a:pt x="104331" y="29894"/>
                </a:lnTo>
                <a:lnTo>
                  <a:pt x="104698" y="29831"/>
                </a:lnTo>
                <a:lnTo>
                  <a:pt x="104880" y="29245"/>
                </a:lnTo>
                <a:close/>
              </a:path>
            </a:pathLst>
          </a:custGeom>
          <a:solidFill>
            <a:srgbClr val="000000">
              <a:alpha val="9999"/>
            </a:srgbClr>
          </a:solidFill>
        </p:spPr>
        <p:txBody>
          <a:bodyPr wrap="square" lIns="0" tIns="0" rIns="0" bIns="0" rtlCol="0"/>
          <a:lstStyle/>
          <a:p>
            <a:endParaRPr/>
          </a:p>
        </p:txBody>
      </p:sp>
      <p:sp>
        <p:nvSpPr>
          <p:cNvPr id="799" name="object 799"/>
          <p:cNvSpPr/>
          <p:nvPr/>
        </p:nvSpPr>
        <p:spPr>
          <a:xfrm>
            <a:off x="2210296" y="2951310"/>
            <a:ext cx="96154" cy="33492"/>
          </a:xfrm>
          <a:prstGeom prst="rect">
            <a:avLst/>
          </a:prstGeom>
          <a:blipFill>
            <a:blip r:embed="rId22" cstate="print"/>
            <a:stretch>
              <a:fillRect/>
            </a:stretch>
          </a:blipFill>
        </p:spPr>
        <p:txBody>
          <a:bodyPr wrap="square" lIns="0" tIns="0" rIns="0" bIns="0" rtlCol="0"/>
          <a:lstStyle/>
          <a:p>
            <a:endParaRPr/>
          </a:p>
        </p:txBody>
      </p:sp>
      <p:sp>
        <p:nvSpPr>
          <p:cNvPr id="800" name="object 800"/>
          <p:cNvSpPr/>
          <p:nvPr/>
        </p:nvSpPr>
        <p:spPr>
          <a:xfrm>
            <a:off x="2083027" y="2425231"/>
            <a:ext cx="24261" cy="6354"/>
          </a:xfrm>
          <a:custGeom>
            <a:avLst/>
            <a:gdLst/>
            <a:ahLst/>
            <a:cxnLst/>
            <a:rect l="l" t="t" r="r" b="b"/>
            <a:pathLst>
              <a:path w="53339" h="13970">
                <a:moveTo>
                  <a:pt x="52783" y="0"/>
                </a:moveTo>
                <a:lnTo>
                  <a:pt x="29512" y="4039"/>
                </a:lnTo>
                <a:lnTo>
                  <a:pt x="13037" y="8434"/>
                </a:lnTo>
                <a:lnTo>
                  <a:pt x="3239" y="11965"/>
                </a:lnTo>
                <a:lnTo>
                  <a:pt x="0" y="13413"/>
                </a:lnTo>
                <a:lnTo>
                  <a:pt x="16006" y="10239"/>
                </a:lnTo>
                <a:lnTo>
                  <a:pt x="32835" y="8168"/>
                </a:lnTo>
                <a:lnTo>
                  <a:pt x="46128" y="7041"/>
                </a:lnTo>
                <a:lnTo>
                  <a:pt x="51527" y="6701"/>
                </a:lnTo>
                <a:lnTo>
                  <a:pt x="52783" y="0"/>
                </a:lnTo>
                <a:close/>
              </a:path>
            </a:pathLst>
          </a:custGeom>
          <a:solidFill>
            <a:srgbClr val="000000">
              <a:alpha val="9999"/>
            </a:srgbClr>
          </a:solidFill>
        </p:spPr>
        <p:txBody>
          <a:bodyPr wrap="square" lIns="0" tIns="0" rIns="0" bIns="0" rtlCol="0"/>
          <a:lstStyle/>
          <a:p>
            <a:endParaRPr/>
          </a:p>
        </p:txBody>
      </p:sp>
      <p:sp>
        <p:nvSpPr>
          <p:cNvPr id="801" name="object 801"/>
          <p:cNvSpPr/>
          <p:nvPr/>
        </p:nvSpPr>
        <p:spPr>
          <a:xfrm>
            <a:off x="2720123" y="2473631"/>
            <a:ext cx="132568" cy="99347"/>
          </a:xfrm>
          <a:custGeom>
            <a:avLst/>
            <a:gdLst/>
            <a:ahLst/>
            <a:cxnLst/>
            <a:rect l="l" t="t" r="r" b="b"/>
            <a:pathLst>
              <a:path w="291464" h="218439">
                <a:moveTo>
                  <a:pt x="233155" y="0"/>
                </a:moveTo>
                <a:lnTo>
                  <a:pt x="58260" y="0"/>
                </a:lnTo>
                <a:lnTo>
                  <a:pt x="35582" y="4578"/>
                </a:lnTo>
                <a:lnTo>
                  <a:pt x="17063" y="17062"/>
                </a:lnTo>
                <a:lnTo>
                  <a:pt x="4578" y="35577"/>
                </a:lnTo>
                <a:lnTo>
                  <a:pt x="0" y="58249"/>
                </a:lnTo>
                <a:lnTo>
                  <a:pt x="0" y="159827"/>
                </a:lnTo>
                <a:lnTo>
                  <a:pt x="4578" y="182505"/>
                </a:lnTo>
                <a:lnTo>
                  <a:pt x="17063" y="201023"/>
                </a:lnTo>
                <a:lnTo>
                  <a:pt x="35582" y="213509"/>
                </a:lnTo>
                <a:lnTo>
                  <a:pt x="58260" y="218087"/>
                </a:lnTo>
                <a:lnTo>
                  <a:pt x="233155" y="218087"/>
                </a:lnTo>
                <a:lnTo>
                  <a:pt x="255833" y="213509"/>
                </a:lnTo>
                <a:lnTo>
                  <a:pt x="274351" y="201023"/>
                </a:lnTo>
                <a:lnTo>
                  <a:pt x="286836" y="182505"/>
                </a:lnTo>
                <a:lnTo>
                  <a:pt x="291415" y="159827"/>
                </a:lnTo>
                <a:lnTo>
                  <a:pt x="291415" y="58249"/>
                </a:lnTo>
                <a:lnTo>
                  <a:pt x="286836" y="35577"/>
                </a:lnTo>
                <a:lnTo>
                  <a:pt x="274351" y="17062"/>
                </a:lnTo>
                <a:lnTo>
                  <a:pt x="255833" y="4578"/>
                </a:lnTo>
                <a:lnTo>
                  <a:pt x="233155" y="0"/>
                </a:lnTo>
                <a:close/>
              </a:path>
            </a:pathLst>
          </a:custGeom>
          <a:solidFill>
            <a:srgbClr val="4AB4E6"/>
          </a:solidFill>
        </p:spPr>
        <p:txBody>
          <a:bodyPr wrap="square" lIns="0" tIns="0" rIns="0" bIns="0" rtlCol="0"/>
          <a:lstStyle/>
          <a:p>
            <a:endParaRPr/>
          </a:p>
        </p:txBody>
      </p:sp>
      <p:sp>
        <p:nvSpPr>
          <p:cNvPr id="802" name="object 802"/>
          <p:cNvSpPr/>
          <p:nvPr/>
        </p:nvSpPr>
        <p:spPr>
          <a:xfrm>
            <a:off x="2720121" y="2473632"/>
            <a:ext cx="116972" cy="99347"/>
          </a:xfrm>
          <a:custGeom>
            <a:avLst/>
            <a:gdLst/>
            <a:ahLst/>
            <a:cxnLst/>
            <a:rect l="l" t="t" r="r" b="b"/>
            <a:pathLst>
              <a:path w="257175" h="218439">
                <a:moveTo>
                  <a:pt x="184151" y="0"/>
                </a:moveTo>
                <a:lnTo>
                  <a:pt x="58260" y="0"/>
                </a:lnTo>
                <a:lnTo>
                  <a:pt x="35582" y="4578"/>
                </a:lnTo>
                <a:lnTo>
                  <a:pt x="17063" y="17062"/>
                </a:lnTo>
                <a:lnTo>
                  <a:pt x="4578" y="35577"/>
                </a:lnTo>
                <a:lnTo>
                  <a:pt x="0" y="58249"/>
                </a:lnTo>
                <a:lnTo>
                  <a:pt x="0" y="159817"/>
                </a:lnTo>
                <a:lnTo>
                  <a:pt x="4578" y="182500"/>
                </a:lnTo>
                <a:lnTo>
                  <a:pt x="17063" y="201022"/>
                </a:lnTo>
                <a:lnTo>
                  <a:pt x="35582" y="213509"/>
                </a:lnTo>
                <a:lnTo>
                  <a:pt x="58260" y="218087"/>
                </a:lnTo>
                <a:lnTo>
                  <a:pt x="241741" y="218087"/>
                </a:lnTo>
                <a:lnTo>
                  <a:pt x="249845" y="216160"/>
                </a:lnTo>
                <a:lnTo>
                  <a:pt x="257164" y="212810"/>
                </a:lnTo>
                <a:lnTo>
                  <a:pt x="250090" y="196819"/>
                </a:lnTo>
                <a:lnTo>
                  <a:pt x="245582" y="179781"/>
                </a:lnTo>
                <a:lnTo>
                  <a:pt x="243130" y="162014"/>
                </a:lnTo>
                <a:lnTo>
                  <a:pt x="242222" y="143838"/>
                </a:lnTo>
                <a:lnTo>
                  <a:pt x="242264" y="129009"/>
                </a:lnTo>
                <a:lnTo>
                  <a:pt x="242822" y="114119"/>
                </a:lnTo>
                <a:lnTo>
                  <a:pt x="243816" y="99249"/>
                </a:lnTo>
                <a:lnTo>
                  <a:pt x="245165" y="84479"/>
                </a:lnTo>
                <a:lnTo>
                  <a:pt x="247025" y="72055"/>
                </a:lnTo>
                <a:lnTo>
                  <a:pt x="248920" y="58826"/>
                </a:lnTo>
                <a:lnTo>
                  <a:pt x="248900" y="45819"/>
                </a:lnTo>
                <a:lnTo>
                  <a:pt x="245018" y="34061"/>
                </a:lnTo>
                <a:lnTo>
                  <a:pt x="244285" y="32826"/>
                </a:lnTo>
                <a:lnTo>
                  <a:pt x="243814" y="31622"/>
                </a:lnTo>
                <a:lnTo>
                  <a:pt x="243301" y="30417"/>
                </a:lnTo>
                <a:lnTo>
                  <a:pt x="230344" y="19788"/>
                </a:lnTo>
                <a:lnTo>
                  <a:pt x="215835" y="11137"/>
                </a:lnTo>
                <a:lnTo>
                  <a:pt x="200271" y="4521"/>
                </a:lnTo>
                <a:lnTo>
                  <a:pt x="184151" y="0"/>
                </a:lnTo>
                <a:close/>
              </a:path>
            </a:pathLst>
          </a:custGeom>
          <a:solidFill>
            <a:srgbClr val="000000">
              <a:alpha val="9999"/>
            </a:srgbClr>
          </a:solidFill>
        </p:spPr>
        <p:txBody>
          <a:bodyPr wrap="square" lIns="0" tIns="0" rIns="0" bIns="0" rtlCol="0"/>
          <a:lstStyle/>
          <a:p>
            <a:endParaRPr/>
          </a:p>
        </p:txBody>
      </p:sp>
      <p:sp>
        <p:nvSpPr>
          <p:cNvPr id="803" name="object 803"/>
          <p:cNvSpPr/>
          <p:nvPr/>
        </p:nvSpPr>
        <p:spPr>
          <a:xfrm>
            <a:off x="2695033" y="2519443"/>
            <a:ext cx="134878" cy="467276"/>
          </a:xfrm>
          <a:custGeom>
            <a:avLst/>
            <a:gdLst/>
            <a:ahLst/>
            <a:cxnLst/>
            <a:rect l="l" t="t" r="r" b="b"/>
            <a:pathLst>
              <a:path w="296545" h="1027429">
                <a:moveTo>
                  <a:pt x="243950" y="0"/>
                </a:moveTo>
                <a:lnTo>
                  <a:pt x="0" y="0"/>
                </a:lnTo>
                <a:lnTo>
                  <a:pt x="107064" y="149272"/>
                </a:lnTo>
                <a:lnTo>
                  <a:pt x="151429" y="500267"/>
                </a:lnTo>
                <a:lnTo>
                  <a:pt x="221459" y="959960"/>
                </a:lnTo>
                <a:lnTo>
                  <a:pt x="174675" y="993446"/>
                </a:lnTo>
                <a:lnTo>
                  <a:pt x="151898" y="1001066"/>
                </a:lnTo>
                <a:lnTo>
                  <a:pt x="139735" y="1012380"/>
                </a:lnTo>
                <a:lnTo>
                  <a:pt x="134870" y="1022645"/>
                </a:lnTo>
                <a:lnTo>
                  <a:pt x="133985" y="1027120"/>
                </a:lnTo>
                <a:lnTo>
                  <a:pt x="296053" y="1027120"/>
                </a:lnTo>
                <a:lnTo>
                  <a:pt x="293177" y="1003470"/>
                </a:lnTo>
                <a:lnTo>
                  <a:pt x="287942" y="980862"/>
                </a:lnTo>
                <a:lnTo>
                  <a:pt x="282917" y="963913"/>
                </a:lnTo>
                <a:lnTo>
                  <a:pt x="280672" y="957237"/>
                </a:lnTo>
                <a:lnTo>
                  <a:pt x="274359" y="773357"/>
                </a:lnTo>
                <a:lnTo>
                  <a:pt x="270854" y="676301"/>
                </a:lnTo>
                <a:lnTo>
                  <a:pt x="268893" y="633883"/>
                </a:lnTo>
                <a:lnTo>
                  <a:pt x="267216" y="613918"/>
                </a:lnTo>
                <a:lnTo>
                  <a:pt x="263298" y="575104"/>
                </a:lnTo>
                <a:lnTo>
                  <a:pt x="258996" y="530402"/>
                </a:lnTo>
                <a:lnTo>
                  <a:pt x="255524" y="487978"/>
                </a:lnTo>
                <a:lnTo>
                  <a:pt x="254096" y="455996"/>
                </a:lnTo>
                <a:lnTo>
                  <a:pt x="254954" y="430701"/>
                </a:lnTo>
                <a:lnTo>
                  <a:pt x="259882" y="307926"/>
                </a:lnTo>
                <a:lnTo>
                  <a:pt x="262667" y="235675"/>
                </a:lnTo>
                <a:lnTo>
                  <a:pt x="264810" y="173002"/>
                </a:lnTo>
                <a:lnTo>
                  <a:pt x="265667" y="132519"/>
                </a:lnTo>
                <a:lnTo>
                  <a:pt x="263122" y="98275"/>
                </a:lnTo>
                <a:lnTo>
                  <a:pt x="257070" y="58901"/>
                </a:lnTo>
                <a:lnTo>
                  <a:pt x="249888" y="23206"/>
                </a:lnTo>
                <a:lnTo>
                  <a:pt x="243950" y="0"/>
                </a:lnTo>
                <a:close/>
              </a:path>
            </a:pathLst>
          </a:custGeom>
          <a:solidFill>
            <a:srgbClr val="B08371"/>
          </a:solidFill>
        </p:spPr>
        <p:txBody>
          <a:bodyPr wrap="square" lIns="0" tIns="0" rIns="0" bIns="0" rtlCol="0"/>
          <a:lstStyle/>
          <a:p>
            <a:endParaRPr/>
          </a:p>
        </p:txBody>
      </p:sp>
      <p:sp>
        <p:nvSpPr>
          <p:cNvPr id="804" name="object 804"/>
          <p:cNvSpPr/>
          <p:nvPr/>
        </p:nvSpPr>
        <p:spPr>
          <a:xfrm>
            <a:off x="2695033" y="2519443"/>
            <a:ext cx="134878" cy="467276"/>
          </a:xfrm>
          <a:custGeom>
            <a:avLst/>
            <a:gdLst/>
            <a:ahLst/>
            <a:cxnLst/>
            <a:rect l="l" t="t" r="r" b="b"/>
            <a:pathLst>
              <a:path w="296545" h="1027429">
                <a:moveTo>
                  <a:pt x="258675" y="337979"/>
                </a:moveTo>
                <a:lnTo>
                  <a:pt x="139231" y="337979"/>
                </a:lnTo>
                <a:lnTo>
                  <a:pt x="148089" y="339277"/>
                </a:lnTo>
                <a:lnTo>
                  <a:pt x="154602" y="344680"/>
                </a:lnTo>
                <a:lnTo>
                  <a:pt x="185274" y="377709"/>
                </a:lnTo>
                <a:lnTo>
                  <a:pt x="203549" y="433994"/>
                </a:lnTo>
                <a:lnTo>
                  <a:pt x="210703" y="457503"/>
                </a:lnTo>
                <a:lnTo>
                  <a:pt x="223427" y="504989"/>
                </a:lnTo>
                <a:lnTo>
                  <a:pt x="233344" y="560922"/>
                </a:lnTo>
                <a:lnTo>
                  <a:pt x="240365" y="617540"/>
                </a:lnTo>
                <a:lnTo>
                  <a:pt x="245881" y="674375"/>
                </a:lnTo>
                <a:lnTo>
                  <a:pt x="251280" y="730962"/>
                </a:lnTo>
                <a:lnTo>
                  <a:pt x="254612" y="761027"/>
                </a:lnTo>
                <a:lnTo>
                  <a:pt x="258089" y="791905"/>
                </a:lnTo>
                <a:lnTo>
                  <a:pt x="261051" y="823250"/>
                </a:lnTo>
                <a:lnTo>
                  <a:pt x="262840" y="854717"/>
                </a:lnTo>
                <a:lnTo>
                  <a:pt x="264650" y="881324"/>
                </a:lnTo>
                <a:lnTo>
                  <a:pt x="259217" y="933899"/>
                </a:lnTo>
                <a:lnTo>
                  <a:pt x="250714" y="961101"/>
                </a:lnTo>
                <a:lnTo>
                  <a:pt x="250474" y="961729"/>
                </a:lnTo>
                <a:lnTo>
                  <a:pt x="244343" y="981001"/>
                </a:lnTo>
                <a:lnTo>
                  <a:pt x="236886" y="998544"/>
                </a:lnTo>
                <a:lnTo>
                  <a:pt x="227519" y="1014027"/>
                </a:lnTo>
                <a:lnTo>
                  <a:pt x="215658" y="1027120"/>
                </a:lnTo>
                <a:lnTo>
                  <a:pt x="296053" y="1027120"/>
                </a:lnTo>
                <a:lnTo>
                  <a:pt x="293177" y="1003470"/>
                </a:lnTo>
                <a:lnTo>
                  <a:pt x="287942" y="980862"/>
                </a:lnTo>
                <a:lnTo>
                  <a:pt x="282917" y="963913"/>
                </a:lnTo>
                <a:lnTo>
                  <a:pt x="280672" y="957237"/>
                </a:lnTo>
                <a:lnTo>
                  <a:pt x="274359" y="773357"/>
                </a:lnTo>
                <a:lnTo>
                  <a:pt x="270854" y="676301"/>
                </a:lnTo>
                <a:lnTo>
                  <a:pt x="268893" y="633883"/>
                </a:lnTo>
                <a:lnTo>
                  <a:pt x="267216" y="613918"/>
                </a:lnTo>
                <a:lnTo>
                  <a:pt x="263298" y="575104"/>
                </a:lnTo>
                <a:lnTo>
                  <a:pt x="258996" y="530402"/>
                </a:lnTo>
                <a:lnTo>
                  <a:pt x="255524" y="487978"/>
                </a:lnTo>
                <a:lnTo>
                  <a:pt x="254096" y="455996"/>
                </a:lnTo>
                <a:lnTo>
                  <a:pt x="254954" y="430701"/>
                </a:lnTo>
                <a:lnTo>
                  <a:pt x="258675" y="337979"/>
                </a:lnTo>
                <a:close/>
              </a:path>
              <a:path w="296545" h="1027429">
                <a:moveTo>
                  <a:pt x="243950" y="0"/>
                </a:moveTo>
                <a:lnTo>
                  <a:pt x="0" y="0"/>
                </a:lnTo>
                <a:lnTo>
                  <a:pt x="107064" y="149272"/>
                </a:lnTo>
                <a:lnTo>
                  <a:pt x="131179" y="340062"/>
                </a:lnTo>
                <a:lnTo>
                  <a:pt x="139231" y="337979"/>
                </a:lnTo>
                <a:lnTo>
                  <a:pt x="258675" y="337979"/>
                </a:lnTo>
                <a:lnTo>
                  <a:pt x="259882" y="307926"/>
                </a:lnTo>
                <a:lnTo>
                  <a:pt x="262667" y="235675"/>
                </a:lnTo>
                <a:lnTo>
                  <a:pt x="264810" y="173002"/>
                </a:lnTo>
                <a:lnTo>
                  <a:pt x="265667" y="132519"/>
                </a:lnTo>
                <a:lnTo>
                  <a:pt x="263122" y="98275"/>
                </a:lnTo>
                <a:lnTo>
                  <a:pt x="257070" y="58901"/>
                </a:lnTo>
                <a:lnTo>
                  <a:pt x="249888" y="23206"/>
                </a:lnTo>
                <a:lnTo>
                  <a:pt x="243950" y="0"/>
                </a:lnTo>
                <a:close/>
              </a:path>
            </a:pathLst>
          </a:custGeom>
          <a:solidFill>
            <a:srgbClr val="000000">
              <a:alpha val="5999"/>
            </a:srgbClr>
          </a:solidFill>
        </p:spPr>
        <p:txBody>
          <a:bodyPr wrap="square" lIns="0" tIns="0" rIns="0" bIns="0" rtlCol="0"/>
          <a:lstStyle/>
          <a:p>
            <a:endParaRPr/>
          </a:p>
        </p:txBody>
      </p:sp>
      <p:sp>
        <p:nvSpPr>
          <p:cNvPr id="805" name="object 805"/>
          <p:cNvSpPr/>
          <p:nvPr/>
        </p:nvSpPr>
        <p:spPr>
          <a:xfrm>
            <a:off x="2755974" y="2971265"/>
            <a:ext cx="73938" cy="15595"/>
          </a:xfrm>
          <a:custGeom>
            <a:avLst/>
            <a:gdLst/>
            <a:ahLst/>
            <a:cxnLst/>
            <a:rect l="l" t="t" r="r" b="b"/>
            <a:pathLst>
              <a:path w="162560" h="34290">
                <a:moveTo>
                  <a:pt x="40689" y="0"/>
                </a:moveTo>
                <a:lnTo>
                  <a:pt x="17912" y="7620"/>
                </a:lnTo>
                <a:lnTo>
                  <a:pt x="5749" y="18933"/>
                </a:lnTo>
                <a:lnTo>
                  <a:pt x="884" y="29199"/>
                </a:lnTo>
                <a:lnTo>
                  <a:pt x="0" y="33674"/>
                </a:lnTo>
                <a:lnTo>
                  <a:pt x="162057" y="33674"/>
                </a:lnTo>
                <a:lnTo>
                  <a:pt x="162212" y="26377"/>
                </a:lnTo>
                <a:lnTo>
                  <a:pt x="161495" y="18236"/>
                </a:lnTo>
                <a:lnTo>
                  <a:pt x="160396" y="10269"/>
                </a:lnTo>
                <a:lnTo>
                  <a:pt x="159732" y="5719"/>
                </a:lnTo>
                <a:lnTo>
                  <a:pt x="108132" y="5719"/>
                </a:lnTo>
                <a:lnTo>
                  <a:pt x="82479" y="5560"/>
                </a:lnTo>
                <a:lnTo>
                  <a:pt x="65175" y="4351"/>
                </a:lnTo>
                <a:lnTo>
                  <a:pt x="52007" y="2477"/>
                </a:lnTo>
                <a:lnTo>
                  <a:pt x="43628" y="755"/>
                </a:lnTo>
                <a:lnTo>
                  <a:pt x="40689" y="0"/>
                </a:lnTo>
                <a:close/>
              </a:path>
              <a:path w="162560" h="34290">
                <a:moveTo>
                  <a:pt x="159408" y="3497"/>
                </a:moveTo>
                <a:lnTo>
                  <a:pt x="151359" y="4074"/>
                </a:lnTo>
                <a:lnTo>
                  <a:pt x="132680" y="5019"/>
                </a:lnTo>
                <a:lnTo>
                  <a:pt x="108132" y="5719"/>
                </a:lnTo>
                <a:lnTo>
                  <a:pt x="159732" y="5719"/>
                </a:lnTo>
                <a:lnTo>
                  <a:pt x="159408" y="3497"/>
                </a:lnTo>
                <a:close/>
              </a:path>
            </a:pathLst>
          </a:custGeom>
          <a:solidFill>
            <a:srgbClr val="FF7900"/>
          </a:solidFill>
        </p:spPr>
        <p:txBody>
          <a:bodyPr wrap="square" lIns="0" tIns="0" rIns="0" bIns="0" rtlCol="0"/>
          <a:lstStyle/>
          <a:p>
            <a:endParaRPr/>
          </a:p>
        </p:txBody>
      </p:sp>
      <p:sp>
        <p:nvSpPr>
          <p:cNvPr id="806" name="object 806"/>
          <p:cNvSpPr/>
          <p:nvPr/>
        </p:nvSpPr>
        <p:spPr>
          <a:xfrm>
            <a:off x="2659436" y="2519444"/>
            <a:ext cx="95310" cy="467276"/>
          </a:xfrm>
          <a:custGeom>
            <a:avLst/>
            <a:gdLst/>
            <a:ahLst/>
            <a:cxnLst/>
            <a:rect l="l" t="t" r="r" b="b"/>
            <a:pathLst>
              <a:path w="209550" h="1027429">
                <a:moveTo>
                  <a:pt x="78259" y="0"/>
                </a:moveTo>
                <a:lnTo>
                  <a:pt x="75055" y="24903"/>
                </a:lnTo>
                <a:lnTo>
                  <a:pt x="69456" y="70836"/>
                </a:lnTo>
                <a:lnTo>
                  <a:pt x="63805" y="122316"/>
                </a:lnTo>
                <a:lnTo>
                  <a:pt x="60448" y="163858"/>
                </a:lnTo>
                <a:lnTo>
                  <a:pt x="61926" y="238831"/>
                </a:lnTo>
                <a:lnTo>
                  <a:pt x="67199" y="359135"/>
                </a:lnTo>
                <a:lnTo>
                  <a:pt x="72861" y="470856"/>
                </a:lnTo>
                <a:lnTo>
                  <a:pt x="75505" y="520078"/>
                </a:lnTo>
                <a:lnTo>
                  <a:pt x="114834" y="959164"/>
                </a:lnTo>
                <a:lnTo>
                  <a:pt x="39600" y="994419"/>
                </a:lnTo>
                <a:lnTo>
                  <a:pt x="17431" y="1001883"/>
                </a:lnTo>
                <a:lnTo>
                  <a:pt x="5594" y="1012863"/>
                </a:lnTo>
                <a:lnTo>
                  <a:pt x="860" y="1022795"/>
                </a:lnTo>
                <a:lnTo>
                  <a:pt x="0" y="1027120"/>
                </a:lnTo>
                <a:lnTo>
                  <a:pt x="190004" y="1027120"/>
                </a:lnTo>
                <a:lnTo>
                  <a:pt x="188959" y="1007907"/>
                </a:lnTo>
                <a:lnTo>
                  <a:pt x="183902" y="988070"/>
                </a:lnTo>
                <a:lnTo>
                  <a:pt x="177538" y="970929"/>
                </a:lnTo>
                <a:lnTo>
                  <a:pt x="172570" y="959803"/>
                </a:lnTo>
                <a:lnTo>
                  <a:pt x="174682" y="930050"/>
                </a:lnTo>
                <a:lnTo>
                  <a:pt x="177606" y="884466"/>
                </a:lnTo>
                <a:lnTo>
                  <a:pt x="180689" y="828355"/>
                </a:lnTo>
                <a:lnTo>
                  <a:pt x="183283" y="767024"/>
                </a:lnTo>
                <a:lnTo>
                  <a:pt x="184736" y="705779"/>
                </a:lnTo>
                <a:lnTo>
                  <a:pt x="184397" y="649924"/>
                </a:lnTo>
                <a:lnTo>
                  <a:pt x="181617" y="604766"/>
                </a:lnTo>
                <a:lnTo>
                  <a:pt x="177938" y="564051"/>
                </a:lnTo>
                <a:lnTo>
                  <a:pt x="175235" y="523114"/>
                </a:lnTo>
                <a:lnTo>
                  <a:pt x="173568" y="491531"/>
                </a:lnTo>
                <a:lnTo>
                  <a:pt x="172999" y="478875"/>
                </a:lnTo>
                <a:lnTo>
                  <a:pt x="209396" y="63516"/>
                </a:lnTo>
                <a:lnTo>
                  <a:pt x="78259" y="0"/>
                </a:lnTo>
                <a:close/>
              </a:path>
            </a:pathLst>
          </a:custGeom>
          <a:solidFill>
            <a:srgbClr val="B08371"/>
          </a:solidFill>
        </p:spPr>
        <p:txBody>
          <a:bodyPr wrap="square" lIns="0" tIns="0" rIns="0" bIns="0" rtlCol="0"/>
          <a:lstStyle/>
          <a:p>
            <a:endParaRPr/>
          </a:p>
        </p:txBody>
      </p:sp>
      <p:sp>
        <p:nvSpPr>
          <p:cNvPr id="807" name="object 807"/>
          <p:cNvSpPr/>
          <p:nvPr/>
        </p:nvSpPr>
        <p:spPr>
          <a:xfrm>
            <a:off x="2686917" y="2519444"/>
            <a:ext cx="67872" cy="467276"/>
          </a:xfrm>
          <a:custGeom>
            <a:avLst/>
            <a:gdLst/>
            <a:ahLst/>
            <a:cxnLst/>
            <a:rect l="l" t="t" r="r" b="b"/>
            <a:pathLst>
              <a:path w="149225" h="1027429">
                <a:moveTo>
                  <a:pt x="125764" y="328419"/>
                </a:moveTo>
                <a:lnTo>
                  <a:pt x="11337" y="328419"/>
                </a:lnTo>
                <a:lnTo>
                  <a:pt x="18196" y="329215"/>
                </a:lnTo>
                <a:lnTo>
                  <a:pt x="25138" y="334283"/>
                </a:lnTo>
                <a:lnTo>
                  <a:pt x="54222" y="366527"/>
                </a:lnTo>
                <a:lnTo>
                  <a:pt x="67859" y="405132"/>
                </a:lnTo>
                <a:lnTo>
                  <a:pt x="71763" y="447566"/>
                </a:lnTo>
                <a:lnTo>
                  <a:pt x="71658" y="491531"/>
                </a:lnTo>
                <a:lnTo>
                  <a:pt x="73231" y="533795"/>
                </a:lnTo>
                <a:lnTo>
                  <a:pt x="79862" y="582660"/>
                </a:lnTo>
                <a:lnTo>
                  <a:pt x="88370" y="631032"/>
                </a:lnTo>
                <a:lnTo>
                  <a:pt x="97293" y="679231"/>
                </a:lnTo>
                <a:lnTo>
                  <a:pt x="105165" y="727578"/>
                </a:lnTo>
                <a:lnTo>
                  <a:pt x="110522" y="776393"/>
                </a:lnTo>
                <a:lnTo>
                  <a:pt x="111900" y="825995"/>
                </a:lnTo>
                <a:lnTo>
                  <a:pt x="110855" y="858705"/>
                </a:lnTo>
                <a:lnTo>
                  <a:pt x="106421" y="924486"/>
                </a:lnTo>
                <a:lnTo>
                  <a:pt x="98737" y="976897"/>
                </a:lnTo>
                <a:lnTo>
                  <a:pt x="81940" y="1012024"/>
                </a:lnTo>
                <a:lnTo>
                  <a:pt x="68969" y="1027120"/>
                </a:lnTo>
                <a:lnTo>
                  <a:pt x="129585" y="1027120"/>
                </a:lnTo>
                <a:lnTo>
                  <a:pt x="128540" y="1007907"/>
                </a:lnTo>
                <a:lnTo>
                  <a:pt x="123483" y="988070"/>
                </a:lnTo>
                <a:lnTo>
                  <a:pt x="117119" y="970929"/>
                </a:lnTo>
                <a:lnTo>
                  <a:pt x="112151" y="959803"/>
                </a:lnTo>
                <a:lnTo>
                  <a:pt x="114263" y="930050"/>
                </a:lnTo>
                <a:lnTo>
                  <a:pt x="117187" y="884466"/>
                </a:lnTo>
                <a:lnTo>
                  <a:pt x="120270" y="828355"/>
                </a:lnTo>
                <a:lnTo>
                  <a:pt x="122864" y="767024"/>
                </a:lnTo>
                <a:lnTo>
                  <a:pt x="124317" y="705779"/>
                </a:lnTo>
                <a:lnTo>
                  <a:pt x="123978" y="649924"/>
                </a:lnTo>
                <a:lnTo>
                  <a:pt x="121198" y="604766"/>
                </a:lnTo>
                <a:lnTo>
                  <a:pt x="117519" y="564051"/>
                </a:lnTo>
                <a:lnTo>
                  <a:pt x="114816" y="523114"/>
                </a:lnTo>
                <a:lnTo>
                  <a:pt x="113139" y="491297"/>
                </a:lnTo>
                <a:lnTo>
                  <a:pt x="112580" y="478875"/>
                </a:lnTo>
                <a:lnTo>
                  <a:pt x="125764" y="328419"/>
                </a:lnTo>
                <a:close/>
              </a:path>
              <a:path w="149225" h="1027429">
                <a:moveTo>
                  <a:pt x="17840" y="0"/>
                </a:moveTo>
                <a:lnTo>
                  <a:pt x="9036" y="70836"/>
                </a:lnTo>
                <a:lnTo>
                  <a:pt x="3386" y="122316"/>
                </a:lnTo>
                <a:lnTo>
                  <a:pt x="29" y="163858"/>
                </a:lnTo>
                <a:lnTo>
                  <a:pt x="0" y="188000"/>
                </a:lnTo>
                <a:lnTo>
                  <a:pt x="1082" y="226915"/>
                </a:lnTo>
                <a:lnTo>
                  <a:pt x="2984" y="275924"/>
                </a:lnTo>
                <a:lnTo>
                  <a:pt x="5411" y="330345"/>
                </a:lnTo>
                <a:lnTo>
                  <a:pt x="11337" y="328419"/>
                </a:lnTo>
                <a:lnTo>
                  <a:pt x="125764" y="328419"/>
                </a:lnTo>
                <a:lnTo>
                  <a:pt x="148977" y="63516"/>
                </a:lnTo>
                <a:lnTo>
                  <a:pt x="17840" y="0"/>
                </a:lnTo>
                <a:close/>
              </a:path>
            </a:pathLst>
          </a:custGeom>
          <a:solidFill>
            <a:srgbClr val="000000">
              <a:alpha val="5999"/>
            </a:srgbClr>
          </a:solidFill>
        </p:spPr>
        <p:txBody>
          <a:bodyPr wrap="square" lIns="0" tIns="0" rIns="0" bIns="0" rtlCol="0"/>
          <a:lstStyle/>
          <a:p>
            <a:endParaRPr/>
          </a:p>
        </p:txBody>
      </p:sp>
      <p:sp>
        <p:nvSpPr>
          <p:cNvPr id="808" name="object 808"/>
          <p:cNvSpPr/>
          <p:nvPr/>
        </p:nvSpPr>
        <p:spPr>
          <a:xfrm>
            <a:off x="2681835" y="2519444"/>
            <a:ext cx="144409" cy="184831"/>
          </a:xfrm>
          <a:custGeom>
            <a:avLst/>
            <a:gdLst/>
            <a:ahLst/>
            <a:cxnLst/>
            <a:rect l="l" t="t" r="r" b="b"/>
            <a:pathLst>
              <a:path w="317500" h="406400">
                <a:moveTo>
                  <a:pt x="272964" y="0"/>
                </a:moveTo>
                <a:lnTo>
                  <a:pt x="29013" y="0"/>
                </a:lnTo>
                <a:lnTo>
                  <a:pt x="25813" y="24903"/>
                </a:lnTo>
                <a:lnTo>
                  <a:pt x="20213" y="70836"/>
                </a:lnTo>
                <a:lnTo>
                  <a:pt x="14561" y="122316"/>
                </a:lnTo>
                <a:lnTo>
                  <a:pt x="11202" y="163858"/>
                </a:lnTo>
                <a:lnTo>
                  <a:pt x="9413" y="189556"/>
                </a:lnTo>
                <a:lnTo>
                  <a:pt x="6019" y="236778"/>
                </a:lnTo>
                <a:lnTo>
                  <a:pt x="2416" y="295226"/>
                </a:lnTo>
                <a:lnTo>
                  <a:pt x="0" y="354601"/>
                </a:lnTo>
                <a:lnTo>
                  <a:pt x="166" y="404605"/>
                </a:lnTo>
                <a:lnTo>
                  <a:pt x="33934" y="405997"/>
                </a:lnTo>
                <a:lnTo>
                  <a:pt x="89754" y="405898"/>
                </a:lnTo>
                <a:lnTo>
                  <a:pt x="156807" y="404409"/>
                </a:lnTo>
                <a:lnTo>
                  <a:pt x="224274" y="401634"/>
                </a:lnTo>
                <a:lnTo>
                  <a:pt x="281335" y="397675"/>
                </a:lnTo>
                <a:lnTo>
                  <a:pt x="317172" y="392637"/>
                </a:lnTo>
                <a:lnTo>
                  <a:pt x="315914" y="340582"/>
                </a:lnTo>
                <a:lnTo>
                  <a:pt x="310471" y="277371"/>
                </a:lnTo>
                <a:lnTo>
                  <a:pt x="303408" y="214176"/>
                </a:lnTo>
                <a:lnTo>
                  <a:pt x="297290" y="162168"/>
                </a:lnTo>
                <a:lnTo>
                  <a:pt x="294680" y="132519"/>
                </a:lnTo>
                <a:lnTo>
                  <a:pt x="292135" y="98275"/>
                </a:lnTo>
                <a:lnTo>
                  <a:pt x="286084" y="58901"/>
                </a:lnTo>
                <a:lnTo>
                  <a:pt x="278901" y="23206"/>
                </a:lnTo>
                <a:lnTo>
                  <a:pt x="272964" y="0"/>
                </a:lnTo>
                <a:close/>
              </a:path>
            </a:pathLst>
          </a:custGeom>
          <a:solidFill>
            <a:srgbClr val="FF7900"/>
          </a:solidFill>
        </p:spPr>
        <p:txBody>
          <a:bodyPr wrap="square" lIns="0" tIns="0" rIns="0" bIns="0" rtlCol="0"/>
          <a:lstStyle/>
          <a:p>
            <a:endParaRPr/>
          </a:p>
        </p:txBody>
      </p:sp>
      <p:sp>
        <p:nvSpPr>
          <p:cNvPr id="809" name="object 809"/>
          <p:cNvSpPr/>
          <p:nvPr/>
        </p:nvSpPr>
        <p:spPr>
          <a:xfrm>
            <a:off x="2690811" y="2519444"/>
            <a:ext cx="129391" cy="129959"/>
          </a:xfrm>
          <a:custGeom>
            <a:avLst/>
            <a:gdLst/>
            <a:ahLst/>
            <a:cxnLst/>
            <a:rect l="l" t="t" r="r" b="b"/>
            <a:pathLst>
              <a:path w="284479" h="285750">
                <a:moveTo>
                  <a:pt x="268721" y="74342"/>
                </a:moveTo>
                <a:lnTo>
                  <a:pt x="48465" y="74342"/>
                </a:lnTo>
                <a:lnTo>
                  <a:pt x="100052" y="75897"/>
                </a:lnTo>
                <a:lnTo>
                  <a:pt x="150619" y="83794"/>
                </a:lnTo>
                <a:lnTo>
                  <a:pt x="196022" y="102231"/>
                </a:lnTo>
                <a:lnTo>
                  <a:pt x="232118" y="135409"/>
                </a:lnTo>
                <a:lnTo>
                  <a:pt x="249612" y="171428"/>
                </a:lnTo>
                <a:lnTo>
                  <a:pt x="261405" y="209983"/>
                </a:lnTo>
                <a:lnTo>
                  <a:pt x="273868" y="247646"/>
                </a:lnTo>
                <a:lnTo>
                  <a:pt x="279487" y="266464"/>
                </a:lnTo>
                <a:lnTo>
                  <a:pt x="284054" y="285750"/>
                </a:lnTo>
                <a:lnTo>
                  <a:pt x="282449" y="237756"/>
                </a:lnTo>
                <a:lnTo>
                  <a:pt x="279338" y="193090"/>
                </a:lnTo>
                <a:lnTo>
                  <a:pt x="276307" y="156447"/>
                </a:lnTo>
                <a:lnTo>
                  <a:pt x="274944" y="132519"/>
                </a:lnTo>
                <a:lnTo>
                  <a:pt x="272399" y="98275"/>
                </a:lnTo>
                <a:lnTo>
                  <a:pt x="268721" y="74342"/>
                </a:lnTo>
                <a:close/>
              </a:path>
              <a:path w="284479" h="285750">
                <a:moveTo>
                  <a:pt x="253227" y="0"/>
                </a:moveTo>
                <a:lnTo>
                  <a:pt x="9277" y="0"/>
                </a:lnTo>
                <a:lnTo>
                  <a:pt x="8055" y="9365"/>
                </a:lnTo>
                <a:lnTo>
                  <a:pt x="5883" y="26427"/>
                </a:lnTo>
                <a:lnTo>
                  <a:pt x="3088" y="49008"/>
                </a:lnTo>
                <a:lnTo>
                  <a:pt x="0" y="74929"/>
                </a:lnTo>
                <a:lnTo>
                  <a:pt x="48465" y="74342"/>
                </a:lnTo>
                <a:lnTo>
                  <a:pt x="268721" y="74342"/>
                </a:lnTo>
                <a:lnTo>
                  <a:pt x="266347" y="58901"/>
                </a:lnTo>
                <a:lnTo>
                  <a:pt x="259165" y="23206"/>
                </a:lnTo>
                <a:lnTo>
                  <a:pt x="253227" y="0"/>
                </a:lnTo>
                <a:close/>
              </a:path>
            </a:pathLst>
          </a:custGeom>
          <a:solidFill>
            <a:srgbClr val="000000">
              <a:alpha val="5000"/>
            </a:srgbClr>
          </a:solidFill>
        </p:spPr>
        <p:txBody>
          <a:bodyPr wrap="square" lIns="0" tIns="0" rIns="0" bIns="0" rtlCol="0"/>
          <a:lstStyle/>
          <a:p>
            <a:endParaRPr/>
          </a:p>
        </p:txBody>
      </p:sp>
      <p:sp>
        <p:nvSpPr>
          <p:cNvPr id="810" name="object 810"/>
          <p:cNvSpPr/>
          <p:nvPr/>
        </p:nvSpPr>
        <p:spPr>
          <a:xfrm>
            <a:off x="2659438" y="2971325"/>
            <a:ext cx="86646" cy="15306"/>
          </a:xfrm>
          <a:custGeom>
            <a:avLst/>
            <a:gdLst/>
            <a:ahLst/>
            <a:cxnLst/>
            <a:rect l="l" t="t" r="r" b="b"/>
            <a:pathLst>
              <a:path w="190500" h="33654">
                <a:moveTo>
                  <a:pt x="41307" y="0"/>
                </a:moveTo>
                <a:lnTo>
                  <a:pt x="39600" y="827"/>
                </a:lnTo>
                <a:lnTo>
                  <a:pt x="17431" y="8297"/>
                </a:lnTo>
                <a:lnTo>
                  <a:pt x="5594" y="19279"/>
                </a:lnTo>
                <a:lnTo>
                  <a:pt x="860" y="29213"/>
                </a:lnTo>
                <a:lnTo>
                  <a:pt x="0" y="33538"/>
                </a:lnTo>
                <a:lnTo>
                  <a:pt x="190004" y="33538"/>
                </a:lnTo>
                <a:lnTo>
                  <a:pt x="190264" y="26016"/>
                </a:lnTo>
                <a:lnTo>
                  <a:pt x="189788" y="17388"/>
                </a:lnTo>
                <a:lnTo>
                  <a:pt x="188948" y="9507"/>
                </a:lnTo>
                <a:lnTo>
                  <a:pt x="71798" y="9507"/>
                </a:lnTo>
                <a:lnTo>
                  <a:pt x="62871" y="8849"/>
                </a:lnTo>
                <a:lnTo>
                  <a:pt x="54813" y="6960"/>
                </a:lnTo>
                <a:lnTo>
                  <a:pt x="47625" y="3968"/>
                </a:lnTo>
                <a:lnTo>
                  <a:pt x="41307" y="0"/>
                </a:lnTo>
                <a:close/>
              </a:path>
              <a:path w="190500" h="33654">
                <a:moveTo>
                  <a:pt x="187868" y="1937"/>
                </a:moveTo>
                <a:lnTo>
                  <a:pt x="71798" y="9507"/>
                </a:lnTo>
                <a:lnTo>
                  <a:pt x="188948" y="9507"/>
                </a:lnTo>
                <a:lnTo>
                  <a:pt x="188794" y="8297"/>
                </a:lnTo>
                <a:lnTo>
                  <a:pt x="187868" y="1937"/>
                </a:lnTo>
                <a:close/>
              </a:path>
            </a:pathLst>
          </a:custGeom>
          <a:solidFill>
            <a:srgbClr val="FF7900"/>
          </a:solidFill>
        </p:spPr>
        <p:txBody>
          <a:bodyPr wrap="square" lIns="0" tIns="0" rIns="0" bIns="0" rtlCol="0"/>
          <a:lstStyle/>
          <a:p>
            <a:endParaRPr/>
          </a:p>
        </p:txBody>
      </p:sp>
      <p:sp>
        <p:nvSpPr>
          <p:cNvPr id="811" name="object 811"/>
          <p:cNvSpPr/>
          <p:nvPr/>
        </p:nvSpPr>
        <p:spPr>
          <a:xfrm>
            <a:off x="2647827" y="2350753"/>
            <a:ext cx="62674" cy="287643"/>
          </a:xfrm>
          <a:custGeom>
            <a:avLst/>
            <a:gdLst/>
            <a:ahLst/>
            <a:cxnLst/>
            <a:rect l="l" t="t" r="r" b="b"/>
            <a:pathLst>
              <a:path w="137795" h="632460">
                <a:moveTo>
                  <a:pt x="48122" y="602746"/>
                </a:moveTo>
                <a:lnTo>
                  <a:pt x="20271" y="602746"/>
                </a:lnTo>
                <a:lnTo>
                  <a:pt x="36197" y="632033"/>
                </a:lnTo>
                <a:lnTo>
                  <a:pt x="44553" y="629226"/>
                </a:lnTo>
                <a:lnTo>
                  <a:pt x="41873" y="620064"/>
                </a:lnTo>
                <a:lnTo>
                  <a:pt x="41412" y="618578"/>
                </a:lnTo>
                <a:lnTo>
                  <a:pt x="51951" y="618578"/>
                </a:lnTo>
                <a:lnTo>
                  <a:pt x="51024" y="614536"/>
                </a:lnTo>
                <a:lnTo>
                  <a:pt x="48122" y="602746"/>
                </a:lnTo>
                <a:close/>
              </a:path>
              <a:path w="137795" h="632460">
                <a:moveTo>
                  <a:pt x="51951" y="618578"/>
                </a:moveTo>
                <a:lnTo>
                  <a:pt x="41412" y="618578"/>
                </a:lnTo>
                <a:lnTo>
                  <a:pt x="45789" y="626588"/>
                </a:lnTo>
                <a:lnTo>
                  <a:pt x="53097" y="623572"/>
                </a:lnTo>
                <a:lnTo>
                  <a:pt x="51951" y="618578"/>
                </a:lnTo>
                <a:close/>
              </a:path>
              <a:path w="137795" h="632460">
                <a:moveTo>
                  <a:pt x="137283" y="0"/>
                </a:moveTo>
                <a:lnTo>
                  <a:pt x="49904" y="5046"/>
                </a:lnTo>
                <a:lnTo>
                  <a:pt x="49925" y="286745"/>
                </a:lnTo>
                <a:lnTo>
                  <a:pt x="9811" y="490267"/>
                </a:lnTo>
                <a:lnTo>
                  <a:pt x="777" y="534130"/>
                </a:lnTo>
                <a:lnTo>
                  <a:pt x="438" y="546366"/>
                </a:lnTo>
                <a:lnTo>
                  <a:pt x="94" y="554297"/>
                </a:lnTo>
                <a:lnTo>
                  <a:pt x="0" y="555229"/>
                </a:lnTo>
                <a:lnTo>
                  <a:pt x="178" y="556150"/>
                </a:lnTo>
                <a:lnTo>
                  <a:pt x="460" y="557082"/>
                </a:lnTo>
                <a:lnTo>
                  <a:pt x="41" y="557092"/>
                </a:lnTo>
                <a:lnTo>
                  <a:pt x="6743" y="605667"/>
                </a:lnTo>
                <a:lnTo>
                  <a:pt x="17737" y="625781"/>
                </a:lnTo>
                <a:lnTo>
                  <a:pt x="25056" y="622766"/>
                </a:lnTo>
                <a:lnTo>
                  <a:pt x="22983" y="613730"/>
                </a:lnTo>
                <a:lnTo>
                  <a:pt x="20271" y="602746"/>
                </a:lnTo>
                <a:lnTo>
                  <a:pt x="48122" y="602746"/>
                </a:lnTo>
                <a:lnTo>
                  <a:pt x="45516" y="592159"/>
                </a:lnTo>
                <a:lnTo>
                  <a:pt x="45380" y="588725"/>
                </a:lnTo>
                <a:lnTo>
                  <a:pt x="61788" y="588725"/>
                </a:lnTo>
                <a:lnTo>
                  <a:pt x="54658" y="573270"/>
                </a:lnTo>
                <a:lnTo>
                  <a:pt x="52103" y="558653"/>
                </a:lnTo>
                <a:lnTo>
                  <a:pt x="53034" y="550736"/>
                </a:lnTo>
                <a:lnTo>
                  <a:pt x="54508" y="539319"/>
                </a:lnTo>
                <a:lnTo>
                  <a:pt x="56293" y="527402"/>
                </a:lnTo>
                <a:lnTo>
                  <a:pt x="58155" y="517984"/>
                </a:lnTo>
                <a:lnTo>
                  <a:pt x="58560" y="509596"/>
                </a:lnTo>
                <a:lnTo>
                  <a:pt x="57109" y="498942"/>
                </a:lnTo>
                <a:lnTo>
                  <a:pt x="54773" y="488258"/>
                </a:lnTo>
                <a:lnTo>
                  <a:pt x="52521" y="479775"/>
                </a:lnTo>
                <a:lnTo>
                  <a:pt x="65765" y="449372"/>
                </a:lnTo>
                <a:lnTo>
                  <a:pt x="92895" y="382491"/>
                </a:lnTo>
                <a:lnTo>
                  <a:pt x="105245" y="338542"/>
                </a:lnTo>
                <a:lnTo>
                  <a:pt x="112953" y="293165"/>
                </a:lnTo>
                <a:lnTo>
                  <a:pt x="114363" y="284137"/>
                </a:lnTo>
                <a:lnTo>
                  <a:pt x="137283" y="0"/>
                </a:lnTo>
                <a:close/>
              </a:path>
              <a:path w="137795" h="632460">
                <a:moveTo>
                  <a:pt x="61788" y="588725"/>
                </a:moveTo>
                <a:lnTo>
                  <a:pt x="45380" y="588725"/>
                </a:lnTo>
                <a:lnTo>
                  <a:pt x="61411" y="607007"/>
                </a:lnTo>
                <a:lnTo>
                  <a:pt x="68018" y="602588"/>
                </a:lnTo>
                <a:lnTo>
                  <a:pt x="64280" y="594128"/>
                </a:lnTo>
                <a:lnTo>
                  <a:pt x="61788" y="588725"/>
                </a:lnTo>
                <a:close/>
              </a:path>
            </a:pathLst>
          </a:custGeom>
          <a:solidFill>
            <a:srgbClr val="B08371"/>
          </a:solidFill>
        </p:spPr>
        <p:txBody>
          <a:bodyPr wrap="square" lIns="0" tIns="0" rIns="0" bIns="0" rtlCol="0"/>
          <a:lstStyle/>
          <a:p>
            <a:endParaRPr/>
          </a:p>
        </p:txBody>
      </p:sp>
      <p:sp>
        <p:nvSpPr>
          <p:cNvPr id="812" name="object 812"/>
          <p:cNvSpPr/>
          <p:nvPr/>
        </p:nvSpPr>
        <p:spPr>
          <a:xfrm>
            <a:off x="2658740" y="2350753"/>
            <a:ext cx="51698" cy="282734"/>
          </a:xfrm>
          <a:custGeom>
            <a:avLst/>
            <a:gdLst/>
            <a:ahLst/>
            <a:cxnLst/>
            <a:rect l="l" t="t" r="r" b="b"/>
            <a:pathLst>
              <a:path w="113664" h="621664">
                <a:moveTo>
                  <a:pt x="113287" y="0"/>
                </a:moveTo>
                <a:lnTo>
                  <a:pt x="25918" y="5046"/>
                </a:lnTo>
                <a:lnTo>
                  <a:pt x="25918" y="98290"/>
                </a:lnTo>
                <a:lnTo>
                  <a:pt x="34106" y="105480"/>
                </a:lnTo>
                <a:lnTo>
                  <a:pt x="40505" y="114674"/>
                </a:lnTo>
                <a:lnTo>
                  <a:pt x="44676" y="125875"/>
                </a:lnTo>
                <a:lnTo>
                  <a:pt x="46179" y="139084"/>
                </a:lnTo>
                <a:lnTo>
                  <a:pt x="49311" y="168803"/>
                </a:lnTo>
                <a:lnTo>
                  <a:pt x="56198" y="197992"/>
                </a:lnTo>
                <a:lnTo>
                  <a:pt x="63240" y="227219"/>
                </a:lnTo>
                <a:lnTo>
                  <a:pt x="66838" y="257049"/>
                </a:lnTo>
                <a:lnTo>
                  <a:pt x="64593" y="290985"/>
                </a:lnTo>
                <a:lnTo>
                  <a:pt x="57629" y="325007"/>
                </a:lnTo>
                <a:lnTo>
                  <a:pt x="47861" y="358504"/>
                </a:lnTo>
                <a:lnTo>
                  <a:pt x="37205" y="390867"/>
                </a:lnTo>
                <a:lnTo>
                  <a:pt x="23012" y="430869"/>
                </a:lnTo>
                <a:lnTo>
                  <a:pt x="8923" y="473720"/>
                </a:lnTo>
                <a:lnTo>
                  <a:pt x="0" y="517472"/>
                </a:lnTo>
                <a:lnTo>
                  <a:pt x="1300" y="560177"/>
                </a:lnTo>
                <a:lnTo>
                  <a:pt x="17887" y="599887"/>
                </a:lnTo>
                <a:lnTo>
                  <a:pt x="22944" y="607217"/>
                </a:lnTo>
                <a:lnTo>
                  <a:pt x="25695" y="614536"/>
                </a:lnTo>
                <a:lnTo>
                  <a:pt x="26661" y="621457"/>
                </a:lnTo>
                <a:lnTo>
                  <a:pt x="27844" y="618075"/>
                </a:lnTo>
                <a:lnTo>
                  <a:pt x="27015" y="614483"/>
                </a:lnTo>
                <a:lnTo>
                  <a:pt x="21520" y="592159"/>
                </a:lnTo>
                <a:lnTo>
                  <a:pt x="21384" y="588725"/>
                </a:lnTo>
                <a:lnTo>
                  <a:pt x="37791" y="588725"/>
                </a:lnTo>
                <a:lnTo>
                  <a:pt x="30661" y="573270"/>
                </a:lnTo>
                <a:lnTo>
                  <a:pt x="28106" y="558653"/>
                </a:lnTo>
                <a:lnTo>
                  <a:pt x="29037" y="550736"/>
                </a:lnTo>
                <a:lnTo>
                  <a:pt x="30512" y="539319"/>
                </a:lnTo>
                <a:lnTo>
                  <a:pt x="32297" y="527402"/>
                </a:lnTo>
                <a:lnTo>
                  <a:pt x="34158" y="517984"/>
                </a:lnTo>
                <a:lnTo>
                  <a:pt x="34568" y="509596"/>
                </a:lnTo>
                <a:lnTo>
                  <a:pt x="33117" y="498942"/>
                </a:lnTo>
                <a:lnTo>
                  <a:pt x="30778" y="488258"/>
                </a:lnTo>
                <a:lnTo>
                  <a:pt x="28525" y="479775"/>
                </a:lnTo>
                <a:lnTo>
                  <a:pt x="41768" y="449372"/>
                </a:lnTo>
                <a:lnTo>
                  <a:pt x="68903" y="382491"/>
                </a:lnTo>
                <a:lnTo>
                  <a:pt x="81257" y="338542"/>
                </a:lnTo>
                <a:lnTo>
                  <a:pt x="88958" y="293165"/>
                </a:lnTo>
                <a:lnTo>
                  <a:pt x="90366" y="284137"/>
                </a:lnTo>
                <a:lnTo>
                  <a:pt x="113287" y="0"/>
                </a:lnTo>
                <a:close/>
              </a:path>
              <a:path w="113664" h="621664">
                <a:moveTo>
                  <a:pt x="37791" y="588725"/>
                </a:moveTo>
                <a:lnTo>
                  <a:pt x="21384" y="588725"/>
                </a:lnTo>
                <a:lnTo>
                  <a:pt x="37415" y="607007"/>
                </a:lnTo>
                <a:lnTo>
                  <a:pt x="44022" y="602588"/>
                </a:lnTo>
                <a:lnTo>
                  <a:pt x="40284" y="594128"/>
                </a:lnTo>
                <a:lnTo>
                  <a:pt x="37791" y="588725"/>
                </a:lnTo>
                <a:close/>
              </a:path>
            </a:pathLst>
          </a:custGeom>
          <a:solidFill>
            <a:srgbClr val="000000">
              <a:alpha val="5999"/>
            </a:srgbClr>
          </a:solidFill>
        </p:spPr>
        <p:txBody>
          <a:bodyPr wrap="square" lIns="0" tIns="0" rIns="0" bIns="0" rtlCol="0"/>
          <a:lstStyle/>
          <a:p>
            <a:endParaRPr/>
          </a:p>
        </p:txBody>
      </p:sp>
      <p:sp>
        <p:nvSpPr>
          <p:cNvPr id="813" name="object 813"/>
          <p:cNvSpPr/>
          <p:nvPr/>
        </p:nvSpPr>
        <p:spPr>
          <a:xfrm>
            <a:off x="2666870" y="2302726"/>
            <a:ext cx="175891" cy="249233"/>
          </a:xfrm>
          <a:custGeom>
            <a:avLst/>
            <a:gdLst/>
            <a:ahLst/>
            <a:cxnLst/>
            <a:rect l="l" t="t" r="r" b="b"/>
            <a:pathLst>
              <a:path w="386714" h="548004">
                <a:moveTo>
                  <a:pt x="191554" y="0"/>
                </a:moveTo>
                <a:lnTo>
                  <a:pt x="181188" y="0"/>
                </a:lnTo>
                <a:lnTo>
                  <a:pt x="181083" y="795"/>
                </a:lnTo>
                <a:lnTo>
                  <a:pt x="57736" y="43977"/>
                </a:lnTo>
                <a:lnTo>
                  <a:pt x="19271" y="70829"/>
                </a:lnTo>
                <a:lnTo>
                  <a:pt x="6879" y="94353"/>
                </a:lnTo>
                <a:lnTo>
                  <a:pt x="7015" y="94353"/>
                </a:lnTo>
                <a:lnTo>
                  <a:pt x="0" y="182423"/>
                </a:lnTo>
                <a:lnTo>
                  <a:pt x="17322" y="188867"/>
                </a:lnTo>
                <a:lnTo>
                  <a:pt x="32048" y="194146"/>
                </a:lnTo>
                <a:lnTo>
                  <a:pt x="48459" y="199606"/>
                </a:lnTo>
                <a:lnTo>
                  <a:pt x="47225" y="210352"/>
                </a:lnTo>
                <a:lnTo>
                  <a:pt x="46367" y="218823"/>
                </a:lnTo>
                <a:lnTo>
                  <a:pt x="45705" y="226370"/>
                </a:lnTo>
                <a:lnTo>
                  <a:pt x="45705" y="229909"/>
                </a:lnTo>
                <a:lnTo>
                  <a:pt x="47443" y="243707"/>
                </a:lnTo>
                <a:lnTo>
                  <a:pt x="52334" y="256092"/>
                </a:lnTo>
                <a:lnTo>
                  <a:pt x="59898" y="266548"/>
                </a:lnTo>
                <a:lnTo>
                  <a:pt x="69652" y="274557"/>
                </a:lnTo>
                <a:lnTo>
                  <a:pt x="68332" y="416332"/>
                </a:lnTo>
                <a:lnTo>
                  <a:pt x="53087" y="547564"/>
                </a:lnTo>
                <a:lnTo>
                  <a:pt x="324021" y="547564"/>
                </a:lnTo>
                <a:lnTo>
                  <a:pt x="292420" y="416332"/>
                </a:lnTo>
                <a:lnTo>
                  <a:pt x="302085" y="207878"/>
                </a:lnTo>
                <a:lnTo>
                  <a:pt x="332620" y="201444"/>
                </a:lnTo>
                <a:lnTo>
                  <a:pt x="358262" y="192376"/>
                </a:lnTo>
                <a:lnTo>
                  <a:pt x="376823" y="183983"/>
                </a:lnTo>
                <a:lnTo>
                  <a:pt x="386113" y="179575"/>
                </a:lnTo>
                <a:lnTo>
                  <a:pt x="363978" y="89243"/>
                </a:lnTo>
                <a:lnTo>
                  <a:pt x="334169" y="52577"/>
                </a:lnTo>
                <a:lnTo>
                  <a:pt x="191659" y="795"/>
                </a:lnTo>
                <a:lnTo>
                  <a:pt x="191554" y="0"/>
                </a:lnTo>
                <a:close/>
              </a:path>
            </a:pathLst>
          </a:custGeom>
          <a:solidFill>
            <a:srgbClr val="ECB750"/>
          </a:solidFill>
        </p:spPr>
        <p:txBody>
          <a:bodyPr wrap="square" lIns="0" tIns="0" rIns="0" bIns="0" rtlCol="0"/>
          <a:lstStyle/>
          <a:p>
            <a:endParaRPr/>
          </a:p>
        </p:txBody>
      </p:sp>
      <p:sp>
        <p:nvSpPr>
          <p:cNvPr id="814" name="object 814"/>
          <p:cNvSpPr/>
          <p:nvPr/>
        </p:nvSpPr>
        <p:spPr>
          <a:xfrm>
            <a:off x="2791003" y="2398418"/>
            <a:ext cx="23394" cy="153352"/>
          </a:xfrm>
          <a:custGeom>
            <a:avLst/>
            <a:gdLst/>
            <a:ahLst/>
            <a:cxnLst/>
            <a:rect l="l" t="t" r="r" b="b"/>
            <a:pathLst>
              <a:path w="51435" h="337185">
                <a:moveTo>
                  <a:pt x="29049" y="0"/>
                </a:moveTo>
                <a:lnTo>
                  <a:pt x="7835" y="57977"/>
                </a:lnTo>
                <a:lnTo>
                  <a:pt x="4246" y="95187"/>
                </a:lnTo>
                <a:lnTo>
                  <a:pt x="1425" y="132442"/>
                </a:lnTo>
                <a:lnTo>
                  <a:pt x="0" y="169753"/>
                </a:lnTo>
                <a:lnTo>
                  <a:pt x="599" y="207135"/>
                </a:lnTo>
                <a:lnTo>
                  <a:pt x="2941" y="236240"/>
                </a:lnTo>
                <a:lnTo>
                  <a:pt x="5663" y="265283"/>
                </a:lnTo>
                <a:lnTo>
                  <a:pt x="6596" y="294309"/>
                </a:lnTo>
                <a:lnTo>
                  <a:pt x="3573" y="323361"/>
                </a:lnTo>
                <a:lnTo>
                  <a:pt x="2651" y="328073"/>
                </a:lnTo>
                <a:lnTo>
                  <a:pt x="1468" y="332660"/>
                </a:lnTo>
                <a:lnTo>
                  <a:pt x="117" y="337152"/>
                </a:lnTo>
                <a:lnTo>
                  <a:pt x="51100" y="337152"/>
                </a:lnTo>
                <a:lnTo>
                  <a:pt x="19510" y="205930"/>
                </a:lnTo>
                <a:lnTo>
                  <a:pt x="29049" y="0"/>
                </a:lnTo>
                <a:close/>
              </a:path>
            </a:pathLst>
          </a:custGeom>
          <a:solidFill>
            <a:srgbClr val="000000">
              <a:alpha val="9999"/>
            </a:srgbClr>
          </a:solidFill>
        </p:spPr>
        <p:txBody>
          <a:bodyPr wrap="square" lIns="0" tIns="0" rIns="0" bIns="0" rtlCol="0"/>
          <a:lstStyle/>
          <a:p>
            <a:endParaRPr/>
          </a:p>
        </p:txBody>
      </p:sp>
      <p:sp>
        <p:nvSpPr>
          <p:cNvPr id="815" name="object 815"/>
          <p:cNvSpPr/>
          <p:nvPr/>
        </p:nvSpPr>
        <p:spPr>
          <a:xfrm>
            <a:off x="2696631" y="2192203"/>
            <a:ext cx="145858" cy="200436"/>
          </a:xfrm>
          <a:prstGeom prst="rect">
            <a:avLst/>
          </a:prstGeom>
          <a:blipFill>
            <a:blip r:embed="rId23" cstate="print"/>
            <a:stretch>
              <a:fillRect/>
            </a:stretch>
          </a:blipFill>
        </p:spPr>
        <p:txBody>
          <a:bodyPr wrap="square" lIns="0" tIns="0" rIns="0" bIns="0" rtlCol="0"/>
          <a:lstStyle/>
          <a:p>
            <a:endParaRPr/>
          </a:p>
        </p:txBody>
      </p:sp>
      <p:sp>
        <p:nvSpPr>
          <p:cNvPr id="816" name="object 816"/>
          <p:cNvSpPr/>
          <p:nvPr/>
        </p:nvSpPr>
        <p:spPr>
          <a:xfrm>
            <a:off x="2650105" y="2579716"/>
            <a:ext cx="10975" cy="41009"/>
          </a:xfrm>
          <a:custGeom>
            <a:avLst/>
            <a:gdLst/>
            <a:ahLst/>
            <a:cxnLst/>
            <a:rect l="l" t="t" r="r" b="b"/>
            <a:pathLst>
              <a:path w="24129" h="90170">
                <a:moveTo>
                  <a:pt x="20983" y="0"/>
                </a:moveTo>
                <a:lnTo>
                  <a:pt x="0" y="46197"/>
                </a:lnTo>
                <a:lnTo>
                  <a:pt x="1046" y="65115"/>
                </a:lnTo>
                <a:lnTo>
                  <a:pt x="2243" y="75381"/>
                </a:lnTo>
                <a:lnTo>
                  <a:pt x="4355" y="80560"/>
                </a:lnTo>
                <a:lnTo>
                  <a:pt x="8146" y="84217"/>
                </a:lnTo>
                <a:lnTo>
                  <a:pt x="14659" y="89641"/>
                </a:lnTo>
                <a:lnTo>
                  <a:pt x="17999" y="79327"/>
                </a:lnTo>
                <a:lnTo>
                  <a:pt x="16167" y="66784"/>
                </a:lnTo>
                <a:lnTo>
                  <a:pt x="15867" y="58417"/>
                </a:lnTo>
                <a:lnTo>
                  <a:pt x="17379" y="50458"/>
                </a:lnTo>
                <a:lnTo>
                  <a:pt x="20983" y="39140"/>
                </a:lnTo>
                <a:lnTo>
                  <a:pt x="23651" y="25006"/>
                </a:lnTo>
                <a:lnTo>
                  <a:pt x="23355" y="12443"/>
                </a:lnTo>
                <a:lnTo>
                  <a:pt x="21873" y="3443"/>
                </a:lnTo>
                <a:lnTo>
                  <a:pt x="20983" y="0"/>
                </a:lnTo>
                <a:close/>
              </a:path>
            </a:pathLst>
          </a:custGeom>
          <a:solidFill>
            <a:srgbClr val="B08371"/>
          </a:solidFill>
        </p:spPr>
        <p:txBody>
          <a:bodyPr wrap="square" lIns="0" tIns="0" rIns="0" bIns="0" rtlCol="0"/>
          <a:lstStyle/>
          <a:p>
            <a:endParaRPr/>
          </a:p>
        </p:txBody>
      </p:sp>
      <p:sp>
        <p:nvSpPr>
          <p:cNvPr id="817" name="object 817"/>
          <p:cNvSpPr/>
          <p:nvPr/>
        </p:nvSpPr>
        <p:spPr>
          <a:xfrm>
            <a:off x="2696627" y="2312165"/>
            <a:ext cx="107441" cy="195227"/>
          </a:xfrm>
          <a:custGeom>
            <a:avLst/>
            <a:gdLst/>
            <a:ahLst/>
            <a:cxnLst/>
            <a:rect l="l" t="t" r="r" b="b"/>
            <a:pathLst>
              <a:path w="236220" h="429260">
                <a:moveTo>
                  <a:pt x="46700" y="0"/>
                </a:moveTo>
                <a:lnTo>
                  <a:pt x="0" y="16292"/>
                </a:lnTo>
                <a:lnTo>
                  <a:pt x="1498" y="89610"/>
                </a:lnTo>
                <a:lnTo>
                  <a:pt x="4957" y="133528"/>
                </a:lnTo>
                <a:lnTo>
                  <a:pt x="28417" y="203292"/>
                </a:lnTo>
                <a:lnTo>
                  <a:pt x="86549" y="298594"/>
                </a:lnTo>
                <a:lnTo>
                  <a:pt x="154919" y="369508"/>
                </a:lnTo>
                <a:lnTo>
                  <a:pt x="211843" y="413738"/>
                </a:lnTo>
                <a:lnTo>
                  <a:pt x="235636" y="428992"/>
                </a:lnTo>
                <a:lnTo>
                  <a:pt x="230275" y="370397"/>
                </a:lnTo>
                <a:lnTo>
                  <a:pt x="117095" y="253073"/>
                </a:lnTo>
                <a:lnTo>
                  <a:pt x="63380" y="132354"/>
                </a:lnTo>
                <a:lnTo>
                  <a:pt x="47218" y="38058"/>
                </a:lnTo>
                <a:lnTo>
                  <a:pt x="46700" y="0"/>
                </a:lnTo>
                <a:close/>
              </a:path>
            </a:pathLst>
          </a:custGeom>
          <a:solidFill>
            <a:srgbClr val="4AB4E6"/>
          </a:solidFill>
        </p:spPr>
        <p:txBody>
          <a:bodyPr wrap="square" lIns="0" tIns="0" rIns="0" bIns="0" rtlCol="0"/>
          <a:lstStyle/>
          <a:p>
            <a:endParaRPr/>
          </a:p>
        </p:txBody>
      </p:sp>
      <p:sp>
        <p:nvSpPr>
          <p:cNvPr id="818" name="object 818"/>
          <p:cNvSpPr/>
          <p:nvPr/>
        </p:nvSpPr>
        <p:spPr>
          <a:xfrm>
            <a:off x="2631729" y="2490851"/>
            <a:ext cx="121304" cy="0"/>
          </a:xfrm>
          <a:custGeom>
            <a:avLst/>
            <a:gdLst/>
            <a:ahLst/>
            <a:cxnLst/>
            <a:rect l="l" t="t" r="r" b="b"/>
            <a:pathLst>
              <a:path w="266700">
                <a:moveTo>
                  <a:pt x="0" y="0"/>
                </a:moveTo>
                <a:lnTo>
                  <a:pt x="266138" y="0"/>
                </a:lnTo>
              </a:path>
            </a:pathLst>
          </a:custGeom>
          <a:ln w="11287">
            <a:solidFill>
              <a:srgbClr val="92979A"/>
            </a:solidFill>
          </a:ln>
        </p:spPr>
        <p:txBody>
          <a:bodyPr wrap="square" lIns="0" tIns="0" rIns="0" bIns="0" rtlCol="0"/>
          <a:lstStyle/>
          <a:p>
            <a:endParaRPr/>
          </a:p>
        </p:txBody>
      </p:sp>
      <p:sp>
        <p:nvSpPr>
          <p:cNvPr id="819" name="object 819"/>
          <p:cNvSpPr/>
          <p:nvPr/>
        </p:nvSpPr>
        <p:spPr>
          <a:xfrm>
            <a:off x="2587167" y="2417857"/>
            <a:ext cx="127080" cy="75665"/>
          </a:xfrm>
          <a:custGeom>
            <a:avLst/>
            <a:gdLst/>
            <a:ahLst/>
            <a:cxnLst/>
            <a:rect l="l" t="t" r="r" b="b"/>
            <a:pathLst>
              <a:path w="279400" h="166370">
                <a:moveTo>
                  <a:pt x="240223" y="0"/>
                </a:moveTo>
                <a:lnTo>
                  <a:pt x="2251" y="0"/>
                </a:lnTo>
                <a:lnTo>
                  <a:pt x="0" y="2910"/>
                </a:lnTo>
                <a:lnTo>
                  <a:pt x="41454" y="162466"/>
                </a:lnTo>
                <a:lnTo>
                  <a:pt x="46228" y="166141"/>
                </a:lnTo>
                <a:lnTo>
                  <a:pt x="278933" y="166141"/>
                </a:lnTo>
                <a:lnTo>
                  <a:pt x="242128" y="1528"/>
                </a:lnTo>
                <a:lnTo>
                  <a:pt x="240223" y="0"/>
                </a:lnTo>
                <a:close/>
              </a:path>
            </a:pathLst>
          </a:custGeom>
          <a:solidFill>
            <a:srgbClr val="92979A"/>
          </a:solidFill>
        </p:spPr>
        <p:txBody>
          <a:bodyPr wrap="square" lIns="0" tIns="0" rIns="0" bIns="0" rtlCol="0"/>
          <a:lstStyle/>
          <a:p>
            <a:endParaRPr/>
          </a:p>
        </p:txBody>
      </p:sp>
      <p:sp>
        <p:nvSpPr>
          <p:cNvPr id="820" name="object 820"/>
          <p:cNvSpPr/>
          <p:nvPr/>
        </p:nvSpPr>
        <p:spPr>
          <a:xfrm>
            <a:off x="2587176" y="2419597"/>
            <a:ext cx="123326" cy="73932"/>
          </a:xfrm>
          <a:custGeom>
            <a:avLst/>
            <a:gdLst/>
            <a:ahLst/>
            <a:cxnLst/>
            <a:rect l="l" t="t" r="r" b="b"/>
            <a:pathLst>
              <a:path w="271145" h="162560">
                <a:moveTo>
                  <a:pt x="233312" y="0"/>
                </a:moveTo>
                <a:lnTo>
                  <a:pt x="2188" y="0"/>
                </a:lnTo>
                <a:lnTo>
                  <a:pt x="0" y="2848"/>
                </a:lnTo>
                <a:lnTo>
                  <a:pt x="40260" y="158717"/>
                </a:lnTo>
                <a:lnTo>
                  <a:pt x="44888" y="162319"/>
                </a:lnTo>
                <a:lnTo>
                  <a:pt x="270913" y="162319"/>
                </a:lnTo>
                <a:lnTo>
                  <a:pt x="235165" y="1507"/>
                </a:lnTo>
                <a:lnTo>
                  <a:pt x="233312" y="0"/>
                </a:lnTo>
                <a:close/>
              </a:path>
            </a:pathLst>
          </a:custGeom>
          <a:solidFill>
            <a:srgbClr val="88ABBB"/>
          </a:solidFill>
        </p:spPr>
        <p:txBody>
          <a:bodyPr wrap="square" lIns="0" tIns="0" rIns="0" bIns="0" rtlCol="0"/>
          <a:lstStyle/>
          <a:p>
            <a:endParaRPr/>
          </a:p>
        </p:txBody>
      </p:sp>
      <p:sp>
        <p:nvSpPr>
          <p:cNvPr id="821" name="object 821"/>
          <p:cNvSpPr/>
          <p:nvPr/>
        </p:nvSpPr>
        <p:spPr>
          <a:xfrm>
            <a:off x="2685079" y="2385169"/>
            <a:ext cx="159428" cy="125916"/>
          </a:xfrm>
          <a:custGeom>
            <a:avLst/>
            <a:gdLst/>
            <a:ahLst/>
            <a:cxnLst/>
            <a:rect l="l" t="t" r="r" b="b"/>
            <a:pathLst>
              <a:path w="350520" h="276860">
                <a:moveTo>
                  <a:pt x="0" y="238013"/>
                </a:moveTo>
                <a:lnTo>
                  <a:pt x="35025" y="265091"/>
                </a:lnTo>
                <a:lnTo>
                  <a:pt x="85945" y="276504"/>
                </a:lnTo>
                <a:lnTo>
                  <a:pt x="226407" y="238128"/>
                </a:lnTo>
                <a:lnTo>
                  <a:pt x="31301" y="238128"/>
                </a:lnTo>
                <a:lnTo>
                  <a:pt x="0" y="238013"/>
                </a:lnTo>
                <a:close/>
              </a:path>
              <a:path w="350520" h="276860">
                <a:moveTo>
                  <a:pt x="277611" y="223951"/>
                </a:moveTo>
                <a:lnTo>
                  <a:pt x="74259" y="223951"/>
                </a:lnTo>
                <a:lnTo>
                  <a:pt x="89463" y="226883"/>
                </a:lnTo>
                <a:lnTo>
                  <a:pt x="85568" y="235060"/>
                </a:lnTo>
                <a:lnTo>
                  <a:pt x="41946" y="238013"/>
                </a:lnTo>
                <a:lnTo>
                  <a:pt x="31301" y="238128"/>
                </a:lnTo>
                <a:lnTo>
                  <a:pt x="226407" y="238128"/>
                </a:lnTo>
                <a:lnTo>
                  <a:pt x="277611" y="223951"/>
                </a:lnTo>
                <a:close/>
              </a:path>
              <a:path w="350520" h="276860">
                <a:moveTo>
                  <a:pt x="109965" y="210810"/>
                </a:moveTo>
                <a:lnTo>
                  <a:pt x="57809" y="213145"/>
                </a:lnTo>
                <a:lnTo>
                  <a:pt x="60689" y="224234"/>
                </a:lnTo>
                <a:lnTo>
                  <a:pt x="65411" y="224003"/>
                </a:lnTo>
                <a:lnTo>
                  <a:pt x="277611" y="223951"/>
                </a:lnTo>
                <a:lnTo>
                  <a:pt x="294054" y="219323"/>
                </a:lnTo>
                <a:lnTo>
                  <a:pt x="150529" y="219323"/>
                </a:lnTo>
                <a:lnTo>
                  <a:pt x="109965" y="210810"/>
                </a:lnTo>
                <a:close/>
              </a:path>
              <a:path w="350520" h="276860">
                <a:moveTo>
                  <a:pt x="334995" y="0"/>
                </a:moveTo>
                <a:lnTo>
                  <a:pt x="261677" y="26973"/>
                </a:lnTo>
                <a:lnTo>
                  <a:pt x="274598" y="158948"/>
                </a:lnTo>
                <a:lnTo>
                  <a:pt x="150529" y="219323"/>
                </a:lnTo>
                <a:lnTo>
                  <a:pt x="294054" y="219323"/>
                </a:lnTo>
                <a:lnTo>
                  <a:pt x="325361" y="210328"/>
                </a:lnTo>
                <a:lnTo>
                  <a:pt x="335773" y="205313"/>
                </a:lnTo>
                <a:lnTo>
                  <a:pt x="343756" y="197389"/>
                </a:lnTo>
                <a:lnTo>
                  <a:pt x="348759" y="187316"/>
                </a:lnTo>
                <a:lnTo>
                  <a:pt x="350230" y="175858"/>
                </a:lnTo>
                <a:lnTo>
                  <a:pt x="348646" y="141872"/>
                </a:lnTo>
                <a:lnTo>
                  <a:pt x="345875" y="98837"/>
                </a:lnTo>
                <a:lnTo>
                  <a:pt x="341473" y="50348"/>
                </a:lnTo>
                <a:lnTo>
                  <a:pt x="334995" y="0"/>
                </a:lnTo>
                <a:close/>
              </a:path>
            </a:pathLst>
          </a:custGeom>
          <a:solidFill>
            <a:srgbClr val="B08371"/>
          </a:solidFill>
        </p:spPr>
        <p:txBody>
          <a:bodyPr wrap="square" lIns="0" tIns="0" rIns="0" bIns="0" rtlCol="0"/>
          <a:lstStyle/>
          <a:p>
            <a:endParaRPr/>
          </a:p>
        </p:txBody>
      </p:sp>
      <p:sp>
        <p:nvSpPr>
          <p:cNvPr id="822" name="object 822"/>
          <p:cNvSpPr/>
          <p:nvPr/>
        </p:nvSpPr>
        <p:spPr>
          <a:xfrm>
            <a:off x="2804099" y="2385169"/>
            <a:ext cx="40276" cy="101119"/>
          </a:xfrm>
          <a:prstGeom prst="rect">
            <a:avLst/>
          </a:prstGeom>
          <a:blipFill>
            <a:blip r:embed="rId24" cstate="print"/>
            <a:stretch>
              <a:fillRect/>
            </a:stretch>
          </a:blipFill>
        </p:spPr>
        <p:txBody>
          <a:bodyPr wrap="square" lIns="0" tIns="0" rIns="0" bIns="0" rtlCol="0"/>
          <a:lstStyle/>
          <a:p>
            <a:endParaRPr/>
          </a:p>
        </p:txBody>
      </p:sp>
      <p:sp>
        <p:nvSpPr>
          <p:cNvPr id="823" name="object 823"/>
          <p:cNvSpPr/>
          <p:nvPr/>
        </p:nvSpPr>
        <p:spPr>
          <a:xfrm>
            <a:off x="2708454" y="2181762"/>
            <a:ext cx="88840" cy="56503"/>
          </a:xfrm>
          <a:prstGeom prst="rect">
            <a:avLst/>
          </a:prstGeom>
          <a:blipFill>
            <a:blip r:embed="rId25" cstate="print"/>
            <a:stretch>
              <a:fillRect/>
            </a:stretch>
          </a:blipFill>
        </p:spPr>
        <p:txBody>
          <a:bodyPr wrap="square" lIns="0" tIns="0" rIns="0" bIns="0" rtlCol="0"/>
          <a:lstStyle/>
          <a:p>
            <a:endParaRPr/>
          </a:p>
        </p:txBody>
      </p:sp>
      <p:sp>
        <p:nvSpPr>
          <p:cNvPr id="824" name="object 824"/>
          <p:cNvSpPr/>
          <p:nvPr/>
        </p:nvSpPr>
        <p:spPr>
          <a:xfrm>
            <a:off x="2762396" y="2004791"/>
            <a:ext cx="137767" cy="137757"/>
          </a:xfrm>
          <a:custGeom>
            <a:avLst/>
            <a:gdLst/>
            <a:ahLst/>
            <a:cxnLst/>
            <a:rect l="l" t="t" r="r" b="b"/>
            <a:pathLst>
              <a:path w="302895" h="302895">
                <a:moveTo>
                  <a:pt x="151136" y="0"/>
                </a:moveTo>
                <a:lnTo>
                  <a:pt x="103364" y="7705"/>
                </a:lnTo>
                <a:lnTo>
                  <a:pt x="61875" y="29164"/>
                </a:lnTo>
                <a:lnTo>
                  <a:pt x="29159" y="61884"/>
                </a:lnTo>
                <a:lnTo>
                  <a:pt x="7704" y="103379"/>
                </a:lnTo>
                <a:lnTo>
                  <a:pt x="0" y="151157"/>
                </a:lnTo>
                <a:lnTo>
                  <a:pt x="7704" y="198925"/>
                </a:lnTo>
                <a:lnTo>
                  <a:pt x="29159" y="240414"/>
                </a:lnTo>
                <a:lnTo>
                  <a:pt x="61875" y="273131"/>
                </a:lnTo>
                <a:lnTo>
                  <a:pt x="103364" y="294588"/>
                </a:lnTo>
                <a:lnTo>
                  <a:pt x="151136" y="302294"/>
                </a:lnTo>
                <a:lnTo>
                  <a:pt x="198908" y="294588"/>
                </a:lnTo>
                <a:lnTo>
                  <a:pt x="240397" y="273131"/>
                </a:lnTo>
                <a:lnTo>
                  <a:pt x="273113" y="240414"/>
                </a:lnTo>
                <a:lnTo>
                  <a:pt x="294568" y="198925"/>
                </a:lnTo>
                <a:lnTo>
                  <a:pt x="302273" y="151157"/>
                </a:lnTo>
                <a:lnTo>
                  <a:pt x="294568" y="103379"/>
                </a:lnTo>
                <a:lnTo>
                  <a:pt x="273113" y="61884"/>
                </a:lnTo>
                <a:lnTo>
                  <a:pt x="240397" y="29164"/>
                </a:lnTo>
                <a:lnTo>
                  <a:pt x="198908" y="7705"/>
                </a:lnTo>
                <a:lnTo>
                  <a:pt x="151136" y="0"/>
                </a:lnTo>
                <a:close/>
              </a:path>
            </a:pathLst>
          </a:custGeom>
          <a:solidFill>
            <a:srgbClr val="4AB4E6"/>
          </a:solidFill>
        </p:spPr>
        <p:txBody>
          <a:bodyPr wrap="square" lIns="0" tIns="0" rIns="0" bIns="0" rtlCol="0"/>
          <a:lstStyle/>
          <a:p>
            <a:endParaRPr/>
          </a:p>
        </p:txBody>
      </p:sp>
      <p:sp>
        <p:nvSpPr>
          <p:cNvPr id="825" name="object 825"/>
          <p:cNvSpPr/>
          <p:nvPr/>
        </p:nvSpPr>
        <p:spPr>
          <a:xfrm>
            <a:off x="2793493" y="2045952"/>
            <a:ext cx="75290" cy="55163"/>
          </a:xfrm>
          <a:prstGeom prst="rect">
            <a:avLst/>
          </a:prstGeom>
          <a:blipFill>
            <a:blip r:embed="rId26" cstate="print"/>
            <a:stretch>
              <a:fillRect/>
            </a:stretch>
          </a:blipFill>
        </p:spPr>
        <p:txBody>
          <a:bodyPr wrap="square" lIns="0" tIns="0" rIns="0" bIns="0" rtlCol="0"/>
          <a:lstStyle/>
          <a:p>
            <a:endParaRPr/>
          </a:p>
        </p:txBody>
      </p:sp>
      <p:sp>
        <p:nvSpPr>
          <p:cNvPr id="826" name="object 826"/>
          <p:cNvSpPr/>
          <p:nvPr/>
        </p:nvSpPr>
        <p:spPr>
          <a:xfrm>
            <a:off x="2297431" y="1951960"/>
            <a:ext cx="119571" cy="119563"/>
          </a:xfrm>
          <a:custGeom>
            <a:avLst/>
            <a:gdLst/>
            <a:ahLst/>
            <a:cxnLst/>
            <a:rect l="l" t="t" r="r" b="b"/>
            <a:pathLst>
              <a:path w="262889" h="262889">
                <a:moveTo>
                  <a:pt x="114153" y="0"/>
                </a:moveTo>
                <a:lnTo>
                  <a:pt x="72458" y="12675"/>
                </a:lnTo>
                <a:lnTo>
                  <a:pt x="37730" y="37730"/>
                </a:lnTo>
                <a:lnTo>
                  <a:pt x="12675" y="72458"/>
                </a:lnTo>
                <a:lnTo>
                  <a:pt x="0" y="114153"/>
                </a:lnTo>
                <a:lnTo>
                  <a:pt x="2937" y="163939"/>
                </a:lnTo>
                <a:lnTo>
                  <a:pt x="22627" y="207054"/>
                </a:lnTo>
                <a:lnTo>
                  <a:pt x="55708" y="240137"/>
                </a:lnTo>
                <a:lnTo>
                  <a:pt x="98817" y="259828"/>
                </a:lnTo>
                <a:lnTo>
                  <a:pt x="148592" y="262766"/>
                </a:lnTo>
                <a:lnTo>
                  <a:pt x="190287" y="250091"/>
                </a:lnTo>
                <a:lnTo>
                  <a:pt x="225014" y="225035"/>
                </a:lnTo>
                <a:lnTo>
                  <a:pt x="250066" y="190303"/>
                </a:lnTo>
                <a:lnTo>
                  <a:pt x="262735" y="148602"/>
                </a:lnTo>
                <a:lnTo>
                  <a:pt x="259794" y="98828"/>
                </a:lnTo>
                <a:lnTo>
                  <a:pt x="240106" y="55721"/>
                </a:lnTo>
                <a:lnTo>
                  <a:pt x="207031" y="22640"/>
                </a:lnTo>
                <a:lnTo>
                  <a:pt x="163926" y="2946"/>
                </a:lnTo>
                <a:lnTo>
                  <a:pt x="114153" y="0"/>
                </a:lnTo>
                <a:close/>
              </a:path>
            </a:pathLst>
          </a:custGeom>
          <a:solidFill>
            <a:srgbClr val="FF7900"/>
          </a:solidFill>
        </p:spPr>
        <p:txBody>
          <a:bodyPr wrap="square" lIns="0" tIns="0" rIns="0" bIns="0" rtlCol="0"/>
          <a:lstStyle/>
          <a:p>
            <a:endParaRPr/>
          </a:p>
        </p:txBody>
      </p:sp>
      <p:sp>
        <p:nvSpPr>
          <p:cNvPr id="827" name="object 827"/>
          <p:cNvSpPr/>
          <p:nvPr/>
        </p:nvSpPr>
        <p:spPr>
          <a:xfrm>
            <a:off x="2324093" y="1986700"/>
            <a:ext cx="66180" cy="58679"/>
          </a:xfrm>
          <a:prstGeom prst="rect">
            <a:avLst/>
          </a:prstGeom>
          <a:blipFill>
            <a:blip r:embed="rId27" cstate="print"/>
            <a:stretch>
              <a:fillRect/>
            </a:stretch>
          </a:blipFill>
        </p:spPr>
        <p:txBody>
          <a:bodyPr wrap="square" lIns="0" tIns="0" rIns="0" bIns="0" rtlCol="0"/>
          <a:lstStyle/>
          <a:p>
            <a:endParaRPr/>
          </a:p>
        </p:txBody>
      </p:sp>
      <p:sp>
        <p:nvSpPr>
          <p:cNvPr id="828" name="object 828"/>
          <p:cNvSpPr/>
          <p:nvPr/>
        </p:nvSpPr>
        <p:spPr>
          <a:xfrm>
            <a:off x="4150230" y="1753372"/>
            <a:ext cx="136034" cy="136024"/>
          </a:xfrm>
          <a:custGeom>
            <a:avLst/>
            <a:gdLst/>
            <a:ahLst/>
            <a:cxnLst/>
            <a:rect l="l" t="t" r="r" b="b"/>
            <a:pathLst>
              <a:path w="299084" h="299085">
                <a:moveTo>
                  <a:pt x="149241" y="0"/>
                </a:moveTo>
                <a:lnTo>
                  <a:pt x="102068" y="7609"/>
                </a:lnTo>
                <a:lnTo>
                  <a:pt x="61100" y="28797"/>
                </a:lnTo>
                <a:lnTo>
                  <a:pt x="28794" y="61106"/>
                </a:lnTo>
                <a:lnTo>
                  <a:pt x="7608" y="102077"/>
                </a:lnTo>
                <a:lnTo>
                  <a:pt x="0" y="149252"/>
                </a:lnTo>
                <a:lnTo>
                  <a:pt x="7608" y="196430"/>
                </a:lnTo>
                <a:lnTo>
                  <a:pt x="28794" y="237401"/>
                </a:lnTo>
                <a:lnTo>
                  <a:pt x="61100" y="269709"/>
                </a:lnTo>
                <a:lnTo>
                  <a:pt x="102068" y="290895"/>
                </a:lnTo>
                <a:lnTo>
                  <a:pt x="149241" y="298504"/>
                </a:lnTo>
                <a:lnTo>
                  <a:pt x="196414" y="290895"/>
                </a:lnTo>
                <a:lnTo>
                  <a:pt x="237382" y="269709"/>
                </a:lnTo>
                <a:lnTo>
                  <a:pt x="269688" y="237401"/>
                </a:lnTo>
                <a:lnTo>
                  <a:pt x="290874" y="196430"/>
                </a:lnTo>
                <a:lnTo>
                  <a:pt x="298483" y="149252"/>
                </a:lnTo>
                <a:lnTo>
                  <a:pt x="290874" y="102077"/>
                </a:lnTo>
                <a:lnTo>
                  <a:pt x="269688" y="61106"/>
                </a:lnTo>
                <a:lnTo>
                  <a:pt x="237382" y="28797"/>
                </a:lnTo>
                <a:lnTo>
                  <a:pt x="196414" y="7609"/>
                </a:lnTo>
                <a:lnTo>
                  <a:pt x="149241" y="0"/>
                </a:lnTo>
                <a:close/>
              </a:path>
            </a:pathLst>
          </a:custGeom>
          <a:solidFill>
            <a:srgbClr val="4AB4E6"/>
          </a:solidFill>
        </p:spPr>
        <p:txBody>
          <a:bodyPr wrap="square" lIns="0" tIns="0" rIns="0" bIns="0" rtlCol="0"/>
          <a:lstStyle/>
          <a:p>
            <a:endParaRPr/>
          </a:p>
        </p:txBody>
      </p:sp>
      <p:sp>
        <p:nvSpPr>
          <p:cNvPr id="829" name="object 829"/>
          <p:cNvSpPr/>
          <p:nvPr/>
        </p:nvSpPr>
        <p:spPr>
          <a:xfrm>
            <a:off x="4177842" y="1780413"/>
            <a:ext cx="80534" cy="84403"/>
          </a:xfrm>
          <a:prstGeom prst="rect">
            <a:avLst/>
          </a:prstGeom>
          <a:blipFill>
            <a:blip r:embed="rId28" cstate="print"/>
            <a:stretch>
              <a:fillRect/>
            </a:stretch>
          </a:blipFill>
        </p:spPr>
        <p:txBody>
          <a:bodyPr wrap="square" lIns="0" tIns="0" rIns="0" bIns="0" rtlCol="0"/>
          <a:lstStyle/>
          <a:p>
            <a:endParaRPr/>
          </a:p>
        </p:txBody>
      </p:sp>
      <p:sp>
        <p:nvSpPr>
          <p:cNvPr id="830" name="object 830"/>
          <p:cNvSpPr/>
          <p:nvPr/>
        </p:nvSpPr>
        <p:spPr>
          <a:xfrm>
            <a:off x="2568802" y="1868530"/>
            <a:ext cx="110014" cy="110010"/>
          </a:xfrm>
          <a:prstGeom prst="rect">
            <a:avLst/>
          </a:prstGeom>
          <a:blipFill>
            <a:blip r:embed="rId29" cstate="print"/>
            <a:stretch>
              <a:fillRect/>
            </a:stretch>
          </a:blipFill>
        </p:spPr>
        <p:txBody>
          <a:bodyPr wrap="square" lIns="0" tIns="0" rIns="0" bIns="0" rtlCol="0"/>
          <a:lstStyle/>
          <a:p>
            <a:endParaRPr/>
          </a:p>
        </p:txBody>
      </p:sp>
      <p:sp>
        <p:nvSpPr>
          <p:cNvPr id="831" name="object 831"/>
          <p:cNvSpPr/>
          <p:nvPr/>
        </p:nvSpPr>
        <p:spPr>
          <a:xfrm>
            <a:off x="1770419" y="1929289"/>
            <a:ext cx="130546" cy="115231"/>
          </a:xfrm>
          <a:custGeom>
            <a:avLst/>
            <a:gdLst/>
            <a:ahLst/>
            <a:cxnLst/>
            <a:rect l="l" t="t" r="r" b="b"/>
            <a:pathLst>
              <a:path w="287020" h="253364">
                <a:moveTo>
                  <a:pt x="143461" y="0"/>
                </a:moveTo>
                <a:lnTo>
                  <a:pt x="98116" y="7314"/>
                </a:lnTo>
                <a:lnTo>
                  <a:pt x="58734" y="27682"/>
                </a:lnTo>
                <a:lnTo>
                  <a:pt x="27679" y="58738"/>
                </a:lnTo>
                <a:lnTo>
                  <a:pt x="7313" y="98120"/>
                </a:lnTo>
                <a:lnTo>
                  <a:pt x="0" y="143461"/>
                </a:lnTo>
                <a:lnTo>
                  <a:pt x="3587" y="175473"/>
                </a:lnTo>
                <a:lnTo>
                  <a:pt x="13821" y="204954"/>
                </a:lnTo>
                <a:lnTo>
                  <a:pt x="29905" y="231117"/>
                </a:lnTo>
                <a:lnTo>
                  <a:pt x="51045" y="253175"/>
                </a:lnTo>
                <a:lnTo>
                  <a:pt x="62981" y="230886"/>
                </a:lnTo>
                <a:lnTo>
                  <a:pt x="79983" y="212477"/>
                </a:lnTo>
                <a:lnTo>
                  <a:pt x="101149" y="198870"/>
                </a:lnTo>
                <a:lnTo>
                  <a:pt x="125577" y="190988"/>
                </a:lnTo>
                <a:lnTo>
                  <a:pt x="110294" y="183025"/>
                </a:lnTo>
                <a:lnTo>
                  <a:pt x="98244" y="170938"/>
                </a:lnTo>
                <a:lnTo>
                  <a:pt x="90342" y="155633"/>
                </a:lnTo>
                <a:lnTo>
                  <a:pt x="87505" y="138016"/>
                </a:lnTo>
                <a:lnTo>
                  <a:pt x="91903" y="116233"/>
                </a:lnTo>
                <a:lnTo>
                  <a:pt x="103896" y="98447"/>
                </a:lnTo>
                <a:lnTo>
                  <a:pt x="121682" y="86456"/>
                </a:lnTo>
                <a:lnTo>
                  <a:pt x="143461" y="82060"/>
                </a:lnTo>
                <a:lnTo>
                  <a:pt x="271304" y="82060"/>
                </a:lnTo>
                <a:lnTo>
                  <a:pt x="259243" y="58738"/>
                </a:lnTo>
                <a:lnTo>
                  <a:pt x="228188" y="27682"/>
                </a:lnTo>
                <a:lnTo>
                  <a:pt x="188807" y="7314"/>
                </a:lnTo>
                <a:lnTo>
                  <a:pt x="143461" y="0"/>
                </a:lnTo>
                <a:close/>
              </a:path>
              <a:path w="287020" h="253364">
                <a:moveTo>
                  <a:pt x="271304" y="82060"/>
                </a:moveTo>
                <a:lnTo>
                  <a:pt x="143461" y="82060"/>
                </a:lnTo>
                <a:lnTo>
                  <a:pt x="165240" y="86456"/>
                </a:lnTo>
                <a:lnTo>
                  <a:pt x="183027" y="98447"/>
                </a:lnTo>
                <a:lnTo>
                  <a:pt x="195020" y="116233"/>
                </a:lnTo>
                <a:lnTo>
                  <a:pt x="199418" y="138016"/>
                </a:lnTo>
                <a:lnTo>
                  <a:pt x="196580" y="155633"/>
                </a:lnTo>
                <a:lnTo>
                  <a:pt x="188678" y="170938"/>
                </a:lnTo>
                <a:lnTo>
                  <a:pt x="176628" y="183025"/>
                </a:lnTo>
                <a:lnTo>
                  <a:pt x="161345" y="190988"/>
                </a:lnTo>
                <a:lnTo>
                  <a:pt x="185773" y="198870"/>
                </a:lnTo>
                <a:lnTo>
                  <a:pt x="206940" y="212477"/>
                </a:lnTo>
                <a:lnTo>
                  <a:pt x="223941" y="230886"/>
                </a:lnTo>
                <a:lnTo>
                  <a:pt x="235877" y="253175"/>
                </a:lnTo>
                <a:lnTo>
                  <a:pt x="257017" y="231117"/>
                </a:lnTo>
                <a:lnTo>
                  <a:pt x="273101" y="204954"/>
                </a:lnTo>
                <a:lnTo>
                  <a:pt x="283335" y="175473"/>
                </a:lnTo>
                <a:lnTo>
                  <a:pt x="286923" y="143461"/>
                </a:lnTo>
                <a:lnTo>
                  <a:pt x="279609" y="98120"/>
                </a:lnTo>
                <a:lnTo>
                  <a:pt x="271304" y="82060"/>
                </a:lnTo>
                <a:close/>
              </a:path>
            </a:pathLst>
          </a:custGeom>
          <a:solidFill>
            <a:srgbClr val="FF7900"/>
          </a:solidFill>
        </p:spPr>
        <p:txBody>
          <a:bodyPr wrap="square" lIns="0" tIns="0" rIns="0" bIns="0" rtlCol="0"/>
          <a:lstStyle/>
          <a:p>
            <a:endParaRPr/>
          </a:p>
        </p:txBody>
      </p:sp>
      <p:sp>
        <p:nvSpPr>
          <p:cNvPr id="832" name="object 832"/>
          <p:cNvSpPr/>
          <p:nvPr/>
        </p:nvSpPr>
        <p:spPr>
          <a:xfrm>
            <a:off x="1793637" y="1966611"/>
            <a:ext cx="84068" cy="93176"/>
          </a:xfrm>
          <a:prstGeom prst="rect">
            <a:avLst/>
          </a:prstGeom>
          <a:blipFill>
            <a:blip r:embed="rId30" cstate="print"/>
            <a:stretch>
              <a:fillRect/>
            </a:stretch>
          </a:blipFill>
        </p:spPr>
        <p:txBody>
          <a:bodyPr wrap="square" lIns="0" tIns="0" rIns="0" bIns="0" rtlCol="0"/>
          <a:lstStyle/>
          <a:p>
            <a:endParaRPr/>
          </a:p>
        </p:txBody>
      </p:sp>
      <p:sp>
        <p:nvSpPr>
          <p:cNvPr id="833" name="object 833"/>
          <p:cNvSpPr/>
          <p:nvPr/>
        </p:nvSpPr>
        <p:spPr>
          <a:xfrm>
            <a:off x="1975040" y="1900171"/>
            <a:ext cx="281021" cy="237392"/>
          </a:xfrm>
          <a:custGeom>
            <a:avLst/>
            <a:gdLst/>
            <a:ahLst/>
            <a:cxnLst/>
            <a:rect l="l" t="t" r="r" b="b"/>
            <a:pathLst>
              <a:path w="617854" h="521970">
                <a:moveTo>
                  <a:pt x="498780" y="0"/>
                </a:moveTo>
                <a:lnTo>
                  <a:pt x="118875" y="0"/>
                </a:lnTo>
                <a:lnTo>
                  <a:pt x="72604" y="9343"/>
                </a:lnTo>
                <a:lnTo>
                  <a:pt x="34818" y="34823"/>
                </a:lnTo>
                <a:lnTo>
                  <a:pt x="9341" y="72613"/>
                </a:lnTo>
                <a:lnTo>
                  <a:pt x="0" y="118886"/>
                </a:lnTo>
                <a:lnTo>
                  <a:pt x="0" y="313885"/>
                </a:lnTo>
                <a:lnTo>
                  <a:pt x="9341" y="360157"/>
                </a:lnTo>
                <a:lnTo>
                  <a:pt x="34818" y="397943"/>
                </a:lnTo>
                <a:lnTo>
                  <a:pt x="72604" y="423419"/>
                </a:lnTo>
                <a:lnTo>
                  <a:pt x="118875" y="432761"/>
                </a:lnTo>
                <a:lnTo>
                  <a:pt x="514842" y="432761"/>
                </a:lnTo>
                <a:lnTo>
                  <a:pt x="617667" y="521774"/>
                </a:lnTo>
                <a:lnTo>
                  <a:pt x="617667" y="118886"/>
                </a:lnTo>
                <a:lnTo>
                  <a:pt x="608323" y="72613"/>
                </a:lnTo>
                <a:lnTo>
                  <a:pt x="582843" y="34823"/>
                </a:lnTo>
                <a:lnTo>
                  <a:pt x="545053" y="9343"/>
                </a:lnTo>
                <a:lnTo>
                  <a:pt x="498780" y="0"/>
                </a:lnTo>
                <a:close/>
              </a:path>
            </a:pathLst>
          </a:custGeom>
          <a:solidFill>
            <a:srgbClr val="C5C5C5"/>
          </a:solidFill>
        </p:spPr>
        <p:txBody>
          <a:bodyPr wrap="square" lIns="0" tIns="0" rIns="0" bIns="0" rtlCol="0"/>
          <a:lstStyle/>
          <a:p>
            <a:endParaRPr/>
          </a:p>
        </p:txBody>
      </p:sp>
      <p:sp>
        <p:nvSpPr>
          <p:cNvPr id="834" name="object 834"/>
          <p:cNvSpPr/>
          <p:nvPr/>
        </p:nvSpPr>
        <p:spPr>
          <a:xfrm>
            <a:off x="2516847" y="2029350"/>
            <a:ext cx="179068" cy="151042"/>
          </a:xfrm>
          <a:custGeom>
            <a:avLst/>
            <a:gdLst/>
            <a:ahLst/>
            <a:cxnLst/>
            <a:rect l="l" t="t" r="r" b="b"/>
            <a:pathLst>
              <a:path w="393700" h="332104">
                <a:moveTo>
                  <a:pt x="317435" y="0"/>
                </a:moveTo>
                <a:lnTo>
                  <a:pt x="75652" y="0"/>
                </a:lnTo>
                <a:lnTo>
                  <a:pt x="46201" y="5945"/>
                </a:lnTo>
                <a:lnTo>
                  <a:pt x="22155" y="22160"/>
                </a:lnTo>
                <a:lnTo>
                  <a:pt x="5944" y="46210"/>
                </a:lnTo>
                <a:lnTo>
                  <a:pt x="0" y="75662"/>
                </a:lnTo>
                <a:lnTo>
                  <a:pt x="0" y="332073"/>
                </a:lnTo>
                <a:lnTo>
                  <a:pt x="65432" y="275415"/>
                </a:lnTo>
                <a:lnTo>
                  <a:pt x="317435" y="275415"/>
                </a:lnTo>
                <a:lnTo>
                  <a:pt x="346883" y="269470"/>
                </a:lnTo>
                <a:lnTo>
                  <a:pt x="370933" y="253255"/>
                </a:lnTo>
                <a:lnTo>
                  <a:pt x="387150" y="229205"/>
                </a:lnTo>
                <a:lnTo>
                  <a:pt x="393097" y="199753"/>
                </a:lnTo>
                <a:lnTo>
                  <a:pt x="393097" y="75662"/>
                </a:lnTo>
                <a:lnTo>
                  <a:pt x="387150" y="46210"/>
                </a:lnTo>
                <a:lnTo>
                  <a:pt x="370933" y="22160"/>
                </a:lnTo>
                <a:lnTo>
                  <a:pt x="346883" y="5945"/>
                </a:lnTo>
                <a:lnTo>
                  <a:pt x="317435" y="0"/>
                </a:lnTo>
                <a:close/>
              </a:path>
            </a:pathLst>
          </a:custGeom>
          <a:solidFill>
            <a:srgbClr val="C5C5C5"/>
          </a:solidFill>
        </p:spPr>
        <p:txBody>
          <a:bodyPr wrap="square" lIns="0" tIns="0" rIns="0" bIns="0" rtlCol="0"/>
          <a:lstStyle/>
          <a:p>
            <a:endParaRPr/>
          </a:p>
        </p:txBody>
      </p:sp>
      <p:sp>
        <p:nvSpPr>
          <p:cNvPr id="835" name="object 835"/>
          <p:cNvSpPr/>
          <p:nvPr/>
        </p:nvSpPr>
        <p:spPr>
          <a:xfrm>
            <a:off x="3833264" y="2201073"/>
            <a:ext cx="452547" cy="788357"/>
          </a:xfrm>
          <a:prstGeom prst="rect">
            <a:avLst/>
          </a:prstGeom>
          <a:blipFill>
            <a:blip r:embed="rId31" cstate="print"/>
            <a:stretch>
              <a:fillRect/>
            </a:stretch>
          </a:blipFill>
        </p:spPr>
        <p:txBody>
          <a:bodyPr wrap="square" lIns="0" tIns="0" rIns="0" bIns="0" rtlCol="0"/>
          <a:lstStyle/>
          <a:p>
            <a:endParaRPr/>
          </a:p>
        </p:txBody>
      </p:sp>
      <p:sp>
        <p:nvSpPr>
          <p:cNvPr id="836" name="object 836"/>
          <p:cNvSpPr/>
          <p:nvPr/>
        </p:nvSpPr>
        <p:spPr>
          <a:xfrm>
            <a:off x="3972121" y="1955831"/>
            <a:ext cx="48872" cy="62646"/>
          </a:xfrm>
          <a:prstGeom prst="rect">
            <a:avLst/>
          </a:prstGeom>
          <a:blipFill>
            <a:blip r:embed="rId32" cstate="print"/>
            <a:stretch>
              <a:fillRect/>
            </a:stretch>
          </a:blipFill>
        </p:spPr>
        <p:txBody>
          <a:bodyPr wrap="square" lIns="0" tIns="0" rIns="0" bIns="0" rtlCol="0"/>
          <a:lstStyle/>
          <a:p>
            <a:endParaRPr/>
          </a:p>
        </p:txBody>
      </p:sp>
      <p:sp>
        <p:nvSpPr>
          <p:cNvPr id="837" name="object 837"/>
          <p:cNvSpPr/>
          <p:nvPr/>
        </p:nvSpPr>
        <p:spPr>
          <a:xfrm>
            <a:off x="3833266" y="2201407"/>
            <a:ext cx="29546" cy="77026"/>
          </a:xfrm>
          <a:prstGeom prst="rect">
            <a:avLst/>
          </a:prstGeom>
          <a:blipFill>
            <a:blip r:embed="rId33" cstate="print"/>
            <a:stretch>
              <a:fillRect/>
            </a:stretch>
          </a:blipFill>
        </p:spPr>
        <p:txBody>
          <a:bodyPr wrap="square" lIns="0" tIns="0" rIns="0" bIns="0" rtlCol="0"/>
          <a:lstStyle/>
          <a:p>
            <a:endParaRPr/>
          </a:p>
        </p:txBody>
      </p:sp>
      <p:sp>
        <p:nvSpPr>
          <p:cNvPr id="838" name="object 838"/>
          <p:cNvSpPr txBox="1"/>
          <p:nvPr/>
        </p:nvSpPr>
        <p:spPr>
          <a:xfrm>
            <a:off x="1773179" y="2989468"/>
            <a:ext cx="3007180" cy="204854"/>
          </a:xfrm>
          <a:prstGeom prst="rect">
            <a:avLst/>
          </a:prstGeom>
          <a:solidFill>
            <a:srgbClr val="1D1D1B"/>
          </a:solidFill>
        </p:spPr>
        <p:txBody>
          <a:bodyPr vert="horz" wrap="square" lIns="0" tIns="35233" rIns="0" bIns="0" rtlCol="0">
            <a:spAutoFit/>
          </a:bodyPr>
          <a:lstStyle/>
          <a:p>
            <a:pPr marL="109165">
              <a:spcBef>
                <a:spcPts val="277"/>
              </a:spcBef>
            </a:pPr>
            <a:r>
              <a:rPr sz="1100" b="1" spc="7" dirty="0">
                <a:solidFill>
                  <a:srgbClr val="FFFFFF"/>
                </a:solidFill>
                <a:latin typeface="Helvetica Neue"/>
                <a:cs typeface="Helvetica Neue"/>
              </a:rPr>
              <a:t>Internet </a:t>
            </a:r>
            <a:r>
              <a:rPr sz="1100" b="1" spc="5" dirty="0">
                <a:solidFill>
                  <a:srgbClr val="FFFFFF"/>
                </a:solidFill>
                <a:latin typeface="Helvetica Neue"/>
                <a:cs typeface="Helvetica Neue"/>
              </a:rPr>
              <a:t>et réseaux</a:t>
            </a:r>
            <a:r>
              <a:rPr sz="1100" b="1" spc="-9" dirty="0">
                <a:solidFill>
                  <a:srgbClr val="FFFFFF"/>
                </a:solidFill>
                <a:latin typeface="Helvetica Neue"/>
                <a:cs typeface="Helvetica Neue"/>
              </a:rPr>
              <a:t> </a:t>
            </a:r>
            <a:r>
              <a:rPr sz="1100" b="1" spc="5" dirty="0">
                <a:solidFill>
                  <a:srgbClr val="FFFFFF"/>
                </a:solidFill>
                <a:latin typeface="Helvetica Neue"/>
                <a:cs typeface="Helvetica Neue"/>
              </a:rPr>
              <a:t>sociaux</a:t>
            </a:r>
            <a:endParaRPr sz="1100">
              <a:latin typeface="Helvetica Neue"/>
              <a:cs typeface="Helvetica Neue"/>
            </a:endParaRPr>
          </a:p>
        </p:txBody>
      </p:sp>
      <p:sp>
        <p:nvSpPr>
          <p:cNvPr id="839" name="object 839"/>
          <p:cNvSpPr/>
          <p:nvPr/>
        </p:nvSpPr>
        <p:spPr>
          <a:xfrm>
            <a:off x="7324206" y="4329076"/>
            <a:ext cx="254449" cy="257319"/>
          </a:xfrm>
          <a:custGeom>
            <a:avLst/>
            <a:gdLst/>
            <a:ahLst/>
            <a:cxnLst/>
            <a:rect l="l" t="t" r="r" b="b"/>
            <a:pathLst>
              <a:path w="559434" h="565784">
                <a:moveTo>
                  <a:pt x="559323" y="0"/>
                </a:moveTo>
                <a:lnTo>
                  <a:pt x="0" y="0"/>
                </a:lnTo>
                <a:lnTo>
                  <a:pt x="0" y="565553"/>
                </a:lnTo>
                <a:lnTo>
                  <a:pt x="559323" y="565553"/>
                </a:lnTo>
                <a:lnTo>
                  <a:pt x="559323" y="0"/>
                </a:lnTo>
                <a:close/>
              </a:path>
            </a:pathLst>
          </a:custGeom>
          <a:solidFill>
            <a:srgbClr val="FF7900"/>
          </a:solidFill>
        </p:spPr>
        <p:txBody>
          <a:bodyPr wrap="square" lIns="0" tIns="0" rIns="0" bIns="0" rtlCol="0"/>
          <a:lstStyle/>
          <a:p>
            <a:endParaRPr/>
          </a:p>
        </p:txBody>
      </p:sp>
      <p:sp>
        <p:nvSpPr>
          <p:cNvPr id="840" name="object 840"/>
          <p:cNvSpPr/>
          <p:nvPr/>
        </p:nvSpPr>
        <p:spPr>
          <a:xfrm>
            <a:off x="5000030" y="4114735"/>
            <a:ext cx="257337" cy="471608"/>
          </a:xfrm>
          <a:custGeom>
            <a:avLst/>
            <a:gdLst/>
            <a:ahLst/>
            <a:cxnLst/>
            <a:rect l="l" t="t" r="r" b="b"/>
            <a:pathLst>
              <a:path w="565784" h="1036954">
                <a:moveTo>
                  <a:pt x="0" y="1036837"/>
                </a:moveTo>
                <a:lnTo>
                  <a:pt x="565553" y="1036837"/>
                </a:lnTo>
                <a:lnTo>
                  <a:pt x="565553" y="0"/>
                </a:lnTo>
                <a:lnTo>
                  <a:pt x="0" y="0"/>
                </a:lnTo>
                <a:lnTo>
                  <a:pt x="0" y="1036837"/>
                </a:lnTo>
                <a:close/>
              </a:path>
            </a:pathLst>
          </a:custGeom>
          <a:solidFill>
            <a:srgbClr val="FF7900"/>
          </a:solidFill>
        </p:spPr>
        <p:txBody>
          <a:bodyPr wrap="square" lIns="0" tIns="0" rIns="0" bIns="0" rtlCol="0"/>
          <a:lstStyle/>
          <a:p>
            <a:endParaRPr/>
          </a:p>
        </p:txBody>
      </p:sp>
      <p:sp>
        <p:nvSpPr>
          <p:cNvPr id="841" name="object 841"/>
          <p:cNvSpPr/>
          <p:nvPr/>
        </p:nvSpPr>
        <p:spPr>
          <a:xfrm>
            <a:off x="5589184" y="4243337"/>
            <a:ext cx="257337" cy="343093"/>
          </a:xfrm>
          <a:custGeom>
            <a:avLst/>
            <a:gdLst/>
            <a:ahLst/>
            <a:cxnLst/>
            <a:rect l="l" t="t" r="r" b="b"/>
            <a:pathLst>
              <a:path w="565784" h="754379">
                <a:moveTo>
                  <a:pt x="0" y="754071"/>
                </a:moveTo>
                <a:lnTo>
                  <a:pt x="565542" y="754071"/>
                </a:lnTo>
                <a:lnTo>
                  <a:pt x="565542" y="0"/>
                </a:lnTo>
                <a:lnTo>
                  <a:pt x="0" y="0"/>
                </a:lnTo>
                <a:lnTo>
                  <a:pt x="0" y="754071"/>
                </a:lnTo>
                <a:close/>
              </a:path>
            </a:pathLst>
          </a:custGeom>
          <a:solidFill>
            <a:srgbClr val="FF7900"/>
          </a:solidFill>
        </p:spPr>
        <p:txBody>
          <a:bodyPr wrap="square" lIns="0" tIns="0" rIns="0" bIns="0" rtlCol="0"/>
          <a:lstStyle/>
          <a:p>
            <a:endParaRPr/>
          </a:p>
        </p:txBody>
      </p:sp>
      <p:sp>
        <p:nvSpPr>
          <p:cNvPr id="842" name="object 842"/>
          <p:cNvSpPr/>
          <p:nvPr/>
        </p:nvSpPr>
        <p:spPr>
          <a:xfrm>
            <a:off x="6169062" y="4329076"/>
            <a:ext cx="257337" cy="257319"/>
          </a:xfrm>
          <a:custGeom>
            <a:avLst/>
            <a:gdLst/>
            <a:ahLst/>
            <a:cxnLst/>
            <a:rect l="l" t="t" r="r" b="b"/>
            <a:pathLst>
              <a:path w="565784" h="565784">
                <a:moveTo>
                  <a:pt x="565553" y="0"/>
                </a:moveTo>
                <a:lnTo>
                  <a:pt x="0" y="0"/>
                </a:lnTo>
                <a:lnTo>
                  <a:pt x="0" y="565553"/>
                </a:lnTo>
                <a:lnTo>
                  <a:pt x="565553" y="565553"/>
                </a:lnTo>
                <a:lnTo>
                  <a:pt x="565553" y="0"/>
                </a:lnTo>
                <a:close/>
              </a:path>
            </a:pathLst>
          </a:custGeom>
          <a:solidFill>
            <a:srgbClr val="FF7900"/>
          </a:solidFill>
        </p:spPr>
        <p:txBody>
          <a:bodyPr wrap="square" lIns="0" tIns="0" rIns="0" bIns="0" rtlCol="0"/>
          <a:lstStyle/>
          <a:p>
            <a:endParaRPr/>
          </a:p>
        </p:txBody>
      </p:sp>
      <p:sp>
        <p:nvSpPr>
          <p:cNvPr id="843" name="object 843"/>
          <p:cNvSpPr txBox="1"/>
          <p:nvPr/>
        </p:nvSpPr>
        <p:spPr>
          <a:xfrm>
            <a:off x="4946636" y="4645135"/>
            <a:ext cx="1563664" cy="240280"/>
          </a:xfrm>
          <a:prstGeom prst="rect">
            <a:avLst/>
          </a:prstGeom>
        </p:spPr>
        <p:txBody>
          <a:bodyPr vert="horz" wrap="square" lIns="0" tIns="5487" rIns="0" bIns="0" rtlCol="0">
            <a:spAutoFit/>
          </a:bodyPr>
          <a:lstStyle/>
          <a:p>
            <a:pPr marL="5776">
              <a:spcBef>
                <a:spcPts val="43"/>
              </a:spcBef>
              <a:tabLst>
                <a:tab pos="589437" algn="l"/>
                <a:tab pos="1176274" algn="l"/>
              </a:tabLst>
            </a:pPr>
            <a:r>
              <a:rPr sz="1500" b="1" spc="-5" dirty="0">
                <a:latin typeface="Helvetica"/>
                <a:cs typeface="Helvetica"/>
              </a:rPr>
              <a:t>49</a:t>
            </a:r>
            <a:r>
              <a:rPr sz="1500" b="1" spc="-2" dirty="0">
                <a:latin typeface="Helvetica"/>
                <a:cs typeface="Helvetica"/>
              </a:rPr>
              <a:t>%</a:t>
            </a:r>
            <a:r>
              <a:rPr sz="1500" b="1" dirty="0">
                <a:latin typeface="Helvetica"/>
                <a:cs typeface="Helvetica"/>
              </a:rPr>
              <a:t>	</a:t>
            </a:r>
            <a:r>
              <a:rPr sz="1500" b="1" spc="-5" dirty="0">
                <a:latin typeface="Helvetica"/>
                <a:cs typeface="Helvetica"/>
              </a:rPr>
              <a:t>35</a:t>
            </a:r>
            <a:r>
              <a:rPr sz="1500" b="1" spc="-2" dirty="0">
                <a:latin typeface="Helvetica"/>
                <a:cs typeface="Helvetica"/>
              </a:rPr>
              <a:t>%</a:t>
            </a:r>
            <a:r>
              <a:rPr sz="1500" b="1" dirty="0">
                <a:latin typeface="Helvetica"/>
                <a:cs typeface="Helvetica"/>
              </a:rPr>
              <a:t>	</a:t>
            </a:r>
            <a:r>
              <a:rPr sz="1500" b="1" spc="-5" dirty="0">
                <a:latin typeface="Helvetica"/>
                <a:cs typeface="Helvetica"/>
              </a:rPr>
              <a:t>18%</a:t>
            </a:r>
            <a:endParaRPr sz="1500">
              <a:latin typeface="Helvetica"/>
              <a:cs typeface="Helvetica"/>
            </a:endParaRPr>
          </a:p>
        </p:txBody>
      </p:sp>
      <p:sp>
        <p:nvSpPr>
          <p:cNvPr id="844" name="object 844"/>
          <p:cNvSpPr/>
          <p:nvPr/>
        </p:nvSpPr>
        <p:spPr>
          <a:xfrm>
            <a:off x="6748224" y="4329076"/>
            <a:ext cx="257337" cy="257319"/>
          </a:xfrm>
          <a:custGeom>
            <a:avLst/>
            <a:gdLst/>
            <a:ahLst/>
            <a:cxnLst/>
            <a:rect l="l" t="t" r="r" b="b"/>
            <a:pathLst>
              <a:path w="565784" h="565784">
                <a:moveTo>
                  <a:pt x="565542" y="0"/>
                </a:moveTo>
                <a:lnTo>
                  <a:pt x="0" y="0"/>
                </a:lnTo>
                <a:lnTo>
                  <a:pt x="0" y="565553"/>
                </a:lnTo>
                <a:lnTo>
                  <a:pt x="565542" y="565553"/>
                </a:lnTo>
                <a:lnTo>
                  <a:pt x="565542" y="0"/>
                </a:lnTo>
                <a:close/>
              </a:path>
            </a:pathLst>
          </a:custGeom>
          <a:solidFill>
            <a:srgbClr val="FF7900"/>
          </a:solidFill>
        </p:spPr>
        <p:txBody>
          <a:bodyPr wrap="square" lIns="0" tIns="0" rIns="0" bIns="0" rtlCol="0"/>
          <a:lstStyle/>
          <a:p>
            <a:endParaRPr/>
          </a:p>
        </p:txBody>
      </p:sp>
      <p:sp>
        <p:nvSpPr>
          <p:cNvPr id="845" name="object 845"/>
          <p:cNvSpPr txBox="1"/>
          <p:nvPr/>
        </p:nvSpPr>
        <p:spPr>
          <a:xfrm>
            <a:off x="6693100" y="4636005"/>
            <a:ext cx="979673" cy="240280"/>
          </a:xfrm>
          <a:prstGeom prst="rect">
            <a:avLst/>
          </a:prstGeom>
        </p:spPr>
        <p:txBody>
          <a:bodyPr vert="horz" wrap="square" lIns="0" tIns="5487" rIns="0" bIns="0" rtlCol="0">
            <a:spAutoFit/>
          </a:bodyPr>
          <a:lstStyle/>
          <a:p>
            <a:pPr marL="5776">
              <a:spcBef>
                <a:spcPts val="43"/>
              </a:spcBef>
              <a:tabLst>
                <a:tab pos="592325" algn="l"/>
              </a:tabLst>
            </a:pPr>
            <a:r>
              <a:rPr sz="1500" b="1" spc="-5" dirty="0">
                <a:latin typeface="Helvetica"/>
                <a:cs typeface="Helvetica"/>
              </a:rPr>
              <a:t>24</a:t>
            </a:r>
            <a:r>
              <a:rPr sz="1500" b="1" spc="-2" dirty="0">
                <a:latin typeface="Helvetica"/>
                <a:cs typeface="Helvetica"/>
              </a:rPr>
              <a:t>%</a:t>
            </a:r>
            <a:r>
              <a:rPr sz="1500" b="1" dirty="0">
                <a:latin typeface="Helvetica"/>
                <a:cs typeface="Helvetica"/>
              </a:rPr>
              <a:t>	</a:t>
            </a:r>
            <a:r>
              <a:rPr sz="1500" b="1" spc="-5" dirty="0">
                <a:latin typeface="Helvetica"/>
                <a:cs typeface="Helvetica"/>
              </a:rPr>
              <a:t>27%</a:t>
            </a:r>
            <a:endParaRPr sz="1500">
              <a:latin typeface="Helvetica"/>
              <a:cs typeface="Helvetica"/>
            </a:endParaRPr>
          </a:p>
        </p:txBody>
      </p:sp>
      <p:sp>
        <p:nvSpPr>
          <p:cNvPr id="846" name="object 846"/>
          <p:cNvSpPr/>
          <p:nvPr/>
        </p:nvSpPr>
        <p:spPr>
          <a:xfrm>
            <a:off x="7321377" y="2569355"/>
            <a:ext cx="257337" cy="420202"/>
          </a:xfrm>
          <a:custGeom>
            <a:avLst/>
            <a:gdLst/>
            <a:ahLst/>
            <a:cxnLst/>
            <a:rect l="l" t="t" r="r" b="b"/>
            <a:pathLst>
              <a:path w="565784" h="923925">
                <a:moveTo>
                  <a:pt x="0" y="923731"/>
                </a:moveTo>
                <a:lnTo>
                  <a:pt x="565542" y="923731"/>
                </a:lnTo>
                <a:lnTo>
                  <a:pt x="565542" y="0"/>
                </a:lnTo>
                <a:lnTo>
                  <a:pt x="0" y="0"/>
                </a:lnTo>
                <a:lnTo>
                  <a:pt x="0" y="923731"/>
                </a:lnTo>
                <a:close/>
              </a:path>
            </a:pathLst>
          </a:custGeom>
          <a:solidFill>
            <a:srgbClr val="FF7900"/>
          </a:solidFill>
        </p:spPr>
        <p:txBody>
          <a:bodyPr wrap="square" lIns="0" tIns="0" rIns="0" bIns="0" rtlCol="0"/>
          <a:lstStyle/>
          <a:p>
            <a:endParaRPr/>
          </a:p>
        </p:txBody>
      </p:sp>
      <p:sp>
        <p:nvSpPr>
          <p:cNvPr id="847" name="object 847"/>
          <p:cNvSpPr/>
          <p:nvPr/>
        </p:nvSpPr>
        <p:spPr>
          <a:xfrm>
            <a:off x="5000030" y="2517914"/>
            <a:ext cx="257337" cy="471608"/>
          </a:xfrm>
          <a:custGeom>
            <a:avLst/>
            <a:gdLst/>
            <a:ahLst/>
            <a:cxnLst/>
            <a:rect l="l" t="t" r="r" b="b"/>
            <a:pathLst>
              <a:path w="565784" h="1036954">
                <a:moveTo>
                  <a:pt x="0" y="1036837"/>
                </a:moveTo>
                <a:lnTo>
                  <a:pt x="565553" y="1036837"/>
                </a:lnTo>
                <a:lnTo>
                  <a:pt x="565553" y="0"/>
                </a:lnTo>
                <a:lnTo>
                  <a:pt x="0" y="0"/>
                </a:lnTo>
                <a:lnTo>
                  <a:pt x="0" y="1036837"/>
                </a:lnTo>
                <a:close/>
              </a:path>
            </a:pathLst>
          </a:custGeom>
          <a:solidFill>
            <a:srgbClr val="FF7900"/>
          </a:solidFill>
        </p:spPr>
        <p:txBody>
          <a:bodyPr wrap="square" lIns="0" tIns="0" rIns="0" bIns="0" rtlCol="0"/>
          <a:lstStyle/>
          <a:p>
            <a:endParaRPr/>
          </a:p>
        </p:txBody>
      </p:sp>
      <p:sp>
        <p:nvSpPr>
          <p:cNvPr id="848" name="object 848"/>
          <p:cNvSpPr/>
          <p:nvPr/>
        </p:nvSpPr>
        <p:spPr>
          <a:xfrm>
            <a:off x="5589913" y="2466473"/>
            <a:ext cx="257337" cy="523014"/>
          </a:xfrm>
          <a:custGeom>
            <a:avLst/>
            <a:gdLst/>
            <a:ahLst/>
            <a:cxnLst/>
            <a:rect l="l" t="t" r="r" b="b"/>
            <a:pathLst>
              <a:path w="565784" h="1149984">
                <a:moveTo>
                  <a:pt x="0" y="1149944"/>
                </a:moveTo>
                <a:lnTo>
                  <a:pt x="565553" y="1149944"/>
                </a:lnTo>
                <a:lnTo>
                  <a:pt x="565553" y="0"/>
                </a:lnTo>
                <a:lnTo>
                  <a:pt x="0" y="0"/>
                </a:lnTo>
                <a:lnTo>
                  <a:pt x="0" y="1149944"/>
                </a:lnTo>
                <a:close/>
              </a:path>
            </a:pathLst>
          </a:custGeom>
          <a:solidFill>
            <a:srgbClr val="FF7900"/>
          </a:solidFill>
        </p:spPr>
        <p:txBody>
          <a:bodyPr wrap="square" lIns="0" tIns="0" rIns="0" bIns="0" rtlCol="0"/>
          <a:lstStyle/>
          <a:p>
            <a:endParaRPr/>
          </a:p>
        </p:txBody>
      </p:sp>
      <p:sp>
        <p:nvSpPr>
          <p:cNvPr id="849" name="object 849"/>
          <p:cNvSpPr/>
          <p:nvPr/>
        </p:nvSpPr>
        <p:spPr>
          <a:xfrm>
            <a:off x="6169062" y="2320717"/>
            <a:ext cx="257337" cy="668857"/>
          </a:xfrm>
          <a:custGeom>
            <a:avLst/>
            <a:gdLst/>
            <a:ahLst/>
            <a:cxnLst/>
            <a:rect l="l" t="t" r="r" b="b"/>
            <a:pathLst>
              <a:path w="565784" h="1470659">
                <a:moveTo>
                  <a:pt x="0" y="1470426"/>
                </a:moveTo>
                <a:lnTo>
                  <a:pt x="565553" y="1470426"/>
                </a:lnTo>
                <a:lnTo>
                  <a:pt x="565553" y="0"/>
                </a:lnTo>
                <a:lnTo>
                  <a:pt x="0" y="0"/>
                </a:lnTo>
                <a:lnTo>
                  <a:pt x="0" y="1470426"/>
                </a:lnTo>
                <a:close/>
              </a:path>
            </a:pathLst>
          </a:custGeom>
          <a:solidFill>
            <a:srgbClr val="FF7900"/>
          </a:solidFill>
        </p:spPr>
        <p:txBody>
          <a:bodyPr wrap="square" lIns="0" tIns="0" rIns="0" bIns="0" rtlCol="0"/>
          <a:lstStyle/>
          <a:p>
            <a:endParaRPr/>
          </a:p>
        </p:txBody>
      </p:sp>
      <p:sp>
        <p:nvSpPr>
          <p:cNvPr id="850" name="object 850"/>
          <p:cNvSpPr/>
          <p:nvPr/>
        </p:nvSpPr>
        <p:spPr>
          <a:xfrm>
            <a:off x="6748219" y="2320717"/>
            <a:ext cx="257337" cy="668857"/>
          </a:xfrm>
          <a:custGeom>
            <a:avLst/>
            <a:gdLst/>
            <a:ahLst/>
            <a:cxnLst/>
            <a:rect l="l" t="t" r="r" b="b"/>
            <a:pathLst>
              <a:path w="565784" h="1470659">
                <a:moveTo>
                  <a:pt x="0" y="1470426"/>
                </a:moveTo>
                <a:lnTo>
                  <a:pt x="565542" y="1470426"/>
                </a:lnTo>
                <a:lnTo>
                  <a:pt x="565542" y="0"/>
                </a:lnTo>
                <a:lnTo>
                  <a:pt x="0" y="0"/>
                </a:lnTo>
                <a:lnTo>
                  <a:pt x="0" y="1470426"/>
                </a:lnTo>
                <a:close/>
              </a:path>
            </a:pathLst>
          </a:custGeom>
          <a:solidFill>
            <a:srgbClr val="FF7900"/>
          </a:solidFill>
        </p:spPr>
        <p:txBody>
          <a:bodyPr wrap="square" lIns="0" tIns="0" rIns="0" bIns="0" rtlCol="0"/>
          <a:lstStyle/>
          <a:p>
            <a:endParaRPr/>
          </a:p>
        </p:txBody>
      </p:sp>
      <p:sp>
        <p:nvSpPr>
          <p:cNvPr id="851" name="object 851"/>
          <p:cNvSpPr txBox="1"/>
          <p:nvPr/>
        </p:nvSpPr>
        <p:spPr>
          <a:xfrm>
            <a:off x="4932435" y="3048786"/>
            <a:ext cx="2725293" cy="240280"/>
          </a:xfrm>
          <a:prstGeom prst="rect">
            <a:avLst/>
          </a:prstGeom>
        </p:spPr>
        <p:txBody>
          <a:bodyPr vert="horz" wrap="square" lIns="0" tIns="5487" rIns="0" bIns="0" rtlCol="0">
            <a:spAutoFit/>
          </a:bodyPr>
          <a:lstStyle/>
          <a:p>
            <a:pPr marL="5776">
              <a:spcBef>
                <a:spcPts val="43"/>
              </a:spcBef>
              <a:tabLst>
                <a:tab pos="603299" algn="l"/>
                <a:tab pos="1183494" algn="l"/>
                <a:tab pos="1773797" algn="l"/>
                <a:tab pos="2337820" algn="l"/>
              </a:tabLst>
            </a:pPr>
            <a:r>
              <a:rPr sz="1500" b="1" spc="-5" dirty="0">
                <a:latin typeface="Helvetica"/>
                <a:cs typeface="Helvetica"/>
              </a:rPr>
              <a:t>49</a:t>
            </a:r>
            <a:r>
              <a:rPr sz="1500" b="1" spc="-2" dirty="0">
                <a:latin typeface="Helvetica"/>
                <a:cs typeface="Helvetica"/>
              </a:rPr>
              <a:t>%</a:t>
            </a:r>
            <a:r>
              <a:rPr sz="1500" b="1" dirty="0">
                <a:latin typeface="Helvetica"/>
                <a:cs typeface="Helvetica"/>
              </a:rPr>
              <a:t>	</a:t>
            </a:r>
            <a:r>
              <a:rPr sz="1500" b="1" spc="-5" dirty="0">
                <a:latin typeface="Helvetica"/>
                <a:cs typeface="Helvetica"/>
              </a:rPr>
              <a:t>54</a:t>
            </a:r>
            <a:r>
              <a:rPr sz="1500" b="1" spc="-2" dirty="0">
                <a:latin typeface="Helvetica"/>
                <a:cs typeface="Helvetica"/>
              </a:rPr>
              <a:t>%</a:t>
            </a:r>
            <a:r>
              <a:rPr sz="1500" b="1" dirty="0">
                <a:latin typeface="Helvetica"/>
                <a:cs typeface="Helvetica"/>
              </a:rPr>
              <a:t>	</a:t>
            </a:r>
            <a:r>
              <a:rPr sz="1500" b="1" spc="-5" dirty="0">
                <a:latin typeface="Helvetica"/>
                <a:cs typeface="Helvetica"/>
              </a:rPr>
              <a:t>70</a:t>
            </a:r>
            <a:r>
              <a:rPr sz="1500" b="1" spc="-2" dirty="0">
                <a:latin typeface="Helvetica"/>
                <a:cs typeface="Helvetica"/>
              </a:rPr>
              <a:t>%</a:t>
            </a:r>
            <a:r>
              <a:rPr sz="1500" b="1" dirty="0">
                <a:latin typeface="Helvetica"/>
                <a:cs typeface="Helvetica"/>
              </a:rPr>
              <a:t>	</a:t>
            </a:r>
            <a:r>
              <a:rPr sz="1500" b="1" spc="-5" dirty="0">
                <a:latin typeface="Helvetica"/>
                <a:cs typeface="Helvetica"/>
              </a:rPr>
              <a:t>69</a:t>
            </a:r>
            <a:r>
              <a:rPr sz="1500" b="1" spc="-2" dirty="0">
                <a:latin typeface="Helvetica"/>
                <a:cs typeface="Helvetica"/>
              </a:rPr>
              <a:t>%</a:t>
            </a:r>
            <a:r>
              <a:rPr sz="1500" b="1" dirty="0">
                <a:latin typeface="Helvetica"/>
                <a:cs typeface="Helvetica"/>
              </a:rPr>
              <a:t>	</a:t>
            </a:r>
            <a:r>
              <a:rPr sz="1500" b="1" spc="-5" dirty="0">
                <a:latin typeface="Helvetica"/>
                <a:cs typeface="Helvetica"/>
              </a:rPr>
              <a:t>43%</a:t>
            </a:r>
            <a:endParaRPr sz="1500">
              <a:latin typeface="Helvetica"/>
              <a:cs typeface="Helvetica"/>
            </a:endParaRPr>
          </a:p>
        </p:txBody>
      </p:sp>
      <p:sp>
        <p:nvSpPr>
          <p:cNvPr id="852" name="object 852"/>
          <p:cNvSpPr txBox="1"/>
          <p:nvPr/>
        </p:nvSpPr>
        <p:spPr>
          <a:xfrm>
            <a:off x="4979128" y="1713380"/>
            <a:ext cx="309325" cy="190790"/>
          </a:xfrm>
          <a:prstGeom prst="rect">
            <a:avLst/>
          </a:prstGeom>
        </p:spPr>
        <p:txBody>
          <a:bodyPr vert="horz" wrap="square" lIns="0" tIns="6065" rIns="0" bIns="0" rtlCol="0">
            <a:spAutoFit/>
          </a:bodyPr>
          <a:lstStyle/>
          <a:p>
            <a:pPr marL="5776">
              <a:spcBef>
                <a:spcPts val="48"/>
              </a:spcBef>
            </a:pPr>
            <a:r>
              <a:rPr sz="600" dirty="0">
                <a:latin typeface="Helvetica Neue"/>
                <a:cs typeface="Helvetica Neue"/>
              </a:rPr>
              <a:t>N =</a:t>
            </a:r>
            <a:r>
              <a:rPr sz="600" spc="-32" dirty="0">
                <a:latin typeface="Helvetica Neue"/>
                <a:cs typeface="Helvetica Neue"/>
              </a:rPr>
              <a:t> </a:t>
            </a:r>
            <a:r>
              <a:rPr sz="600" dirty="0">
                <a:latin typeface="Helvetica Neue"/>
                <a:cs typeface="Helvetica Neue"/>
              </a:rPr>
              <a:t>2024</a:t>
            </a:r>
            <a:endParaRPr sz="600">
              <a:latin typeface="Helvetica Neue"/>
              <a:cs typeface="Helvetica Neue"/>
            </a:endParaRPr>
          </a:p>
        </p:txBody>
      </p:sp>
      <p:sp>
        <p:nvSpPr>
          <p:cNvPr id="853" name="object 853"/>
          <p:cNvSpPr txBox="1"/>
          <p:nvPr/>
        </p:nvSpPr>
        <p:spPr>
          <a:xfrm>
            <a:off x="5557888" y="1713380"/>
            <a:ext cx="309325" cy="190790"/>
          </a:xfrm>
          <a:prstGeom prst="rect">
            <a:avLst/>
          </a:prstGeom>
        </p:spPr>
        <p:txBody>
          <a:bodyPr vert="horz" wrap="square" lIns="0" tIns="6065" rIns="0" bIns="0" rtlCol="0">
            <a:spAutoFit/>
          </a:bodyPr>
          <a:lstStyle/>
          <a:p>
            <a:pPr marL="5776">
              <a:spcBef>
                <a:spcPts val="48"/>
              </a:spcBef>
            </a:pPr>
            <a:r>
              <a:rPr sz="600" dirty="0">
                <a:latin typeface="Helvetica Neue"/>
                <a:cs typeface="Helvetica Neue"/>
              </a:rPr>
              <a:t>N =</a:t>
            </a:r>
            <a:r>
              <a:rPr sz="600" spc="-32" dirty="0">
                <a:latin typeface="Helvetica Neue"/>
                <a:cs typeface="Helvetica Neue"/>
              </a:rPr>
              <a:t> </a:t>
            </a:r>
            <a:r>
              <a:rPr sz="600" dirty="0">
                <a:latin typeface="Helvetica Neue"/>
                <a:cs typeface="Helvetica Neue"/>
              </a:rPr>
              <a:t>2015</a:t>
            </a:r>
            <a:endParaRPr sz="600">
              <a:latin typeface="Helvetica Neue"/>
              <a:cs typeface="Helvetica Neue"/>
            </a:endParaRPr>
          </a:p>
        </p:txBody>
      </p:sp>
      <p:sp>
        <p:nvSpPr>
          <p:cNvPr id="854" name="object 854"/>
          <p:cNvSpPr txBox="1"/>
          <p:nvPr/>
        </p:nvSpPr>
        <p:spPr>
          <a:xfrm>
            <a:off x="6142600" y="1713380"/>
            <a:ext cx="309325" cy="98457"/>
          </a:xfrm>
          <a:prstGeom prst="rect">
            <a:avLst/>
          </a:prstGeom>
        </p:spPr>
        <p:txBody>
          <a:bodyPr vert="horz" wrap="square" lIns="0" tIns="6065" rIns="0" bIns="0" rtlCol="0">
            <a:spAutoFit/>
          </a:bodyPr>
          <a:lstStyle/>
          <a:p>
            <a:pPr marL="5776">
              <a:spcBef>
                <a:spcPts val="48"/>
              </a:spcBef>
            </a:pPr>
            <a:r>
              <a:rPr sz="600" dirty="0">
                <a:latin typeface="Helvetica Neue"/>
                <a:cs typeface="Helvetica Neue"/>
              </a:rPr>
              <a:t>N =</a:t>
            </a:r>
            <a:r>
              <a:rPr sz="600" spc="-32" dirty="0">
                <a:latin typeface="Helvetica Neue"/>
                <a:cs typeface="Helvetica Neue"/>
              </a:rPr>
              <a:t> </a:t>
            </a:r>
            <a:r>
              <a:rPr lang="fr-FR" sz="600" spc="-32" dirty="0">
                <a:latin typeface="Helvetica Neue"/>
                <a:cs typeface="Helvetica Neue"/>
              </a:rPr>
              <a:t>1005</a:t>
            </a:r>
            <a:endParaRPr sz="600" dirty="0">
              <a:latin typeface="Helvetica Neue"/>
              <a:cs typeface="Helvetica Neue"/>
            </a:endParaRPr>
          </a:p>
        </p:txBody>
      </p:sp>
      <p:sp>
        <p:nvSpPr>
          <p:cNvPr id="855" name="object 855"/>
          <p:cNvSpPr txBox="1"/>
          <p:nvPr/>
        </p:nvSpPr>
        <p:spPr>
          <a:xfrm>
            <a:off x="6733628" y="1713380"/>
            <a:ext cx="309325" cy="190790"/>
          </a:xfrm>
          <a:prstGeom prst="rect">
            <a:avLst/>
          </a:prstGeom>
        </p:spPr>
        <p:txBody>
          <a:bodyPr vert="horz" wrap="square" lIns="0" tIns="6065" rIns="0" bIns="0" rtlCol="0">
            <a:spAutoFit/>
          </a:bodyPr>
          <a:lstStyle/>
          <a:p>
            <a:pPr marL="5776">
              <a:spcBef>
                <a:spcPts val="48"/>
              </a:spcBef>
            </a:pPr>
            <a:r>
              <a:rPr sz="600" dirty="0">
                <a:latin typeface="Helvetica Neue"/>
                <a:cs typeface="Helvetica Neue"/>
              </a:rPr>
              <a:t>N =</a:t>
            </a:r>
            <a:r>
              <a:rPr sz="600" spc="-32" dirty="0">
                <a:latin typeface="Helvetica Neue"/>
                <a:cs typeface="Helvetica Neue"/>
              </a:rPr>
              <a:t> </a:t>
            </a:r>
            <a:r>
              <a:rPr sz="600" dirty="0">
                <a:latin typeface="Helvetica Neue"/>
                <a:cs typeface="Helvetica Neue"/>
              </a:rPr>
              <a:t>1007</a:t>
            </a:r>
            <a:endParaRPr sz="600">
              <a:latin typeface="Helvetica Neue"/>
              <a:cs typeface="Helvetica Neue"/>
            </a:endParaRPr>
          </a:p>
        </p:txBody>
      </p:sp>
      <p:sp>
        <p:nvSpPr>
          <p:cNvPr id="856" name="object 856"/>
          <p:cNvSpPr txBox="1"/>
          <p:nvPr/>
        </p:nvSpPr>
        <p:spPr>
          <a:xfrm>
            <a:off x="7318413" y="1713380"/>
            <a:ext cx="309325" cy="190790"/>
          </a:xfrm>
          <a:prstGeom prst="rect">
            <a:avLst/>
          </a:prstGeom>
        </p:spPr>
        <p:txBody>
          <a:bodyPr vert="horz" wrap="square" lIns="0" tIns="6065" rIns="0" bIns="0" rtlCol="0">
            <a:spAutoFit/>
          </a:bodyPr>
          <a:lstStyle/>
          <a:p>
            <a:pPr marL="5776">
              <a:spcBef>
                <a:spcPts val="48"/>
              </a:spcBef>
            </a:pPr>
            <a:r>
              <a:rPr sz="600" dirty="0">
                <a:latin typeface="Helvetica Neue"/>
                <a:cs typeface="Helvetica Neue"/>
              </a:rPr>
              <a:t>N =</a:t>
            </a:r>
            <a:r>
              <a:rPr sz="600" spc="-32" dirty="0">
                <a:latin typeface="Helvetica Neue"/>
                <a:cs typeface="Helvetica Neue"/>
              </a:rPr>
              <a:t> </a:t>
            </a:r>
            <a:r>
              <a:rPr sz="600" dirty="0">
                <a:latin typeface="Helvetica Neue"/>
                <a:cs typeface="Helvetica Neue"/>
              </a:rPr>
              <a:t>1003</a:t>
            </a:r>
            <a:endParaRPr sz="600">
              <a:latin typeface="Helvetica Neue"/>
              <a:cs typeface="Helvetica Neue"/>
            </a:endParaRPr>
          </a:p>
        </p:txBody>
      </p:sp>
      <p:sp>
        <p:nvSpPr>
          <p:cNvPr id="857" name="object 857"/>
          <p:cNvSpPr/>
          <p:nvPr/>
        </p:nvSpPr>
        <p:spPr>
          <a:xfrm>
            <a:off x="5180095" y="1397200"/>
            <a:ext cx="97043" cy="276091"/>
          </a:xfrm>
          <a:custGeom>
            <a:avLst/>
            <a:gdLst/>
            <a:ahLst/>
            <a:cxnLst/>
            <a:rect l="l" t="t" r="r" b="b"/>
            <a:pathLst>
              <a:path w="213359" h="607060">
                <a:moveTo>
                  <a:pt x="0" y="0"/>
                </a:moveTo>
                <a:lnTo>
                  <a:pt x="0" y="606505"/>
                </a:lnTo>
                <a:lnTo>
                  <a:pt x="44748" y="586255"/>
                </a:lnTo>
                <a:lnTo>
                  <a:pt x="85564" y="559732"/>
                </a:lnTo>
                <a:lnTo>
                  <a:pt x="121820" y="527549"/>
                </a:lnTo>
                <a:lnTo>
                  <a:pt x="152890" y="490321"/>
                </a:lnTo>
                <a:lnTo>
                  <a:pt x="178146" y="448662"/>
                </a:lnTo>
                <a:lnTo>
                  <a:pt x="196963" y="403188"/>
                </a:lnTo>
                <a:lnTo>
                  <a:pt x="208712" y="354511"/>
                </a:lnTo>
                <a:lnTo>
                  <a:pt x="212768" y="303247"/>
                </a:lnTo>
                <a:lnTo>
                  <a:pt x="208712" y="251986"/>
                </a:lnTo>
                <a:lnTo>
                  <a:pt x="196963" y="203312"/>
                </a:lnTo>
                <a:lnTo>
                  <a:pt x="178146" y="157839"/>
                </a:lnTo>
                <a:lnTo>
                  <a:pt x="152890" y="116182"/>
                </a:lnTo>
                <a:lnTo>
                  <a:pt x="121820" y="78955"/>
                </a:lnTo>
                <a:lnTo>
                  <a:pt x="85564" y="46772"/>
                </a:lnTo>
                <a:lnTo>
                  <a:pt x="44748" y="20249"/>
                </a:lnTo>
                <a:lnTo>
                  <a:pt x="0" y="0"/>
                </a:lnTo>
                <a:close/>
              </a:path>
            </a:pathLst>
          </a:custGeom>
          <a:solidFill>
            <a:srgbClr val="C60E33"/>
          </a:solidFill>
        </p:spPr>
        <p:txBody>
          <a:bodyPr wrap="square" lIns="0" tIns="0" rIns="0" bIns="0" rtlCol="0"/>
          <a:lstStyle/>
          <a:p>
            <a:endParaRPr/>
          </a:p>
        </p:txBody>
      </p:sp>
      <p:sp>
        <p:nvSpPr>
          <p:cNvPr id="858" name="object 858"/>
          <p:cNvSpPr/>
          <p:nvPr/>
        </p:nvSpPr>
        <p:spPr>
          <a:xfrm>
            <a:off x="4983090" y="1397200"/>
            <a:ext cx="97043" cy="276091"/>
          </a:xfrm>
          <a:custGeom>
            <a:avLst/>
            <a:gdLst/>
            <a:ahLst/>
            <a:cxnLst/>
            <a:rect l="l" t="t" r="r" b="b"/>
            <a:pathLst>
              <a:path w="213359" h="607060">
                <a:moveTo>
                  <a:pt x="212768" y="0"/>
                </a:moveTo>
                <a:lnTo>
                  <a:pt x="168019" y="20249"/>
                </a:lnTo>
                <a:lnTo>
                  <a:pt x="127203" y="46772"/>
                </a:lnTo>
                <a:lnTo>
                  <a:pt x="90947" y="78955"/>
                </a:lnTo>
                <a:lnTo>
                  <a:pt x="59877" y="116182"/>
                </a:lnTo>
                <a:lnTo>
                  <a:pt x="34621" y="157839"/>
                </a:lnTo>
                <a:lnTo>
                  <a:pt x="15805" y="203312"/>
                </a:lnTo>
                <a:lnTo>
                  <a:pt x="4055" y="251986"/>
                </a:lnTo>
                <a:lnTo>
                  <a:pt x="0" y="303247"/>
                </a:lnTo>
                <a:lnTo>
                  <a:pt x="4055" y="354511"/>
                </a:lnTo>
                <a:lnTo>
                  <a:pt x="15805" y="403188"/>
                </a:lnTo>
                <a:lnTo>
                  <a:pt x="34621" y="448662"/>
                </a:lnTo>
                <a:lnTo>
                  <a:pt x="59877" y="490321"/>
                </a:lnTo>
                <a:lnTo>
                  <a:pt x="90947" y="527549"/>
                </a:lnTo>
                <a:lnTo>
                  <a:pt x="127203" y="559732"/>
                </a:lnTo>
                <a:lnTo>
                  <a:pt x="168019" y="586255"/>
                </a:lnTo>
                <a:lnTo>
                  <a:pt x="212768" y="606505"/>
                </a:lnTo>
                <a:lnTo>
                  <a:pt x="212768" y="0"/>
                </a:lnTo>
                <a:close/>
              </a:path>
            </a:pathLst>
          </a:custGeom>
          <a:solidFill>
            <a:srgbClr val="354083"/>
          </a:solidFill>
        </p:spPr>
        <p:txBody>
          <a:bodyPr wrap="square" lIns="0" tIns="0" rIns="0" bIns="0" rtlCol="0"/>
          <a:lstStyle/>
          <a:p>
            <a:endParaRPr/>
          </a:p>
        </p:txBody>
      </p:sp>
      <p:sp>
        <p:nvSpPr>
          <p:cNvPr id="859" name="object 859"/>
          <p:cNvSpPr/>
          <p:nvPr/>
        </p:nvSpPr>
        <p:spPr>
          <a:xfrm>
            <a:off x="5079865" y="1388238"/>
            <a:ext cx="100508" cy="293997"/>
          </a:xfrm>
          <a:custGeom>
            <a:avLst/>
            <a:gdLst/>
            <a:ahLst/>
            <a:cxnLst/>
            <a:rect l="l" t="t" r="r" b="b"/>
            <a:pathLst>
              <a:path w="220979" h="646429">
                <a:moveTo>
                  <a:pt x="110185" y="0"/>
                </a:moveTo>
                <a:lnTo>
                  <a:pt x="81458" y="1319"/>
                </a:lnTo>
                <a:lnTo>
                  <a:pt x="53470" y="5160"/>
                </a:lnTo>
                <a:lnTo>
                  <a:pt x="26294" y="11348"/>
                </a:lnTo>
                <a:lnTo>
                  <a:pt x="0" y="19706"/>
                </a:lnTo>
                <a:lnTo>
                  <a:pt x="0" y="626211"/>
                </a:lnTo>
                <a:lnTo>
                  <a:pt x="26294" y="634569"/>
                </a:lnTo>
                <a:lnTo>
                  <a:pt x="53470" y="640756"/>
                </a:lnTo>
                <a:lnTo>
                  <a:pt x="81458" y="644598"/>
                </a:lnTo>
                <a:lnTo>
                  <a:pt x="110185" y="645917"/>
                </a:lnTo>
                <a:lnTo>
                  <a:pt x="138911" y="644598"/>
                </a:lnTo>
                <a:lnTo>
                  <a:pt x="166899" y="640756"/>
                </a:lnTo>
                <a:lnTo>
                  <a:pt x="194076" y="634569"/>
                </a:lnTo>
                <a:lnTo>
                  <a:pt x="220370" y="626211"/>
                </a:lnTo>
                <a:lnTo>
                  <a:pt x="220370" y="19706"/>
                </a:lnTo>
                <a:lnTo>
                  <a:pt x="194076" y="11348"/>
                </a:lnTo>
                <a:lnTo>
                  <a:pt x="166899" y="5160"/>
                </a:lnTo>
                <a:lnTo>
                  <a:pt x="138911" y="1319"/>
                </a:lnTo>
                <a:lnTo>
                  <a:pt x="110185" y="0"/>
                </a:lnTo>
                <a:close/>
              </a:path>
            </a:pathLst>
          </a:custGeom>
          <a:solidFill>
            <a:srgbClr val="FFFFFF"/>
          </a:solidFill>
        </p:spPr>
        <p:txBody>
          <a:bodyPr wrap="square" lIns="0" tIns="0" rIns="0" bIns="0" rtlCol="0"/>
          <a:lstStyle/>
          <a:p>
            <a:endParaRPr/>
          </a:p>
        </p:txBody>
      </p:sp>
      <p:sp>
        <p:nvSpPr>
          <p:cNvPr id="860" name="object 860"/>
          <p:cNvSpPr/>
          <p:nvPr/>
        </p:nvSpPr>
        <p:spPr>
          <a:xfrm>
            <a:off x="5564386" y="1388243"/>
            <a:ext cx="292917" cy="292892"/>
          </a:xfrm>
          <a:prstGeom prst="rect">
            <a:avLst/>
          </a:prstGeom>
          <a:blipFill>
            <a:blip r:embed="rId34" cstate="print"/>
            <a:stretch>
              <a:fillRect/>
            </a:stretch>
          </a:blipFill>
        </p:spPr>
        <p:txBody>
          <a:bodyPr wrap="square" lIns="0" tIns="0" rIns="0" bIns="0" rtlCol="0"/>
          <a:lstStyle/>
          <a:p>
            <a:endParaRPr/>
          </a:p>
        </p:txBody>
      </p:sp>
      <p:sp>
        <p:nvSpPr>
          <p:cNvPr id="861" name="object 861"/>
          <p:cNvSpPr/>
          <p:nvPr/>
        </p:nvSpPr>
        <p:spPr>
          <a:xfrm>
            <a:off x="6147911" y="1386185"/>
            <a:ext cx="295173" cy="295152"/>
          </a:xfrm>
          <a:custGeom>
            <a:avLst/>
            <a:gdLst/>
            <a:ahLst/>
            <a:cxnLst/>
            <a:rect l="l" t="t" r="r" b="b"/>
            <a:pathLst>
              <a:path w="648969" h="648970">
                <a:moveTo>
                  <a:pt x="324262" y="0"/>
                </a:moveTo>
                <a:lnTo>
                  <a:pt x="276343" y="3515"/>
                </a:lnTo>
                <a:lnTo>
                  <a:pt x="230607" y="13729"/>
                </a:lnTo>
                <a:lnTo>
                  <a:pt x="187557" y="30138"/>
                </a:lnTo>
                <a:lnTo>
                  <a:pt x="147694" y="52241"/>
                </a:lnTo>
                <a:lnTo>
                  <a:pt x="111518" y="79536"/>
                </a:lnTo>
                <a:lnTo>
                  <a:pt x="79533" y="111523"/>
                </a:lnTo>
                <a:lnTo>
                  <a:pt x="52238" y="147698"/>
                </a:lnTo>
                <a:lnTo>
                  <a:pt x="30136" y="187562"/>
                </a:lnTo>
                <a:lnTo>
                  <a:pt x="13728" y="230611"/>
                </a:lnTo>
                <a:lnTo>
                  <a:pt x="3515" y="276345"/>
                </a:lnTo>
                <a:lnTo>
                  <a:pt x="0" y="324262"/>
                </a:lnTo>
                <a:lnTo>
                  <a:pt x="3515" y="372179"/>
                </a:lnTo>
                <a:lnTo>
                  <a:pt x="13728" y="417913"/>
                </a:lnTo>
                <a:lnTo>
                  <a:pt x="30136" y="460962"/>
                </a:lnTo>
                <a:lnTo>
                  <a:pt x="52238" y="500825"/>
                </a:lnTo>
                <a:lnTo>
                  <a:pt x="79533" y="537001"/>
                </a:lnTo>
                <a:lnTo>
                  <a:pt x="111518" y="568988"/>
                </a:lnTo>
                <a:lnTo>
                  <a:pt x="147694" y="596283"/>
                </a:lnTo>
                <a:lnTo>
                  <a:pt x="187557" y="618386"/>
                </a:lnTo>
                <a:lnTo>
                  <a:pt x="230607" y="634795"/>
                </a:lnTo>
                <a:lnTo>
                  <a:pt x="276343" y="645008"/>
                </a:lnTo>
                <a:lnTo>
                  <a:pt x="323263" y="648451"/>
                </a:lnTo>
                <a:lnTo>
                  <a:pt x="325261" y="648451"/>
                </a:lnTo>
                <a:lnTo>
                  <a:pt x="372176" y="645008"/>
                </a:lnTo>
                <a:lnTo>
                  <a:pt x="417909" y="634795"/>
                </a:lnTo>
                <a:lnTo>
                  <a:pt x="460957" y="618386"/>
                </a:lnTo>
                <a:lnTo>
                  <a:pt x="500821" y="596283"/>
                </a:lnTo>
                <a:lnTo>
                  <a:pt x="536997" y="568988"/>
                </a:lnTo>
                <a:lnTo>
                  <a:pt x="568984" y="537001"/>
                </a:lnTo>
                <a:lnTo>
                  <a:pt x="596281" y="500825"/>
                </a:lnTo>
                <a:lnTo>
                  <a:pt x="618385" y="460962"/>
                </a:lnTo>
                <a:lnTo>
                  <a:pt x="634794" y="417913"/>
                </a:lnTo>
                <a:lnTo>
                  <a:pt x="645008" y="372179"/>
                </a:lnTo>
                <a:lnTo>
                  <a:pt x="648524" y="324262"/>
                </a:lnTo>
                <a:lnTo>
                  <a:pt x="645008" y="276345"/>
                </a:lnTo>
                <a:lnTo>
                  <a:pt x="634794" y="230611"/>
                </a:lnTo>
                <a:lnTo>
                  <a:pt x="618385" y="187562"/>
                </a:lnTo>
                <a:lnTo>
                  <a:pt x="596281" y="147698"/>
                </a:lnTo>
                <a:lnTo>
                  <a:pt x="568984" y="111523"/>
                </a:lnTo>
                <a:lnTo>
                  <a:pt x="536997" y="79536"/>
                </a:lnTo>
                <a:lnTo>
                  <a:pt x="500821" y="52241"/>
                </a:lnTo>
                <a:lnTo>
                  <a:pt x="460957" y="30138"/>
                </a:lnTo>
                <a:lnTo>
                  <a:pt x="417909" y="13729"/>
                </a:lnTo>
                <a:lnTo>
                  <a:pt x="372176" y="3515"/>
                </a:lnTo>
                <a:lnTo>
                  <a:pt x="324262" y="0"/>
                </a:lnTo>
                <a:close/>
              </a:path>
            </a:pathLst>
          </a:custGeom>
          <a:solidFill>
            <a:srgbClr val="FFFFFF"/>
          </a:solidFill>
        </p:spPr>
        <p:txBody>
          <a:bodyPr wrap="square" lIns="0" tIns="0" rIns="0" bIns="0" rtlCol="0"/>
          <a:lstStyle/>
          <a:p>
            <a:endParaRPr/>
          </a:p>
        </p:txBody>
      </p:sp>
      <p:sp>
        <p:nvSpPr>
          <p:cNvPr id="862" name="object 862"/>
          <p:cNvSpPr/>
          <p:nvPr/>
        </p:nvSpPr>
        <p:spPr>
          <a:xfrm>
            <a:off x="6147911" y="1386185"/>
            <a:ext cx="295173" cy="295152"/>
          </a:xfrm>
          <a:custGeom>
            <a:avLst/>
            <a:gdLst/>
            <a:ahLst/>
            <a:cxnLst/>
            <a:rect l="l" t="t" r="r" b="b"/>
            <a:pathLst>
              <a:path w="648969" h="648970">
                <a:moveTo>
                  <a:pt x="388743" y="388870"/>
                </a:moveTo>
                <a:lnTo>
                  <a:pt x="259093" y="388870"/>
                </a:lnTo>
                <a:lnTo>
                  <a:pt x="259093" y="641156"/>
                </a:lnTo>
                <a:lnTo>
                  <a:pt x="276343" y="645008"/>
                </a:lnTo>
                <a:lnTo>
                  <a:pt x="323306" y="648454"/>
                </a:lnTo>
                <a:lnTo>
                  <a:pt x="325218" y="648454"/>
                </a:lnTo>
                <a:lnTo>
                  <a:pt x="372176" y="645008"/>
                </a:lnTo>
                <a:lnTo>
                  <a:pt x="388743" y="641309"/>
                </a:lnTo>
                <a:lnTo>
                  <a:pt x="388743" y="388870"/>
                </a:lnTo>
                <a:close/>
              </a:path>
              <a:path w="648969" h="648970">
                <a:moveTo>
                  <a:pt x="641186" y="259230"/>
                </a:moveTo>
                <a:lnTo>
                  <a:pt x="7337" y="259230"/>
                </a:lnTo>
                <a:lnTo>
                  <a:pt x="3515" y="276345"/>
                </a:lnTo>
                <a:lnTo>
                  <a:pt x="0" y="324262"/>
                </a:lnTo>
                <a:lnTo>
                  <a:pt x="3515" y="372179"/>
                </a:lnTo>
                <a:lnTo>
                  <a:pt x="7242" y="388870"/>
                </a:lnTo>
                <a:lnTo>
                  <a:pt x="641280" y="388870"/>
                </a:lnTo>
                <a:lnTo>
                  <a:pt x="645008" y="372179"/>
                </a:lnTo>
                <a:lnTo>
                  <a:pt x="648524" y="324262"/>
                </a:lnTo>
                <a:lnTo>
                  <a:pt x="645008" y="276345"/>
                </a:lnTo>
                <a:lnTo>
                  <a:pt x="641186" y="259230"/>
                </a:lnTo>
                <a:close/>
              </a:path>
              <a:path w="648969" h="648970">
                <a:moveTo>
                  <a:pt x="372176" y="3515"/>
                </a:moveTo>
                <a:lnTo>
                  <a:pt x="276343" y="3515"/>
                </a:lnTo>
                <a:lnTo>
                  <a:pt x="259093" y="7367"/>
                </a:lnTo>
                <a:lnTo>
                  <a:pt x="259093" y="259230"/>
                </a:lnTo>
                <a:lnTo>
                  <a:pt x="388743" y="259230"/>
                </a:lnTo>
                <a:lnTo>
                  <a:pt x="388743" y="7215"/>
                </a:lnTo>
                <a:lnTo>
                  <a:pt x="372176" y="3515"/>
                </a:lnTo>
                <a:close/>
              </a:path>
              <a:path w="648969" h="648970">
                <a:moveTo>
                  <a:pt x="324262" y="0"/>
                </a:moveTo>
                <a:lnTo>
                  <a:pt x="276343" y="3515"/>
                </a:lnTo>
                <a:lnTo>
                  <a:pt x="372176" y="3515"/>
                </a:lnTo>
                <a:lnTo>
                  <a:pt x="324262" y="0"/>
                </a:lnTo>
                <a:close/>
              </a:path>
            </a:pathLst>
          </a:custGeom>
          <a:solidFill>
            <a:srgbClr val="BE142B"/>
          </a:solidFill>
        </p:spPr>
        <p:txBody>
          <a:bodyPr wrap="square" lIns="0" tIns="0" rIns="0" bIns="0" rtlCol="0"/>
          <a:lstStyle/>
          <a:p>
            <a:endParaRPr/>
          </a:p>
        </p:txBody>
      </p:sp>
      <p:sp>
        <p:nvSpPr>
          <p:cNvPr id="863" name="object 863"/>
          <p:cNvSpPr/>
          <p:nvPr/>
        </p:nvSpPr>
        <p:spPr>
          <a:xfrm>
            <a:off x="6344390" y="1394869"/>
            <a:ext cx="70761" cy="86928"/>
          </a:xfrm>
          <a:custGeom>
            <a:avLst/>
            <a:gdLst/>
            <a:ahLst/>
            <a:cxnLst/>
            <a:rect l="l" t="t" r="r" b="b"/>
            <a:pathLst>
              <a:path w="155575" h="191135">
                <a:moveTo>
                  <a:pt x="0" y="0"/>
                </a:moveTo>
                <a:lnTo>
                  <a:pt x="0" y="190811"/>
                </a:lnTo>
                <a:lnTo>
                  <a:pt x="155559" y="117021"/>
                </a:lnTo>
                <a:lnTo>
                  <a:pt x="105017" y="60444"/>
                </a:lnTo>
                <a:lnTo>
                  <a:pt x="68840" y="33148"/>
                </a:lnTo>
                <a:lnTo>
                  <a:pt x="28977" y="11045"/>
                </a:lnTo>
                <a:lnTo>
                  <a:pt x="0" y="0"/>
                </a:lnTo>
                <a:close/>
              </a:path>
            </a:pathLst>
          </a:custGeom>
          <a:solidFill>
            <a:srgbClr val="24346C"/>
          </a:solidFill>
        </p:spPr>
        <p:txBody>
          <a:bodyPr wrap="square" lIns="0" tIns="0" rIns="0" bIns="0" rtlCol="0"/>
          <a:lstStyle/>
          <a:p>
            <a:endParaRPr/>
          </a:p>
        </p:txBody>
      </p:sp>
      <p:sp>
        <p:nvSpPr>
          <p:cNvPr id="864" name="object 864"/>
          <p:cNvSpPr/>
          <p:nvPr/>
        </p:nvSpPr>
        <p:spPr>
          <a:xfrm>
            <a:off x="6344390" y="1585637"/>
            <a:ext cx="71049" cy="86928"/>
          </a:xfrm>
          <a:custGeom>
            <a:avLst/>
            <a:gdLst/>
            <a:ahLst/>
            <a:cxnLst/>
            <a:rect l="l" t="t" r="r" b="b"/>
            <a:pathLst>
              <a:path w="156209" h="191135">
                <a:moveTo>
                  <a:pt x="0" y="0"/>
                </a:moveTo>
                <a:lnTo>
                  <a:pt x="0" y="190886"/>
                </a:lnTo>
                <a:lnTo>
                  <a:pt x="28977" y="179841"/>
                </a:lnTo>
                <a:lnTo>
                  <a:pt x="68840" y="157738"/>
                </a:lnTo>
                <a:lnTo>
                  <a:pt x="105017" y="130442"/>
                </a:lnTo>
                <a:lnTo>
                  <a:pt x="137004" y="98456"/>
                </a:lnTo>
                <a:lnTo>
                  <a:pt x="155601" y="73809"/>
                </a:lnTo>
                <a:lnTo>
                  <a:pt x="0" y="0"/>
                </a:lnTo>
                <a:close/>
              </a:path>
            </a:pathLst>
          </a:custGeom>
          <a:solidFill>
            <a:srgbClr val="24346C"/>
          </a:solidFill>
        </p:spPr>
        <p:txBody>
          <a:bodyPr wrap="square" lIns="0" tIns="0" rIns="0" bIns="0" rtlCol="0"/>
          <a:lstStyle/>
          <a:p>
            <a:endParaRPr/>
          </a:p>
        </p:txBody>
      </p:sp>
      <p:sp>
        <p:nvSpPr>
          <p:cNvPr id="865" name="object 865"/>
          <p:cNvSpPr/>
          <p:nvPr/>
        </p:nvSpPr>
        <p:spPr>
          <a:xfrm>
            <a:off x="6176542" y="1585637"/>
            <a:ext cx="69605" cy="86928"/>
          </a:xfrm>
          <a:custGeom>
            <a:avLst/>
            <a:gdLst/>
            <a:ahLst/>
            <a:cxnLst/>
            <a:rect l="l" t="t" r="r" b="b"/>
            <a:pathLst>
              <a:path w="153034" h="191135">
                <a:moveTo>
                  <a:pt x="152913" y="0"/>
                </a:moveTo>
                <a:lnTo>
                  <a:pt x="0" y="76473"/>
                </a:lnTo>
                <a:lnTo>
                  <a:pt x="16585" y="98456"/>
                </a:lnTo>
                <a:lnTo>
                  <a:pt x="48571" y="130442"/>
                </a:lnTo>
                <a:lnTo>
                  <a:pt x="84746" y="157738"/>
                </a:lnTo>
                <a:lnTo>
                  <a:pt x="124610" y="179841"/>
                </a:lnTo>
                <a:lnTo>
                  <a:pt x="152913" y="190629"/>
                </a:lnTo>
                <a:lnTo>
                  <a:pt x="152913" y="0"/>
                </a:lnTo>
                <a:close/>
              </a:path>
            </a:pathLst>
          </a:custGeom>
          <a:solidFill>
            <a:srgbClr val="24346C"/>
          </a:solidFill>
        </p:spPr>
        <p:txBody>
          <a:bodyPr wrap="square" lIns="0" tIns="0" rIns="0" bIns="0" rtlCol="0"/>
          <a:lstStyle/>
          <a:p>
            <a:endParaRPr/>
          </a:p>
        </p:txBody>
      </p:sp>
      <p:sp>
        <p:nvSpPr>
          <p:cNvPr id="866" name="object 866"/>
          <p:cNvSpPr/>
          <p:nvPr/>
        </p:nvSpPr>
        <p:spPr>
          <a:xfrm>
            <a:off x="6176561" y="1394986"/>
            <a:ext cx="69605" cy="86928"/>
          </a:xfrm>
          <a:custGeom>
            <a:avLst/>
            <a:gdLst/>
            <a:ahLst/>
            <a:cxnLst/>
            <a:rect l="l" t="t" r="r" b="b"/>
            <a:pathLst>
              <a:path w="153034" h="191135">
                <a:moveTo>
                  <a:pt x="152872" y="0"/>
                </a:moveTo>
                <a:lnTo>
                  <a:pt x="84705" y="32891"/>
                </a:lnTo>
                <a:lnTo>
                  <a:pt x="48530" y="60186"/>
                </a:lnTo>
                <a:lnTo>
                  <a:pt x="16544" y="92173"/>
                </a:lnTo>
                <a:lnTo>
                  <a:pt x="0" y="114100"/>
                </a:lnTo>
                <a:lnTo>
                  <a:pt x="152872" y="190553"/>
                </a:lnTo>
                <a:lnTo>
                  <a:pt x="152872" y="0"/>
                </a:lnTo>
                <a:close/>
              </a:path>
            </a:pathLst>
          </a:custGeom>
          <a:solidFill>
            <a:srgbClr val="24346C"/>
          </a:solidFill>
        </p:spPr>
        <p:txBody>
          <a:bodyPr wrap="square" lIns="0" tIns="0" rIns="0" bIns="0" rtlCol="0"/>
          <a:lstStyle/>
          <a:p>
            <a:endParaRPr/>
          </a:p>
        </p:txBody>
      </p:sp>
      <p:sp>
        <p:nvSpPr>
          <p:cNvPr id="867" name="object 867"/>
          <p:cNvSpPr/>
          <p:nvPr/>
        </p:nvSpPr>
        <p:spPr>
          <a:xfrm>
            <a:off x="6361073" y="1456137"/>
            <a:ext cx="67006" cy="28591"/>
          </a:xfrm>
          <a:custGeom>
            <a:avLst/>
            <a:gdLst/>
            <a:ahLst/>
            <a:cxnLst/>
            <a:rect l="l" t="t" r="r" b="b"/>
            <a:pathLst>
              <a:path w="147319" h="62864">
                <a:moveTo>
                  <a:pt x="131006" y="0"/>
                </a:moveTo>
                <a:lnTo>
                  <a:pt x="0" y="62340"/>
                </a:lnTo>
                <a:lnTo>
                  <a:pt x="72008" y="62340"/>
                </a:lnTo>
                <a:lnTo>
                  <a:pt x="146807" y="28495"/>
                </a:lnTo>
                <a:lnTo>
                  <a:pt x="131006" y="0"/>
                </a:lnTo>
                <a:close/>
              </a:path>
            </a:pathLst>
          </a:custGeom>
          <a:solidFill>
            <a:srgbClr val="BE142B"/>
          </a:solidFill>
        </p:spPr>
        <p:txBody>
          <a:bodyPr wrap="square" lIns="0" tIns="0" rIns="0" bIns="0" rtlCol="0"/>
          <a:lstStyle/>
          <a:p>
            <a:endParaRPr/>
          </a:p>
        </p:txBody>
      </p:sp>
      <p:sp>
        <p:nvSpPr>
          <p:cNvPr id="868" name="object 868"/>
          <p:cNvSpPr/>
          <p:nvPr/>
        </p:nvSpPr>
        <p:spPr>
          <a:xfrm>
            <a:off x="6163578" y="1582795"/>
            <a:ext cx="66139" cy="29746"/>
          </a:xfrm>
          <a:custGeom>
            <a:avLst/>
            <a:gdLst/>
            <a:ahLst/>
            <a:cxnLst/>
            <a:rect l="l" t="t" r="r" b="b"/>
            <a:pathLst>
              <a:path w="145415" h="65404">
                <a:moveTo>
                  <a:pt x="145401" y="0"/>
                </a:moveTo>
                <a:lnTo>
                  <a:pt x="72723" y="0"/>
                </a:lnTo>
                <a:lnTo>
                  <a:pt x="0" y="36434"/>
                </a:lnTo>
                <a:lnTo>
                  <a:pt x="15755" y="64851"/>
                </a:lnTo>
                <a:lnTo>
                  <a:pt x="145401" y="0"/>
                </a:lnTo>
                <a:close/>
              </a:path>
            </a:pathLst>
          </a:custGeom>
          <a:solidFill>
            <a:srgbClr val="BE142B"/>
          </a:solidFill>
        </p:spPr>
        <p:txBody>
          <a:bodyPr wrap="square" lIns="0" tIns="0" rIns="0" bIns="0" rtlCol="0"/>
          <a:lstStyle/>
          <a:p>
            <a:endParaRPr/>
          </a:p>
        </p:txBody>
      </p:sp>
      <p:sp>
        <p:nvSpPr>
          <p:cNvPr id="869" name="object 869"/>
          <p:cNvSpPr/>
          <p:nvPr/>
        </p:nvSpPr>
        <p:spPr>
          <a:xfrm>
            <a:off x="6157841" y="1467889"/>
            <a:ext cx="39279" cy="16750"/>
          </a:xfrm>
          <a:custGeom>
            <a:avLst/>
            <a:gdLst/>
            <a:ahLst/>
            <a:cxnLst/>
            <a:rect l="l" t="t" r="r" b="b"/>
            <a:pathLst>
              <a:path w="86359" h="36829">
                <a:moveTo>
                  <a:pt x="12692" y="0"/>
                </a:moveTo>
                <a:lnTo>
                  <a:pt x="8304" y="7914"/>
                </a:lnTo>
                <a:lnTo>
                  <a:pt x="0" y="29702"/>
                </a:lnTo>
                <a:lnTo>
                  <a:pt x="13906" y="36657"/>
                </a:lnTo>
                <a:lnTo>
                  <a:pt x="85904" y="36657"/>
                </a:lnTo>
                <a:lnTo>
                  <a:pt x="12692" y="0"/>
                </a:lnTo>
                <a:close/>
              </a:path>
            </a:pathLst>
          </a:custGeom>
          <a:solidFill>
            <a:srgbClr val="BE142B"/>
          </a:solidFill>
        </p:spPr>
        <p:txBody>
          <a:bodyPr wrap="square" lIns="0" tIns="0" rIns="0" bIns="0" rtlCol="0"/>
          <a:lstStyle/>
          <a:p>
            <a:endParaRPr/>
          </a:p>
        </p:txBody>
      </p:sp>
      <p:sp>
        <p:nvSpPr>
          <p:cNvPr id="870" name="object 870"/>
          <p:cNvSpPr/>
          <p:nvPr/>
        </p:nvSpPr>
        <p:spPr>
          <a:xfrm>
            <a:off x="6393464" y="1582753"/>
            <a:ext cx="39568" cy="15595"/>
          </a:xfrm>
          <a:custGeom>
            <a:avLst/>
            <a:gdLst/>
            <a:ahLst/>
            <a:cxnLst/>
            <a:rect l="l" t="t" r="r" b="b"/>
            <a:pathLst>
              <a:path w="86994" h="34289">
                <a:moveTo>
                  <a:pt x="71997" y="0"/>
                </a:moveTo>
                <a:lnTo>
                  <a:pt x="0" y="0"/>
                </a:lnTo>
                <a:lnTo>
                  <a:pt x="75494" y="34193"/>
                </a:lnTo>
                <a:lnTo>
                  <a:pt x="78509" y="28757"/>
                </a:lnTo>
                <a:lnTo>
                  <a:pt x="86942" y="6634"/>
                </a:lnTo>
                <a:lnTo>
                  <a:pt x="71997" y="0"/>
                </a:lnTo>
                <a:close/>
              </a:path>
            </a:pathLst>
          </a:custGeom>
          <a:solidFill>
            <a:srgbClr val="BE142B"/>
          </a:solidFill>
        </p:spPr>
        <p:txBody>
          <a:bodyPr wrap="square" lIns="0" tIns="0" rIns="0" bIns="0" rtlCol="0"/>
          <a:lstStyle/>
          <a:p>
            <a:endParaRPr/>
          </a:p>
        </p:txBody>
      </p:sp>
      <p:sp>
        <p:nvSpPr>
          <p:cNvPr id="871" name="object 871"/>
          <p:cNvSpPr/>
          <p:nvPr/>
        </p:nvSpPr>
        <p:spPr>
          <a:xfrm>
            <a:off x="6735832" y="1390834"/>
            <a:ext cx="293151" cy="293130"/>
          </a:xfrm>
          <a:custGeom>
            <a:avLst/>
            <a:gdLst/>
            <a:ahLst/>
            <a:cxnLst/>
            <a:rect l="l" t="t" r="r" b="b"/>
            <a:pathLst>
              <a:path w="644525" h="644525">
                <a:moveTo>
                  <a:pt x="369583" y="3491"/>
                </a:moveTo>
                <a:lnTo>
                  <a:pt x="274417" y="3491"/>
                </a:lnTo>
                <a:lnTo>
                  <a:pt x="229002" y="13632"/>
                </a:lnTo>
                <a:lnTo>
                  <a:pt x="186252" y="29925"/>
                </a:lnTo>
                <a:lnTo>
                  <a:pt x="146667" y="51873"/>
                </a:lnTo>
                <a:lnTo>
                  <a:pt x="110743" y="78977"/>
                </a:lnTo>
                <a:lnTo>
                  <a:pt x="78980" y="110739"/>
                </a:lnTo>
                <a:lnTo>
                  <a:pt x="51875" y="146662"/>
                </a:lnTo>
                <a:lnTo>
                  <a:pt x="29927" y="186248"/>
                </a:lnTo>
                <a:lnTo>
                  <a:pt x="13633" y="228998"/>
                </a:lnTo>
                <a:lnTo>
                  <a:pt x="3491" y="274415"/>
                </a:lnTo>
                <a:lnTo>
                  <a:pt x="0" y="322000"/>
                </a:lnTo>
                <a:lnTo>
                  <a:pt x="3491" y="369586"/>
                </a:lnTo>
                <a:lnTo>
                  <a:pt x="13633" y="415003"/>
                </a:lnTo>
                <a:lnTo>
                  <a:pt x="29927" y="457753"/>
                </a:lnTo>
                <a:lnTo>
                  <a:pt x="51875" y="497338"/>
                </a:lnTo>
                <a:lnTo>
                  <a:pt x="78980" y="533261"/>
                </a:lnTo>
                <a:lnTo>
                  <a:pt x="110743" y="565024"/>
                </a:lnTo>
                <a:lnTo>
                  <a:pt x="146667" y="592128"/>
                </a:lnTo>
                <a:lnTo>
                  <a:pt x="186252" y="614075"/>
                </a:lnTo>
                <a:lnTo>
                  <a:pt x="229002" y="630369"/>
                </a:lnTo>
                <a:lnTo>
                  <a:pt x="274417" y="640510"/>
                </a:lnTo>
                <a:lnTo>
                  <a:pt x="322000" y="644001"/>
                </a:lnTo>
                <a:lnTo>
                  <a:pt x="369583" y="640510"/>
                </a:lnTo>
                <a:lnTo>
                  <a:pt x="414999" y="630369"/>
                </a:lnTo>
                <a:lnTo>
                  <a:pt x="457748" y="614075"/>
                </a:lnTo>
                <a:lnTo>
                  <a:pt x="497334" y="592128"/>
                </a:lnTo>
                <a:lnTo>
                  <a:pt x="533257" y="565024"/>
                </a:lnTo>
                <a:lnTo>
                  <a:pt x="565020" y="533261"/>
                </a:lnTo>
                <a:lnTo>
                  <a:pt x="592125" y="497338"/>
                </a:lnTo>
                <a:lnTo>
                  <a:pt x="614074" y="457753"/>
                </a:lnTo>
                <a:lnTo>
                  <a:pt x="630368" y="415003"/>
                </a:lnTo>
                <a:lnTo>
                  <a:pt x="640510" y="369586"/>
                </a:lnTo>
                <a:lnTo>
                  <a:pt x="644001" y="322000"/>
                </a:lnTo>
                <a:lnTo>
                  <a:pt x="640510" y="274415"/>
                </a:lnTo>
                <a:lnTo>
                  <a:pt x="630368" y="228998"/>
                </a:lnTo>
                <a:lnTo>
                  <a:pt x="614074" y="186248"/>
                </a:lnTo>
                <a:lnTo>
                  <a:pt x="592125" y="146662"/>
                </a:lnTo>
                <a:lnTo>
                  <a:pt x="565020" y="110739"/>
                </a:lnTo>
                <a:lnTo>
                  <a:pt x="533257" y="78977"/>
                </a:lnTo>
                <a:lnTo>
                  <a:pt x="497334" y="51873"/>
                </a:lnTo>
                <a:lnTo>
                  <a:pt x="457748" y="29925"/>
                </a:lnTo>
                <a:lnTo>
                  <a:pt x="414999" y="13632"/>
                </a:lnTo>
                <a:lnTo>
                  <a:pt x="369583" y="3491"/>
                </a:lnTo>
                <a:close/>
              </a:path>
              <a:path w="644525" h="644525">
                <a:moveTo>
                  <a:pt x="322000" y="0"/>
                </a:moveTo>
                <a:lnTo>
                  <a:pt x="274417" y="3491"/>
                </a:lnTo>
                <a:lnTo>
                  <a:pt x="369583" y="3491"/>
                </a:lnTo>
                <a:lnTo>
                  <a:pt x="322000" y="0"/>
                </a:lnTo>
                <a:close/>
              </a:path>
            </a:pathLst>
          </a:custGeom>
          <a:solidFill>
            <a:srgbClr val="035284"/>
          </a:solidFill>
        </p:spPr>
        <p:txBody>
          <a:bodyPr wrap="square" lIns="0" tIns="0" rIns="0" bIns="0" rtlCol="0"/>
          <a:lstStyle/>
          <a:p>
            <a:endParaRPr/>
          </a:p>
        </p:txBody>
      </p:sp>
      <p:sp>
        <p:nvSpPr>
          <p:cNvPr id="872" name="object 872"/>
          <p:cNvSpPr/>
          <p:nvPr/>
        </p:nvSpPr>
        <p:spPr>
          <a:xfrm>
            <a:off x="6794416" y="1394128"/>
            <a:ext cx="58630" cy="286488"/>
          </a:xfrm>
          <a:custGeom>
            <a:avLst/>
            <a:gdLst/>
            <a:ahLst/>
            <a:cxnLst/>
            <a:rect l="l" t="t" r="r" b="b"/>
            <a:pathLst>
              <a:path w="128905" h="629920">
                <a:moveTo>
                  <a:pt x="128802" y="0"/>
                </a:moveTo>
                <a:lnTo>
                  <a:pt x="100199" y="6386"/>
                </a:lnTo>
                <a:lnTo>
                  <a:pt x="57450" y="22680"/>
                </a:lnTo>
                <a:lnTo>
                  <a:pt x="17864" y="44627"/>
                </a:lnTo>
                <a:lnTo>
                  <a:pt x="0" y="58107"/>
                </a:lnTo>
                <a:lnTo>
                  <a:pt x="0" y="571403"/>
                </a:lnTo>
                <a:lnTo>
                  <a:pt x="17864" y="584882"/>
                </a:lnTo>
                <a:lnTo>
                  <a:pt x="57450" y="606830"/>
                </a:lnTo>
                <a:lnTo>
                  <a:pt x="100199" y="623123"/>
                </a:lnTo>
                <a:lnTo>
                  <a:pt x="128802" y="629510"/>
                </a:lnTo>
                <a:lnTo>
                  <a:pt x="128802" y="0"/>
                </a:lnTo>
                <a:close/>
              </a:path>
            </a:pathLst>
          </a:custGeom>
          <a:solidFill>
            <a:srgbClr val="EDB901"/>
          </a:solidFill>
        </p:spPr>
        <p:txBody>
          <a:bodyPr wrap="square" lIns="0" tIns="0" rIns="0" bIns="0" rtlCol="0"/>
          <a:lstStyle/>
          <a:p>
            <a:endParaRPr/>
          </a:p>
        </p:txBody>
      </p:sp>
      <p:sp>
        <p:nvSpPr>
          <p:cNvPr id="873" name="object 873"/>
          <p:cNvSpPr/>
          <p:nvPr/>
        </p:nvSpPr>
        <p:spPr>
          <a:xfrm>
            <a:off x="6735832" y="1507992"/>
            <a:ext cx="293151" cy="58626"/>
          </a:xfrm>
          <a:custGeom>
            <a:avLst/>
            <a:gdLst/>
            <a:ahLst/>
            <a:cxnLst/>
            <a:rect l="l" t="t" r="r" b="b"/>
            <a:pathLst>
              <a:path w="644525" h="128904">
                <a:moveTo>
                  <a:pt x="636756" y="0"/>
                </a:moveTo>
                <a:lnTo>
                  <a:pt x="7245" y="0"/>
                </a:lnTo>
                <a:lnTo>
                  <a:pt x="3491" y="16810"/>
                </a:lnTo>
                <a:lnTo>
                  <a:pt x="0" y="64395"/>
                </a:lnTo>
                <a:lnTo>
                  <a:pt x="3491" y="111981"/>
                </a:lnTo>
                <a:lnTo>
                  <a:pt x="7247" y="128802"/>
                </a:lnTo>
                <a:lnTo>
                  <a:pt x="636753" y="128802"/>
                </a:lnTo>
                <a:lnTo>
                  <a:pt x="640510" y="111981"/>
                </a:lnTo>
                <a:lnTo>
                  <a:pt x="644001" y="64395"/>
                </a:lnTo>
                <a:lnTo>
                  <a:pt x="640510" y="16810"/>
                </a:lnTo>
                <a:lnTo>
                  <a:pt x="636756" y="0"/>
                </a:lnTo>
                <a:close/>
              </a:path>
            </a:pathLst>
          </a:custGeom>
          <a:solidFill>
            <a:srgbClr val="EDB901"/>
          </a:solidFill>
        </p:spPr>
        <p:txBody>
          <a:bodyPr wrap="square" lIns="0" tIns="0" rIns="0" bIns="0" rtlCol="0"/>
          <a:lstStyle/>
          <a:p>
            <a:endParaRPr/>
          </a:p>
        </p:txBody>
      </p:sp>
      <p:sp>
        <p:nvSpPr>
          <p:cNvPr id="874" name="object 874"/>
          <p:cNvSpPr/>
          <p:nvPr/>
        </p:nvSpPr>
        <p:spPr>
          <a:xfrm>
            <a:off x="7307623" y="1397082"/>
            <a:ext cx="99642" cy="280423"/>
          </a:xfrm>
          <a:custGeom>
            <a:avLst/>
            <a:gdLst/>
            <a:ahLst/>
            <a:cxnLst/>
            <a:rect l="l" t="t" r="r" b="b"/>
            <a:pathLst>
              <a:path w="219075" h="616585">
                <a:moveTo>
                  <a:pt x="218464" y="0"/>
                </a:moveTo>
                <a:lnTo>
                  <a:pt x="149259" y="33360"/>
                </a:lnTo>
                <a:lnTo>
                  <a:pt x="112700" y="60945"/>
                </a:lnTo>
                <a:lnTo>
                  <a:pt x="80376" y="93270"/>
                </a:lnTo>
                <a:lnTo>
                  <a:pt x="52792" y="129829"/>
                </a:lnTo>
                <a:lnTo>
                  <a:pt x="30455" y="170115"/>
                </a:lnTo>
                <a:lnTo>
                  <a:pt x="13873" y="213620"/>
                </a:lnTo>
                <a:lnTo>
                  <a:pt x="3552" y="259838"/>
                </a:lnTo>
                <a:lnTo>
                  <a:pt x="0" y="308262"/>
                </a:lnTo>
                <a:lnTo>
                  <a:pt x="3552" y="356688"/>
                </a:lnTo>
                <a:lnTo>
                  <a:pt x="13873" y="402909"/>
                </a:lnTo>
                <a:lnTo>
                  <a:pt x="30455" y="446416"/>
                </a:lnTo>
                <a:lnTo>
                  <a:pt x="52792" y="486703"/>
                </a:lnTo>
                <a:lnTo>
                  <a:pt x="80376" y="523263"/>
                </a:lnTo>
                <a:lnTo>
                  <a:pt x="112700" y="555589"/>
                </a:lnTo>
                <a:lnTo>
                  <a:pt x="149259" y="583174"/>
                </a:lnTo>
                <a:lnTo>
                  <a:pt x="189544" y="605512"/>
                </a:lnTo>
                <a:lnTo>
                  <a:pt x="218464" y="616535"/>
                </a:lnTo>
                <a:lnTo>
                  <a:pt x="218464" y="0"/>
                </a:lnTo>
                <a:close/>
              </a:path>
            </a:pathLst>
          </a:custGeom>
          <a:solidFill>
            <a:srgbClr val="23376F"/>
          </a:solidFill>
        </p:spPr>
        <p:txBody>
          <a:bodyPr wrap="square" lIns="0" tIns="0" rIns="0" bIns="0" rtlCol="0"/>
          <a:lstStyle/>
          <a:p>
            <a:endParaRPr/>
          </a:p>
        </p:txBody>
      </p:sp>
      <p:sp>
        <p:nvSpPr>
          <p:cNvPr id="875" name="object 875"/>
          <p:cNvSpPr/>
          <p:nvPr/>
        </p:nvSpPr>
        <p:spPr>
          <a:xfrm>
            <a:off x="7406988" y="1388243"/>
            <a:ext cx="99642" cy="298329"/>
          </a:xfrm>
          <a:custGeom>
            <a:avLst/>
            <a:gdLst/>
            <a:ahLst/>
            <a:cxnLst/>
            <a:rect l="l" t="t" r="r" b="b"/>
            <a:pathLst>
              <a:path w="219075" h="655954">
                <a:moveTo>
                  <a:pt x="157657" y="3553"/>
                </a:moveTo>
                <a:lnTo>
                  <a:pt x="60804" y="3553"/>
                </a:lnTo>
                <a:lnTo>
                  <a:pt x="14585" y="13874"/>
                </a:lnTo>
                <a:lnTo>
                  <a:pt x="0" y="19433"/>
                </a:lnTo>
                <a:lnTo>
                  <a:pt x="0" y="635970"/>
                </a:lnTo>
                <a:lnTo>
                  <a:pt x="14585" y="641529"/>
                </a:lnTo>
                <a:lnTo>
                  <a:pt x="60804" y="651850"/>
                </a:lnTo>
                <a:lnTo>
                  <a:pt x="109231" y="655404"/>
                </a:lnTo>
                <a:lnTo>
                  <a:pt x="157657" y="651850"/>
                </a:lnTo>
                <a:lnTo>
                  <a:pt x="203877" y="641529"/>
                </a:lnTo>
                <a:lnTo>
                  <a:pt x="218463" y="635970"/>
                </a:lnTo>
                <a:lnTo>
                  <a:pt x="218463" y="19433"/>
                </a:lnTo>
                <a:lnTo>
                  <a:pt x="203877" y="13874"/>
                </a:lnTo>
                <a:lnTo>
                  <a:pt x="157657" y="3553"/>
                </a:lnTo>
                <a:close/>
              </a:path>
              <a:path w="219075" h="655954">
                <a:moveTo>
                  <a:pt x="109231" y="0"/>
                </a:moveTo>
                <a:lnTo>
                  <a:pt x="60804" y="3553"/>
                </a:lnTo>
                <a:lnTo>
                  <a:pt x="157657" y="3553"/>
                </a:lnTo>
                <a:lnTo>
                  <a:pt x="109231" y="0"/>
                </a:lnTo>
                <a:close/>
              </a:path>
            </a:pathLst>
          </a:custGeom>
          <a:solidFill>
            <a:srgbClr val="ECC217"/>
          </a:solidFill>
        </p:spPr>
        <p:txBody>
          <a:bodyPr wrap="square" lIns="0" tIns="0" rIns="0" bIns="0" rtlCol="0"/>
          <a:lstStyle/>
          <a:p>
            <a:endParaRPr/>
          </a:p>
        </p:txBody>
      </p:sp>
      <p:sp>
        <p:nvSpPr>
          <p:cNvPr id="876" name="object 876"/>
          <p:cNvSpPr/>
          <p:nvPr/>
        </p:nvSpPr>
        <p:spPr>
          <a:xfrm>
            <a:off x="7506352" y="1397082"/>
            <a:ext cx="99642" cy="280423"/>
          </a:xfrm>
          <a:custGeom>
            <a:avLst/>
            <a:gdLst/>
            <a:ahLst/>
            <a:cxnLst/>
            <a:rect l="l" t="t" r="r" b="b"/>
            <a:pathLst>
              <a:path w="219075" h="616585">
                <a:moveTo>
                  <a:pt x="0" y="0"/>
                </a:moveTo>
                <a:lnTo>
                  <a:pt x="0" y="616536"/>
                </a:lnTo>
                <a:lnTo>
                  <a:pt x="28921" y="605512"/>
                </a:lnTo>
                <a:lnTo>
                  <a:pt x="69208" y="583174"/>
                </a:lnTo>
                <a:lnTo>
                  <a:pt x="105768" y="555589"/>
                </a:lnTo>
                <a:lnTo>
                  <a:pt x="138094" y="523263"/>
                </a:lnTo>
                <a:lnTo>
                  <a:pt x="165679" y="486703"/>
                </a:lnTo>
                <a:lnTo>
                  <a:pt x="188017" y="446416"/>
                </a:lnTo>
                <a:lnTo>
                  <a:pt x="204600" y="402909"/>
                </a:lnTo>
                <a:lnTo>
                  <a:pt x="214921" y="356689"/>
                </a:lnTo>
                <a:lnTo>
                  <a:pt x="218475" y="308262"/>
                </a:lnTo>
                <a:lnTo>
                  <a:pt x="214921" y="259838"/>
                </a:lnTo>
                <a:lnTo>
                  <a:pt x="204600" y="213620"/>
                </a:lnTo>
                <a:lnTo>
                  <a:pt x="188017" y="170115"/>
                </a:lnTo>
                <a:lnTo>
                  <a:pt x="165679" y="129829"/>
                </a:lnTo>
                <a:lnTo>
                  <a:pt x="138094" y="93270"/>
                </a:lnTo>
                <a:lnTo>
                  <a:pt x="105768" y="60945"/>
                </a:lnTo>
                <a:lnTo>
                  <a:pt x="69208" y="33360"/>
                </a:lnTo>
                <a:lnTo>
                  <a:pt x="28921" y="11023"/>
                </a:lnTo>
                <a:lnTo>
                  <a:pt x="0" y="0"/>
                </a:lnTo>
                <a:close/>
              </a:path>
            </a:pathLst>
          </a:custGeom>
          <a:solidFill>
            <a:srgbClr val="BD1327"/>
          </a:solidFill>
        </p:spPr>
        <p:txBody>
          <a:bodyPr wrap="square" lIns="0" tIns="0" rIns="0" bIns="0" rtlCol="0"/>
          <a:lstStyle/>
          <a:p>
            <a:endParaRPr/>
          </a:p>
        </p:txBody>
      </p:sp>
      <p:sp>
        <p:nvSpPr>
          <p:cNvPr id="877" name="object 877"/>
          <p:cNvSpPr/>
          <p:nvPr/>
        </p:nvSpPr>
        <p:spPr>
          <a:xfrm>
            <a:off x="3336536" y="3978054"/>
            <a:ext cx="192353" cy="289665"/>
          </a:xfrm>
          <a:custGeom>
            <a:avLst/>
            <a:gdLst/>
            <a:ahLst/>
            <a:cxnLst/>
            <a:rect l="l" t="t" r="r" b="b"/>
            <a:pathLst>
              <a:path w="422909" h="636904">
                <a:moveTo>
                  <a:pt x="304147" y="0"/>
                </a:moveTo>
                <a:lnTo>
                  <a:pt x="118195" y="0"/>
                </a:lnTo>
                <a:lnTo>
                  <a:pt x="90803" y="4895"/>
                </a:lnTo>
                <a:lnTo>
                  <a:pt x="67615" y="18325"/>
                </a:lnTo>
                <a:lnTo>
                  <a:pt x="51024" y="38400"/>
                </a:lnTo>
                <a:lnTo>
                  <a:pt x="43422" y="63233"/>
                </a:lnTo>
                <a:lnTo>
                  <a:pt x="0" y="528182"/>
                </a:lnTo>
                <a:lnTo>
                  <a:pt x="3785" y="569811"/>
                </a:lnTo>
                <a:lnTo>
                  <a:pt x="20975" y="604264"/>
                </a:lnTo>
                <a:lnTo>
                  <a:pt x="48874" y="627730"/>
                </a:lnTo>
                <a:lnTo>
                  <a:pt x="84782" y="636399"/>
                </a:lnTo>
                <a:lnTo>
                  <a:pt x="337560" y="636399"/>
                </a:lnTo>
                <a:lnTo>
                  <a:pt x="373468" y="627730"/>
                </a:lnTo>
                <a:lnTo>
                  <a:pt x="401367" y="604264"/>
                </a:lnTo>
                <a:lnTo>
                  <a:pt x="418557" y="569811"/>
                </a:lnTo>
                <a:lnTo>
                  <a:pt x="422343" y="528182"/>
                </a:lnTo>
                <a:lnTo>
                  <a:pt x="378920" y="63233"/>
                </a:lnTo>
                <a:lnTo>
                  <a:pt x="371318" y="38400"/>
                </a:lnTo>
                <a:lnTo>
                  <a:pt x="354727" y="18325"/>
                </a:lnTo>
                <a:lnTo>
                  <a:pt x="331539" y="4895"/>
                </a:lnTo>
                <a:lnTo>
                  <a:pt x="304147" y="0"/>
                </a:lnTo>
                <a:close/>
              </a:path>
            </a:pathLst>
          </a:custGeom>
          <a:solidFill>
            <a:srgbClr val="676767"/>
          </a:solidFill>
        </p:spPr>
        <p:txBody>
          <a:bodyPr wrap="square" lIns="0" tIns="0" rIns="0" bIns="0" rtlCol="0"/>
          <a:lstStyle/>
          <a:p>
            <a:endParaRPr/>
          </a:p>
        </p:txBody>
      </p:sp>
      <p:sp>
        <p:nvSpPr>
          <p:cNvPr id="878" name="object 878"/>
          <p:cNvSpPr/>
          <p:nvPr/>
        </p:nvSpPr>
        <p:spPr>
          <a:xfrm>
            <a:off x="3357270" y="4231294"/>
            <a:ext cx="155384" cy="50250"/>
          </a:xfrm>
          <a:custGeom>
            <a:avLst/>
            <a:gdLst/>
            <a:ahLst/>
            <a:cxnLst/>
            <a:rect l="l" t="t" r="r" b="b"/>
            <a:pathLst>
              <a:path w="341629" h="110490">
                <a:moveTo>
                  <a:pt x="303886" y="0"/>
                </a:moveTo>
                <a:lnTo>
                  <a:pt x="37621" y="0"/>
                </a:lnTo>
                <a:lnTo>
                  <a:pt x="22974" y="2955"/>
                </a:lnTo>
                <a:lnTo>
                  <a:pt x="11016" y="11016"/>
                </a:lnTo>
                <a:lnTo>
                  <a:pt x="2955" y="22974"/>
                </a:lnTo>
                <a:lnTo>
                  <a:pt x="0" y="37621"/>
                </a:lnTo>
                <a:lnTo>
                  <a:pt x="0" y="72353"/>
                </a:lnTo>
                <a:lnTo>
                  <a:pt x="2955" y="87000"/>
                </a:lnTo>
                <a:lnTo>
                  <a:pt x="11016" y="98959"/>
                </a:lnTo>
                <a:lnTo>
                  <a:pt x="22974" y="107020"/>
                </a:lnTo>
                <a:lnTo>
                  <a:pt x="37621" y="109975"/>
                </a:lnTo>
                <a:lnTo>
                  <a:pt x="303886" y="109975"/>
                </a:lnTo>
                <a:lnTo>
                  <a:pt x="318533" y="107020"/>
                </a:lnTo>
                <a:lnTo>
                  <a:pt x="330491" y="98959"/>
                </a:lnTo>
                <a:lnTo>
                  <a:pt x="338552" y="87000"/>
                </a:lnTo>
                <a:lnTo>
                  <a:pt x="341507" y="72353"/>
                </a:lnTo>
                <a:lnTo>
                  <a:pt x="341507" y="37621"/>
                </a:lnTo>
                <a:lnTo>
                  <a:pt x="338552" y="22974"/>
                </a:lnTo>
                <a:lnTo>
                  <a:pt x="330491" y="11016"/>
                </a:lnTo>
                <a:lnTo>
                  <a:pt x="318533" y="2955"/>
                </a:lnTo>
                <a:lnTo>
                  <a:pt x="303886" y="0"/>
                </a:lnTo>
                <a:close/>
              </a:path>
            </a:pathLst>
          </a:custGeom>
          <a:solidFill>
            <a:srgbClr val="514F66"/>
          </a:solidFill>
        </p:spPr>
        <p:txBody>
          <a:bodyPr wrap="square" lIns="0" tIns="0" rIns="0" bIns="0" rtlCol="0"/>
          <a:lstStyle/>
          <a:p>
            <a:endParaRPr/>
          </a:p>
        </p:txBody>
      </p:sp>
      <p:sp>
        <p:nvSpPr>
          <p:cNvPr id="879" name="object 879"/>
          <p:cNvSpPr/>
          <p:nvPr/>
        </p:nvSpPr>
        <p:spPr>
          <a:xfrm>
            <a:off x="2755462" y="3978054"/>
            <a:ext cx="192353" cy="289665"/>
          </a:xfrm>
          <a:custGeom>
            <a:avLst/>
            <a:gdLst/>
            <a:ahLst/>
            <a:cxnLst/>
            <a:rect l="l" t="t" r="r" b="b"/>
            <a:pathLst>
              <a:path w="422910" h="636904">
                <a:moveTo>
                  <a:pt x="304147" y="0"/>
                </a:moveTo>
                <a:lnTo>
                  <a:pt x="118195" y="0"/>
                </a:lnTo>
                <a:lnTo>
                  <a:pt x="90803" y="4895"/>
                </a:lnTo>
                <a:lnTo>
                  <a:pt x="67615" y="18325"/>
                </a:lnTo>
                <a:lnTo>
                  <a:pt x="51024" y="38400"/>
                </a:lnTo>
                <a:lnTo>
                  <a:pt x="43422" y="63233"/>
                </a:lnTo>
                <a:lnTo>
                  <a:pt x="0" y="528182"/>
                </a:lnTo>
                <a:lnTo>
                  <a:pt x="3785" y="569811"/>
                </a:lnTo>
                <a:lnTo>
                  <a:pt x="20975" y="604264"/>
                </a:lnTo>
                <a:lnTo>
                  <a:pt x="48874" y="627730"/>
                </a:lnTo>
                <a:lnTo>
                  <a:pt x="84782" y="636399"/>
                </a:lnTo>
                <a:lnTo>
                  <a:pt x="337560" y="636399"/>
                </a:lnTo>
                <a:lnTo>
                  <a:pt x="373470" y="627730"/>
                </a:lnTo>
                <a:lnTo>
                  <a:pt x="401371" y="604264"/>
                </a:lnTo>
                <a:lnTo>
                  <a:pt x="418562" y="569811"/>
                </a:lnTo>
                <a:lnTo>
                  <a:pt x="422343" y="528182"/>
                </a:lnTo>
                <a:lnTo>
                  <a:pt x="378920" y="63233"/>
                </a:lnTo>
                <a:lnTo>
                  <a:pt x="371318" y="38400"/>
                </a:lnTo>
                <a:lnTo>
                  <a:pt x="354727" y="18325"/>
                </a:lnTo>
                <a:lnTo>
                  <a:pt x="331539" y="4895"/>
                </a:lnTo>
                <a:lnTo>
                  <a:pt x="304147" y="0"/>
                </a:lnTo>
                <a:close/>
              </a:path>
            </a:pathLst>
          </a:custGeom>
          <a:solidFill>
            <a:srgbClr val="676767"/>
          </a:solidFill>
        </p:spPr>
        <p:txBody>
          <a:bodyPr wrap="square" lIns="0" tIns="0" rIns="0" bIns="0" rtlCol="0"/>
          <a:lstStyle/>
          <a:p>
            <a:endParaRPr/>
          </a:p>
        </p:txBody>
      </p:sp>
      <p:sp>
        <p:nvSpPr>
          <p:cNvPr id="880" name="object 880"/>
          <p:cNvSpPr/>
          <p:nvPr/>
        </p:nvSpPr>
        <p:spPr>
          <a:xfrm>
            <a:off x="2776196" y="4231294"/>
            <a:ext cx="155384" cy="50250"/>
          </a:xfrm>
          <a:custGeom>
            <a:avLst/>
            <a:gdLst/>
            <a:ahLst/>
            <a:cxnLst/>
            <a:rect l="l" t="t" r="r" b="b"/>
            <a:pathLst>
              <a:path w="341629" h="110490">
                <a:moveTo>
                  <a:pt x="303886" y="0"/>
                </a:moveTo>
                <a:lnTo>
                  <a:pt x="37621" y="0"/>
                </a:lnTo>
                <a:lnTo>
                  <a:pt x="22974" y="2955"/>
                </a:lnTo>
                <a:lnTo>
                  <a:pt x="11016" y="11016"/>
                </a:lnTo>
                <a:lnTo>
                  <a:pt x="2955" y="22974"/>
                </a:lnTo>
                <a:lnTo>
                  <a:pt x="0" y="37621"/>
                </a:lnTo>
                <a:lnTo>
                  <a:pt x="0" y="72353"/>
                </a:lnTo>
                <a:lnTo>
                  <a:pt x="2955" y="87000"/>
                </a:lnTo>
                <a:lnTo>
                  <a:pt x="11016" y="98959"/>
                </a:lnTo>
                <a:lnTo>
                  <a:pt x="22974" y="107020"/>
                </a:lnTo>
                <a:lnTo>
                  <a:pt x="37621" y="109975"/>
                </a:lnTo>
                <a:lnTo>
                  <a:pt x="303886" y="109975"/>
                </a:lnTo>
                <a:lnTo>
                  <a:pt x="318533" y="107020"/>
                </a:lnTo>
                <a:lnTo>
                  <a:pt x="330491" y="98959"/>
                </a:lnTo>
                <a:lnTo>
                  <a:pt x="338552" y="87000"/>
                </a:lnTo>
                <a:lnTo>
                  <a:pt x="341507" y="72353"/>
                </a:lnTo>
                <a:lnTo>
                  <a:pt x="341507" y="37621"/>
                </a:lnTo>
                <a:lnTo>
                  <a:pt x="338552" y="22974"/>
                </a:lnTo>
                <a:lnTo>
                  <a:pt x="330491" y="11016"/>
                </a:lnTo>
                <a:lnTo>
                  <a:pt x="318533" y="2955"/>
                </a:lnTo>
                <a:lnTo>
                  <a:pt x="303886" y="0"/>
                </a:lnTo>
                <a:close/>
              </a:path>
            </a:pathLst>
          </a:custGeom>
          <a:solidFill>
            <a:srgbClr val="514F66"/>
          </a:solidFill>
        </p:spPr>
        <p:txBody>
          <a:bodyPr wrap="square" lIns="0" tIns="0" rIns="0" bIns="0" rtlCol="0"/>
          <a:lstStyle/>
          <a:p>
            <a:endParaRPr/>
          </a:p>
        </p:txBody>
      </p:sp>
      <p:sp>
        <p:nvSpPr>
          <p:cNvPr id="881" name="object 881"/>
          <p:cNvSpPr/>
          <p:nvPr/>
        </p:nvSpPr>
        <p:spPr>
          <a:xfrm>
            <a:off x="2084043" y="3977924"/>
            <a:ext cx="192353" cy="289665"/>
          </a:xfrm>
          <a:custGeom>
            <a:avLst/>
            <a:gdLst/>
            <a:ahLst/>
            <a:cxnLst/>
            <a:rect l="l" t="t" r="r" b="b"/>
            <a:pathLst>
              <a:path w="422910" h="636904">
                <a:moveTo>
                  <a:pt x="304147" y="0"/>
                </a:moveTo>
                <a:lnTo>
                  <a:pt x="118195" y="0"/>
                </a:lnTo>
                <a:lnTo>
                  <a:pt x="90803" y="4896"/>
                </a:lnTo>
                <a:lnTo>
                  <a:pt x="67615" y="18326"/>
                </a:lnTo>
                <a:lnTo>
                  <a:pt x="51024" y="38404"/>
                </a:lnTo>
                <a:lnTo>
                  <a:pt x="43422" y="63244"/>
                </a:lnTo>
                <a:lnTo>
                  <a:pt x="0" y="528182"/>
                </a:lnTo>
                <a:lnTo>
                  <a:pt x="3785" y="569817"/>
                </a:lnTo>
                <a:lnTo>
                  <a:pt x="20975" y="604273"/>
                </a:lnTo>
                <a:lnTo>
                  <a:pt x="48874" y="627740"/>
                </a:lnTo>
                <a:lnTo>
                  <a:pt x="84782" y="636409"/>
                </a:lnTo>
                <a:lnTo>
                  <a:pt x="337560" y="636409"/>
                </a:lnTo>
                <a:lnTo>
                  <a:pt x="373468" y="627740"/>
                </a:lnTo>
                <a:lnTo>
                  <a:pt x="401367" y="604273"/>
                </a:lnTo>
                <a:lnTo>
                  <a:pt x="418557" y="569817"/>
                </a:lnTo>
                <a:lnTo>
                  <a:pt x="422343" y="528182"/>
                </a:lnTo>
                <a:lnTo>
                  <a:pt x="378920" y="63244"/>
                </a:lnTo>
                <a:lnTo>
                  <a:pt x="371318" y="38404"/>
                </a:lnTo>
                <a:lnTo>
                  <a:pt x="354727" y="18326"/>
                </a:lnTo>
                <a:lnTo>
                  <a:pt x="331539" y="4896"/>
                </a:lnTo>
                <a:lnTo>
                  <a:pt x="304147" y="0"/>
                </a:lnTo>
                <a:close/>
              </a:path>
            </a:pathLst>
          </a:custGeom>
          <a:solidFill>
            <a:srgbClr val="676767"/>
          </a:solidFill>
        </p:spPr>
        <p:txBody>
          <a:bodyPr wrap="square" lIns="0" tIns="0" rIns="0" bIns="0" rtlCol="0"/>
          <a:lstStyle/>
          <a:p>
            <a:endParaRPr/>
          </a:p>
        </p:txBody>
      </p:sp>
      <p:sp>
        <p:nvSpPr>
          <p:cNvPr id="882" name="object 882"/>
          <p:cNvSpPr/>
          <p:nvPr/>
        </p:nvSpPr>
        <p:spPr>
          <a:xfrm>
            <a:off x="2104777" y="4231163"/>
            <a:ext cx="155384" cy="50250"/>
          </a:xfrm>
          <a:custGeom>
            <a:avLst/>
            <a:gdLst/>
            <a:ahLst/>
            <a:cxnLst/>
            <a:rect l="l" t="t" r="r" b="b"/>
            <a:pathLst>
              <a:path w="341629" h="110490">
                <a:moveTo>
                  <a:pt x="303886" y="0"/>
                </a:moveTo>
                <a:lnTo>
                  <a:pt x="37621" y="0"/>
                </a:lnTo>
                <a:lnTo>
                  <a:pt x="22974" y="2957"/>
                </a:lnTo>
                <a:lnTo>
                  <a:pt x="11016" y="11021"/>
                </a:lnTo>
                <a:lnTo>
                  <a:pt x="2955" y="22983"/>
                </a:lnTo>
                <a:lnTo>
                  <a:pt x="0" y="37632"/>
                </a:lnTo>
                <a:lnTo>
                  <a:pt x="0" y="72353"/>
                </a:lnTo>
                <a:lnTo>
                  <a:pt x="2955" y="87002"/>
                </a:lnTo>
                <a:lnTo>
                  <a:pt x="11016" y="98964"/>
                </a:lnTo>
                <a:lnTo>
                  <a:pt x="22974" y="107028"/>
                </a:lnTo>
                <a:lnTo>
                  <a:pt x="37621" y="109986"/>
                </a:lnTo>
                <a:lnTo>
                  <a:pt x="303886" y="109986"/>
                </a:lnTo>
                <a:lnTo>
                  <a:pt x="318533" y="107028"/>
                </a:lnTo>
                <a:lnTo>
                  <a:pt x="330491" y="98964"/>
                </a:lnTo>
                <a:lnTo>
                  <a:pt x="338552" y="87002"/>
                </a:lnTo>
                <a:lnTo>
                  <a:pt x="341507" y="72353"/>
                </a:lnTo>
                <a:lnTo>
                  <a:pt x="341507" y="37632"/>
                </a:lnTo>
                <a:lnTo>
                  <a:pt x="338552" y="22983"/>
                </a:lnTo>
                <a:lnTo>
                  <a:pt x="330491" y="11021"/>
                </a:lnTo>
                <a:lnTo>
                  <a:pt x="318533" y="2957"/>
                </a:lnTo>
                <a:lnTo>
                  <a:pt x="303886" y="0"/>
                </a:lnTo>
                <a:close/>
              </a:path>
            </a:pathLst>
          </a:custGeom>
          <a:solidFill>
            <a:srgbClr val="514F66"/>
          </a:solidFill>
        </p:spPr>
        <p:txBody>
          <a:bodyPr wrap="square" lIns="0" tIns="0" rIns="0" bIns="0" rtlCol="0"/>
          <a:lstStyle/>
          <a:p>
            <a:endParaRPr/>
          </a:p>
        </p:txBody>
      </p:sp>
      <p:sp>
        <p:nvSpPr>
          <p:cNvPr id="883" name="object 883"/>
          <p:cNvSpPr/>
          <p:nvPr/>
        </p:nvSpPr>
        <p:spPr>
          <a:xfrm>
            <a:off x="3123919" y="4042774"/>
            <a:ext cx="74738" cy="31649"/>
          </a:xfrm>
          <a:prstGeom prst="rect">
            <a:avLst/>
          </a:prstGeom>
          <a:blipFill>
            <a:blip r:embed="rId35" cstate="print"/>
            <a:stretch>
              <a:fillRect/>
            </a:stretch>
          </a:blipFill>
        </p:spPr>
        <p:txBody>
          <a:bodyPr wrap="square" lIns="0" tIns="0" rIns="0" bIns="0" rtlCol="0"/>
          <a:lstStyle/>
          <a:p>
            <a:endParaRPr/>
          </a:p>
        </p:txBody>
      </p:sp>
      <p:sp>
        <p:nvSpPr>
          <p:cNvPr id="884" name="object 884"/>
          <p:cNvSpPr/>
          <p:nvPr/>
        </p:nvSpPr>
        <p:spPr>
          <a:xfrm>
            <a:off x="3439796" y="4016844"/>
            <a:ext cx="41248" cy="58422"/>
          </a:xfrm>
          <a:prstGeom prst="rect">
            <a:avLst/>
          </a:prstGeom>
          <a:blipFill>
            <a:blip r:embed="rId36" cstate="print"/>
            <a:stretch>
              <a:fillRect/>
            </a:stretch>
          </a:blipFill>
        </p:spPr>
        <p:txBody>
          <a:bodyPr wrap="square" lIns="0" tIns="0" rIns="0" bIns="0" rtlCol="0"/>
          <a:lstStyle/>
          <a:p>
            <a:endParaRPr/>
          </a:p>
        </p:txBody>
      </p:sp>
      <p:sp>
        <p:nvSpPr>
          <p:cNvPr id="885" name="object 885"/>
          <p:cNvSpPr/>
          <p:nvPr/>
        </p:nvSpPr>
        <p:spPr>
          <a:xfrm>
            <a:off x="2855318" y="4016844"/>
            <a:ext cx="41248" cy="58422"/>
          </a:xfrm>
          <a:prstGeom prst="rect">
            <a:avLst/>
          </a:prstGeom>
          <a:blipFill>
            <a:blip r:embed="rId37" cstate="print"/>
            <a:stretch>
              <a:fillRect/>
            </a:stretch>
          </a:blipFill>
        </p:spPr>
        <p:txBody>
          <a:bodyPr wrap="square" lIns="0" tIns="0" rIns="0" bIns="0" rtlCol="0"/>
          <a:lstStyle/>
          <a:p>
            <a:endParaRPr/>
          </a:p>
        </p:txBody>
      </p:sp>
      <p:sp>
        <p:nvSpPr>
          <p:cNvPr id="886" name="object 886"/>
          <p:cNvSpPr/>
          <p:nvPr/>
        </p:nvSpPr>
        <p:spPr>
          <a:xfrm>
            <a:off x="2182325" y="4016844"/>
            <a:ext cx="41248" cy="58422"/>
          </a:xfrm>
          <a:prstGeom prst="rect">
            <a:avLst/>
          </a:prstGeom>
          <a:blipFill>
            <a:blip r:embed="rId38" cstate="print"/>
            <a:stretch>
              <a:fillRect/>
            </a:stretch>
          </a:blipFill>
        </p:spPr>
        <p:txBody>
          <a:bodyPr wrap="square" lIns="0" tIns="0" rIns="0" bIns="0" rtlCol="0"/>
          <a:lstStyle/>
          <a:p>
            <a:endParaRPr/>
          </a:p>
        </p:txBody>
      </p:sp>
      <p:sp>
        <p:nvSpPr>
          <p:cNvPr id="887" name="object 887"/>
          <p:cNvSpPr/>
          <p:nvPr/>
        </p:nvSpPr>
        <p:spPr>
          <a:xfrm>
            <a:off x="1778903" y="4075261"/>
            <a:ext cx="1942595" cy="144110"/>
          </a:xfrm>
          <a:custGeom>
            <a:avLst/>
            <a:gdLst/>
            <a:ahLst/>
            <a:cxnLst/>
            <a:rect l="l" t="t" r="r" b="b"/>
            <a:pathLst>
              <a:path w="4271009" h="316865">
                <a:moveTo>
                  <a:pt x="0" y="316723"/>
                </a:moveTo>
                <a:lnTo>
                  <a:pt x="4270540" y="316723"/>
                </a:lnTo>
                <a:lnTo>
                  <a:pt x="4270540" y="0"/>
                </a:lnTo>
                <a:lnTo>
                  <a:pt x="0" y="0"/>
                </a:lnTo>
                <a:lnTo>
                  <a:pt x="0" y="316723"/>
                </a:lnTo>
                <a:close/>
              </a:path>
            </a:pathLst>
          </a:custGeom>
          <a:solidFill>
            <a:srgbClr val="DFDEDE"/>
          </a:solidFill>
        </p:spPr>
        <p:txBody>
          <a:bodyPr wrap="square" lIns="0" tIns="0" rIns="0" bIns="0" rtlCol="0"/>
          <a:lstStyle/>
          <a:p>
            <a:endParaRPr/>
          </a:p>
        </p:txBody>
      </p:sp>
      <p:sp>
        <p:nvSpPr>
          <p:cNvPr id="888" name="object 888"/>
          <p:cNvSpPr/>
          <p:nvPr/>
        </p:nvSpPr>
        <p:spPr>
          <a:xfrm>
            <a:off x="1778903" y="4290888"/>
            <a:ext cx="1942595" cy="152774"/>
          </a:xfrm>
          <a:custGeom>
            <a:avLst/>
            <a:gdLst/>
            <a:ahLst/>
            <a:cxnLst/>
            <a:rect l="l" t="t" r="r" b="b"/>
            <a:pathLst>
              <a:path w="4271009" h="335915">
                <a:moveTo>
                  <a:pt x="0" y="335508"/>
                </a:moveTo>
                <a:lnTo>
                  <a:pt x="4270540" y="335508"/>
                </a:lnTo>
                <a:lnTo>
                  <a:pt x="4270540" y="0"/>
                </a:lnTo>
                <a:lnTo>
                  <a:pt x="0" y="0"/>
                </a:lnTo>
                <a:lnTo>
                  <a:pt x="0" y="335508"/>
                </a:lnTo>
                <a:close/>
              </a:path>
            </a:pathLst>
          </a:custGeom>
          <a:solidFill>
            <a:srgbClr val="DFDEDE"/>
          </a:solidFill>
        </p:spPr>
        <p:txBody>
          <a:bodyPr wrap="square" lIns="0" tIns="0" rIns="0" bIns="0" rtlCol="0"/>
          <a:lstStyle/>
          <a:p>
            <a:endParaRPr/>
          </a:p>
        </p:txBody>
      </p:sp>
      <p:sp>
        <p:nvSpPr>
          <p:cNvPr id="889" name="object 889"/>
          <p:cNvSpPr/>
          <p:nvPr/>
        </p:nvSpPr>
        <p:spPr>
          <a:xfrm>
            <a:off x="1778903" y="4443477"/>
            <a:ext cx="1942595" cy="89239"/>
          </a:xfrm>
          <a:custGeom>
            <a:avLst/>
            <a:gdLst/>
            <a:ahLst/>
            <a:cxnLst/>
            <a:rect l="l" t="t" r="r" b="b"/>
            <a:pathLst>
              <a:path w="4271009" h="196215">
                <a:moveTo>
                  <a:pt x="0" y="0"/>
                </a:moveTo>
                <a:lnTo>
                  <a:pt x="4270540" y="0"/>
                </a:lnTo>
                <a:lnTo>
                  <a:pt x="4270540" y="195648"/>
                </a:lnTo>
                <a:lnTo>
                  <a:pt x="0" y="195648"/>
                </a:lnTo>
                <a:lnTo>
                  <a:pt x="0" y="0"/>
                </a:lnTo>
                <a:close/>
              </a:path>
            </a:pathLst>
          </a:custGeom>
          <a:solidFill>
            <a:srgbClr val="50BD86"/>
          </a:solidFill>
        </p:spPr>
        <p:txBody>
          <a:bodyPr wrap="square" lIns="0" tIns="0" rIns="0" bIns="0" rtlCol="0"/>
          <a:lstStyle/>
          <a:p>
            <a:endParaRPr/>
          </a:p>
        </p:txBody>
      </p:sp>
      <p:sp>
        <p:nvSpPr>
          <p:cNvPr id="890" name="object 890"/>
          <p:cNvSpPr/>
          <p:nvPr/>
        </p:nvSpPr>
        <p:spPr>
          <a:xfrm>
            <a:off x="1778903" y="4075266"/>
            <a:ext cx="1942595" cy="17617"/>
          </a:xfrm>
          <a:custGeom>
            <a:avLst/>
            <a:gdLst/>
            <a:ahLst/>
            <a:cxnLst/>
            <a:rect l="l" t="t" r="r" b="b"/>
            <a:pathLst>
              <a:path w="4271009" h="38734">
                <a:moveTo>
                  <a:pt x="0" y="38208"/>
                </a:moveTo>
                <a:lnTo>
                  <a:pt x="4270540" y="38208"/>
                </a:lnTo>
                <a:lnTo>
                  <a:pt x="4270540" y="0"/>
                </a:lnTo>
                <a:lnTo>
                  <a:pt x="0" y="0"/>
                </a:lnTo>
                <a:lnTo>
                  <a:pt x="0" y="38208"/>
                </a:lnTo>
                <a:close/>
              </a:path>
            </a:pathLst>
          </a:custGeom>
          <a:solidFill>
            <a:srgbClr val="50BD86"/>
          </a:solidFill>
        </p:spPr>
        <p:txBody>
          <a:bodyPr wrap="square" lIns="0" tIns="0" rIns="0" bIns="0" rtlCol="0"/>
          <a:lstStyle/>
          <a:p>
            <a:endParaRPr/>
          </a:p>
        </p:txBody>
      </p:sp>
      <p:sp>
        <p:nvSpPr>
          <p:cNvPr id="891" name="object 891"/>
          <p:cNvSpPr/>
          <p:nvPr/>
        </p:nvSpPr>
        <p:spPr>
          <a:xfrm>
            <a:off x="3485943" y="3955108"/>
            <a:ext cx="147009" cy="100501"/>
          </a:xfrm>
          <a:custGeom>
            <a:avLst/>
            <a:gdLst/>
            <a:ahLst/>
            <a:cxnLst/>
            <a:rect l="l" t="t" r="r" b="b"/>
            <a:pathLst>
              <a:path w="323215" h="220979">
                <a:moveTo>
                  <a:pt x="316995" y="0"/>
                </a:moveTo>
                <a:lnTo>
                  <a:pt x="5696" y="0"/>
                </a:lnTo>
                <a:lnTo>
                  <a:pt x="0" y="5696"/>
                </a:lnTo>
                <a:lnTo>
                  <a:pt x="0" y="214998"/>
                </a:lnTo>
                <a:lnTo>
                  <a:pt x="5696" y="220694"/>
                </a:lnTo>
                <a:lnTo>
                  <a:pt x="316995" y="220694"/>
                </a:lnTo>
                <a:lnTo>
                  <a:pt x="322691" y="214998"/>
                </a:lnTo>
                <a:lnTo>
                  <a:pt x="322691" y="5696"/>
                </a:lnTo>
                <a:lnTo>
                  <a:pt x="316995" y="0"/>
                </a:lnTo>
                <a:close/>
              </a:path>
            </a:pathLst>
          </a:custGeom>
          <a:solidFill>
            <a:srgbClr val="BCBBBB"/>
          </a:solidFill>
        </p:spPr>
        <p:txBody>
          <a:bodyPr wrap="square" lIns="0" tIns="0" rIns="0" bIns="0" rtlCol="0"/>
          <a:lstStyle/>
          <a:p>
            <a:endParaRPr/>
          </a:p>
        </p:txBody>
      </p:sp>
      <p:sp>
        <p:nvSpPr>
          <p:cNvPr id="892" name="object 892"/>
          <p:cNvSpPr/>
          <p:nvPr/>
        </p:nvSpPr>
        <p:spPr>
          <a:xfrm>
            <a:off x="3485944" y="3955108"/>
            <a:ext cx="147009" cy="100501"/>
          </a:xfrm>
          <a:custGeom>
            <a:avLst/>
            <a:gdLst/>
            <a:ahLst/>
            <a:cxnLst/>
            <a:rect l="l" t="t" r="r" b="b"/>
            <a:pathLst>
              <a:path w="323215" h="220979">
                <a:moveTo>
                  <a:pt x="317037" y="0"/>
                </a:moveTo>
                <a:lnTo>
                  <a:pt x="310074" y="0"/>
                </a:lnTo>
                <a:lnTo>
                  <a:pt x="0" y="207878"/>
                </a:lnTo>
                <a:lnTo>
                  <a:pt x="0" y="214956"/>
                </a:lnTo>
                <a:lnTo>
                  <a:pt x="5654" y="220694"/>
                </a:lnTo>
                <a:lnTo>
                  <a:pt x="317037" y="220694"/>
                </a:lnTo>
                <a:lnTo>
                  <a:pt x="322691" y="214956"/>
                </a:lnTo>
                <a:lnTo>
                  <a:pt x="322691" y="5738"/>
                </a:lnTo>
                <a:lnTo>
                  <a:pt x="317037" y="0"/>
                </a:lnTo>
                <a:close/>
              </a:path>
            </a:pathLst>
          </a:custGeom>
          <a:solidFill>
            <a:srgbClr val="211E1F">
              <a:alpha val="16000"/>
            </a:srgbClr>
          </a:solidFill>
        </p:spPr>
        <p:txBody>
          <a:bodyPr wrap="square" lIns="0" tIns="0" rIns="0" bIns="0" rtlCol="0"/>
          <a:lstStyle/>
          <a:p>
            <a:endParaRPr/>
          </a:p>
        </p:txBody>
      </p:sp>
      <p:sp>
        <p:nvSpPr>
          <p:cNvPr id="893" name="object 893"/>
          <p:cNvSpPr/>
          <p:nvPr/>
        </p:nvSpPr>
        <p:spPr>
          <a:xfrm>
            <a:off x="3544405" y="4010279"/>
            <a:ext cx="29813" cy="64985"/>
          </a:xfrm>
          <a:prstGeom prst="rect">
            <a:avLst/>
          </a:prstGeom>
          <a:blipFill>
            <a:blip r:embed="rId39" cstate="print"/>
            <a:stretch>
              <a:fillRect/>
            </a:stretch>
          </a:blipFill>
        </p:spPr>
        <p:txBody>
          <a:bodyPr wrap="square" lIns="0" tIns="0" rIns="0" bIns="0" rtlCol="0"/>
          <a:lstStyle/>
          <a:p>
            <a:endParaRPr/>
          </a:p>
        </p:txBody>
      </p:sp>
      <p:sp>
        <p:nvSpPr>
          <p:cNvPr id="894" name="object 894"/>
          <p:cNvSpPr/>
          <p:nvPr/>
        </p:nvSpPr>
        <p:spPr>
          <a:xfrm>
            <a:off x="2906006" y="3955108"/>
            <a:ext cx="147009" cy="100501"/>
          </a:xfrm>
          <a:custGeom>
            <a:avLst/>
            <a:gdLst/>
            <a:ahLst/>
            <a:cxnLst/>
            <a:rect l="l" t="t" r="r" b="b"/>
            <a:pathLst>
              <a:path w="323215" h="220979">
                <a:moveTo>
                  <a:pt x="316995" y="0"/>
                </a:moveTo>
                <a:lnTo>
                  <a:pt x="5696" y="0"/>
                </a:lnTo>
                <a:lnTo>
                  <a:pt x="0" y="5696"/>
                </a:lnTo>
                <a:lnTo>
                  <a:pt x="0" y="214998"/>
                </a:lnTo>
                <a:lnTo>
                  <a:pt x="5696" y="220694"/>
                </a:lnTo>
                <a:lnTo>
                  <a:pt x="316995" y="220694"/>
                </a:lnTo>
                <a:lnTo>
                  <a:pt x="322691" y="214998"/>
                </a:lnTo>
                <a:lnTo>
                  <a:pt x="322691" y="5696"/>
                </a:lnTo>
                <a:lnTo>
                  <a:pt x="316995" y="0"/>
                </a:lnTo>
                <a:close/>
              </a:path>
            </a:pathLst>
          </a:custGeom>
          <a:solidFill>
            <a:srgbClr val="BCBBBB"/>
          </a:solidFill>
        </p:spPr>
        <p:txBody>
          <a:bodyPr wrap="square" lIns="0" tIns="0" rIns="0" bIns="0" rtlCol="0"/>
          <a:lstStyle/>
          <a:p>
            <a:endParaRPr/>
          </a:p>
        </p:txBody>
      </p:sp>
      <p:sp>
        <p:nvSpPr>
          <p:cNvPr id="895" name="object 895"/>
          <p:cNvSpPr/>
          <p:nvPr/>
        </p:nvSpPr>
        <p:spPr>
          <a:xfrm>
            <a:off x="2906006" y="3955108"/>
            <a:ext cx="147009" cy="100501"/>
          </a:xfrm>
          <a:custGeom>
            <a:avLst/>
            <a:gdLst/>
            <a:ahLst/>
            <a:cxnLst/>
            <a:rect l="l" t="t" r="r" b="b"/>
            <a:pathLst>
              <a:path w="323215" h="220979">
                <a:moveTo>
                  <a:pt x="317037" y="0"/>
                </a:moveTo>
                <a:lnTo>
                  <a:pt x="310074" y="0"/>
                </a:lnTo>
                <a:lnTo>
                  <a:pt x="0" y="207878"/>
                </a:lnTo>
                <a:lnTo>
                  <a:pt x="0" y="214956"/>
                </a:lnTo>
                <a:lnTo>
                  <a:pt x="5654" y="220694"/>
                </a:lnTo>
                <a:lnTo>
                  <a:pt x="317037" y="220694"/>
                </a:lnTo>
                <a:lnTo>
                  <a:pt x="322691" y="214956"/>
                </a:lnTo>
                <a:lnTo>
                  <a:pt x="322691" y="5738"/>
                </a:lnTo>
                <a:lnTo>
                  <a:pt x="317037" y="0"/>
                </a:lnTo>
                <a:close/>
              </a:path>
            </a:pathLst>
          </a:custGeom>
          <a:solidFill>
            <a:srgbClr val="211E1F">
              <a:alpha val="16000"/>
            </a:srgbClr>
          </a:solidFill>
        </p:spPr>
        <p:txBody>
          <a:bodyPr wrap="square" lIns="0" tIns="0" rIns="0" bIns="0" rtlCol="0"/>
          <a:lstStyle/>
          <a:p>
            <a:endParaRPr/>
          </a:p>
        </p:txBody>
      </p:sp>
      <p:sp>
        <p:nvSpPr>
          <p:cNvPr id="896" name="object 896"/>
          <p:cNvSpPr/>
          <p:nvPr/>
        </p:nvSpPr>
        <p:spPr>
          <a:xfrm>
            <a:off x="2964466" y="4010279"/>
            <a:ext cx="29813" cy="64985"/>
          </a:xfrm>
          <a:prstGeom prst="rect">
            <a:avLst/>
          </a:prstGeom>
          <a:blipFill>
            <a:blip r:embed="rId40" cstate="print"/>
            <a:stretch>
              <a:fillRect/>
            </a:stretch>
          </a:blipFill>
        </p:spPr>
        <p:txBody>
          <a:bodyPr wrap="square" lIns="0" tIns="0" rIns="0" bIns="0" rtlCol="0"/>
          <a:lstStyle/>
          <a:p>
            <a:endParaRPr/>
          </a:p>
        </p:txBody>
      </p:sp>
      <p:sp>
        <p:nvSpPr>
          <p:cNvPr id="897" name="object 897"/>
          <p:cNvSpPr/>
          <p:nvPr/>
        </p:nvSpPr>
        <p:spPr>
          <a:xfrm>
            <a:off x="2233594" y="3955108"/>
            <a:ext cx="147009" cy="100501"/>
          </a:xfrm>
          <a:custGeom>
            <a:avLst/>
            <a:gdLst/>
            <a:ahLst/>
            <a:cxnLst/>
            <a:rect l="l" t="t" r="r" b="b"/>
            <a:pathLst>
              <a:path w="323214" h="220979">
                <a:moveTo>
                  <a:pt x="316995" y="0"/>
                </a:moveTo>
                <a:lnTo>
                  <a:pt x="5696" y="0"/>
                </a:lnTo>
                <a:lnTo>
                  <a:pt x="0" y="5696"/>
                </a:lnTo>
                <a:lnTo>
                  <a:pt x="0" y="214998"/>
                </a:lnTo>
                <a:lnTo>
                  <a:pt x="5696" y="220694"/>
                </a:lnTo>
                <a:lnTo>
                  <a:pt x="316995" y="220694"/>
                </a:lnTo>
                <a:lnTo>
                  <a:pt x="322691" y="214998"/>
                </a:lnTo>
                <a:lnTo>
                  <a:pt x="322691" y="5696"/>
                </a:lnTo>
                <a:lnTo>
                  <a:pt x="316995" y="0"/>
                </a:lnTo>
                <a:close/>
              </a:path>
            </a:pathLst>
          </a:custGeom>
          <a:solidFill>
            <a:srgbClr val="BCBBBB"/>
          </a:solidFill>
        </p:spPr>
        <p:txBody>
          <a:bodyPr wrap="square" lIns="0" tIns="0" rIns="0" bIns="0" rtlCol="0"/>
          <a:lstStyle/>
          <a:p>
            <a:endParaRPr/>
          </a:p>
        </p:txBody>
      </p:sp>
      <p:sp>
        <p:nvSpPr>
          <p:cNvPr id="898" name="object 898"/>
          <p:cNvSpPr/>
          <p:nvPr/>
        </p:nvSpPr>
        <p:spPr>
          <a:xfrm>
            <a:off x="2233594" y="3955108"/>
            <a:ext cx="147009" cy="100501"/>
          </a:xfrm>
          <a:custGeom>
            <a:avLst/>
            <a:gdLst/>
            <a:ahLst/>
            <a:cxnLst/>
            <a:rect l="l" t="t" r="r" b="b"/>
            <a:pathLst>
              <a:path w="323214" h="220979">
                <a:moveTo>
                  <a:pt x="317047" y="0"/>
                </a:moveTo>
                <a:lnTo>
                  <a:pt x="310074" y="0"/>
                </a:lnTo>
                <a:lnTo>
                  <a:pt x="0" y="207878"/>
                </a:lnTo>
                <a:lnTo>
                  <a:pt x="0" y="214956"/>
                </a:lnTo>
                <a:lnTo>
                  <a:pt x="5654" y="220694"/>
                </a:lnTo>
                <a:lnTo>
                  <a:pt x="317047" y="220694"/>
                </a:lnTo>
                <a:lnTo>
                  <a:pt x="322691" y="214956"/>
                </a:lnTo>
                <a:lnTo>
                  <a:pt x="322691" y="5738"/>
                </a:lnTo>
                <a:lnTo>
                  <a:pt x="317047" y="0"/>
                </a:lnTo>
                <a:close/>
              </a:path>
            </a:pathLst>
          </a:custGeom>
          <a:solidFill>
            <a:srgbClr val="211E1F">
              <a:alpha val="16000"/>
            </a:srgbClr>
          </a:solidFill>
        </p:spPr>
        <p:txBody>
          <a:bodyPr wrap="square" lIns="0" tIns="0" rIns="0" bIns="0" rtlCol="0"/>
          <a:lstStyle/>
          <a:p>
            <a:endParaRPr/>
          </a:p>
        </p:txBody>
      </p:sp>
      <p:sp>
        <p:nvSpPr>
          <p:cNvPr id="899" name="object 899"/>
          <p:cNvSpPr/>
          <p:nvPr/>
        </p:nvSpPr>
        <p:spPr>
          <a:xfrm>
            <a:off x="2292056" y="4010279"/>
            <a:ext cx="29813" cy="64985"/>
          </a:xfrm>
          <a:prstGeom prst="rect">
            <a:avLst/>
          </a:prstGeom>
          <a:blipFill>
            <a:blip r:embed="rId41" cstate="print"/>
            <a:stretch>
              <a:fillRect/>
            </a:stretch>
          </a:blipFill>
        </p:spPr>
        <p:txBody>
          <a:bodyPr wrap="square" lIns="0" tIns="0" rIns="0" bIns="0" rtlCol="0"/>
          <a:lstStyle/>
          <a:p>
            <a:endParaRPr/>
          </a:p>
        </p:txBody>
      </p:sp>
      <p:sp>
        <p:nvSpPr>
          <p:cNvPr id="900" name="object 900"/>
          <p:cNvSpPr/>
          <p:nvPr/>
        </p:nvSpPr>
        <p:spPr>
          <a:xfrm>
            <a:off x="2447006" y="3841206"/>
            <a:ext cx="0" cy="378326"/>
          </a:xfrm>
          <a:custGeom>
            <a:avLst/>
            <a:gdLst/>
            <a:ahLst/>
            <a:cxnLst/>
            <a:rect l="l" t="t" r="r" b="b"/>
            <a:pathLst>
              <a:path h="831850">
                <a:moveTo>
                  <a:pt x="0" y="0"/>
                </a:moveTo>
                <a:lnTo>
                  <a:pt x="0" y="831356"/>
                </a:lnTo>
              </a:path>
            </a:pathLst>
          </a:custGeom>
          <a:ln w="23182">
            <a:solidFill>
              <a:srgbClr val="50BD86"/>
            </a:solidFill>
          </a:ln>
        </p:spPr>
        <p:txBody>
          <a:bodyPr wrap="square" lIns="0" tIns="0" rIns="0" bIns="0" rtlCol="0"/>
          <a:lstStyle/>
          <a:p>
            <a:endParaRPr/>
          </a:p>
        </p:txBody>
      </p:sp>
      <p:sp>
        <p:nvSpPr>
          <p:cNvPr id="901" name="object 901"/>
          <p:cNvSpPr/>
          <p:nvPr/>
        </p:nvSpPr>
        <p:spPr>
          <a:xfrm>
            <a:off x="2447006" y="4290888"/>
            <a:ext cx="0" cy="241435"/>
          </a:xfrm>
          <a:custGeom>
            <a:avLst/>
            <a:gdLst/>
            <a:ahLst/>
            <a:cxnLst/>
            <a:rect l="l" t="t" r="r" b="b"/>
            <a:pathLst>
              <a:path h="530859">
                <a:moveTo>
                  <a:pt x="0" y="0"/>
                </a:moveTo>
                <a:lnTo>
                  <a:pt x="0" y="530601"/>
                </a:lnTo>
              </a:path>
            </a:pathLst>
          </a:custGeom>
          <a:ln w="23182">
            <a:solidFill>
              <a:srgbClr val="50BD86"/>
            </a:solidFill>
          </a:ln>
        </p:spPr>
        <p:txBody>
          <a:bodyPr wrap="square" lIns="0" tIns="0" rIns="0" bIns="0" rtlCol="0"/>
          <a:lstStyle/>
          <a:p>
            <a:endParaRPr/>
          </a:p>
        </p:txBody>
      </p:sp>
      <p:sp>
        <p:nvSpPr>
          <p:cNvPr id="902" name="object 902"/>
          <p:cNvSpPr/>
          <p:nvPr/>
        </p:nvSpPr>
        <p:spPr>
          <a:xfrm>
            <a:off x="3105983" y="3841206"/>
            <a:ext cx="0" cy="378326"/>
          </a:xfrm>
          <a:custGeom>
            <a:avLst/>
            <a:gdLst/>
            <a:ahLst/>
            <a:cxnLst/>
            <a:rect l="l" t="t" r="r" b="b"/>
            <a:pathLst>
              <a:path h="831850">
                <a:moveTo>
                  <a:pt x="0" y="0"/>
                </a:moveTo>
                <a:lnTo>
                  <a:pt x="0" y="831356"/>
                </a:lnTo>
              </a:path>
            </a:pathLst>
          </a:custGeom>
          <a:ln w="23182">
            <a:solidFill>
              <a:srgbClr val="50BD86"/>
            </a:solidFill>
          </a:ln>
        </p:spPr>
        <p:txBody>
          <a:bodyPr wrap="square" lIns="0" tIns="0" rIns="0" bIns="0" rtlCol="0"/>
          <a:lstStyle/>
          <a:p>
            <a:endParaRPr/>
          </a:p>
        </p:txBody>
      </p:sp>
      <p:sp>
        <p:nvSpPr>
          <p:cNvPr id="903" name="object 903"/>
          <p:cNvSpPr/>
          <p:nvPr/>
        </p:nvSpPr>
        <p:spPr>
          <a:xfrm>
            <a:off x="3105983" y="4290888"/>
            <a:ext cx="0" cy="241435"/>
          </a:xfrm>
          <a:custGeom>
            <a:avLst/>
            <a:gdLst/>
            <a:ahLst/>
            <a:cxnLst/>
            <a:rect l="l" t="t" r="r" b="b"/>
            <a:pathLst>
              <a:path h="530859">
                <a:moveTo>
                  <a:pt x="0" y="0"/>
                </a:moveTo>
                <a:lnTo>
                  <a:pt x="0" y="530601"/>
                </a:lnTo>
              </a:path>
            </a:pathLst>
          </a:custGeom>
          <a:ln w="23182">
            <a:solidFill>
              <a:srgbClr val="50BD86"/>
            </a:solidFill>
          </a:ln>
        </p:spPr>
        <p:txBody>
          <a:bodyPr wrap="square" lIns="0" tIns="0" rIns="0" bIns="0" rtlCol="0"/>
          <a:lstStyle/>
          <a:p>
            <a:endParaRPr/>
          </a:p>
        </p:txBody>
      </p:sp>
      <p:sp>
        <p:nvSpPr>
          <p:cNvPr id="904" name="object 904"/>
          <p:cNvSpPr/>
          <p:nvPr/>
        </p:nvSpPr>
        <p:spPr>
          <a:xfrm>
            <a:off x="3073417" y="3841207"/>
            <a:ext cx="27438" cy="691383"/>
          </a:xfrm>
          <a:custGeom>
            <a:avLst/>
            <a:gdLst/>
            <a:ahLst/>
            <a:cxnLst/>
            <a:rect l="l" t="t" r="r" b="b"/>
            <a:pathLst>
              <a:path w="60325" h="1520190">
                <a:moveTo>
                  <a:pt x="60008" y="0"/>
                </a:moveTo>
                <a:lnTo>
                  <a:pt x="55610" y="0"/>
                </a:lnTo>
                <a:lnTo>
                  <a:pt x="33965" y="4370"/>
                </a:lnTo>
                <a:lnTo>
                  <a:pt x="16288" y="16287"/>
                </a:lnTo>
                <a:lnTo>
                  <a:pt x="4370" y="33961"/>
                </a:lnTo>
                <a:lnTo>
                  <a:pt x="0" y="55600"/>
                </a:lnTo>
                <a:lnTo>
                  <a:pt x="0" y="1519890"/>
                </a:lnTo>
                <a:lnTo>
                  <a:pt x="60008" y="1519890"/>
                </a:lnTo>
                <a:lnTo>
                  <a:pt x="60008" y="0"/>
                </a:lnTo>
                <a:close/>
              </a:path>
            </a:pathLst>
          </a:custGeom>
          <a:solidFill>
            <a:srgbClr val="211E1F">
              <a:alpha val="6999"/>
            </a:srgbClr>
          </a:solidFill>
        </p:spPr>
        <p:txBody>
          <a:bodyPr wrap="square" lIns="0" tIns="0" rIns="0" bIns="0" rtlCol="0"/>
          <a:lstStyle/>
          <a:p>
            <a:endParaRPr/>
          </a:p>
        </p:txBody>
      </p:sp>
      <p:sp>
        <p:nvSpPr>
          <p:cNvPr id="905" name="object 905"/>
          <p:cNvSpPr/>
          <p:nvPr/>
        </p:nvSpPr>
        <p:spPr>
          <a:xfrm>
            <a:off x="2414438" y="3841207"/>
            <a:ext cx="27438" cy="691383"/>
          </a:xfrm>
          <a:custGeom>
            <a:avLst/>
            <a:gdLst/>
            <a:ahLst/>
            <a:cxnLst/>
            <a:rect l="l" t="t" r="r" b="b"/>
            <a:pathLst>
              <a:path w="60325" h="1520190">
                <a:moveTo>
                  <a:pt x="60008" y="0"/>
                </a:moveTo>
                <a:lnTo>
                  <a:pt x="55610" y="0"/>
                </a:lnTo>
                <a:lnTo>
                  <a:pt x="33965" y="4370"/>
                </a:lnTo>
                <a:lnTo>
                  <a:pt x="16288" y="16287"/>
                </a:lnTo>
                <a:lnTo>
                  <a:pt x="4370" y="33961"/>
                </a:lnTo>
                <a:lnTo>
                  <a:pt x="0" y="55600"/>
                </a:lnTo>
                <a:lnTo>
                  <a:pt x="0" y="1519890"/>
                </a:lnTo>
                <a:lnTo>
                  <a:pt x="60008" y="1519890"/>
                </a:lnTo>
                <a:lnTo>
                  <a:pt x="60008" y="0"/>
                </a:lnTo>
                <a:close/>
              </a:path>
            </a:pathLst>
          </a:custGeom>
          <a:solidFill>
            <a:srgbClr val="211E1F">
              <a:alpha val="6999"/>
            </a:srgbClr>
          </a:solidFill>
        </p:spPr>
        <p:txBody>
          <a:bodyPr wrap="square" lIns="0" tIns="0" rIns="0" bIns="0" rtlCol="0"/>
          <a:lstStyle/>
          <a:p>
            <a:endParaRPr/>
          </a:p>
        </p:txBody>
      </p:sp>
      <p:sp>
        <p:nvSpPr>
          <p:cNvPr id="906" name="object 906"/>
          <p:cNvSpPr/>
          <p:nvPr/>
        </p:nvSpPr>
        <p:spPr>
          <a:xfrm>
            <a:off x="2352938" y="3621181"/>
            <a:ext cx="151919" cy="151908"/>
          </a:xfrm>
          <a:custGeom>
            <a:avLst/>
            <a:gdLst/>
            <a:ahLst/>
            <a:cxnLst/>
            <a:rect l="l" t="t" r="r" b="b"/>
            <a:pathLst>
              <a:path w="334010" h="334009">
                <a:moveTo>
                  <a:pt x="166822" y="0"/>
                </a:moveTo>
                <a:lnTo>
                  <a:pt x="111046" y="9559"/>
                </a:lnTo>
                <a:lnTo>
                  <a:pt x="63265" y="36051"/>
                </a:lnTo>
                <a:lnTo>
                  <a:pt x="17178" y="93019"/>
                </a:lnTo>
                <a:lnTo>
                  <a:pt x="0" y="166832"/>
                </a:lnTo>
                <a:lnTo>
                  <a:pt x="5959" y="211181"/>
                </a:lnTo>
                <a:lnTo>
                  <a:pt x="22778" y="251033"/>
                </a:lnTo>
                <a:lnTo>
                  <a:pt x="48865" y="284798"/>
                </a:lnTo>
                <a:lnTo>
                  <a:pt x="82628" y="310886"/>
                </a:lnTo>
                <a:lnTo>
                  <a:pt x="122477" y="327705"/>
                </a:lnTo>
                <a:lnTo>
                  <a:pt x="166822" y="333665"/>
                </a:lnTo>
                <a:lnTo>
                  <a:pt x="197668" y="330816"/>
                </a:lnTo>
                <a:lnTo>
                  <a:pt x="253195" y="309581"/>
                </a:lnTo>
                <a:lnTo>
                  <a:pt x="300413" y="266767"/>
                </a:lnTo>
                <a:lnTo>
                  <a:pt x="329675" y="203210"/>
                </a:lnTo>
                <a:lnTo>
                  <a:pt x="333654" y="166832"/>
                </a:lnTo>
                <a:lnTo>
                  <a:pt x="327694" y="122483"/>
                </a:lnTo>
                <a:lnTo>
                  <a:pt x="310875" y="82631"/>
                </a:lnTo>
                <a:lnTo>
                  <a:pt x="284788" y="48866"/>
                </a:lnTo>
                <a:lnTo>
                  <a:pt x="251023" y="22778"/>
                </a:lnTo>
                <a:lnTo>
                  <a:pt x="211170" y="5959"/>
                </a:lnTo>
                <a:lnTo>
                  <a:pt x="166822" y="0"/>
                </a:lnTo>
                <a:close/>
              </a:path>
            </a:pathLst>
          </a:custGeom>
          <a:solidFill>
            <a:srgbClr val="FFEDE9"/>
          </a:solidFill>
        </p:spPr>
        <p:txBody>
          <a:bodyPr wrap="square" lIns="0" tIns="0" rIns="0" bIns="0" rtlCol="0"/>
          <a:lstStyle/>
          <a:p>
            <a:endParaRPr/>
          </a:p>
        </p:txBody>
      </p:sp>
      <p:sp>
        <p:nvSpPr>
          <p:cNvPr id="907" name="object 907"/>
          <p:cNvSpPr/>
          <p:nvPr/>
        </p:nvSpPr>
        <p:spPr>
          <a:xfrm>
            <a:off x="2381714" y="3621185"/>
            <a:ext cx="123037" cy="133136"/>
          </a:xfrm>
          <a:custGeom>
            <a:avLst/>
            <a:gdLst/>
            <a:ahLst/>
            <a:cxnLst/>
            <a:rect l="l" t="t" r="r" b="b"/>
            <a:pathLst>
              <a:path w="270510" h="292734">
                <a:moveTo>
                  <a:pt x="103557" y="0"/>
                </a:moveTo>
                <a:lnTo>
                  <a:pt x="74875" y="2458"/>
                </a:lnTo>
                <a:lnTo>
                  <a:pt x="47781" y="9558"/>
                </a:lnTo>
                <a:lnTo>
                  <a:pt x="22686" y="20889"/>
                </a:lnTo>
                <a:lnTo>
                  <a:pt x="0" y="36040"/>
                </a:lnTo>
                <a:lnTo>
                  <a:pt x="23588" y="64633"/>
                </a:lnTo>
                <a:lnTo>
                  <a:pt x="213574" y="292221"/>
                </a:lnTo>
                <a:lnTo>
                  <a:pt x="237142" y="266758"/>
                </a:lnTo>
                <a:lnTo>
                  <a:pt x="255036" y="236801"/>
                </a:lnTo>
                <a:lnTo>
                  <a:pt x="266400" y="203204"/>
                </a:lnTo>
                <a:lnTo>
                  <a:pt x="270379" y="166822"/>
                </a:lnTo>
                <a:lnTo>
                  <a:pt x="264420" y="122474"/>
                </a:lnTo>
                <a:lnTo>
                  <a:pt x="247603" y="82623"/>
                </a:lnTo>
                <a:lnTo>
                  <a:pt x="221518" y="48861"/>
                </a:lnTo>
                <a:lnTo>
                  <a:pt x="187755" y="22776"/>
                </a:lnTo>
                <a:lnTo>
                  <a:pt x="147904" y="5959"/>
                </a:lnTo>
                <a:lnTo>
                  <a:pt x="103557" y="0"/>
                </a:lnTo>
                <a:close/>
              </a:path>
            </a:pathLst>
          </a:custGeom>
          <a:solidFill>
            <a:srgbClr val="FFFFFF">
              <a:alpha val="31999"/>
            </a:srgbClr>
          </a:solidFill>
        </p:spPr>
        <p:txBody>
          <a:bodyPr wrap="square" lIns="0" tIns="0" rIns="0" bIns="0" rtlCol="0"/>
          <a:lstStyle/>
          <a:p>
            <a:endParaRPr/>
          </a:p>
        </p:txBody>
      </p:sp>
      <p:sp>
        <p:nvSpPr>
          <p:cNvPr id="908" name="object 908"/>
          <p:cNvSpPr/>
          <p:nvPr/>
        </p:nvSpPr>
        <p:spPr>
          <a:xfrm>
            <a:off x="2338821" y="3612224"/>
            <a:ext cx="174446" cy="174434"/>
          </a:xfrm>
          <a:custGeom>
            <a:avLst/>
            <a:gdLst/>
            <a:ahLst/>
            <a:cxnLst/>
            <a:rect l="l" t="t" r="r" b="b"/>
            <a:pathLst>
              <a:path w="383539" h="383540">
                <a:moveTo>
                  <a:pt x="191680" y="0"/>
                </a:moveTo>
                <a:lnTo>
                  <a:pt x="147729" y="5062"/>
                </a:lnTo>
                <a:lnTo>
                  <a:pt x="107384" y="19482"/>
                </a:lnTo>
                <a:lnTo>
                  <a:pt x="71794" y="42110"/>
                </a:lnTo>
                <a:lnTo>
                  <a:pt x="42110" y="71794"/>
                </a:lnTo>
                <a:lnTo>
                  <a:pt x="19482" y="107384"/>
                </a:lnTo>
                <a:lnTo>
                  <a:pt x="5062" y="147729"/>
                </a:lnTo>
                <a:lnTo>
                  <a:pt x="0" y="191680"/>
                </a:lnTo>
                <a:lnTo>
                  <a:pt x="5062" y="235630"/>
                </a:lnTo>
                <a:lnTo>
                  <a:pt x="19482" y="275975"/>
                </a:lnTo>
                <a:lnTo>
                  <a:pt x="42110" y="311565"/>
                </a:lnTo>
                <a:lnTo>
                  <a:pt x="71794" y="341249"/>
                </a:lnTo>
                <a:lnTo>
                  <a:pt x="107384" y="363877"/>
                </a:lnTo>
                <a:lnTo>
                  <a:pt x="147729" y="378297"/>
                </a:lnTo>
                <a:lnTo>
                  <a:pt x="191680" y="383360"/>
                </a:lnTo>
                <a:lnTo>
                  <a:pt x="235630" y="378297"/>
                </a:lnTo>
                <a:lnTo>
                  <a:pt x="275975" y="363877"/>
                </a:lnTo>
                <a:lnTo>
                  <a:pt x="297621" y="350114"/>
                </a:lnTo>
                <a:lnTo>
                  <a:pt x="191680" y="350114"/>
                </a:lnTo>
                <a:lnTo>
                  <a:pt x="141604" y="342038"/>
                </a:lnTo>
                <a:lnTo>
                  <a:pt x="98113" y="319547"/>
                </a:lnTo>
                <a:lnTo>
                  <a:pt x="63815" y="285251"/>
                </a:lnTo>
                <a:lnTo>
                  <a:pt x="41322" y="241759"/>
                </a:lnTo>
                <a:lnTo>
                  <a:pt x="33245" y="191680"/>
                </a:lnTo>
                <a:lnTo>
                  <a:pt x="41322" y="141604"/>
                </a:lnTo>
                <a:lnTo>
                  <a:pt x="63815" y="98113"/>
                </a:lnTo>
                <a:lnTo>
                  <a:pt x="98113" y="63815"/>
                </a:lnTo>
                <a:lnTo>
                  <a:pt x="141604" y="41322"/>
                </a:lnTo>
                <a:lnTo>
                  <a:pt x="191680" y="33245"/>
                </a:lnTo>
                <a:lnTo>
                  <a:pt x="297621" y="33245"/>
                </a:lnTo>
                <a:lnTo>
                  <a:pt x="275975" y="19482"/>
                </a:lnTo>
                <a:lnTo>
                  <a:pt x="235630" y="5062"/>
                </a:lnTo>
                <a:lnTo>
                  <a:pt x="191680" y="0"/>
                </a:lnTo>
                <a:close/>
              </a:path>
              <a:path w="383539" h="383540">
                <a:moveTo>
                  <a:pt x="297621" y="33245"/>
                </a:moveTo>
                <a:lnTo>
                  <a:pt x="191680" y="33245"/>
                </a:lnTo>
                <a:lnTo>
                  <a:pt x="241759" y="41322"/>
                </a:lnTo>
                <a:lnTo>
                  <a:pt x="285251" y="63815"/>
                </a:lnTo>
                <a:lnTo>
                  <a:pt x="319547" y="98113"/>
                </a:lnTo>
                <a:lnTo>
                  <a:pt x="342038" y="141604"/>
                </a:lnTo>
                <a:lnTo>
                  <a:pt x="350114" y="191680"/>
                </a:lnTo>
                <a:lnTo>
                  <a:pt x="342038" y="241759"/>
                </a:lnTo>
                <a:lnTo>
                  <a:pt x="319547" y="285251"/>
                </a:lnTo>
                <a:lnTo>
                  <a:pt x="285251" y="319547"/>
                </a:lnTo>
                <a:lnTo>
                  <a:pt x="241759" y="342038"/>
                </a:lnTo>
                <a:lnTo>
                  <a:pt x="191680" y="350114"/>
                </a:lnTo>
                <a:lnTo>
                  <a:pt x="297621" y="350114"/>
                </a:lnTo>
                <a:lnTo>
                  <a:pt x="341249" y="311565"/>
                </a:lnTo>
                <a:lnTo>
                  <a:pt x="363877" y="275975"/>
                </a:lnTo>
                <a:lnTo>
                  <a:pt x="378297" y="235630"/>
                </a:lnTo>
                <a:lnTo>
                  <a:pt x="383360" y="191680"/>
                </a:lnTo>
                <a:lnTo>
                  <a:pt x="378297" y="147729"/>
                </a:lnTo>
                <a:lnTo>
                  <a:pt x="363877" y="107384"/>
                </a:lnTo>
                <a:lnTo>
                  <a:pt x="341249" y="71794"/>
                </a:lnTo>
                <a:lnTo>
                  <a:pt x="311565" y="42110"/>
                </a:lnTo>
                <a:lnTo>
                  <a:pt x="297621" y="33245"/>
                </a:lnTo>
                <a:close/>
              </a:path>
            </a:pathLst>
          </a:custGeom>
          <a:solidFill>
            <a:srgbClr val="000000">
              <a:alpha val="16998"/>
            </a:srgbClr>
          </a:solidFill>
        </p:spPr>
        <p:txBody>
          <a:bodyPr wrap="square" lIns="0" tIns="0" rIns="0" bIns="0" rtlCol="0"/>
          <a:lstStyle/>
          <a:p>
            <a:endParaRPr/>
          </a:p>
        </p:txBody>
      </p:sp>
      <p:sp>
        <p:nvSpPr>
          <p:cNvPr id="909" name="object 909"/>
          <p:cNvSpPr/>
          <p:nvPr/>
        </p:nvSpPr>
        <p:spPr>
          <a:xfrm>
            <a:off x="2342571" y="3609880"/>
            <a:ext cx="174446" cy="174434"/>
          </a:xfrm>
          <a:custGeom>
            <a:avLst/>
            <a:gdLst/>
            <a:ahLst/>
            <a:cxnLst/>
            <a:rect l="l" t="t" r="r" b="b"/>
            <a:pathLst>
              <a:path w="383539" h="383540">
                <a:moveTo>
                  <a:pt x="191680" y="0"/>
                </a:moveTo>
                <a:lnTo>
                  <a:pt x="147729" y="5062"/>
                </a:lnTo>
                <a:lnTo>
                  <a:pt x="107384" y="19482"/>
                </a:lnTo>
                <a:lnTo>
                  <a:pt x="71794" y="42110"/>
                </a:lnTo>
                <a:lnTo>
                  <a:pt x="42110" y="71794"/>
                </a:lnTo>
                <a:lnTo>
                  <a:pt x="19482" y="107384"/>
                </a:lnTo>
                <a:lnTo>
                  <a:pt x="5062" y="147729"/>
                </a:lnTo>
                <a:lnTo>
                  <a:pt x="0" y="191680"/>
                </a:lnTo>
                <a:lnTo>
                  <a:pt x="5062" y="235630"/>
                </a:lnTo>
                <a:lnTo>
                  <a:pt x="19482" y="275975"/>
                </a:lnTo>
                <a:lnTo>
                  <a:pt x="42110" y="311565"/>
                </a:lnTo>
                <a:lnTo>
                  <a:pt x="71794" y="341249"/>
                </a:lnTo>
                <a:lnTo>
                  <a:pt x="107384" y="363877"/>
                </a:lnTo>
                <a:lnTo>
                  <a:pt x="147729" y="378297"/>
                </a:lnTo>
                <a:lnTo>
                  <a:pt x="191680" y="383360"/>
                </a:lnTo>
                <a:lnTo>
                  <a:pt x="235630" y="378297"/>
                </a:lnTo>
                <a:lnTo>
                  <a:pt x="275975" y="363877"/>
                </a:lnTo>
                <a:lnTo>
                  <a:pt x="297621" y="350114"/>
                </a:lnTo>
                <a:lnTo>
                  <a:pt x="191680" y="350114"/>
                </a:lnTo>
                <a:lnTo>
                  <a:pt x="141604" y="342038"/>
                </a:lnTo>
                <a:lnTo>
                  <a:pt x="98113" y="319547"/>
                </a:lnTo>
                <a:lnTo>
                  <a:pt x="63815" y="285251"/>
                </a:lnTo>
                <a:lnTo>
                  <a:pt x="41322" y="241759"/>
                </a:lnTo>
                <a:lnTo>
                  <a:pt x="33245" y="191680"/>
                </a:lnTo>
                <a:lnTo>
                  <a:pt x="41322" y="141604"/>
                </a:lnTo>
                <a:lnTo>
                  <a:pt x="63815" y="98113"/>
                </a:lnTo>
                <a:lnTo>
                  <a:pt x="98113" y="63815"/>
                </a:lnTo>
                <a:lnTo>
                  <a:pt x="141604" y="41322"/>
                </a:lnTo>
                <a:lnTo>
                  <a:pt x="191680" y="33245"/>
                </a:lnTo>
                <a:lnTo>
                  <a:pt x="297621" y="33245"/>
                </a:lnTo>
                <a:lnTo>
                  <a:pt x="275975" y="19482"/>
                </a:lnTo>
                <a:lnTo>
                  <a:pt x="235630" y="5062"/>
                </a:lnTo>
                <a:lnTo>
                  <a:pt x="191680" y="0"/>
                </a:lnTo>
                <a:close/>
              </a:path>
              <a:path w="383539" h="383540">
                <a:moveTo>
                  <a:pt x="297621" y="33245"/>
                </a:moveTo>
                <a:lnTo>
                  <a:pt x="191680" y="33245"/>
                </a:lnTo>
                <a:lnTo>
                  <a:pt x="241759" y="41322"/>
                </a:lnTo>
                <a:lnTo>
                  <a:pt x="285251" y="63815"/>
                </a:lnTo>
                <a:lnTo>
                  <a:pt x="319547" y="98113"/>
                </a:lnTo>
                <a:lnTo>
                  <a:pt x="342038" y="141604"/>
                </a:lnTo>
                <a:lnTo>
                  <a:pt x="350114" y="191680"/>
                </a:lnTo>
                <a:lnTo>
                  <a:pt x="342038" y="241759"/>
                </a:lnTo>
                <a:lnTo>
                  <a:pt x="319547" y="285251"/>
                </a:lnTo>
                <a:lnTo>
                  <a:pt x="285251" y="319547"/>
                </a:lnTo>
                <a:lnTo>
                  <a:pt x="241759" y="342038"/>
                </a:lnTo>
                <a:lnTo>
                  <a:pt x="191680" y="350114"/>
                </a:lnTo>
                <a:lnTo>
                  <a:pt x="297621" y="350114"/>
                </a:lnTo>
                <a:lnTo>
                  <a:pt x="341249" y="311565"/>
                </a:lnTo>
                <a:lnTo>
                  <a:pt x="363877" y="275975"/>
                </a:lnTo>
                <a:lnTo>
                  <a:pt x="378297" y="235630"/>
                </a:lnTo>
                <a:lnTo>
                  <a:pt x="383360" y="191680"/>
                </a:lnTo>
                <a:lnTo>
                  <a:pt x="378297" y="147729"/>
                </a:lnTo>
                <a:lnTo>
                  <a:pt x="363877" y="107384"/>
                </a:lnTo>
                <a:lnTo>
                  <a:pt x="341249" y="71794"/>
                </a:lnTo>
                <a:lnTo>
                  <a:pt x="311565" y="42110"/>
                </a:lnTo>
                <a:lnTo>
                  <a:pt x="297621" y="33245"/>
                </a:lnTo>
                <a:close/>
              </a:path>
            </a:pathLst>
          </a:custGeom>
          <a:solidFill>
            <a:srgbClr val="50BD86"/>
          </a:solidFill>
        </p:spPr>
        <p:txBody>
          <a:bodyPr wrap="square" lIns="0" tIns="0" rIns="0" bIns="0" rtlCol="0"/>
          <a:lstStyle/>
          <a:p>
            <a:endParaRPr/>
          </a:p>
        </p:txBody>
      </p:sp>
      <p:sp>
        <p:nvSpPr>
          <p:cNvPr id="910" name="object 910"/>
          <p:cNvSpPr/>
          <p:nvPr/>
        </p:nvSpPr>
        <p:spPr>
          <a:xfrm>
            <a:off x="2361255" y="3618129"/>
            <a:ext cx="142676" cy="94725"/>
          </a:xfrm>
          <a:custGeom>
            <a:avLst/>
            <a:gdLst/>
            <a:ahLst/>
            <a:cxnLst/>
            <a:rect l="l" t="t" r="r" b="b"/>
            <a:pathLst>
              <a:path w="313689" h="208279">
                <a:moveTo>
                  <a:pt x="218403" y="15109"/>
                </a:moveTo>
                <a:lnTo>
                  <a:pt x="150602" y="15109"/>
                </a:lnTo>
                <a:lnTo>
                  <a:pt x="200681" y="23187"/>
                </a:lnTo>
                <a:lnTo>
                  <a:pt x="244174" y="45680"/>
                </a:lnTo>
                <a:lnTo>
                  <a:pt x="278470" y="79977"/>
                </a:lnTo>
                <a:lnTo>
                  <a:pt x="300960" y="123469"/>
                </a:lnTo>
                <a:lnTo>
                  <a:pt x="309037" y="173544"/>
                </a:lnTo>
                <a:lnTo>
                  <a:pt x="308798" y="182289"/>
                </a:lnTo>
                <a:lnTo>
                  <a:pt x="308091" y="190909"/>
                </a:lnTo>
                <a:lnTo>
                  <a:pt x="306930" y="199393"/>
                </a:lnTo>
                <a:lnTo>
                  <a:pt x="305331" y="207731"/>
                </a:lnTo>
                <a:lnTo>
                  <a:pt x="308692" y="195897"/>
                </a:lnTo>
                <a:lnTo>
                  <a:pt x="311147" y="183711"/>
                </a:lnTo>
                <a:lnTo>
                  <a:pt x="312652" y="171211"/>
                </a:lnTo>
                <a:lnTo>
                  <a:pt x="313163" y="158434"/>
                </a:lnTo>
                <a:lnTo>
                  <a:pt x="305085" y="108355"/>
                </a:lnTo>
                <a:lnTo>
                  <a:pt x="282592" y="64863"/>
                </a:lnTo>
                <a:lnTo>
                  <a:pt x="248295" y="30567"/>
                </a:lnTo>
                <a:lnTo>
                  <a:pt x="218403" y="15109"/>
                </a:lnTo>
                <a:close/>
              </a:path>
              <a:path w="313689" h="208279">
                <a:moveTo>
                  <a:pt x="154728" y="0"/>
                </a:moveTo>
                <a:lnTo>
                  <a:pt x="111042" y="6099"/>
                </a:lnTo>
                <a:lnTo>
                  <a:pt x="72034" y="23268"/>
                </a:lnTo>
                <a:lnTo>
                  <a:pt x="39396" y="49814"/>
                </a:lnTo>
                <a:lnTo>
                  <a:pt x="14821" y="84041"/>
                </a:lnTo>
                <a:lnTo>
                  <a:pt x="0" y="124257"/>
                </a:lnTo>
                <a:lnTo>
                  <a:pt x="22389" y="80469"/>
                </a:lnTo>
                <a:lnTo>
                  <a:pt x="56712" y="45920"/>
                </a:lnTo>
                <a:lnTo>
                  <a:pt x="100331" y="23252"/>
                </a:lnTo>
                <a:lnTo>
                  <a:pt x="150602" y="15109"/>
                </a:lnTo>
                <a:lnTo>
                  <a:pt x="218403" y="15109"/>
                </a:lnTo>
                <a:lnTo>
                  <a:pt x="204803" y="8076"/>
                </a:lnTo>
                <a:lnTo>
                  <a:pt x="154728" y="0"/>
                </a:lnTo>
                <a:close/>
              </a:path>
            </a:pathLst>
          </a:custGeom>
          <a:solidFill>
            <a:srgbClr val="50BD86"/>
          </a:solidFill>
        </p:spPr>
        <p:txBody>
          <a:bodyPr wrap="square" lIns="0" tIns="0" rIns="0" bIns="0" rtlCol="0"/>
          <a:lstStyle/>
          <a:p>
            <a:endParaRPr/>
          </a:p>
        </p:txBody>
      </p:sp>
      <p:sp>
        <p:nvSpPr>
          <p:cNvPr id="911" name="object 911"/>
          <p:cNvSpPr/>
          <p:nvPr/>
        </p:nvSpPr>
        <p:spPr>
          <a:xfrm>
            <a:off x="2342572" y="3670676"/>
            <a:ext cx="172425" cy="113787"/>
          </a:xfrm>
          <a:custGeom>
            <a:avLst/>
            <a:gdLst/>
            <a:ahLst/>
            <a:cxnLst/>
            <a:rect l="l" t="t" r="r" b="b"/>
            <a:pathLst>
              <a:path w="379095" h="250190">
                <a:moveTo>
                  <a:pt x="8942" y="0"/>
                </a:moveTo>
                <a:lnTo>
                  <a:pt x="5097" y="13942"/>
                </a:lnTo>
                <a:lnTo>
                  <a:pt x="2295" y="28285"/>
                </a:lnTo>
                <a:lnTo>
                  <a:pt x="581" y="42988"/>
                </a:lnTo>
                <a:lnTo>
                  <a:pt x="0" y="58008"/>
                </a:lnTo>
                <a:lnTo>
                  <a:pt x="5062" y="101958"/>
                </a:lnTo>
                <a:lnTo>
                  <a:pt x="19482" y="142302"/>
                </a:lnTo>
                <a:lnTo>
                  <a:pt x="42110" y="177890"/>
                </a:lnTo>
                <a:lnTo>
                  <a:pt x="71794" y="207572"/>
                </a:lnTo>
                <a:lnTo>
                  <a:pt x="107384" y="230197"/>
                </a:lnTo>
                <a:lnTo>
                  <a:pt x="147729" y="244616"/>
                </a:lnTo>
                <a:lnTo>
                  <a:pt x="191680" y="249678"/>
                </a:lnTo>
                <a:lnTo>
                  <a:pt x="244232" y="242385"/>
                </a:lnTo>
                <a:lnTo>
                  <a:pt x="262111" y="234568"/>
                </a:lnTo>
                <a:lnTo>
                  <a:pt x="195805" y="234568"/>
                </a:lnTo>
                <a:lnTo>
                  <a:pt x="170419" y="232903"/>
                </a:lnTo>
                <a:lnTo>
                  <a:pt x="122887" y="220216"/>
                </a:lnTo>
                <a:lnTo>
                  <a:pt x="61547" y="179706"/>
                </a:lnTo>
                <a:lnTo>
                  <a:pt x="30908" y="140682"/>
                </a:lnTo>
                <a:lnTo>
                  <a:pt x="11136" y="94444"/>
                </a:lnTo>
                <a:lnTo>
                  <a:pt x="4125" y="42888"/>
                </a:lnTo>
                <a:lnTo>
                  <a:pt x="4434" y="31906"/>
                </a:lnTo>
                <a:lnTo>
                  <a:pt x="5351" y="21087"/>
                </a:lnTo>
                <a:lnTo>
                  <a:pt x="6859" y="10445"/>
                </a:lnTo>
                <a:lnTo>
                  <a:pt x="8942" y="0"/>
                </a:lnTo>
                <a:close/>
              </a:path>
              <a:path w="379095" h="250190">
                <a:moveTo>
                  <a:pt x="378532" y="100897"/>
                </a:moveTo>
                <a:lnTo>
                  <a:pt x="358313" y="144561"/>
                </a:lnTo>
                <a:lnTo>
                  <a:pt x="328258" y="181432"/>
                </a:lnTo>
                <a:lnTo>
                  <a:pt x="290040" y="209838"/>
                </a:lnTo>
                <a:lnTo>
                  <a:pt x="245332" y="228107"/>
                </a:lnTo>
                <a:lnTo>
                  <a:pt x="195805" y="234568"/>
                </a:lnTo>
                <a:lnTo>
                  <a:pt x="262111" y="234568"/>
                </a:lnTo>
                <a:lnTo>
                  <a:pt x="291206" y="221848"/>
                </a:lnTo>
                <a:lnTo>
                  <a:pt x="330589" y="190079"/>
                </a:lnTo>
                <a:lnTo>
                  <a:pt x="360368" y="149092"/>
                </a:lnTo>
                <a:lnTo>
                  <a:pt x="378532" y="100897"/>
                </a:lnTo>
                <a:close/>
              </a:path>
            </a:pathLst>
          </a:custGeom>
          <a:solidFill>
            <a:srgbClr val="50BD86"/>
          </a:solidFill>
        </p:spPr>
        <p:txBody>
          <a:bodyPr wrap="square" lIns="0" tIns="0" rIns="0" bIns="0" rtlCol="0"/>
          <a:lstStyle/>
          <a:p>
            <a:endParaRPr/>
          </a:p>
        </p:txBody>
      </p:sp>
      <p:sp>
        <p:nvSpPr>
          <p:cNvPr id="912" name="object 912"/>
          <p:cNvSpPr/>
          <p:nvPr/>
        </p:nvSpPr>
        <p:spPr>
          <a:xfrm>
            <a:off x="2422454" y="3637111"/>
            <a:ext cx="12419" cy="12418"/>
          </a:xfrm>
          <a:custGeom>
            <a:avLst/>
            <a:gdLst/>
            <a:ahLst/>
            <a:cxnLst/>
            <a:rect l="l" t="t" r="r" b="b"/>
            <a:pathLst>
              <a:path w="27304" h="27304">
                <a:moveTo>
                  <a:pt x="21172" y="0"/>
                </a:moveTo>
                <a:lnTo>
                  <a:pt x="6104" y="0"/>
                </a:lnTo>
                <a:lnTo>
                  <a:pt x="0" y="6104"/>
                </a:lnTo>
                <a:lnTo>
                  <a:pt x="0" y="21172"/>
                </a:lnTo>
                <a:lnTo>
                  <a:pt x="6104" y="27276"/>
                </a:lnTo>
                <a:lnTo>
                  <a:pt x="21172" y="27276"/>
                </a:lnTo>
                <a:lnTo>
                  <a:pt x="27276" y="21172"/>
                </a:lnTo>
                <a:lnTo>
                  <a:pt x="27276" y="6104"/>
                </a:lnTo>
                <a:lnTo>
                  <a:pt x="21172" y="0"/>
                </a:lnTo>
                <a:close/>
              </a:path>
            </a:pathLst>
          </a:custGeom>
          <a:solidFill>
            <a:srgbClr val="000000">
              <a:alpha val="16998"/>
            </a:srgbClr>
          </a:solidFill>
        </p:spPr>
        <p:txBody>
          <a:bodyPr wrap="square" lIns="0" tIns="0" rIns="0" bIns="0" rtlCol="0"/>
          <a:lstStyle/>
          <a:p>
            <a:endParaRPr/>
          </a:p>
        </p:txBody>
      </p:sp>
      <p:sp>
        <p:nvSpPr>
          <p:cNvPr id="913" name="object 913"/>
          <p:cNvSpPr/>
          <p:nvPr/>
        </p:nvSpPr>
        <p:spPr>
          <a:xfrm>
            <a:off x="2423418" y="3635780"/>
            <a:ext cx="12419" cy="12418"/>
          </a:xfrm>
          <a:custGeom>
            <a:avLst/>
            <a:gdLst/>
            <a:ahLst/>
            <a:cxnLst/>
            <a:rect l="l" t="t" r="r" b="b"/>
            <a:pathLst>
              <a:path w="27304" h="27304">
                <a:moveTo>
                  <a:pt x="21172" y="0"/>
                </a:moveTo>
                <a:lnTo>
                  <a:pt x="6104" y="0"/>
                </a:lnTo>
                <a:lnTo>
                  <a:pt x="0" y="6104"/>
                </a:lnTo>
                <a:lnTo>
                  <a:pt x="0" y="21172"/>
                </a:lnTo>
                <a:lnTo>
                  <a:pt x="6104" y="27276"/>
                </a:lnTo>
                <a:lnTo>
                  <a:pt x="21172" y="27276"/>
                </a:lnTo>
                <a:lnTo>
                  <a:pt x="27276" y="21172"/>
                </a:lnTo>
                <a:lnTo>
                  <a:pt x="27276" y="6104"/>
                </a:lnTo>
                <a:lnTo>
                  <a:pt x="21172" y="0"/>
                </a:lnTo>
                <a:close/>
              </a:path>
            </a:pathLst>
          </a:custGeom>
          <a:solidFill>
            <a:srgbClr val="676767"/>
          </a:solidFill>
        </p:spPr>
        <p:txBody>
          <a:bodyPr wrap="square" lIns="0" tIns="0" rIns="0" bIns="0" rtlCol="0"/>
          <a:lstStyle/>
          <a:p>
            <a:endParaRPr/>
          </a:p>
        </p:txBody>
      </p:sp>
      <p:sp>
        <p:nvSpPr>
          <p:cNvPr id="914" name="object 914"/>
          <p:cNvSpPr/>
          <p:nvPr/>
        </p:nvSpPr>
        <p:spPr>
          <a:xfrm>
            <a:off x="2453790" y="3646705"/>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000000">
              <a:alpha val="16998"/>
            </a:srgbClr>
          </a:solidFill>
        </p:spPr>
        <p:txBody>
          <a:bodyPr wrap="square" lIns="0" tIns="0" rIns="0" bIns="0" rtlCol="0"/>
          <a:lstStyle/>
          <a:p>
            <a:endParaRPr/>
          </a:p>
        </p:txBody>
      </p:sp>
      <p:sp>
        <p:nvSpPr>
          <p:cNvPr id="915" name="object 915"/>
          <p:cNvSpPr/>
          <p:nvPr/>
        </p:nvSpPr>
        <p:spPr>
          <a:xfrm>
            <a:off x="2454279" y="3646031"/>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676767"/>
          </a:solidFill>
        </p:spPr>
        <p:txBody>
          <a:bodyPr wrap="square" lIns="0" tIns="0" rIns="0" bIns="0" rtlCol="0"/>
          <a:lstStyle/>
          <a:p>
            <a:endParaRPr/>
          </a:p>
        </p:txBody>
      </p:sp>
      <p:sp>
        <p:nvSpPr>
          <p:cNvPr id="916" name="object 916"/>
          <p:cNvSpPr/>
          <p:nvPr/>
        </p:nvSpPr>
        <p:spPr>
          <a:xfrm>
            <a:off x="2471961" y="3664382"/>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000000">
              <a:alpha val="16998"/>
            </a:srgbClr>
          </a:solidFill>
        </p:spPr>
        <p:txBody>
          <a:bodyPr wrap="square" lIns="0" tIns="0" rIns="0" bIns="0" rtlCol="0"/>
          <a:lstStyle/>
          <a:p>
            <a:endParaRPr/>
          </a:p>
        </p:txBody>
      </p:sp>
      <p:sp>
        <p:nvSpPr>
          <p:cNvPr id="917" name="object 917"/>
          <p:cNvSpPr/>
          <p:nvPr/>
        </p:nvSpPr>
        <p:spPr>
          <a:xfrm>
            <a:off x="2472450" y="3663708"/>
            <a:ext cx="6354" cy="6354"/>
          </a:xfrm>
          <a:custGeom>
            <a:avLst/>
            <a:gdLst/>
            <a:ahLst/>
            <a:cxnLst/>
            <a:rect l="l" t="t" r="r" b="b"/>
            <a:pathLst>
              <a:path w="13970" h="13970">
                <a:moveTo>
                  <a:pt x="10743" y="0"/>
                </a:moveTo>
                <a:lnTo>
                  <a:pt x="3099" y="0"/>
                </a:lnTo>
                <a:lnTo>
                  <a:pt x="0" y="3099"/>
                </a:lnTo>
                <a:lnTo>
                  <a:pt x="0" y="10732"/>
                </a:lnTo>
                <a:lnTo>
                  <a:pt x="3099" y="13832"/>
                </a:lnTo>
                <a:lnTo>
                  <a:pt x="10743" y="13832"/>
                </a:lnTo>
                <a:lnTo>
                  <a:pt x="13842" y="10732"/>
                </a:lnTo>
                <a:lnTo>
                  <a:pt x="13842" y="3099"/>
                </a:lnTo>
                <a:lnTo>
                  <a:pt x="10743" y="0"/>
                </a:lnTo>
                <a:close/>
              </a:path>
            </a:pathLst>
          </a:custGeom>
          <a:solidFill>
            <a:srgbClr val="676767"/>
          </a:solidFill>
        </p:spPr>
        <p:txBody>
          <a:bodyPr wrap="square" lIns="0" tIns="0" rIns="0" bIns="0" rtlCol="0"/>
          <a:lstStyle/>
          <a:p>
            <a:endParaRPr/>
          </a:p>
        </p:txBody>
      </p:sp>
      <p:sp>
        <p:nvSpPr>
          <p:cNvPr id="918" name="object 918"/>
          <p:cNvSpPr/>
          <p:nvPr/>
        </p:nvSpPr>
        <p:spPr>
          <a:xfrm>
            <a:off x="2471717" y="3720412"/>
            <a:ext cx="6354" cy="6354"/>
          </a:xfrm>
          <a:custGeom>
            <a:avLst/>
            <a:gdLst/>
            <a:ahLst/>
            <a:cxnLst/>
            <a:rect l="l" t="t" r="r" b="b"/>
            <a:pathLst>
              <a:path w="13970" h="13970">
                <a:moveTo>
                  <a:pt x="10743" y="0"/>
                </a:moveTo>
                <a:lnTo>
                  <a:pt x="3099" y="0"/>
                </a:lnTo>
                <a:lnTo>
                  <a:pt x="0" y="3109"/>
                </a:lnTo>
                <a:lnTo>
                  <a:pt x="0" y="10743"/>
                </a:lnTo>
                <a:lnTo>
                  <a:pt x="3099" y="13842"/>
                </a:lnTo>
                <a:lnTo>
                  <a:pt x="10743" y="13842"/>
                </a:lnTo>
                <a:lnTo>
                  <a:pt x="13842" y="10743"/>
                </a:lnTo>
                <a:lnTo>
                  <a:pt x="13842" y="3109"/>
                </a:lnTo>
                <a:lnTo>
                  <a:pt x="10743" y="0"/>
                </a:lnTo>
                <a:close/>
              </a:path>
            </a:pathLst>
          </a:custGeom>
          <a:solidFill>
            <a:srgbClr val="000000">
              <a:alpha val="16998"/>
            </a:srgbClr>
          </a:solidFill>
        </p:spPr>
        <p:txBody>
          <a:bodyPr wrap="square" lIns="0" tIns="0" rIns="0" bIns="0" rtlCol="0"/>
          <a:lstStyle/>
          <a:p>
            <a:endParaRPr/>
          </a:p>
        </p:txBody>
      </p:sp>
      <p:sp>
        <p:nvSpPr>
          <p:cNvPr id="919" name="object 919"/>
          <p:cNvSpPr/>
          <p:nvPr/>
        </p:nvSpPr>
        <p:spPr>
          <a:xfrm>
            <a:off x="2472206" y="3719738"/>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676767"/>
          </a:solidFill>
        </p:spPr>
        <p:txBody>
          <a:bodyPr wrap="square" lIns="0" tIns="0" rIns="0" bIns="0" rtlCol="0"/>
          <a:lstStyle/>
          <a:p>
            <a:endParaRPr/>
          </a:p>
        </p:txBody>
      </p:sp>
      <p:sp>
        <p:nvSpPr>
          <p:cNvPr id="920" name="object 920"/>
          <p:cNvSpPr/>
          <p:nvPr/>
        </p:nvSpPr>
        <p:spPr>
          <a:xfrm>
            <a:off x="2454279" y="3740800"/>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000000">
              <a:alpha val="16998"/>
            </a:srgbClr>
          </a:solidFill>
        </p:spPr>
        <p:txBody>
          <a:bodyPr wrap="square" lIns="0" tIns="0" rIns="0" bIns="0" rtlCol="0"/>
          <a:lstStyle/>
          <a:p>
            <a:endParaRPr/>
          </a:p>
        </p:txBody>
      </p:sp>
      <p:sp>
        <p:nvSpPr>
          <p:cNvPr id="921" name="object 921"/>
          <p:cNvSpPr/>
          <p:nvPr/>
        </p:nvSpPr>
        <p:spPr>
          <a:xfrm>
            <a:off x="2454767" y="3740126"/>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676767"/>
          </a:solidFill>
        </p:spPr>
        <p:txBody>
          <a:bodyPr wrap="square" lIns="0" tIns="0" rIns="0" bIns="0" rtlCol="0"/>
          <a:lstStyle/>
          <a:p>
            <a:endParaRPr/>
          </a:p>
        </p:txBody>
      </p:sp>
      <p:sp>
        <p:nvSpPr>
          <p:cNvPr id="922" name="object 922"/>
          <p:cNvSpPr/>
          <p:nvPr/>
        </p:nvSpPr>
        <p:spPr>
          <a:xfrm>
            <a:off x="2396768" y="3740466"/>
            <a:ext cx="6354" cy="6354"/>
          </a:xfrm>
          <a:custGeom>
            <a:avLst/>
            <a:gdLst/>
            <a:ahLst/>
            <a:cxnLst/>
            <a:rect l="l" t="t" r="r" b="b"/>
            <a:pathLst>
              <a:path w="13970" h="13970">
                <a:moveTo>
                  <a:pt x="10743" y="0"/>
                </a:moveTo>
                <a:lnTo>
                  <a:pt x="3099" y="0"/>
                </a:lnTo>
                <a:lnTo>
                  <a:pt x="0" y="3099"/>
                </a:lnTo>
                <a:lnTo>
                  <a:pt x="0" y="10732"/>
                </a:lnTo>
                <a:lnTo>
                  <a:pt x="3099" y="13832"/>
                </a:lnTo>
                <a:lnTo>
                  <a:pt x="10743" y="13832"/>
                </a:lnTo>
                <a:lnTo>
                  <a:pt x="13842" y="10732"/>
                </a:lnTo>
                <a:lnTo>
                  <a:pt x="13842" y="3099"/>
                </a:lnTo>
                <a:lnTo>
                  <a:pt x="10743" y="0"/>
                </a:lnTo>
                <a:close/>
              </a:path>
            </a:pathLst>
          </a:custGeom>
          <a:solidFill>
            <a:srgbClr val="000000">
              <a:alpha val="16998"/>
            </a:srgbClr>
          </a:solidFill>
        </p:spPr>
        <p:txBody>
          <a:bodyPr wrap="square" lIns="0" tIns="0" rIns="0" bIns="0" rtlCol="0"/>
          <a:lstStyle/>
          <a:p>
            <a:endParaRPr/>
          </a:p>
        </p:txBody>
      </p:sp>
      <p:sp>
        <p:nvSpPr>
          <p:cNvPr id="923" name="object 923"/>
          <p:cNvSpPr/>
          <p:nvPr/>
        </p:nvSpPr>
        <p:spPr>
          <a:xfrm>
            <a:off x="2397256" y="3739791"/>
            <a:ext cx="6354" cy="6354"/>
          </a:xfrm>
          <a:custGeom>
            <a:avLst/>
            <a:gdLst/>
            <a:ahLst/>
            <a:cxnLst/>
            <a:rect l="l" t="t" r="r" b="b"/>
            <a:pathLst>
              <a:path w="13970" h="13970">
                <a:moveTo>
                  <a:pt x="10743" y="0"/>
                </a:moveTo>
                <a:lnTo>
                  <a:pt x="3099" y="0"/>
                </a:lnTo>
                <a:lnTo>
                  <a:pt x="0" y="3099"/>
                </a:lnTo>
                <a:lnTo>
                  <a:pt x="0" y="10732"/>
                </a:lnTo>
                <a:lnTo>
                  <a:pt x="3099" y="13832"/>
                </a:lnTo>
                <a:lnTo>
                  <a:pt x="10743" y="13832"/>
                </a:lnTo>
                <a:lnTo>
                  <a:pt x="13842" y="10732"/>
                </a:lnTo>
                <a:lnTo>
                  <a:pt x="13842" y="3099"/>
                </a:lnTo>
                <a:lnTo>
                  <a:pt x="10743" y="0"/>
                </a:lnTo>
                <a:close/>
              </a:path>
            </a:pathLst>
          </a:custGeom>
          <a:solidFill>
            <a:srgbClr val="676767"/>
          </a:solidFill>
        </p:spPr>
        <p:txBody>
          <a:bodyPr wrap="square" lIns="0" tIns="0" rIns="0" bIns="0" rtlCol="0"/>
          <a:lstStyle/>
          <a:p>
            <a:endParaRPr/>
          </a:p>
        </p:txBody>
      </p:sp>
      <p:sp>
        <p:nvSpPr>
          <p:cNvPr id="924" name="object 924"/>
          <p:cNvSpPr/>
          <p:nvPr/>
        </p:nvSpPr>
        <p:spPr>
          <a:xfrm>
            <a:off x="2378322" y="3719287"/>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000000">
              <a:alpha val="16998"/>
            </a:srgbClr>
          </a:solidFill>
        </p:spPr>
        <p:txBody>
          <a:bodyPr wrap="square" lIns="0" tIns="0" rIns="0" bIns="0" rtlCol="0"/>
          <a:lstStyle/>
          <a:p>
            <a:endParaRPr/>
          </a:p>
        </p:txBody>
      </p:sp>
      <p:sp>
        <p:nvSpPr>
          <p:cNvPr id="925" name="object 925"/>
          <p:cNvSpPr/>
          <p:nvPr/>
        </p:nvSpPr>
        <p:spPr>
          <a:xfrm>
            <a:off x="2378811" y="3718612"/>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676767"/>
          </a:solidFill>
        </p:spPr>
        <p:txBody>
          <a:bodyPr wrap="square" lIns="0" tIns="0" rIns="0" bIns="0" rtlCol="0"/>
          <a:lstStyle/>
          <a:p>
            <a:endParaRPr/>
          </a:p>
        </p:txBody>
      </p:sp>
      <p:sp>
        <p:nvSpPr>
          <p:cNvPr id="926" name="object 926"/>
          <p:cNvSpPr/>
          <p:nvPr/>
        </p:nvSpPr>
        <p:spPr>
          <a:xfrm>
            <a:off x="2375418" y="3667866"/>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000000">
              <a:alpha val="16998"/>
            </a:srgbClr>
          </a:solidFill>
        </p:spPr>
        <p:txBody>
          <a:bodyPr wrap="square" lIns="0" tIns="0" rIns="0" bIns="0" rtlCol="0"/>
          <a:lstStyle/>
          <a:p>
            <a:endParaRPr/>
          </a:p>
        </p:txBody>
      </p:sp>
      <p:sp>
        <p:nvSpPr>
          <p:cNvPr id="927" name="object 927"/>
          <p:cNvSpPr/>
          <p:nvPr/>
        </p:nvSpPr>
        <p:spPr>
          <a:xfrm>
            <a:off x="2375908" y="3667191"/>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676767"/>
          </a:solidFill>
        </p:spPr>
        <p:txBody>
          <a:bodyPr wrap="square" lIns="0" tIns="0" rIns="0" bIns="0" rtlCol="0"/>
          <a:lstStyle/>
          <a:p>
            <a:endParaRPr/>
          </a:p>
        </p:txBody>
      </p:sp>
      <p:sp>
        <p:nvSpPr>
          <p:cNvPr id="928" name="object 928"/>
          <p:cNvSpPr/>
          <p:nvPr/>
        </p:nvSpPr>
        <p:spPr>
          <a:xfrm>
            <a:off x="2393955" y="3646031"/>
            <a:ext cx="6354" cy="6354"/>
          </a:xfrm>
          <a:custGeom>
            <a:avLst/>
            <a:gdLst/>
            <a:ahLst/>
            <a:cxnLst/>
            <a:rect l="l" t="t" r="r" b="b"/>
            <a:pathLst>
              <a:path w="13970" h="13970">
                <a:moveTo>
                  <a:pt x="10743" y="0"/>
                </a:moveTo>
                <a:lnTo>
                  <a:pt x="3099" y="0"/>
                </a:lnTo>
                <a:lnTo>
                  <a:pt x="0" y="3099"/>
                </a:lnTo>
                <a:lnTo>
                  <a:pt x="0" y="10743"/>
                </a:lnTo>
                <a:lnTo>
                  <a:pt x="3099" y="13842"/>
                </a:lnTo>
                <a:lnTo>
                  <a:pt x="10743" y="13842"/>
                </a:lnTo>
                <a:lnTo>
                  <a:pt x="13842" y="10743"/>
                </a:lnTo>
                <a:lnTo>
                  <a:pt x="13842" y="3099"/>
                </a:lnTo>
                <a:lnTo>
                  <a:pt x="10743" y="0"/>
                </a:lnTo>
                <a:close/>
              </a:path>
            </a:pathLst>
          </a:custGeom>
          <a:solidFill>
            <a:srgbClr val="000000">
              <a:alpha val="16998"/>
            </a:srgbClr>
          </a:solidFill>
        </p:spPr>
        <p:txBody>
          <a:bodyPr wrap="square" lIns="0" tIns="0" rIns="0" bIns="0" rtlCol="0"/>
          <a:lstStyle/>
          <a:p>
            <a:endParaRPr/>
          </a:p>
        </p:txBody>
      </p:sp>
      <p:sp>
        <p:nvSpPr>
          <p:cNvPr id="929" name="object 929"/>
          <p:cNvSpPr/>
          <p:nvPr/>
        </p:nvSpPr>
        <p:spPr>
          <a:xfrm>
            <a:off x="2394197" y="3645354"/>
            <a:ext cx="6642" cy="6642"/>
          </a:xfrm>
          <a:custGeom>
            <a:avLst/>
            <a:gdLst/>
            <a:ahLst/>
            <a:cxnLst/>
            <a:rect l="l" t="t" r="r" b="b"/>
            <a:pathLst>
              <a:path w="14604" h="14604">
                <a:moveTo>
                  <a:pt x="11161" y="0"/>
                </a:moveTo>
                <a:lnTo>
                  <a:pt x="3225" y="0"/>
                </a:lnTo>
                <a:lnTo>
                  <a:pt x="0" y="3225"/>
                </a:lnTo>
                <a:lnTo>
                  <a:pt x="0" y="11172"/>
                </a:lnTo>
                <a:lnTo>
                  <a:pt x="3225" y="14386"/>
                </a:lnTo>
                <a:lnTo>
                  <a:pt x="11161" y="14386"/>
                </a:lnTo>
                <a:lnTo>
                  <a:pt x="14386" y="11172"/>
                </a:lnTo>
                <a:lnTo>
                  <a:pt x="14386" y="3225"/>
                </a:lnTo>
                <a:lnTo>
                  <a:pt x="11161" y="0"/>
                </a:lnTo>
                <a:close/>
              </a:path>
            </a:pathLst>
          </a:custGeom>
          <a:solidFill>
            <a:srgbClr val="676767"/>
          </a:solidFill>
        </p:spPr>
        <p:txBody>
          <a:bodyPr wrap="square" lIns="0" tIns="0" rIns="0" bIns="0" rtlCol="0"/>
          <a:lstStyle/>
          <a:p>
            <a:endParaRPr/>
          </a:p>
        </p:txBody>
      </p:sp>
      <p:sp>
        <p:nvSpPr>
          <p:cNvPr id="930" name="object 930"/>
          <p:cNvSpPr/>
          <p:nvPr/>
        </p:nvSpPr>
        <p:spPr>
          <a:xfrm>
            <a:off x="2422454" y="3751723"/>
            <a:ext cx="12419" cy="12418"/>
          </a:xfrm>
          <a:custGeom>
            <a:avLst/>
            <a:gdLst/>
            <a:ahLst/>
            <a:cxnLst/>
            <a:rect l="l" t="t" r="r" b="b"/>
            <a:pathLst>
              <a:path w="27304" h="27304">
                <a:moveTo>
                  <a:pt x="21172" y="0"/>
                </a:moveTo>
                <a:lnTo>
                  <a:pt x="6104" y="0"/>
                </a:lnTo>
                <a:lnTo>
                  <a:pt x="0" y="6104"/>
                </a:lnTo>
                <a:lnTo>
                  <a:pt x="0" y="21172"/>
                </a:lnTo>
                <a:lnTo>
                  <a:pt x="6104" y="27276"/>
                </a:lnTo>
                <a:lnTo>
                  <a:pt x="21172" y="27276"/>
                </a:lnTo>
                <a:lnTo>
                  <a:pt x="27276" y="21172"/>
                </a:lnTo>
                <a:lnTo>
                  <a:pt x="27276" y="6104"/>
                </a:lnTo>
                <a:lnTo>
                  <a:pt x="21172" y="0"/>
                </a:lnTo>
                <a:close/>
              </a:path>
            </a:pathLst>
          </a:custGeom>
          <a:solidFill>
            <a:srgbClr val="000000">
              <a:alpha val="16998"/>
            </a:srgbClr>
          </a:solidFill>
        </p:spPr>
        <p:txBody>
          <a:bodyPr wrap="square" lIns="0" tIns="0" rIns="0" bIns="0" rtlCol="0"/>
          <a:lstStyle/>
          <a:p>
            <a:endParaRPr/>
          </a:p>
        </p:txBody>
      </p:sp>
      <p:sp>
        <p:nvSpPr>
          <p:cNvPr id="931" name="object 931"/>
          <p:cNvSpPr/>
          <p:nvPr/>
        </p:nvSpPr>
        <p:spPr>
          <a:xfrm>
            <a:off x="2423683" y="3750616"/>
            <a:ext cx="12419" cy="12418"/>
          </a:xfrm>
          <a:custGeom>
            <a:avLst/>
            <a:gdLst/>
            <a:ahLst/>
            <a:cxnLst/>
            <a:rect l="l" t="t" r="r" b="b"/>
            <a:pathLst>
              <a:path w="27304" h="27304">
                <a:moveTo>
                  <a:pt x="21172" y="0"/>
                </a:moveTo>
                <a:lnTo>
                  <a:pt x="6104" y="0"/>
                </a:lnTo>
                <a:lnTo>
                  <a:pt x="0" y="6104"/>
                </a:lnTo>
                <a:lnTo>
                  <a:pt x="0" y="21172"/>
                </a:lnTo>
                <a:lnTo>
                  <a:pt x="6104" y="27276"/>
                </a:lnTo>
                <a:lnTo>
                  <a:pt x="21172" y="27276"/>
                </a:lnTo>
                <a:lnTo>
                  <a:pt x="27276" y="21172"/>
                </a:lnTo>
                <a:lnTo>
                  <a:pt x="27276" y="6104"/>
                </a:lnTo>
                <a:lnTo>
                  <a:pt x="21172" y="0"/>
                </a:lnTo>
                <a:close/>
              </a:path>
            </a:pathLst>
          </a:custGeom>
          <a:solidFill>
            <a:srgbClr val="676767"/>
          </a:solidFill>
        </p:spPr>
        <p:txBody>
          <a:bodyPr wrap="square" lIns="0" tIns="0" rIns="0" bIns="0" rtlCol="0"/>
          <a:lstStyle/>
          <a:p>
            <a:endParaRPr/>
          </a:p>
        </p:txBody>
      </p:sp>
      <p:sp>
        <p:nvSpPr>
          <p:cNvPr id="932" name="object 932"/>
          <p:cNvSpPr/>
          <p:nvPr/>
        </p:nvSpPr>
        <p:spPr>
          <a:xfrm>
            <a:off x="2479533" y="3690712"/>
            <a:ext cx="12708" cy="12707"/>
          </a:xfrm>
          <a:custGeom>
            <a:avLst/>
            <a:gdLst/>
            <a:ahLst/>
            <a:cxnLst/>
            <a:rect l="l" t="t" r="r" b="b"/>
            <a:pathLst>
              <a:path w="27939" h="27940">
                <a:moveTo>
                  <a:pt x="6533" y="0"/>
                </a:moveTo>
                <a:lnTo>
                  <a:pt x="303" y="5989"/>
                </a:lnTo>
                <a:lnTo>
                  <a:pt x="0" y="21046"/>
                </a:lnTo>
                <a:lnTo>
                  <a:pt x="5989" y="27276"/>
                </a:lnTo>
                <a:lnTo>
                  <a:pt x="21046" y="27580"/>
                </a:lnTo>
                <a:lnTo>
                  <a:pt x="27276" y="21590"/>
                </a:lnTo>
                <a:lnTo>
                  <a:pt x="27580" y="6533"/>
                </a:lnTo>
                <a:lnTo>
                  <a:pt x="21590" y="314"/>
                </a:lnTo>
                <a:lnTo>
                  <a:pt x="6533" y="0"/>
                </a:lnTo>
                <a:close/>
              </a:path>
            </a:pathLst>
          </a:custGeom>
          <a:solidFill>
            <a:srgbClr val="000000">
              <a:alpha val="16998"/>
            </a:srgbClr>
          </a:solidFill>
        </p:spPr>
        <p:txBody>
          <a:bodyPr wrap="square" lIns="0" tIns="0" rIns="0" bIns="0" rtlCol="0"/>
          <a:lstStyle/>
          <a:p>
            <a:endParaRPr/>
          </a:p>
        </p:txBody>
      </p:sp>
      <p:sp>
        <p:nvSpPr>
          <p:cNvPr id="933" name="object 933"/>
          <p:cNvSpPr/>
          <p:nvPr/>
        </p:nvSpPr>
        <p:spPr>
          <a:xfrm>
            <a:off x="2480762" y="3689605"/>
            <a:ext cx="12708" cy="12707"/>
          </a:xfrm>
          <a:custGeom>
            <a:avLst/>
            <a:gdLst/>
            <a:ahLst/>
            <a:cxnLst/>
            <a:rect l="l" t="t" r="r" b="b"/>
            <a:pathLst>
              <a:path w="27939" h="27940">
                <a:moveTo>
                  <a:pt x="6533" y="0"/>
                </a:moveTo>
                <a:lnTo>
                  <a:pt x="303" y="5989"/>
                </a:lnTo>
                <a:lnTo>
                  <a:pt x="0" y="21046"/>
                </a:lnTo>
                <a:lnTo>
                  <a:pt x="5989" y="27276"/>
                </a:lnTo>
                <a:lnTo>
                  <a:pt x="21046" y="27569"/>
                </a:lnTo>
                <a:lnTo>
                  <a:pt x="27276" y="21590"/>
                </a:lnTo>
                <a:lnTo>
                  <a:pt x="27580" y="6523"/>
                </a:lnTo>
                <a:lnTo>
                  <a:pt x="21590" y="303"/>
                </a:lnTo>
                <a:lnTo>
                  <a:pt x="6533" y="0"/>
                </a:lnTo>
                <a:close/>
              </a:path>
            </a:pathLst>
          </a:custGeom>
          <a:solidFill>
            <a:srgbClr val="676767"/>
          </a:solidFill>
        </p:spPr>
        <p:txBody>
          <a:bodyPr wrap="square" lIns="0" tIns="0" rIns="0" bIns="0" rtlCol="0"/>
          <a:lstStyle/>
          <a:p>
            <a:endParaRPr/>
          </a:p>
        </p:txBody>
      </p:sp>
      <p:sp>
        <p:nvSpPr>
          <p:cNvPr id="934" name="object 934"/>
          <p:cNvSpPr/>
          <p:nvPr/>
        </p:nvSpPr>
        <p:spPr>
          <a:xfrm>
            <a:off x="2364017" y="3688749"/>
            <a:ext cx="12708" cy="12707"/>
          </a:xfrm>
          <a:custGeom>
            <a:avLst/>
            <a:gdLst/>
            <a:ahLst/>
            <a:cxnLst/>
            <a:rect l="l" t="t" r="r" b="b"/>
            <a:pathLst>
              <a:path w="27939" h="27940">
                <a:moveTo>
                  <a:pt x="6533" y="0"/>
                </a:moveTo>
                <a:lnTo>
                  <a:pt x="303" y="5989"/>
                </a:lnTo>
                <a:lnTo>
                  <a:pt x="0" y="21046"/>
                </a:lnTo>
                <a:lnTo>
                  <a:pt x="5989" y="27276"/>
                </a:lnTo>
                <a:lnTo>
                  <a:pt x="21046" y="27569"/>
                </a:lnTo>
                <a:lnTo>
                  <a:pt x="27276" y="21590"/>
                </a:lnTo>
                <a:lnTo>
                  <a:pt x="27580" y="6523"/>
                </a:lnTo>
                <a:lnTo>
                  <a:pt x="21590" y="303"/>
                </a:lnTo>
                <a:lnTo>
                  <a:pt x="6533" y="0"/>
                </a:lnTo>
                <a:close/>
              </a:path>
            </a:pathLst>
          </a:custGeom>
          <a:solidFill>
            <a:srgbClr val="000000">
              <a:alpha val="16998"/>
            </a:srgbClr>
          </a:solidFill>
        </p:spPr>
        <p:txBody>
          <a:bodyPr wrap="square" lIns="0" tIns="0" rIns="0" bIns="0" rtlCol="0"/>
          <a:lstStyle/>
          <a:p>
            <a:endParaRPr/>
          </a:p>
        </p:txBody>
      </p:sp>
      <p:sp>
        <p:nvSpPr>
          <p:cNvPr id="935" name="object 935"/>
          <p:cNvSpPr/>
          <p:nvPr/>
        </p:nvSpPr>
        <p:spPr>
          <a:xfrm>
            <a:off x="2365937" y="3687568"/>
            <a:ext cx="12708" cy="12707"/>
          </a:xfrm>
          <a:custGeom>
            <a:avLst/>
            <a:gdLst/>
            <a:ahLst/>
            <a:cxnLst/>
            <a:rect l="l" t="t" r="r" b="b"/>
            <a:pathLst>
              <a:path w="27939" h="27940">
                <a:moveTo>
                  <a:pt x="6533" y="0"/>
                </a:moveTo>
                <a:lnTo>
                  <a:pt x="303" y="5989"/>
                </a:lnTo>
                <a:lnTo>
                  <a:pt x="0" y="21046"/>
                </a:lnTo>
                <a:lnTo>
                  <a:pt x="5989" y="27276"/>
                </a:lnTo>
                <a:lnTo>
                  <a:pt x="21046" y="27569"/>
                </a:lnTo>
                <a:lnTo>
                  <a:pt x="27276" y="21590"/>
                </a:lnTo>
                <a:lnTo>
                  <a:pt x="27580" y="6523"/>
                </a:lnTo>
                <a:lnTo>
                  <a:pt x="21590" y="303"/>
                </a:lnTo>
                <a:lnTo>
                  <a:pt x="6533" y="0"/>
                </a:lnTo>
                <a:close/>
              </a:path>
            </a:pathLst>
          </a:custGeom>
          <a:solidFill>
            <a:srgbClr val="676767"/>
          </a:solidFill>
        </p:spPr>
        <p:txBody>
          <a:bodyPr wrap="square" lIns="0" tIns="0" rIns="0" bIns="0" rtlCol="0"/>
          <a:lstStyle/>
          <a:p>
            <a:endParaRPr/>
          </a:p>
        </p:txBody>
      </p:sp>
      <p:sp>
        <p:nvSpPr>
          <p:cNvPr id="936" name="object 936"/>
          <p:cNvSpPr/>
          <p:nvPr/>
        </p:nvSpPr>
        <p:spPr>
          <a:xfrm>
            <a:off x="2423574" y="3671643"/>
            <a:ext cx="23105" cy="34656"/>
          </a:xfrm>
          <a:custGeom>
            <a:avLst/>
            <a:gdLst/>
            <a:ahLst/>
            <a:cxnLst/>
            <a:rect l="l" t="t" r="r" b="b"/>
            <a:pathLst>
              <a:path w="50800" h="76200">
                <a:moveTo>
                  <a:pt x="44522" y="0"/>
                </a:moveTo>
                <a:lnTo>
                  <a:pt x="0" y="63924"/>
                </a:lnTo>
                <a:lnTo>
                  <a:pt x="17318" y="75599"/>
                </a:lnTo>
                <a:lnTo>
                  <a:pt x="50448" y="11633"/>
                </a:lnTo>
                <a:lnTo>
                  <a:pt x="44522" y="0"/>
                </a:lnTo>
                <a:close/>
              </a:path>
            </a:pathLst>
          </a:custGeom>
          <a:solidFill>
            <a:srgbClr val="000000">
              <a:alpha val="16998"/>
            </a:srgbClr>
          </a:solidFill>
        </p:spPr>
        <p:txBody>
          <a:bodyPr wrap="square" lIns="0" tIns="0" rIns="0" bIns="0" rtlCol="0"/>
          <a:lstStyle/>
          <a:p>
            <a:endParaRPr/>
          </a:p>
        </p:txBody>
      </p:sp>
      <p:sp>
        <p:nvSpPr>
          <p:cNvPr id="937" name="object 937"/>
          <p:cNvSpPr/>
          <p:nvPr/>
        </p:nvSpPr>
        <p:spPr>
          <a:xfrm>
            <a:off x="2385897" y="3653263"/>
            <a:ext cx="46789" cy="60936"/>
          </a:xfrm>
          <a:custGeom>
            <a:avLst/>
            <a:gdLst/>
            <a:ahLst/>
            <a:cxnLst/>
            <a:rect l="l" t="t" r="r" b="b"/>
            <a:pathLst>
              <a:path w="102870" h="133984">
                <a:moveTo>
                  <a:pt x="0" y="0"/>
                </a:moveTo>
                <a:lnTo>
                  <a:pt x="0" y="5853"/>
                </a:lnTo>
                <a:lnTo>
                  <a:pt x="92028" y="133901"/>
                </a:lnTo>
                <a:lnTo>
                  <a:pt x="102635" y="111221"/>
                </a:lnTo>
                <a:lnTo>
                  <a:pt x="0" y="0"/>
                </a:lnTo>
                <a:close/>
              </a:path>
            </a:pathLst>
          </a:custGeom>
          <a:solidFill>
            <a:srgbClr val="000000">
              <a:alpha val="16998"/>
            </a:srgbClr>
          </a:solidFill>
        </p:spPr>
        <p:txBody>
          <a:bodyPr wrap="square" lIns="0" tIns="0" rIns="0" bIns="0" rtlCol="0"/>
          <a:lstStyle/>
          <a:p>
            <a:endParaRPr/>
          </a:p>
        </p:txBody>
      </p:sp>
      <p:sp>
        <p:nvSpPr>
          <p:cNvPr id="938" name="object 938"/>
          <p:cNvSpPr/>
          <p:nvPr/>
        </p:nvSpPr>
        <p:spPr>
          <a:xfrm>
            <a:off x="2387523" y="3651901"/>
            <a:ext cx="46789" cy="60936"/>
          </a:xfrm>
          <a:custGeom>
            <a:avLst/>
            <a:gdLst/>
            <a:ahLst/>
            <a:cxnLst/>
            <a:rect l="l" t="t" r="r" b="b"/>
            <a:pathLst>
              <a:path w="102870" h="133984">
                <a:moveTo>
                  <a:pt x="0" y="0"/>
                </a:moveTo>
                <a:lnTo>
                  <a:pt x="0" y="5853"/>
                </a:lnTo>
                <a:lnTo>
                  <a:pt x="92028" y="133901"/>
                </a:lnTo>
                <a:lnTo>
                  <a:pt x="102635" y="111221"/>
                </a:lnTo>
                <a:lnTo>
                  <a:pt x="0" y="0"/>
                </a:lnTo>
                <a:close/>
              </a:path>
            </a:pathLst>
          </a:custGeom>
          <a:solidFill>
            <a:srgbClr val="676767"/>
          </a:solidFill>
        </p:spPr>
        <p:txBody>
          <a:bodyPr wrap="square" lIns="0" tIns="0" rIns="0" bIns="0" rtlCol="0"/>
          <a:lstStyle/>
          <a:p>
            <a:endParaRPr/>
          </a:p>
        </p:txBody>
      </p:sp>
      <p:sp>
        <p:nvSpPr>
          <p:cNvPr id="939" name="object 939"/>
          <p:cNvSpPr/>
          <p:nvPr/>
        </p:nvSpPr>
        <p:spPr>
          <a:xfrm>
            <a:off x="2425196" y="3670279"/>
            <a:ext cx="23105" cy="34656"/>
          </a:xfrm>
          <a:custGeom>
            <a:avLst/>
            <a:gdLst/>
            <a:ahLst/>
            <a:cxnLst/>
            <a:rect l="l" t="t" r="r" b="b"/>
            <a:pathLst>
              <a:path w="50800" h="76200">
                <a:moveTo>
                  <a:pt x="44532" y="0"/>
                </a:moveTo>
                <a:lnTo>
                  <a:pt x="0" y="63924"/>
                </a:lnTo>
                <a:lnTo>
                  <a:pt x="17318" y="75610"/>
                </a:lnTo>
                <a:lnTo>
                  <a:pt x="50448" y="11633"/>
                </a:lnTo>
                <a:lnTo>
                  <a:pt x="44532" y="0"/>
                </a:lnTo>
                <a:close/>
              </a:path>
            </a:pathLst>
          </a:custGeom>
          <a:solidFill>
            <a:srgbClr val="676767"/>
          </a:solidFill>
        </p:spPr>
        <p:txBody>
          <a:bodyPr wrap="square" lIns="0" tIns="0" rIns="0" bIns="0" rtlCol="0"/>
          <a:lstStyle/>
          <a:p>
            <a:endParaRPr/>
          </a:p>
        </p:txBody>
      </p:sp>
      <p:sp>
        <p:nvSpPr>
          <p:cNvPr id="940" name="object 940"/>
          <p:cNvSpPr/>
          <p:nvPr/>
        </p:nvSpPr>
        <p:spPr>
          <a:xfrm>
            <a:off x="2425069" y="3699221"/>
            <a:ext cx="5776" cy="5776"/>
          </a:xfrm>
          <a:custGeom>
            <a:avLst/>
            <a:gdLst/>
            <a:ahLst/>
            <a:cxnLst/>
            <a:rect l="l" t="t" r="r" b="b"/>
            <a:pathLst>
              <a:path w="12700" h="12700">
                <a:moveTo>
                  <a:pt x="9832" y="0"/>
                </a:moveTo>
                <a:lnTo>
                  <a:pt x="2837" y="0"/>
                </a:lnTo>
                <a:lnTo>
                  <a:pt x="0" y="2837"/>
                </a:lnTo>
                <a:lnTo>
                  <a:pt x="0" y="9832"/>
                </a:lnTo>
                <a:lnTo>
                  <a:pt x="2837" y="12659"/>
                </a:lnTo>
                <a:lnTo>
                  <a:pt x="9832" y="12659"/>
                </a:lnTo>
                <a:lnTo>
                  <a:pt x="12669" y="9832"/>
                </a:lnTo>
                <a:lnTo>
                  <a:pt x="12669" y="2837"/>
                </a:lnTo>
                <a:lnTo>
                  <a:pt x="9832" y="0"/>
                </a:lnTo>
                <a:close/>
              </a:path>
            </a:pathLst>
          </a:custGeom>
          <a:solidFill>
            <a:srgbClr val="000000">
              <a:alpha val="16998"/>
            </a:srgbClr>
          </a:solidFill>
        </p:spPr>
        <p:txBody>
          <a:bodyPr wrap="square" lIns="0" tIns="0" rIns="0" bIns="0" rtlCol="0"/>
          <a:lstStyle/>
          <a:p>
            <a:endParaRPr/>
          </a:p>
        </p:txBody>
      </p:sp>
      <p:sp>
        <p:nvSpPr>
          <p:cNvPr id="941" name="object 941"/>
          <p:cNvSpPr/>
          <p:nvPr/>
        </p:nvSpPr>
        <p:spPr>
          <a:xfrm>
            <a:off x="2425737" y="3698556"/>
            <a:ext cx="5776" cy="5776"/>
          </a:xfrm>
          <a:custGeom>
            <a:avLst/>
            <a:gdLst/>
            <a:ahLst/>
            <a:cxnLst/>
            <a:rect l="l" t="t" r="r" b="b"/>
            <a:pathLst>
              <a:path w="12700" h="12700">
                <a:moveTo>
                  <a:pt x="9832" y="0"/>
                </a:moveTo>
                <a:lnTo>
                  <a:pt x="2837" y="0"/>
                </a:lnTo>
                <a:lnTo>
                  <a:pt x="0" y="2837"/>
                </a:lnTo>
                <a:lnTo>
                  <a:pt x="0" y="9832"/>
                </a:lnTo>
                <a:lnTo>
                  <a:pt x="2837" y="12659"/>
                </a:lnTo>
                <a:lnTo>
                  <a:pt x="9832" y="12659"/>
                </a:lnTo>
                <a:lnTo>
                  <a:pt x="12669" y="9832"/>
                </a:lnTo>
                <a:lnTo>
                  <a:pt x="12669" y="2837"/>
                </a:lnTo>
                <a:lnTo>
                  <a:pt x="9832" y="0"/>
                </a:lnTo>
                <a:close/>
              </a:path>
            </a:pathLst>
          </a:custGeom>
          <a:solidFill>
            <a:srgbClr val="797979"/>
          </a:solidFill>
        </p:spPr>
        <p:txBody>
          <a:bodyPr wrap="square" lIns="0" tIns="0" rIns="0" bIns="0" rtlCol="0"/>
          <a:lstStyle/>
          <a:p>
            <a:endParaRPr/>
          </a:p>
        </p:txBody>
      </p:sp>
      <p:sp>
        <p:nvSpPr>
          <p:cNvPr id="942" name="object 942"/>
          <p:cNvSpPr/>
          <p:nvPr/>
        </p:nvSpPr>
        <p:spPr>
          <a:xfrm>
            <a:off x="1778903" y="4245366"/>
            <a:ext cx="1942595" cy="45630"/>
          </a:xfrm>
          <a:custGeom>
            <a:avLst/>
            <a:gdLst/>
            <a:ahLst/>
            <a:cxnLst/>
            <a:rect l="l" t="t" r="r" b="b"/>
            <a:pathLst>
              <a:path w="4271009" h="100329">
                <a:moveTo>
                  <a:pt x="0" y="100091"/>
                </a:moveTo>
                <a:lnTo>
                  <a:pt x="4270540" y="100091"/>
                </a:lnTo>
                <a:lnTo>
                  <a:pt x="4270540" y="0"/>
                </a:lnTo>
                <a:lnTo>
                  <a:pt x="0" y="0"/>
                </a:lnTo>
                <a:lnTo>
                  <a:pt x="0" y="100091"/>
                </a:lnTo>
                <a:close/>
              </a:path>
            </a:pathLst>
          </a:custGeom>
          <a:solidFill>
            <a:srgbClr val="060A0E">
              <a:alpha val="8998"/>
            </a:srgbClr>
          </a:solidFill>
        </p:spPr>
        <p:txBody>
          <a:bodyPr wrap="square" lIns="0" tIns="0" rIns="0" bIns="0" rtlCol="0"/>
          <a:lstStyle/>
          <a:p>
            <a:endParaRPr/>
          </a:p>
        </p:txBody>
      </p:sp>
      <p:sp>
        <p:nvSpPr>
          <p:cNvPr id="943" name="object 943"/>
          <p:cNvSpPr/>
          <p:nvPr/>
        </p:nvSpPr>
        <p:spPr>
          <a:xfrm>
            <a:off x="1778903" y="4219302"/>
            <a:ext cx="1942595" cy="26281"/>
          </a:xfrm>
          <a:custGeom>
            <a:avLst/>
            <a:gdLst/>
            <a:ahLst/>
            <a:cxnLst/>
            <a:rect l="l" t="t" r="r" b="b"/>
            <a:pathLst>
              <a:path w="4271009" h="57784">
                <a:moveTo>
                  <a:pt x="0" y="57307"/>
                </a:moveTo>
                <a:lnTo>
                  <a:pt x="4270540" y="57307"/>
                </a:lnTo>
                <a:lnTo>
                  <a:pt x="4270540" y="0"/>
                </a:lnTo>
                <a:lnTo>
                  <a:pt x="0" y="0"/>
                </a:lnTo>
                <a:lnTo>
                  <a:pt x="0" y="57307"/>
                </a:lnTo>
                <a:close/>
              </a:path>
            </a:pathLst>
          </a:custGeom>
          <a:solidFill>
            <a:srgbClr val="060A0E">
              <a:alpha val="6999"/>
            </a:srgbClr>
          </a:solidFill>
        </p:spPr>
        <p:txBody>
          <a:bodyPr wrap="square" lIns="0" tIns="0" rIns="0" bIns="0" rtlCol="0"/>
          <a:lstStyle/>
          <a:p>
            <a:endParaRPr/>
          </a:p>
        </p:txBody>
      </p:sp>
      <p:sp>
        <p:nvSpPr>
          <p:cNvPr id="944" name="object 944"/>
          <p:cNvSpPr/>
          <p:nvPr/>
        </p:nvSpPr>
        <p:spPr>
          <a:xfrm>
            <a:off x="3143755" y="4157051"/>
            <a:ext cx="550777" cy="0"/>
          </a:xfrm>
          <a:custGeom>
            <a:avLst/>
            <a:gdLst/>
            <a:ahLst/>
            <a:cxnLst/>
            <a:rect l="l" t="t" r="r" b="b"/>
            <a:pathLst>
              <a:path w="1210945">
                <a:moveTo>
                  <a:pt x="0" y="0"/>
                </a:moveTo>
                <a:lnTo>
                  <a:pt x="1210832" y="0"/>
                </a:lnTo>
              </a:path>
            </a:pathLst>
          </a:custGeom>
          <a:ln w="27475">
            <a:solidFill>
              <a:srgbClr val="060A0E"/>
            </a:solidFill>
          </a:ln>
        </p:spPr>
        <p:txBody>
          <a:bodyPr wrap="square" lIns="0" tIns="0" rIns="0" bIns="0" rtlCol="0"/>
          <a:lstStyle/>
          <a:p>
            <a:endParaRPr/>
          </a:p>
        </p:txBody>
      </p:sp>
      <p:sp>
        <p:nvSpPr>
          <p:cNvPr id="945" name="object 945"/>
          <p:cNvSpPr/>
          <p:nvPr/>
        </p:nvSpPr>
        <p:spPr>
          <a:xfrm>
            <a:off x="2502051" y="4156828"/>
            <a:ext cx="550777" cy="0"/>
          </a:xfrm>
          <a:custGeom>
            <a:avLst/>
            <a:gdLst/>
            <a:ahLst/>
            <a:cxnLst/>
            <a:rect l="l" t="t" r="r" b="b"/>
            <a:pathLst>
              <a:path w="1210945">
                <a:moveTo>
                  <a:pt x="0" y="0"/>
                </a:moveTo>
                <a:lnTo>
                  <a:pt x="1210832" y="0"/>
                </a:lnTo>
              </a:path>
            </a:pathLst>
          </a:custGeom>
          <a:ln w="27475">
            <a:solidFill>
              <a:srgbClr val="060A0E"/>
            </a:solidFill>
          </a:ln>
        </p:spPr>
        <p:txBody>
          <a:bodyPr wrap="square" lIns="0" tIns="0" rIns="0" bIns="0" rtlCol="0"/>
          <a:lstStyle/>
          <a:p>
            <a:endParaRPr/>
          </a:p>
        </p:txBody>
      </p:sp>
      <p:sp>
        <p:nvSpPr>
          <p:cNvPr id="946" name="object 946"/>
          <p:cNvSpPr/>
          <p:nvPr/>
        </p:nvSpPr>
        <p:spPr>
          <a:xfrm>
            <a:off x="1829638" y="4151023"/>
            <a:ext cx="550777" cy="0"/>
          </a:xfrm>
          <a:custGeom>
            <a:avLst/>
            <a:gdLst/>
            <a:ahLst/>
            <a:cxnLst/>
            <a:rect l="l" t="t" r="r" b="b"/>
            <a:pathLst>
              <a:path w="1210945">
                <a:moveTo>
                  <a:pt x="0" y="0"/>
                </a:moveTo>
                <a:lnTo>
                  <a:pt x="1210832" y="0"/>
                </a:lnTo>
              </a:path>
            </a:pathLst>
          </a:custGeom>
          <a:ln w="27475">
            <a:solidFill>
              <a:srgbClr val="060A0E"/>
            </a:solidFill>
          </a:ln>
        </p:spPr>
        <p:txBody>
          <a:bodyPr wrap="square" lIns="0" tIns="0" rIns="0" bIns="0" rtlCol="0"/>
          <a:lstStyle/>
          <a:p>
            <a:endParaRPr/>
          </a:p>
        </p:txBody>
      </p:sp>
      <p:sp>
        <p:nvSpPr>
          <p:cNvPr id="947" name="object 947"/>
          <p:cNvSpPr/>
          <p:nvPr/>
        </p:nvSpPr>
        <p:spPr>
          <a:xfrm>
            <a:off x="1918223" y="4110711"/>
            <a:ext cx="38991" cy="205047"/>
          </a:xfrm>
          <a:custGeom>
            <a:avLst/>
            <a:gdLst/>
            <a:ahLst/>
            <a:cxnLst/>
            <a:rect l="l" t="t" r="r" b="b"/>
            <a:pathLst>
              <a:path w="85725" h="450850">
                <a:moveTo>
                  <a:pt x="25800" y="0"/>
                </a:moveTo>
                <a:lnTo>
                  <a:pt x="5738" y="0"/>
                </a:lnTo>
                <a:lnTo>
                  <a:pt x="0" y="5738"/>
                </a:lnTo>
                <a:lnTo>
                  <a:pt x="0" y="442499"/>
                </a:lnTo>
                <a:lnTo>
                  <a:pt x="8031" y="450530"/>
                </a:lnTo>
                <a:lnTo>
                  <a:pt x="77337" y="450530"/>
                </a:lnTo>
                <a:lnTo>
                  <a:pt x="85369" y="442499"/>
                </a:lnTo>
                <a:lnTo>
                  <a:pt x="85369" y="59568"/>
                </a:lnTo>
                <a:lnTo>
                  <a:pt x="80687" y="36381"/>
                </a:lnTo>
                <a:lnTo>
                  <a:pt x="67922" y="17447"/>
                </a:lnTo>
                <a:lnTo>
                  <a:pt x="48987" y="4681"/>
                </a:lnTo>
                <a:lnTo>
                  <a:pt x="25800" y="0"/>
                </a:lnTo>
                <a:close/>
              </a:path>
            </a:pathLst>
          </a:custGeom>
          <a:solidFill>
            <a:srgbClr val="333333"/>
          </a:solidFill>
        </p:spPr>
        <p:txBody>
          <a:bodyPr wrap="square" lIns="0" tIns="0" rIns="0" bIns="0" rtlCol="0"/>
          <a:lstStyle/>
          <a:p>
            <a:endParaRPr/>
          </a:p>
        </p:txBody>
      </p:sp>
      <p:sp>
        <p:nvSpPr>
          <p:cNvPr id="948" name="object 948"/>
          <p:cNvSpPr/>
          <p:nvPr/>
        </p:nvSpPr>
        <p:spPr>
          <a:xfrm>
            <a:off x="1913203" y="4155408"/>
            <a:ext cx="0" cy="376882"/>
          </a:xfrm>
          <a:custGeom>
            <a:avLst/>
            <a:gdLst/>
            <a:ahLst/>
            <a:cxnLst/>
            <a:rect l="l" t="t" r="r" b="b"/>
            <a:pathLst>
              <a:path h="828675">
                <a:moveTo>
                  <a:pt x="0" y="0"/>
                </a:moveTo>
                <a:lnTo>
                  <a:pt x="0" y="828372"/>
                </a:lnTo>
              </a:path>
            </a:pathLst>
          </a:custGeom>
          <a:ln w="23549">
            <a:solidFill>
              <a:srgbClr val="888888"/>
            </a:solidFill>
          </a:ln>
        </p:spPr>
        <p:txBody>
          <a:bodyPr wrap="square" lIns="0" tIns="0" rIns="0" bIns="0" rtlCol="0"/>
          <a:lstStyle/>
          <a:p>
            <a:endParaRPr/>
          </a:p>
        </p:txBody>
      </p:sp>
      <p:sp>
        <p:nvSpPr>
          <p:cNvPr id="949" name="object 949"/>
          <p:cNvSpPr/>
          <p:nvPr/>
        </p:nvSpPr>
        <p:spPr>
          <a:xfrm>
            <a:off x="2054523" y="4387235"/>
            <a:ext cx="0" cy="144977"/>
          </a:xfrm>
          <a:custGeom>
            <a:avLst/>
            <a:gdLst/>
            <a:ahLst/>
            <a:cxnLst/>
            <a:rect l="l" t="t" r="r" b="b"/>
            <a:pathLst>
              <a:path h="318770">
                <a:moveTo>
                  <a:pt x="0" y="0"/>
                </a:moveTo>
                <a:lnTo>
                  <a:pt x="0" y="318639"/>
                </a:lnTo>
              </a:path>
            </a:pathLst>
          </a:custGeom>
          <a:ln w="23643">
            <a:solidFill>
              <a:srgbClr val="888888"/>
            </a:solidFill>
          </a:ln>
        </p:spPr>
        <p:txBody>
          <a:bodyPr wrap="square" lIns="0" tIns="0" rIns="0" bIns="0" rtlCol="0"/>
          <a:lstStyle/>
          <a:p>
            <a:endParaRPr/>
          </a:p>
        </p:txBody>
      </p:sp>
      <p:sp>
        <p:nvSpPr>
          <p:cNvPr id="950" name="object 950"/>
          <p:cNvSpPr/>
          <p:nvPr/>
        </p:nvSpPr>
        <p:spPr>
          <a:xfrm>
            <a:off x="1918223" y="4359586"/>
            <a:ext cx="150475" cy="41298"/>
          </a:xfrm>
          <a:custGeom>
            <a:avLst/>
            <a:gdLst/>
            <a:ahLst/>
            <a:cxnLst/>
            <a:rect l="l" t="t" r="r" b="b"/>
            <a:pathLst>
              <a:path w="330835" h="90804">
                <a:moveTo>
                  <a:pt x="301404" y="0"/>
                </a:moveTo>
                <a:lnTo>
                  <a:pt x="29025" y="0"/>
                </a:lnTo>
                <a:lnTo>
                  <a:pt x="17727" y="2280"/>
                </a:lnTo>
                <a:lnTo>
                  <a:pt x="8501" y="8499"/>
                </a:lnTo>
                <a:lnTo>
                  <a:pt x="2280" y="17722"/>
                </a:lnTo>
                <a:lnTo>
                  <a:pt x="0" y="29014"/>
                </a:lnTo>
                <a:lnTo>
                  <a:pt x="0" y="66196"/>
                </a:lnTo>
                <a:lnTo>
                  <a:pt x="1916" y="75689"/>
                </a:lnTo>
                <a:lnTo>
                  <a:pt x="7145" y="83445"/>
                </a:lnTo>
                <a:lnTo>
                  <a:pt x="14899" y="88675"/>
                </a:lnTo>
                <a:lnTo>
                  <a:pt x="24397" y="90594"/>
                </a:lnTo>
                <a:lnTo>
                  <a:pt x="306032" y="90594"/>
                </a:lnTo>
                <a:lnTo>
                  <a:pt x="315529" y="88675"/>
                </a:lnTo>
                <a:lnTo>
                  <a:pt x="323284" y="83445"/>
                </a:lnTo>
                <a:lnTo>
                  <a:pt x="328512" y="75689"/>
                </a:lnTo>
                <a:lnTo>
                  <a:pt x="330429" y="66196"/>
                </a:lnTo>
                <a:lnTo>
                  <a:pt x="330429" y="29014"/>
                </a:lnTo>
                <a:lnTo>
                  <a:pt x="328148" y="17722"/>
                </a:lnTo>
                <a:lnTo>
                  <a:pt x="321928" y="8499"/>
                </a:lnTo>
                <a:lnTo>
                  <a:pt x="312702" y="2280"/>
                </a:lnTo>
                <a:lnTo>
                  <a:pt x="301404" y="0"/>
                </a:lnTo>
                <a:close/>
              </a:path>
            </a:pathLst>
          </a:custGeom>
          <a:solidFill>
            <a:srgbClr val="333333"/>
          </a:solidFill>
        </p:spPr>
        <p:txBody>
          <a:bodyPr wrap="square" lIns="0" tIns="0" rIns="0" bIns="0" rtlCol="0"/>
          <a:lstStyle/>
          <a:p>
            <a:endParaRPr/>
          </a:p>
        </p:txBody>
      </p:sp>
      <p:sp>
        <p:nvSpPr>
          <p:cNvPr id="951" name="object 951"/>
          <p:cNvSpPr/>
          <p:nvPr/>
        </p:nvSpPr>
        <p:spPr>
          <a:xfrm>
            <a:off x="2049146" y="4521114"/>
            <a:ext cx="10975" cy="11263"/>
          </a:xfrm>
          <a:custGeom>
            <a:avLst/>
            <a:gdLst/>
            <a:ahLst/>
            <a:cxnLst/>
            <a:rect l="l" t="t" r="r" b="b"/>
            <a:pathLst>
              <a:path w="24129" h="24765">
                <a:moveTo>
                  <a:pt x="0" y="0"/>
                </a:moveTo>
                <a:lnTo>
                  <a:pt x="23549" y="0"/>
                </a:lnTo>
                <a:lnTo>
                  <a:pt x="23549" y="24261"/>
                </a:lnTo>
                <a:lnTo>
                  <a:pt x="0" y="24261"/>
                </a:lnTo>
                <a:lnTo>
                  <a:pt x="0" y="0"/>
                </a:lnTo>
                <a:close/>
              </a:path>
            </a:pathLst>
          </a:custGeom>
          <a:solidFill>
            <a:srgbClr val="707780"/>
          </a:solidFill>
        </p:spPr>
        <p:txBody>
          <a:bodyPr wrap="square" lIns="0" tIns="0" rIns="0" bIns="0" rtlCol="0"/>
          <a:lstStyle/>
          <a:p>
            <a:endParaRPr/>
          </a:p>
        </p:txBody>
      </p:sp>
      <p:sp>
        <p:nvSpPr>
          <p:cNvPr id="952" name="object 952"/>
          <p:cNvSpPr/>
          <p:nvPr/>
        </p:nvSpPr>
        <p:spPr>
          <a:xfrm>
            <a:off x="1907915" y="4521114"/>
            <a:ext cx="10686" cy="11263"/>
          </a:xfrm>
          <a:custGeom>
            <a:avLst/>
            <a:gdLst/>
            <a:ahLst/>
            <a:cxnLst/>
            <a:rect l="l" t="t" r="r" b="b"/>
            <a:pathLst>
              <a:path w="23495" h="24765">
                <a:moveTo>
                  <a:pt x="0" y="0"/>
                </a:moveTo>
                <a:lnTo>
                  <a:pt x="23391" y="0"/>
                </a:lnTo>
                <a:lnTo>
                  <a:pt x="23391" y="24261"/>
                </a:lnTo>
                <a:lnTo>
                  <a:pt x="0" y="24261"/>
                </a:lnTo>
                <a:lnTo>
                  <a:pt x="0" y="0"/>
                </a:lnTo>
                <a:close/>
              </a:path>
            </a:pathLst>
          </a:custGeom>
          <a:solidFill>
            <a:srgbClr val="707780"/>
          </a:solidFill>
        </p:spPr>
        <p:txBody>
          <a:bodyPr wrap="square" lIns="0" tIns="0" rIns="0" bIns="0" rtlCol="0"/>
          <a:lstStyle/>
          <a:p>
            <a:endParaRPr/>
          </a:p>
        </p:txBody>
      </p:sp>
      <p:sp>
        <p:nvSpPr>
          <p:cNvPr id="953" name="object 953"/>
          <p:cNvSpPr/>
          <p:nvPr/>
        </p:nvSpPr>
        <p:spPr>
          <a:xfrm>
            <a:off x="2580629" y="4111018"/>
            <a:ext cx="38991" cy="205047"/>
          </a:xfrm>
          <a:custGeom>
            <a:avLst/>
            <a:gdLst/>
            <a:ahLst/>
            <a:cxnLst/>
            <a:rect l="l" t="t" r="r" b="b"/>
            <a:pathLst>
              <a:path w="85725" h="450850">
                <a:moveTo>
                  <a:pt x="25800" y="0"/>
                </a:moveTo>
                <a:lnTo>
                  <a:pt x="5738" y="0"/>
                </a:lnTo>
                <a:lnTo>
                  <a:pt x="0" y="5738"/>
                </a:lnTo>
                <a:lnTo>
                  <a:pt x="0" y="442489"/>
                </a:lnTo>
                <a:lnTo>
                  <a:pt x="8031" y="450530"/>
                </a:lnTo>
                <a:lnTo>
                  <a:pt x="77337" y="450530"/>
                </a:lnTo>
                <a:lnTo>
                  <a:pt x="85369" y="442489"/>
                </a:lnTo>
                <a:lnTo>
                  <a:pt x="85369" y="59558"/>
                </a:lnTo>
                <a:lnTo>
                  <a:pt x="80687" y="36377"/>
                </a:lnTo>
                <a:lnTo>
                  <a:pt x="67922" y="17445"/>
                </a:lnTo>
                <a:lnTo>
                  <a:pt x="48987" y="4680"/>
                </a:lnTo>
                <a:lnTo>
                  <a:pt x="25800" y="0"/>
                </a:lnTo>
                <a:close/>
              </a:path>
            </a:pathLst>
          </a:custGeom>
          <a:solidFill>
            <a:srgbClr val="333333"/>
          </a:solidFill>
        </p:spPr>
        <p:txBody>
          <a:bodyPr wrap="square" lIns="0" tIns="0" rIns="0" bIns="0" rtlCol="0"/>
          <a:lstStyle/>
          <a:p>
            <a:endParaRPr/>
          </a:p>
        </p:txBody>
      </p:sp>
      <p:sp>
        <p:nvSpPr>
          <p:cNvPr id="954" name="object 954"/>
          <p:cNvSpPr/>
          <p:nvPr/>
        </p:nvSpPr>
        <p:spPr>
          <a:xfrm>
            <a:off x="2575605" y="4155709"/>
            <a:ext cx="0" cy="376882"/>
          </a:xfrm>
          <a:custGeom>
            <a:avLst/>
            <a:gdLst/>
            <a:ahLst/>
            <a:cxnLst/>
            <a:rect l="l" t="t" r="r" b="b"/>
            <a:pathLst>
              <a:path h="828675">
                <a:moveTo>
                  <a:pt x="0" y="0"/>
                </a:moveTo>
                <a:lnTo>
                  <a:pt x="0" y="828372"/>
                </a:lnTo>
              </a:path>
            </a:pathLst>
          </a:custGeom>
          <a:ln w="23549">
            <a:solidFill>
              <a:srgbClr val="888888"/>
            </a:solidFill>
          </a:ln>
        </p:spPr>
        <p:txBody>
          <a:bodyPr wrap="square" lIns="0" tIns="0" rIns="0" bIns="0" rtlCol="0"/>
          <a:lstStyle/>
          <a:p>
            <a:endParaRPr/>
          </a:p>
        </p:txBody>
      </p:sp>
      <p:sp>
        <p:nvSpPr>
          <p:cNvPr id="955" name="object 955"/>
          <p:cNvSpPr/>
          <p:nvPr/>
        </p:nvSpPr>
        <p:spPr>
          <a:xfrm>
            <a:off x="2716928" y="4387541"/>
            <a:ext cx="0" cy="144977"/>
          </a:xfrm>
          <a:custGeom>
            <a:avLst/>
            <a:gdLst/>
            <a:ahLst/>
            <a:cxnLst/>
            <a:rect l="l" t="t" r="r" b="b"/>
            <a:pathLst>
              <a:path h="318770">
                <a:moveTo>
                  <a:pt x="0" y="0"/>
                </a:moveTo>
                <a:lnTo>
                  <a:pt x="0" y="318629"/>
                </a:lnTo>
              </a:path>
            </a:pathLst>
          </a:custGeom>
          <a:ln w="23643">
            <a:solidFill>
              <a:srgbClr val="888888"/>
            </a:solidFill>
          </a:ln>
        </p:spPr>
        <p:txBody>
          <a:bodyPr wrap="square" lIns="0" tIns="0" rIns="0" bIns="0" rtlCol="0"/>
          <a:lstStyle/>
          <a:p>
            <a:endParaRPr/>
          </a:p>
        </p:txBody>
      </p:sp>
      <p:sp>
        <p:nvSpPr>
          <p:cNvPr id="956" name="object 956"/>
          <p:cNvSpPr/>
          <p:nvPr/>
        </p:nvSpPr>
        <p:spPr>
          <a:xfrm>
            <a:off x="2580628" y="4359893"/>
            <a:ext cx="150475" cy="41298"/>
          </a:xfrm>
          <a:custGeom>
            <a:avLst/>
            <a:gdLst/>
            <a:ahLst/>
            <a:cxnLst/>
            <a:rect l="l" t="t" r="r" b="b"/>
            <a:pathLst>
              <a:path w="330835" h="90804">
                <a:moveTo>
                  <a:pt x="301404" y="0"/>
                </a:moveTo>
                <a:lnTo>
                  <a:pt x="29025" y="0"/>
                </a:lnTo>
                <a:lnTo>
                  <a:pt x="17727" y="2280"/>
                </a:lnTo>
                <a:lnTo>
                  <a:pt x="8501" y="8499"/>
                </a:lnTo>
                <a:lnTo>
                  <a:pt x="2280" y="17722"/>
                </a:lnTo>
                <a:lnTo>
                  <a:pt x="0" y="29014"/>
                </a:lnTo>
                <a:lnTo>
                  <a:pt x="0" y="66186"/>
                </a:lnTo>
                <a:lnTo>
                  <a:pt x="1916" y="75683"/>
                </a:lnTo>
                <a:lnTo>
                  <a:pt x="7145" y="83438"/>
                </a:lnTo>
                <a:lnTo>
                  <a:pt x="14899" y="88666"/>
                </a:lnTo>
                <a:lnTo>
                  <a:pt x="24397" y="90583"/>
                </a:lnTo>
                <a:lnTo>
                  <a:pt x="306032" y="90583"/>
                </a:lnTo>
                <a:lnTo>
                  <a:pt x="315529" y="88666"/>
                </a:lnTo>
                <a:lnTo>
                  <a:pt x="323284" y="83438"/>
                </a:lnTo>
                <a:lnTo>
                  <a:pt x="328512" y="75683"/>
                </a:lnTo>
                <a:lnTo>
                  <a:pt x="330429" y="66186"/>
                </a:lnTo>
                <a:lnTo>
                  <a:pt x="330429" y="29014"/>
                </a:lnTo>
                <a:lnTo>
                  <a:pt x="328148" y="17722"/>
                </a:lnTo>
                <a:lnTo>
                  <a:pt x="321928" y="8499"/>
                </a:lnTo>
                <a:lnTo>
                  <a:pt x="312702" y="2280"/>
                </a:lnTo>
                <a:lnTo>
                  <a:pt x="301404" y="0"/>
                </a:lnTo>
                <a:close/>
              </a:path>
            </a:pathLst>
          </a:custGeom>
          <a:solidFill>
            <a:srgbClr val="333333"/>
          </a:solidFill>
        </p:spPr>
        <p:txBody>
          <a:bodyPr wrap="square" lIns="0" tIns="0" rIns="0" bIns="0" rtlCol="0"/>
          <a:lstStyle/>
          <a:p>
            <a:endParaRPr/>
          </a:p>
        </p:txBody>
      </p:sp>
      <p:sp>
        <p:nvSpPr>
          <p:cNvPr id="957" name="object 957"/>
          <p:cNvSpPr/>
          <p:nvPr/>
        </p:nvSpPr>
        <p:spPr>
          <a:xfrm>
            <a:off x="2711553" y="4521424"/>
            <a:ext cx="10975" cy="11263"/>
          </a:xfrm>
          <a:custGeom>
            <a:avLst/>
            <a:gdLst/>
            <a:ahLst/>
            <a:cxnLst/>
            <a:rect l="l" t="t" r="r" b="b"/>
            <a:pathLst>
              <a:path w="24129" h="24765">
                <a:moveTo>
                  <a:pt x="0" y="0"/>
                </a:moveTo>
                <a:lnTo>
                  <a:pt x="23549" y="0"/>
                </a:lnTo>
                <a:lnTo>
                  <a:pt x="23549" y="24250"/>
                </a:lnTo>
                <a:lnTo>
                  <a:pt x="0" y="24250"/>
                </a:lnTo>
                <a:lnTo>
                  <a:pt x="0" y="0"/>
                </a:lnTo>
                <a:close/>
              </a:path>
            </a:pathLst>
          </a:custGeom>
          <a:solidFill>
            <a:srgbClr val="707780"/>
          </a:solidFill>
        </p:spPr>
        <p:txBody>
          <a:bodyPr wrap="square" lIns="0" tIns="0" rIns="0" bIns="0" rtlCol="0"/>
          <a:lstStyle/>
          <a:p>
            <a:endParaRPr/>
          </a:p>
        </p:txBody>
      </p:sp>
      <p:sp>
        <p:nvSpPr>
          <p:cNvPr id="958" name="object 958"/>
          <p:cNvSpPr/>
          <p:nvPr/>
        </p:nvSpPr>
        <p:spPr>
          <a:xfrm>
            <a:off x="2570321" y="4521424"/>
            <a:ext cx="10686" cy="11263"/>
          </a:xfrm>
          <a:custGeom>
            <a:avLst/>
            <a:gdLst/>
            <a:ahLst/>
            <a:cxnLst/>
            <a:rect l="l" t="t" r="r" b="b"/>
            <a:pathLst>
              <a:path w="23495" h="24765">
                <a:moveTo>
                  <a:pt x="0" y="0"/>
                </a:moveTo>
                <a:lnTo>
                  <a:pt x="23391" y="0"/>
                </a:lnTo>
                <a:lnTo>
                  <a:pt x="23391" y="24250"/>
                </a:lnTo>
                <a:lnTo>
                  <a:pt x="0" y="24250"/>
                </a:lnTo>
                <a:lnTo>
                  <a:pt x="0" y="0"/>
                </a:lnTo>
                <a:close/>
              </a:path>
            </a:pathLst>
          </a:custGeom>
          <a:solidFill>
            <a:srgbClr val="707780"/>
          </a:solidFill>
        </p:spPr>
        <p:txBody>
          <a:bodyPr wrap="square" lIns="0" tIns="0" rIns="0" bIns="0" rtlCol="0"/>
          <a:lstStyle/>
          <a:p>
            <a:endParaRPr/>
          </a:p>
        </p:txBody>
      </p:sp>
      <p:sp>
        <p:nvSpPr>
          <p:cNvPr id="959" name="object 959"/>
          <p:cNvSpPr/>
          <p:nvPr/>
        </p:nvSpPr>
        <p:spPr>
          <a:xfrm>
            <a:off x="3212976" y="4110711"/>
            <a:ext cx="38991" cy="205047"/>
          </a:xfrm>
          <a:custGeom>
            <a:avLst/>
            <a:gdLst/>
            <a:ahLst/>
            <a:cxnLst/>
            <a:rect l="l" t="t" r="r" b="b"/>
            <a:pathLst>
              <a:path w="85725" h="450850">
                <a:moveTo>
                  <a:pt x="25800" y="0"/>
                </a:moveTo>
                <a:lnTo>
                  <a:pt x="5738" y="0"/>
                </a:lnTo>
                <a:lnTo>
                  <a:pt x="0" y="5738"/>
                </a:lnTo>
                <a:lnTo>
                  <a:pt x="0" y="442499"/>
                </a:lnTo>
                <a:lnTo>
                  <a:pt x="8031" y="450530"/>
                </a:lnTo>
                <a:lnTo>
                  <a:pt x="77337" y="450530"/>
                </a:lnTo>
                <a:lnTo>
                  <a:pt x="85369" y="442499"/>
                </a:lnTo>
                <a:lnTo>
                  <a:pt x="85369" y="59568"/>
                </a:lnTo>
                <a:lnTo>
                  <a:pt x="80687" y="36381"/>
                </a:lnTo>
                <a:lnTo>
                  <a:pt x="67922" y="17447"/>
                </a:lnTo>
                <a:lnTo>
                  <a:pt x="48987" y="4681"/>
                </a:lnTo>
                <a:lnTo>
                  <a:pt x="25800" y="0"/>
                </a:lnTo>
                <a:close/>
              </a:path>
            </a:pathLst>
          </a:custGeom>
          <a:solidFill>
            <a:srgbClr val="333333"/>
          </a:solidFill>
        </p:spPr>
        <p:txBody>
          <a:bodyPr wrap="square" lIns="0" tIns="0" rIns="0" bIns="0" rtlCol="0"/>
          <a:lstStyle/>
          <a:p>
            <a:endParaRPr/>
          </a:p>
        </p:txBody>
      </p:sp>
      <p:sp>
        <p:nvSpPr>
          <p:cNvPr id="960" name="object 960"/>
          <p:cNvSpPr/>
          <p:nvPr/>
        </p:nvSpPr>
        <p:spPr>
          <a:xfrm>
            <a:off x="3207956" y="4155408"/>
            <a:ext cx="0" cy="376882"/>
          </a:xfrm>
          <a:custGeom>
            <a:avLst/>
            <a:gdLst/>
            <a:ahLst/>
            <a:cxnLst/>
            <a:rect l="l" t="t" r="r" b="b"/>
            <a:pathLst>
              <a:path h="828675">
                <a:moveTo>
                  <a:pt x="0" y="0"/>
                </a:moveTo>
                <a:lnTo>
                  <a:pt x="0" y="828372"/>
                </a:lnTo>
              </a:path>
            </a:pathLst>
          </a:custGeom>
          <a:ln w="23549">
            <a:solidFill>
              <a:srgbClr val="888888"/>
            </a:solidFill>
          </a:ln>
        </p:spPr>
        <p:txBody>
          <a:bodyPr wrap="square" lIns="0" tIns="0" rIns="0" bIns="0" rtlCol="0"/>
          <a:lstStyle/>
          <a:p>
            <a:endParaRPr/>
          </a:p>
        </p:txBody>
      </p:sp>
      <p:sp>
        <p:nvSpPr>
          <p:cNvPr id="961" name="object 961"/>
          <p:cNvSpPr/>
          <p:nvPr/>
        </p:nvSpPr>
        <p:spPr>
          <a:xfrm>
            <a:off x="3349276" y="4387235"/>
            <a:ext cx="0" cy="144977"/>
          </a:xfrm>
          <a:custGeom>
            <a:avLst/>
            <a:gdLst/>
            <a:ahLst/>
            <a:cxnLst/>
            <a:rect l="l" t="t" r="r" b="b"/>
            <a:pathLst>
              <a:path h="318770">
                <a:moveTo>
                  <a:pt x="0" y="0"/>
                </a:moveTo>
                <a:lnTo>
                  <a:pt x="0" y="318639"/>
                </a:lnTo>
              </a:path>
            </a:pathLst>
          </a:custGeom>
          <a:ln w="23643">
            <a:solidFill>
              <a:srgbClr val="888888"/>
            </a:solidFill>
          </a:ln>
        </p:spPr>
        <p:txBody>
          <a:bodyPr wrap="square" lIns="0" tIns="0" rIns="0" bIns="0" rtlCol="0"/>
          <a:lstStyle/>
          <a:p>
            <a:endParaRPr/>
          </a:p>
        </p:txBody>
      </p:sp>
      <p:sp>
        <p:nvSpPr>
          <p:cNvPr id="962" name="object 962"/>
          <p:cNvSpPr/>
          <p:nvPr/>
        </p:nvSpPr>
        <p:spPr>
          <a:xfrm>
            <a:off x="3212975" y="4359586"/>
            <a:ext cx="150475" cy="41298"/>
          </a:xfrm>
          <a:custGeom>
            <a:avLst/>
            <a:gdLst/>
            <a:ahLst/>
            <a:cxnLst/>
            <a:rect l="l" t="t" r="r" b="b"/>
            <a:pathLst>
              <a:path w="330834" h="90804">
                <a:moveTo>
                  <a:pt x="301414" y="0"/>
                </a:moveTo>
                <a:lnTo>
                  <a:pt x="29025" y="0"/>
                </a:lnTo>
                <a:lnTo>
                  <a:pt x="17727" y="2280"/>
                </a:lnTo>
                <a:lnTo>
                  <a:pt x="8501" y="8499"/>
                </a:lnTo>
                <a:lnTo>
                  <a:pt x="2280" y="17722"/>
                </a:lnTo>
                <a:lnTo>
                  <a:pt x="0" y="29014"/>
                </a:lnTo>
                <a:lnTo>
                  <a:pt x="0" y="66196"/>
                </a:lnTo>
                <a:lnTo>
                  <a:pt x="1916" y="75689"/>
                </a:lnTo>
                <a:lnTo>
                  <a:pt x="7145" y="83445"/>
                </a:lnTo>
                <a:lnTo>
                  <a:pt x="14899" y="88675"/>
                </a:lnTo>
                <a:lnTo>
                  <a:pt x="24397" y="90594"/>
                </a:lnTo>
                <a:lnTo>
                  <a:pt x="306032" y="90594"/>
                </a:lnTo>
                <a:lnTo>
                  <a:pt x="315529" y="88675"/>
                </a:lnTo>
                <a:lnTo>
                  <a:pt x="323284" y="83445"/>
                </a:lnTo>
                <a:lnTo>
                  <a:pt x="328512" y="75689"/>
                </a:lnTo>
                <a:lnTo>
                  <a:pt x="330429" y="66196"/>
                </a:lnTo>
                <a:lnTo>
                  <a:pt x="330429" y="29014"/>
                </a:lnTo>
                <a:lnTo>
                  <a:pt x="328149" y="17722"/>
                </a:lnTo>
                <a:lnTo>
                  <a:pt x="321929" y="8499"/>
                </a:lnTo>
                <a:lnTo>
                  <a:pt x="312707" y="2280"/>
                </a:lnTo>
                <a:lnTo>
                  <a:pt x="301414" y="0"/>
                </a:lnTo>
                <a:close/>
              </a:path>
            </a:pathLst>
          </a:custGeom>
          <a:solidFill>
            <a:srgbClr val="333333"/>
          </a:solidFill>
        </p:spPr>
        <p:txBody>
          <a:bodyPr wrap="square" lIns="0" tIns="0" rIns="0" bIns="0" rtlCol="0"/>
          <a:lstStyle/>
          <a:p>
            <a:endParaRPr/>
          </a:p>
        </p:txBody>
      </p:sp>
      <p:sp>
        <p:nvSpPr>
          <p:cNvPr id="963" name="object 963"/>
          <p:cNvSpPr/>
          <p:nvPr/>
        </p:nvSpPr>
        <p:spPr>
          <a:xfrm>
            <a:off x="3343903" y="4521114"/>
            <a:ext cx="10975" cy="11263"/>
          </a:xfrm>
          <a:custGeom>
            <a:avLst/>
            <a:gdLst/>
            <a:ahLst/>
            <a:cxnLst/>
            <a:rect l="l" t="t" r="r" b="b"/>
            <a:pathLst>
              <a:path w="24129" h="24765">
                <a:moveTo>
                  <a:pt x="0" y="0"/>
                </a:moveTo>
                <a:lnTo>
                  <a:pt x="23549" y="0"/>
                </a:lnTo>
                <a:lnTo>
                  <a:pt x="23549" y="24261"/>
                </a:lnTo>
                <a:lnTo>
                  <a:pt x="0" y="24261"/>
                </a:lnTo>
                <a:lnTo>
                  <a:pt x="0" y="0"/>
                </a:lnTo>
                <a:close/>
              </a:path>
            </a:pathLst>
          </a:custGeom>
          <a:solidFill>
            <a:srgbClr val="707780"/>
          </a:solidFill>
        </p:spPr>
        <p:txBody>
          <a:bodyPr wrap="square" lIns="0" tIns="0" rIns="0" bIns="0" rtlCol="0"/>
          <a:lstStyle/>
          <a:p>
            <a:endParaRPr/>
          </a:p>
        </p:txBody>
      </p:sp>
      <p:sp>
        <p:nvSpPr>
          <p:cNvPr id="964" name="object 964"/>
          <p:cNvSpPr/>
          <p:nvPr/>
        </p:nvSpPr>
        <p:spPr>
          <a:xfrm>
            <a:off x="3202672" y="4521114"/>
            <a:ext cx="10686" cy="11263"/>
          </a:xfrm>
          <a:custGeom>
            <a:avLst/>
            <a:gdLst/>
            <a:ahLst/>
            <a:cxnLst/>
            <a:rect l="l" t="t" r="r" b="b"/>
            <a:pathLst>
              <a:path w="23495" h="24765">
                <a:moveTo>
                  <a:pt x="0" y="0"/>
                </a:moveTo>
                <a:lnTo>
                  <a:pt x="23391" y="0"/>
                </a:lnTo>
                <a:lnTo>
                  <a:pt x="23391" y="24261"/>
                </a:lnTo>
                <a:lnTo>
                  <a:pt x="0" y="24261"/>
                </a:lnTo>
                <a:lnTo>
                  <a:pt x="0" y="0"/>
                </a:lnTo>
                <a:close/>
              </a:path>
            </a:pathLst>
          </a:custGeom>
          <a:solidFill>
            <a:srgbClr val="707780"/>
          </a:solidFill>
        </p:spPr>
        <p:txBody>
          <a:bodyPr wrap="square" lIns="0" tIns="0" rIns="0" bIns="0" rtlCol="0"/>
          <a:lstStyle/>
          <a:p>
            <a:endParaRPr/>
          </a:p>
        </p:txBody>
      </p:sp>
      <p:sp>
        <p:nvSpPr>
          <p:cNvPr id="965" name="object 965"/>
          <p:cNvSpPr txBox="1"/>
          <p:nvPr/>
        </p:nvSpPr>
        <p:spPr>
          <a:xfrm>
            <a:off x="1773179" y="4564712"/>
            <a:ext cx="3007180" cy="226726"/>
          </a:xfrm>
          <a:prstGeom prst="rect">
            <a:avLst/>
          </a:prstGeom>
          <a:solidFill>
            <a:srgbClr val="1D1D1B"/>
          </a:solidFill>
        </p:spPr>
        <p:txBody>
          <a:bodyPr vert="horz" wrap="square" lIns="0" tIns="56893" rIns="0" bIns="0" rtlCol="0">
            <a:spAutoFit/>
          </a:bodyPr>
          <a:lstStyle/>
          <a:p>
            <a:pPr marL="110321">
              <a:spcBef>
                <a:spcPts val="448"/>
              </a:spcBef>
            </a:pPr>
            <a:r>
              <a:rPr sz="1100" b="1" spc="-11" dirty="0">
                <a:solidFill>
                  <a:srgbClr val="FFFFFF"/>
                </a:solidFill>
                <a:latin typeface="Helvetica Neue"/>
                <a:cs typeface="Helvetica Neue"/>
              </a:rPr>
              <a:t>Votre </a:t>
            </a:r>
            <a:r>
              <a:rPr sz="1100" b="1" spc="5" dirty="0">
                <a:solidFill>
                  <a:srgbClr val="FFFFFF"/>
                </a:solidFill>
                <a:latin typeface="Helvetica Neue"/>
                <a:cs typeface="Helvetica Neue"/>
              </a:rPr>
              <a:t>conseiller</a:t>
            </a:r>
            <a:r>
              <a:rPr sz="1100" b="1" spc="14" dirty="0">
                <a:solidFill>
                  <a:srgbClr val="FFFFFF"/>
                </a:solidFill>
                <a:latin typeface="Helvetica Neue"/>
                <a:cs typeface="Helvetica Neue"/>
              </a:rPr>
              <a:t> </a:t>
            </a:r>
            <a:r>
              <a:rPr sz="1100" b="1" spc="2" dirty="0">
                <a:solidFill>
                  <a:srgbClr val="FFFFFF"/>
                </a:solidFill>
                <a:latin typeface="Helvetica Neue"/>
                <a:cs typeface="Helvetica Neue"/>
              </a:rPr>
              <a:t>bancaire</a:t>
            </a:r>
            <a:endParaRPr sz="1100">
              <a:latin typeface="Helvetica Neue"/>
              <a:cs typeface="Helvetica Neue"/>
            </a:endParaRPr>
          </a:p>
        </p:txBody>
      </p:sp>
      <p:sp>
        <p:nvSpPr>
          <p:cNvPr id="966" name="object 966"/>
          <p:cNvSpPr/>
          <p:nvPr/>
        </p:nvSpPr>
        <p:spPr>
          <a:xfrm>
            <a:off x="3614213" y="3786380"/>
            <a:ext cx="161738" cy="110609"/>
          </a:xfrm>
          <a:custGeom>
            <a:avLst/>
            <a:gdLst/>
            <a:ahLst/>
            <a:cxnLst/>
            <a:rect l="l" t="t" r="r" b="b"/>
            <a:pathLst>
              <a:path w="355600" h="243204">
                <a:moveTo>
                  <a:pt x="349151" y="0"/>
                </a:moveTo>
                <a:lnTo>
                  <a:pt x="341476" y="0"/>
                </a:lnTo>
                <a:lnTo>
                  <a:pt x="0" y="228935"/>
                </a:lnTo>
                <a:lnTo>
                  <a:pt x="0" y="236715"/>
                </a:lnTo>
                <a:lnTo>
                  <a:pt x="6219" y="243039"/>
                </a:lnTo>
                <a:lnTo>
                  <a:pt x="349151" y="243039"/>
                </a:lnTo>
                <a:lnTo>
                  <a:pt x="355371" y="236715"/>
                </a:lnTo>
                <a:lnTo>
                  <a:pt x="355371" y="6313"/>
                </a:lnTo>
                <a:lnTo>
                  <a:pt x="349151" y="0"/>
                </a:lnTo>
                <a:close/>
              </a:path>
            </a:pathLst>
          </a:custGeom>
          <a:solidFill>
            <a:srgbClr val="211E1F">
              <a:alpha val="16000"/>
            </a:srgbClr>
          </a:solidFill>
        </p:spPr>
        <p:txBody>
          <a:bodyPr wrap="square" lIns="0" tIns="0" rIns="0" bIns="0" rtlCol="0"/>
          <a:lstStyle/>
          <a:p>
            <a:endParaRPr/>
          </a:p>
        </p:txBody>
      </p:sp>
      <p:sp>
        <p:nvSpPr>
          <p:cNvPr id="967" name="object 967"/>
          <p:cNvSpPr/>
          <p:nvPr/>
        </p:nvSpPr>
        <p:spPr>
          <a:xfrm>
            <a:off x="3678594" y="3847141"/>
            <a:ext cx="32833" cy="71561"/>
          </a:xfrm>
          <a:prstGeom prst="rect">
            <a:avLst/>
          </a:prstGeom>
          <a:blipFill>
            <a:blip r:embed="rId42" cstate="print"/>
            <a:stretch>
              <a:fillRect/>
            </a:stretch>
          </a:blipFill>
        </p:spPr>
        <p:txBody>
          <a:bodyPr wrap="square" lIns="0" tIns="0" rIns="0" bIns="0" rtlCol="0"/>
          <a:lstStyle/>
          <a:p>
            <a:endParaRPr/>
          </a:p>
        </p:txBody>
      </p:sp>
      <p:sp>
        <p:nvSpPr>
          <p:cNvPr id="968" name="object 968"/>
          <p:cNvSpPr/>
          <p:nvPr/>
        </p:nvSpPr>
        <p:spPr>
          <a:xfrm>
            <a:off x="3830312" y="3760294"/>
            <a:ext cx="42745" cy="0"/>
          </a:xfrm>
          <a:custGeom>
            <a:avLst/>
            <a:gdLst/>
            <a:ahLst/>
            <a:cxnLst/>
            <a:rect l="l" t="t" r="r" b="b"/>
            <a:pathLst>
              <a:path w="93979">
                <a:moveTo>
                  <a:pt x="0" y="0"/>
                </a:moveTo>
                <a:lnTo>
                  <a:pt x="93683" y="0"/>
                </a:lnTo>
              </a:path>
            </a:pathLst>
          </a:custGeom>
          <a:ln w="59589">
            <a:solidFill>
              <a:srgbClr val="788080"/>
            </a:solidFill>
          </a:ln>
        </p:spPr>
        <p:txBody>
          <a:bodyPr wrap="square" lIns="0" tIns="0" rIns="0" bIns="0" rtlCol="0"/>
          <a:lstStyle/>
          <a:p>
            <a:endParaRPr/>
          </a:p>
        </p:txBody>
      </p:sp>
      <p:sp>
        <p:nvSpPr>
          <p:cNvPr id="969" name="object 969"/>
          <p:cNvSpPr/>
          <p:nvPr/>
        </p:nvSpPr>
        <p:spPr>
          <a:xfrm>
            <a:off x="3893729" y="3838772"/>
            <a:ext cx="0" cy="45919"/>
          </a:xfrm>
          <a:custGeom>
            <a:avLst/>
            <a:gdLst/>
            <a:ahLst/>
            <a:cxnLst/>
            <a:rect l="l" t="t" r="r" b="b"/>
            <a:pathLst>
              <a:path h="100965">
                <a:moveTo>
                  <a:pt x="0" y="0"/>
                </a:moveTo>
                <a:lnTo>
                  <a:pt x="0" y="100792"/>
                </a:lnTo>
              </a:path>
            </a:pathLst>
          </a:custGeom>
          <a:ln w="47705">
            <a:solidFill>
              <a:srgbClr val="808080"/>
            </a:solidFill>
          </a:ln>
        </p:spPr>
        <p:txBody>
          <a:bodyPr wrap="square" lIns="0" tIns="0" rIns="0" bIns="0" rtlCol="0"/>
          <a:lstStyle/>
          <a:p>
            <a:endParaRPr/>
          </a:p>
        </p:txBody>
      </p:sp>
      <p:sp>
        <p:nvSpPr>
          <p:cNvPr id="970" name="object 970"/>
          <p:cNvSpPr/>
          <p:nvPr/>
        </p:nvSpPr>
        <p:spPr>
          <a:xfrm>
            <a:off x="3736821" y="3838772"/>
            <a:ext cx="0" cy="45919"/>
          </a:xfrm>
          <a:custGeom>
            <a:avLst/>
            <a:gdLst/>
            <a:ahLst/>
            <a:cxnLst/>
            <a:rect l="l" t="t" r="r" b="b"/>
            <a:pathLst>
              <a:path h="100965">
                <a:moveTo>
                  <a:pt x="0" y="0"/>
                </a:moveTo>
                <a:lnTo>
                  <a:pt x="0" y="100792"/>
                </a:lnTo>
              </a:path>
            </a:pathLst>
          </a:custGeom>
          <a:ln w="47715">
            <a:solidFill>
              <a:srgbClr val="808080"/>
            </a:solidFill>
          </a:ln>
        </p:spPr>
        <p:txBody>
          <a:bodyPr wrap="square" lIns="0" tIns="0" rIns="0" bIns="0" rtlCol="0"/>
          <a:lstStyle/>
          <a:p>
            <a:endParaRPr/>
          </a:p>
        </p:txBody>
      </p:sp>
      <p:sp>
        <p:nvSpPr>
          <p:cNvPr id="971" name="object 971"/>
          <p:cNvSpPr/>
          <p:nvPr/>
        </p:nvSpPr>
        <p:spPr>
          <a:xfrm>
            <a:off x="3787552" y="4104810"/>
            <a:ext cx="0" cy="131692"/>
          </a:xfrm>
          <a:custGeom>
            <a:avLst/>
            <a:gdLst/>
            <a:ahLst/>
            <a:cxnLst/>
            <a:rect l="l" t="t" r="r" b="b"/>
            <a:pathLst>
              <a:path h="289559">
                <a:moveTo>
                  <a:pt x="0" y="0"/>
                </a:moveTo>
                <a:lnTo>
                  <a:pt x="0" y="289017"/>
                </a:lnTo>
              </a:path>
            </a:pathLst>
          </a:custGeom>
          <a:ln w="40637">
            <a:solidFill>
              <a:srgbClr val="96999C"/>
            </a:solidFill>
          </a:ln>
        </p:spPr>
        <p:txBody>
          <a:bodyPr wrap="square" lIns="0" tIns="0" rIns="0" bIns="0" rtlCol="0"/>
          <a:lstStyle/>
          <a:p>
            <a:endParaRPr/>
          </a:p>
        </p:txBody>
      </p:sp>
      <p:sp>
        <p:nvSpPr>
          <p:cNvPr id="972" name="object 972"/>
          <p:cNvSpPr/>
          <p:nvPr/>
        </p:nvSpPr>
        <p:spPr>
          <a:xfrm>
            <a:off x="3650662" y="4504054"/>
            <a:ext cx="125925" cy="60936"/>
          </a:xfrm>
          <a:custGeom>
            <a:avLst/>
            <a:gdLst/>
            <a:ahLst/>
            <a:cxnLst/>
            <a:rect l="l" t="t" r="r" b="b"/>
            <a:pathLst>
              <a:path w="276859" h="133984">
                <a:moveTo>
                  <a:pt x="276358" y="0"/>
                </a:moveTo>
                <a:lnTo>
                  <a:pt x="0" y="0"/>
                </a:lnTo>
                <a:lnTo>
                  <a:pt x="11036" y="133378"/>
                </a:lnTo>
                <a:lnTo>
                  <a:pt x="276358" y="133378"/>
                </a:lnTo>
                <a:lnTo>
                  <a:pt x="276358" y="0"/>
                </a:lnTo>
                <a:close/>
              </a:path>
            </a:pathLst>
          </a:custGeom>
          <a:solidFill>
            <a:srgbClr val="333333"/>
          </a:solidFill>
        </p:spPr>
        <p:txBody>
          <a:bodyPr wrap="square" lIns="0" tIns="0" rIns="0" bIns="0" rtlCol="0"/>
          <a:lstStyle/>
          <a:p>
            <a:endParaRPr/>
          </a:p>
        </p:txBody>
      </p:sp>
      <p:sp>
        <p:nvSpPr>
          <p:cNvPr id="973" name="object 973"/>
          <p:cNvSpPr/>
          <p:nvPr/>
        </p:nvSpPr>
        <p:spPr>
          <a:xfrm>
            <a:off x="3813079" y="4504054"/>
            <a:ext cx="125925" cy="60936"/>
          </a:xfrm>
          <a:custGeom>
            <a:avLst/>
            <a:gdLst/>
            <a:ahLst/>
            <a:cxnLst/>
            <a:rect l="l" t="t" r="r" b="b"/>
            <a:pathLst>
              <a:path w="276859" h="133984">
                <a:moveTo>
                  <a:pt x="276358" y="0"/>
                </a:moveTo>
                <a:lnTo>
                  <a:pt x="0" y="0"/>
                </a:lnTo>
                <a:lnTo>
                  <a:pt x="0" y="133378"/>
                </a:lnTo>
                <a:lnTo>
                  <a:pt x="265321" y="133378"/>
                </a:lnTo>
                <a:lnTo>
                  <a:pt x="276358" y="0"/>
                </a:lnTo>
                <a:close/>
              </a:path>
            </a:pathLst>
          </a:custGeom>
          <a:solidFill>
            <a:srgbClr val="333333"/>
          </a:solidFill>
        </p:spPr>
        <p:txBody>
          <a:bodyPr wrap="square" lIns="0" tIns="0" rIns="0" bIns="0" rtlCol="0"/>
          <a:lstStyle/>
          <a:p>
            <a:endParaRPr/>
          </a:p>
        </p:txBody>
      </p:sp>
      <p:sp>
        <p:nvSpPr>
          <p:cNvPr id="974" name="object 974"/>
          <p:cNvSpPr/>
          <p:nvPr/>
        </p:nvSpPr>
        <p:spPr>
          <a:xfrm>
            <a:off x="3692228" y="4504052"/>
            <a:ext cx="196108" cy="60936"/>
          </a:xfrm>
          <a:custGeom>
            <a:avLst/>
            <a:gdLst/>
            <a:ahLst/>
            <a:cxnLst/>
            <a:rect l="l" t="t" r="r" b="b"/>
            <a:pathLst>
              <a:path w="431165" h="133984">
                <a:moveTo>
                  <a:pt x="430761" y="0"/>
                </a:moveTo>
                <a:lnTo>
                  <a:pt x="0" y="0"/>
                </a:lnTo>
                <a:lnTo>
                  <a:pt x="0" y="133378"/>
                </a:lnTo>
                <a:lnTo>
                  <a:pt x="430761" y="133378"/>
                </a:lnTo>
                <a:lnTo>
                  <a:pt x="430761" y="0"/>
                </a:lnTo>
                <a:close/>
              </a:path>
            </a:pathLst>
          </a:custGeom>
          <a:solidFill>
            <a:srgbClr val="333333"/>
          </a:solidFill>
        </p:spPr>
        <p:txBody>
          <a:bodyPr wrap="square" lIns="0" tIns="0" rIns="0" bIns="0" rtlCol="0"/>
          <a:lstStyle/>
          <a:p>
            <a:endParaRPr/>
          </a:p>
        </p:txBody>
      </p:sp>
      <p:sp>
        <p:nvSpPr>
          <p:cNvPr id="975" name="object 975"/>
          <p:cNvSpPr/>
          <p:nvPr/>
        </p:nvSpPr>
        <p:spPr>
          <a:xfrm>
            <a:off x="3609116" y="3819514"/>
            <a:ext cx="362179" cy="708134"/>
          </a:xfrm>
          <a:custGeom>
            <a:avLst/>
            <a:gdLst/>
            <a:ahLst/>
            <a:cxnLst/>
            <a:rect l="l" t="t" r="r" b="b"/>
            <a:pathLst>
              <a:path w="796290" h="1557020">
                <a:moveTo>
                  <a:pt x="583898" y="0"/>
                </a:moveTo>
                <a:lnTo>
                  <a:pt x="212339" y="0"/>
                </a:lnTo>
                <a:lnTo>
                  <a:pt x="163650" y="5607"/>
                </a:lnTo>
                <a:lnTo>
                  <a:pt x="118956" y="21581"/>
                </a:lnTo>
                <a:lnTo>
                  <a:pt x="79530" y="46647"/>
                </a:lnTo>
                <a:lnTo>
                  <a:pt x="46647" y="79530"/>
                </a:lnTo>
                <a:lnTo>
                  <a:pt x="21581" y="118956"/>
                </a:lnTo>
                <a:lnTo>
                  <a:pt x="5607" y="163650"/>
                </a:lnTo>
                <a:lnTo>
                  <a:pt x="0" y="212339"/>
                </a:lnTo>
                <a:lnTo>
                  <a:pt x="38731" y="1556779"/>
                </a:lnTo>
                <a:lnTo>
                  <a:pt x="770405" y="1556779"/>
                </a:lnTo>
                <a:lnTo>
                  <a:pt x="796227" y="212339"/>
                </a:lnTo>
                <a:lnTo>
                  <a:pt x="790619" y="163650"/>
                </a:lnTo>
                <a:lnTo>
                  <a:pt x="774645" y="118956"/>
                </a:lnTo>
                <a:lnTo>
                  <a:pt x="749580" y="79530"/>
                </a:lnTo>
                <a:lnTo>
                  <a:pt x="716698" y="46647"/>
                </a:lnTo>
                <a:lnTo>
                  <a:pt x="677274" y="21581"/>
                </a:lnTo>
                <a:lnTo>
                  <a:pt x="632582" y="5607"/>
                </a:lnTo>
                <a:lnTo>
                  <a:pt x="583898" y="0"/>
                </a:lnTo>
                <a:close/>
              </a:path>
            </a:pathLst>
          </a:custGeom>
          <a:solidFill>
            <a:srgbClr val="000000"/>
          </a:solidFill>
        </p:spPr>
        <p:txBody>
          <a:bodyPr wrap="square" lIns="0" tIns="0" rIns="0" bIns="0" rtlCol="0"/>
          <a:lstStyle/>
          <a:p>
            <a:endParaRPr/>
          </a:p>
        </p:txBody>
      </p:sp>
      <p:sp>
        <p:nvSpPr>
          <p:cNvPr id="976" name="object 976"/>
          <p:cNvSpPr/>
          <p:nvPr/>
        </p:nvSpPr>
        <p:spPr>
          <a:xfrm>
            <a:off x="3799212" y="3819514"/>
            <a:ext cx="97043" cy="436663"/>
          </a:xfrm>
          <a:custGeom>
            <a:avLst/>
            <a:gdLst/>
            <a:ahLst/>
            <a:cxnLst/>
            <a:rect l="l" t="t" r="r" b="b"/>
            <a:pathLst>
              <a:path w="213359" h="960120">
                <a:moveTo>
                  <a:pt x="105588" y="0"/>
                </a:moveTo>
                <a:lnTo>
                  <a:pt x="0" y="959907"/>
                </a:lnTo>
                <a:lnTo>
                  <a:pt x="213187" y="291006"/>
                </a:lnTo>
                <a:lnTo>
                  <a:pt x="134425" y="226453"/>
                </a:lnTo>
                <a:lnTo>
                  <a:pt x="191146" y="150026"/>
                </a:lnTo>
                <a:lnTo>
                  <a:pt x="105588" y="0"/>
                </a:lnTo>
                <a:close/>
              </a:path>
            </a:pathLst>
          </a:custGeom>
          <a:solidFill>
            <a:srgbClr val="333333"/>
          </a:solidFill>
        </p:spPr>
        <p:txBody>
          <a:bodyPr wrap="square" lIns="0" tIns="0" rIns="0" bIns="0" rtlCol="0"/>
          <a:lstStyle/>
          <a:p>
            <a:endParaRPr/>
          </a:p>
        </p:txBody>
      </p:sp>
      <p:sp>
        <p:nvSpPr>
          <p:cNvPr id="977" name="object 977"/>
          <p:cNvSpPr/>
          <p:nvPr/>
        </p:nvSpPr>
        <p:spPr>
          <a:xfrm>
            <a:off x="3689008" y="3819514"/>
            <a:ext cx="110329" cy="436663"/>
          </a:xfrm>
          <a:custGeom>
            <a:avLst/>
            <a:gdLst/>
            <a:ahLst/>
            <a:cxnLst/>
            <a:rect l="l" t="t" r="r" b="b"/>
            <a:pathLst>
              <a:path w="242570" h="960120">
                <a:moveTo>
                  <a:pt x="107598" y="0"/>
                </a:moveTo>
                <a:lnTo>
                  <a:pt x="22041" y="150026"/>
                </a:lnTo>
                <a:lnTo>
                  <a:pt x="78761" y="226453"/>
                </a:lnTo>
                <a:lnTo>
                  <a:pt x="0" y="291006"/>
                </a:lnTo>
                <a:lnTo>
                  <a:pt x="242296" y="959907"/>
                </a:lnTo>
                <a:lnTo>
                  <a:pt x="107598" y="0"/>
                </a:lnTo>
                <a:close/>
              </a:path>
            </a:pathLst>
          </a:custGeom>
          <a:solidFill>
            <a:srgbClr val="333333"/>
          </a:solidFill>
        </p:spPr>
        <p:txBody>
          <a:bodyPr wrap="square" lIns="0" tIns="0" rIns="0" bIns="0" rtlCol="0"/>
          <a:lstStyle/>
          <a:p>
            <a:endParaRPr/>
          </a:p>
        </p:txBody>
      </p:sp>
      <p:sp>
        <p:nvSpPr>
          <p:cNvPr id="978" name="object 978"/>
          <p:cNvSpPr/>
          <p:nvPr/>
        </p:nvSpPr>
        <p:spPr>
          <a:xfrm>
            <a:off x="3731598" y="3819515"/>
            <a:ext cx="115816" cy="436663"/>
          </a:xfrm>
          <a:custGeom>
            <a:avLst/>
            <a:gdLst/>
            <a:ahLst/>
            <a:cxnLst/>
            <a:rect l="l" t="t" r="r" b="b"/>
            <a:pathLst>
              <a:path w="254634" h="960120">
                <a:moveTo>
                  <a:pt x="254254" y="0"/>
                </a:moveTo>
                <a:lnTo>
                  <a:pt x="0" y="0"/>
                </a:lnTo>
                <a:lnTo>
                  <a:pt x="148655" y="959907"/>
                </a:lnTo>
                <a:lnTo>
                  <a:pt x="254254" y="0"/>
                </a:lnTo>
                <a:close/>
              </a:path>
            </a:pathLst>
          </a:custGeom>
          <a:solidFill>
            <a:srgbClr val="E3DDE1"/>
          </a:solidFill>
        </p:spPr>
        <p:txBody>
          <a:bodyPr wrap="square" lIns="0" tIns="0" rIns="0" bIns="0" rtlCol="0"/>
          <a:lstStyle/>
          <a:p>
            <a:endParaRPr/>
          </a:p>
        </p:txBody>
      </p:sp>
      <p:sp>
        <p:nvSpPr>
          <p:cNvPr id="979" name="object 979"/>
          <p:cNvSpPr/>
          <p:nvPr/>
        </p:nvSpPr>
        <p:spPr>
          <a:xfrm>
            <a:off x="3751486" y="3765339"/>
            <a:ext cx="77409" cy="93329"/>
          </a:xfrm>
          <a:prstGeom prst="rect">
            <a:avLst/>
          </a:prstGeom>
          <a:blipFill>
            <a:blip r:embed="rId43" cstate="print"/>
            <a:stretch>
              <a:fillRect/>
            </a:stretch>
          </a:blipFill>
        </p:spPr>
        <p:txBody>
          <a:bodyPr wrap="square" lIns="0" tIns="0" rIns="0" bIns="0" rtlCol="0"/>
          <a:lstStyle/>
          <a:p>
            <a:endParaRPr/>
          </a:p>
        </p:txBody>
      </p:sp>
      <p:sp>
        <p:nvSpPr>
          <p:cNvPr id="980" name="object 980"/>
          <p:cNvSpPr/>
          <p:nvPr/>
        </p:nvSpPr>
        <p:spPr>
          <a:xfrm>
            <a:off x="3884942" y="3842744"/>
            <a:ext cx="687966" cy="201870"/>
          </a:xfrm>
          <a:custGeom>
            <a:avLst/>
            <a:gdLst/>
            <a:ahLst/>
            <a:cxnLst/>
            <a:rect l="l" t="t" r="r" b="b"/>
            <a:pathLst>
              <a:path w="1512570" h="443865">
                <a:moveTo>
                  <a:pt x="102420" y="0"/>
                </a:moveTo>
                <a:lnTo>
                  <a:pt x="29124" y="76166"/>
                </a:lnTo>
                <a:lnTo>
                  <a:pt x="0" y="123336"/>
                </a:lnTo>
                <a:lnTo>
                  <a:pt x="10824" y="161114"/>
                </a:lnTo>
                <a:lnTo>
                  <a:pt x="57375" y="209103"/>
                </a:lnTo>
                <a:lnTo>
                  <a:pt x="108008" y="252030"/>
                </a:lnTo>
                <a:lnTo>
                  <a:pt x="171039" y="294693"/>
                </a:lnTo>
                <a:lnTo>
                  <a:pt x="207582" y="315334"/>
                </a:lnTo>
                <a:lnTo>
                  <a:pt x="247680" y="335201"/>
                </a:lnTo>
                <a:lnTo>
                  <a:pt x="291483" y="354055"/>
                </a:lnTo>
                <a:lnTo>
                  <a:pt x="339143" y="371663"/>
                </a:lnTo>
                <a:lnTo>
                  <a:pt x="390813" y="387786"/>
                </a:lnTo>
                <a:lnTo>
                  <a:pt x="446643" y="402189"/>
                </a:lnTo>
                <a:lnTo>
                  <a:pt x="506785" y="414635"/>
                </a:lnTo>
                <a:lnTo>
                  <a:pt x="571391" y="424888"/>
                </a:lnTo>
                <a:lnTo>
                  <a:pt x="640612" y="432712"/>
                </a:lnTo>
                <a:lnTo>
                  <a:pt x="714601" y="437871"/>
                </a:lnTo>
                <a:lnTo>
                  <a:pt x="783183" y="440740"/>
                </a:lnTo>
                <a:lnTo>
                  <a:pt x="849127" y="442535"/>
                </a:lnTo>
                <a:lnTo>
                  <a:pt x="912379" y="443348"/>
                </a:lnTo>
                <a:lnTo>
                  <a:pt x="972886" y="443271"/>
                </a:lnTo>
                <a:lnTo>
                  <a:pt x="1030592" y="442396"/>
                </a:lnTo>
                <a:lnTo>
                  <a:pt x="1085445" y="440813"/>
                </a:lnTo>
                <a:lnTo>
                  <a:pt x="1137391" y="438614"/>
                </a:lnTo>
                <a:lnTo>
                  <a:pt x="1186376" y="435891"/>
                </a:lnTo>
                <a:lnTo>
                  <a:pt x="1232346" y="432736"/>
                </a:lnTo>
                <a:lnTo>
                  <a:pt x="1275247" y="429239"/>
                </a:lnTo>
                <a:lnTo>
                  <a:pt x="1315025" y="425494"/>
                </a:lnTo>
                <a:lnTo>
                  <a:pt x="1384999" y="417620"/>
                </a:lnTo>
                <a:lnTo>
                  <a:pt x="1430304" y="411532"/>
                </a:lnTo>
                <a:lnTo>
                  <a:pt x="1475678" y="397634"/>
                </a:lnTo>
                <a:lnTo>
                  <a:pt x="1512209" y="344385"/>
                </a:lnTo>
                <a:lnTo>
                  <a:pt x="1511854" y="310147"/>
                </a:lnTo>
                <a:lnTo>
                  <a:pt x="1499458" y="281467"/>
                </a:lnTo>
                <a:lnTo>
                  <a:pt x="1496404" y="278404"/>
                </a:lnTo>
                <a:lnTo>
                  <a:pt x="910780" y="278404"/>
                </a:lnTo>
                <a:lnTo>
                  <a:pt x="850557" y="277640"/>
                </a:lnTo>
                <a:lnTo>
                  <a:pt x="787824" y="275944"/>
                </a:lnTo>
                <a:lnTo>
                  <a:pt x="722642" y="273227"/>
                </a:lnTo>
                <a:lnTo>
                  <a:pt x="629471" y="265960"/>
                </a:lnTo>
                <a:lnTo>
                  <a:pt x="545821" y="254227"/>
                </a:lnTo>
                <a:lnTo>
                  <a:pt x="471207" y="238705"/>
                </a:lnTo>
                <a:lnTo>
                  <a:pt x="405142" y="220070"/>
                </a:lnTo>
                <a:lnTo>
                  <a:pt x="347142" y="198999"/>
                </a:lnTo>
                <a:lnTo>
                  <a:pt x="296719" y="176170"/>
                </a:lnTo>
                <a:lnTo>
                  <a:pt x="253389" y="152257"/>
                </a:lnTo>
                <a:lnTo>
                  <a:pt x="216666" y="127939"/>
                </a:lnTo>
                <a:lnTo>
                  <a:pt x="186063" y="103892"/>
                </a:lnTo>
                <a:lnTo>
                  <a:pt x="141277" y="59319"/>
                </a:lnTo>
                <a:lnTo>
                  <a:pt x="115145" y="23950"/>
                </a:lnTo>
                <a:lnTo>
                  <a:pt x="103780" y="3200"/>
                </a:lnTo>
                <a:lnTo>
                  <a:pt x="102420" y="0"/>
                </a:lnTo>
                <a:close/>
              </a:path>
              <a:path w="1512570" h="443865">
                <a:moveTo>
                  <a:pt x="1419281" y="246390"/>
                </a:moveTo>
                <a:lnTo>
                  <a:pt x="1361136" y="254233"/>
                </a:lnTo>
                <a:lnTo>
                  <a:pt x="1294658" y="261568"/>
                </a:lnTo>
                <a:lnTo>
                  <a:pt x="1215882" y="268361"/>
                </a:lnTo>
                <a:lnTo>
                  <a:pt x="1172039" y="271333"/>
                </a:lnTo>
                <a:lnTo>
                  <a:pt x="1125310" y="273903"/>
                </a:lnTo>
                <a:lnTo>
                  <a:pt x="1075757" y="275985"/>
                </a:lnTo>
                <a:lnTo>
                  <a:pt x="1023442" y="277487"/>
                </a:lnTo>
                <a:lnTo>
                  <a:pt x="968429" y="278323"/>
                </a:lnTo>
                <a:lnTo>
                  <a:pt x="910780" y="278404"/>
                </a:lnTo>
                <a:lnTo>
                  <a:pt x="1496404" y="278404"/>
                </a:lnTo>
                <a:lnTo>
                  <a:pt x="1478105" y="260049"/>
                </a:lnTo>
                <a:lnTo>
                  <a:pt x="1450483" y="247741"/>
                </a:lnTo>
                <a:lnTo>
                  <a:pt x="1419281" y="246390"/>
                </a:lnTo>
                <a:close/>
              </a:path>
            </a:pathLst>
          </a:custGeom>
          <a:solidFill>
            <a:srgbClr val="000000"/>
          </a:solidFill>
        </p:spPr>
        <p:txBody>
          <a:bodyPr wrap="square" lIns="0" tIns="0" rIns="0" bIns="0" rtlCol="0"/>
          <a:lstStyle/>
          <a:p>
            <a:endParaRPr/>
          </a:p>
        </p:txBody>
      </p:sp>
      <p:sp>
        <p:nvSpPr>
          <p:cNvPr id="981" name="object 981"/>
          <p:cNvSpPr/>
          <p:nvPr/>
        </p:nvSpPr>
        <p:spPr>
          <a:xfrm>
            <a:off x="3492359" y="3829027"/>
            <a:ext cx="196685" cy="714199"/>
          </a:xfrm>
          <a:custGeom>
            <a:avLst/>
            <a:gdLst/>
            <a:ahLst/>
            <a:cxnLst/>
            <a:rect l="l" t="t" r="r" b="b"/>
            <a:pathLst>
              <a:path w="432434" h="1570354">
                <a:moveTo>
                  <a:pt x="377699" y="0"/>
                </a:moveTo>
                <a:lnTo>
                  <a:pt x="335354" y="20656"/>
                </a:lnTo>
                <a:lnTo>
                  <a:pt x="294642" y="47777"/>
                </a:lnTo>
                <a:lnTo>
                  <a:pt x="246016" y="89274"/>
                </a:lnTo>
                <a:lnTo>
                  <a:pt x="193309" y="147536"/>
                </a:lnTo>
                <a:lnTo>
                  <a:pt x="166623" y="183699"/>
                </a:lnTo>
                <a:lnTo>
                  <a:pt x="140354" y="224948"/>
                </a:lnTo>
                <a:lnTo>
                  <a:pt x="114982" y="271581"/>
                </a:lnTo>
                <a:lnTo>
                  <a:pt x="90986" y="323898"/>
                </a:lnTo>
                <a:lnTo>
                  <a:pt x="68845" y="382195"/>
                </a:lnTo>
                <a:lnTo>
                  <a:pt x="49038" y="446772"/>
                </a:lnTo>
                <a:lnTo>
                  <a:pt x="32045" y="517926"/>
                </a:lnTo>
                <a:lnTo>
                  <a:pt x="18344" y="595957"/>
                </a:lnTo>
                <a:lnTo>
                  <a:pt x="8415" y="681162"/>
                </a:lnTo>
                <a:lnTo>
                  <a:pt x="2737" y="773840"/>
                </a:lnTo>
                <a:lnTo>
                  <a:pt x="837" y="842345"/>
                </a:lnTo>
                <a:lnTo>
                  <a:pt x="0" y="905944"/>
                </a:lnTo>
                <a:lnTo>
                  <a:pt x="44" y="971376"/>
                </a:lnTo>
                <a:lnTo>
                  <a:pt x="966" y="1031796"/>
                </a:lnTo>
                <a:lnTo>
                  <a:pt x="2645" y="1089416"/>
                </a:lnTo>
                <a:lnTo>
                  <a:pt x="4987" y="1144183"/>
                </a:lnTo>
                <a:lnTo>
                  <a:pt x="7901" y="1196045"/>
                </a:lnTo>
                <a:lnTo>
                  <a:pt x="11294" y="1244949"/>
                </a:lnTo>
                <a:lnTo>
                  <a:pt x="15074" y="1290842"/>
                </a:lnTo>
                <a:lnTo>
                  <a:pt x="19148" y="1333672"/>
                </a:lnTo>
                <a:lnTo>
                  <a:pt x="23424" y="1373385"/>
                </a:lnTo>
                <a:lnTo>
                  <a:pt x="32213" y="1443254"/>
                </a:lnTo>
                <a:lnTo>
                  <a:pt x="39018" y="1489032"/>
                </a:lnTo>
                <a:lnTo>
                  <a:pt x="53575" y="1534328"/>
                </a:lnTo>
                <a:lnTo>
                  <a:pt x="107325" y="1570085"/>
                </a:lnTo>
                <a:lnTo>
                  <a:pt x="141529" y="1569250"/>
                </a:lnTo>
                <a:lnTo>
                  <a:pt x="191235" y="1534844"/>
                </a:lnTo>
                <a:lnTo>
                  <a:pt x="204103" y="1475818"/>
                </a:lnTo>
                <a:lnTo>
                  <a:pt x="201870" y="1461730"/>
                </a:lnTo>
                <a:lnTo>
                  <a:pt x="199543" y="1446480"/>
                </a:lnTo>
                <a:lnTo>
                  <a:pt x="190649" y="1380882"/>
                </a:lnTo>
                <a:lnTo>
                  <a:pt x="182617" y="1308379"/>
                </a:lnTo>
                <a:lnTo>
                  <a:pt x="178840" y="1267706"/>
                </a:lnTo>
                <a:lnTo>
                  <a:pt x="175337" y="1224164"/>
                </a:lnTo>
                <a:lnTo>
                  <a:pt x="172194" y="1177811"/>
                </a:lnTo>
                <a:lnTo>
                  <a:pt x="169497" y="1128707"/>
                </a:lnTo>
                <a:lnTo>
                  <a:pt x="167333" y="1076909"/>
                </a:lnTo>
                <a:lnTo>
                  <a:pt x="165787" y="1022477"/>
                </a:lnTo>
                <a:lnTo>
                  <a:pt x="164945" y="965469"/>
                </a:lnTo>
                <a:lnTo>
                  <a:pt x="164894" y="905944"/>
                </a:lnTo>
                <a:lnTo>
                  <a:pt x="165719" y="843961"/>
                </a:lnTo>
                <a:lnTo>
                  <a:pt x="167507" y="779578"/>
                </a:lnTo>
                <a:lnTo>
                  <a:pt x="171666" y="707235"/>
                </a:lnTo>
                <a:lnTo>
                  <a:pt x="178623" y="640643"/>
                </a:lnTo>
                <a:lnTo>
                  <a:pt x="188033" y="579592"/>
                </a:lnTo>
                <a:lnTo>
                  <a:pt x="199547" y="523873"/>
                </a:lnTo>
                <a:lnTo>
                  <a:pt x="212820" y="473277"/>
                </a:lnTo>
                <a:lnTo>
                  <a:pt x="227505" y="427595"/>
                </a:lnTo>
                <a:lnTo>
                  <a:pt x="243256" y="386618"/>
                </a:lnTo>
                <a:lnTo>
                  <a:pt x="259726" y="350136"/>
                </a:lnTo>
                <a:lnTo>
                  <a:pt x="293437" y="289823"/>
                </a:lnTo>
                <a:lnTo>
                  <a:pt x="352491" y="214977"/>
                </a:lnTo>
                <a:lnTo>
                  <a:pt x="389767" y="181822"/>
                </a:lnTo>
                <a:lnTo>
                  <a:pt x="432234" y="155660"/>
                </a:lnTo>
                <a:lnTo>
                  <a:pt x="432096" y="155660"/>
                </a:lnTo>
                <a:lnTo>
                  <a:pt x="377699" y="0"/>
                </a:lnTo>
                <a:close/>
              </a:path>
              <a:path w="432434" h="1570354">
                <a:moveTo>
                  <a:pt x="432358" y="155597"/>
                </a:moveTo>
                <a:lnTo>
                  <a:pt x="432096" y="155660"/>
                </a:lnTo>
                <a:lnTo>
                  <a:pt x="432234" y="155660"/>
                </a:lnTo>
                <a:close/>
              </a:path>
            </a:pathLst>
          </a:custGeom>
          <a:solidFill>
            <a:srgbClr val="000000"/>
          </a:solidFill>
        </p:spPr>
        <p:txBody>
          <a:bodyPr wrap="square" lIns="0" tIns="0" rIns="0" bIns="0" rtlCol="0"/>
          <a:lstStyle/>
          <a:p>
            <a:endParaRPr/>
          </a:p>
        </p:txBody>
      </p:sp>
      <p:sp>
        <p:nvSpPr>
          <p:cNvPr id="982" name="object 982"/>
          <p:cNvSpPr/>
          <p:nvPr/>
        </p:nvSpPr>
        <p:spPr>
          <a:xfrm>
            <a:off x="3507011" y="4471476"/>
            <a:ext cx="78181" cy="71627"/>
          </a:xfrm>
          <a:prstGeom prst="rect">
            <a:avLst/>
          </a:prstGeom>
          <a:blipFill>
            <a:blip r:embed="rId44" cstate="print"/>
            <a:stretch>
              <a:fillRect/>
            </a:stretch>
          </a:blipFill>
        </p:spPr>
        <p:txBody>
          <a:bodyPr wrap="square" lIns="0" tIns="0" rIns="0" bIns="0" rtlCol="0"/>
          <a:lstStyle/>
          <a:p>
            <a:endParaRPr/>
          </a:p>
        </p:txBody>
      </p:sp>
      <p:sp>
        <p:nvSpPr>
          <p:cNvPr id="983" name="object 983"/>
          <p:cNvSpPr/>
          <p:nvPr/>
        </p:nvSpPr>
        <p:spPr>
          <a:xfrm>
            <a:off x="4502309" y="3953526"/>
            <a:ext cx="72223" cy="79442"/>
          </a:xfrm>
          <a:prstGeom prst="rect">
            <a:avLst/>
          </a:prstGeom>
          <a:blipFill>
            <a:blip r:embed="rId45" cstate="print"/>
            <a:stretch>
              <a:fillRect/>
            </a:stretch>
          </a:blipFill>
        </p:spPr>
        <p:txBody>
          <a:bodyPr wrap="square" lIns="0" tIns="0" rIns="0" bIns="0" rtlCol="0"/>
          <a:lstStyle/>
          <a:p>
            <a:endParaRPr/>
          </a:p>
        </p:txBody>
      </p:sp>
      <p:sp>
        <p:nvSpPr>
          <p:cNvPr id="984" name="object 984"/>
          <p:cNvSpPr/>
          <p:nvPr/>
        </p:nvSpPr>
        <p:spPr>
          <a:xfrm>
            <a:off x="3725995" y="4469737"/>
            <a:ext cx="140366" cy="66712"/>
          </a:xfrm>
          <a:custGeom>
            <a:avLst/>
            <a:gdLst/>
            <a:ahLst/>
            <a:cxnLst/>
            <a:rect l="l" t="t" r="r" b="b"/>
            <a:pathLst>
              <a:path w="308609" h="146684">
                <a:moveTo>
                  <a:pt x="154037" y="0"/>
                </a:moveTo>
                <a:lnTo>
                  <a:pt x="0" y="146592"/>
                </a:lnTo>
                <a:lnTo>
                  <a:pt x="308074" y="146592"/>
                </a:lnTo>
                <a:lnTo>
                  <a:pt x="154037" y="0"/>
                </a:lnTo>
                <a:close/>
              </a:path>
            </a:pathLst>
          </a:custGeom>
          <a:solidFill>
            <a:srgbClr val="333333"/>
          </a:solidFill>
        </p:spPr>
        <p:txBody>
          <a:bodyPr wrap="square" lIns="0" tIns="0" rIns="0" bIns="0" rtlCol="0"/>
          <a:lstStyle/>
          <a:p>
            <a:endParaRPr/>
          </a:p>
        </p:txBody>
      </p:sp>
      <p:sp>
        <p:nvSpPr>
          <p:cNvPr id="985" name="object 985"/>
          <p:cNvSpPr/>
          <p:nvPr/>
        </p:nvSpPr>
        <p:spPr>
          <a:xfrm>
            <a:off x="3714097" y="3797876"/>
            <a:ext cx="151844" cy="102196"/>
          </a:xfrm>
          <a:prstGeom prst="rect">
            <a:avLst/>
          </a:prstGeom>
          <a:blipFill>
            <a:blip r:embed="rId46" cstate="print"/>
            <a:stretch>
              <a:fillRect/>
            </a:stretch>
          </a:blipFill>
        </p:spPr>
        <p:txBody>
          <a:bodyPr wrap="square" lIns="0" tIns="0" rIns="0" bIns="0" rtlCol="0"/>
          <a:lstStyle/>
          <a:p>
            <a:endParaRPr/>
          </a:p>
        </p:txBody>
      </p:sp>
      <p:sp>
        <p:nvSpPr>
          <p:cNvPr id="986" name="object 986"/>
          <p:cNvSpPr/>
          <p:nvPr/>
        </p:nvSpPr>
        <p:spPr>
          <a:xfrm>
            <a:off x="3768987" y="3858738"/>
            <a:ext cx="51698" cy="397387"/>
          </a:xfrm>
          <a:custGeom>
            <a:avLst/>
            <a:gdLst/>
            <a:ahLst/>
            <a:cxnLst/>
            <a:rect l="l" t="t" r="r" b="b"/>
            <a:pathLst>
              <a:path w="113665" h="873759">
                <a:moveTo>
                  <a:pt x="43160" y="0"/>
                </a:moveTo>
                <a:lnTo>
                  <a:pt x="0" y="444604"/>
                </a:lnTo>
                <a:lnTo>
                  <a:pt x="66458" y="873669"/>
                </a:lnTo>
                <a:lnTo>
                  <a:pt x="113609" y="445054"/>
                </a:lnTo>
                <a:lnTo>
                  <a:pt x="43160" y="0"/>
                </a:lnTo>
                <a:close/>
              </a:path>
            </a:pathLst>
          </a:custGeom>
          <a:solidFill>
            <a:srgbClr val="50BD86"/>
          </a:solidFill>
        </p:spPr>
        <p:txBody>
          <a:bodyPr wrap="square" lIns="0" tIns="0" rIns="0" bIns="0" rtlCol="0"/>
          <a:lstStyle/>
          <a:p>
            <a:endParaRPr/>
          </a:p>
        </p:txBody>
      </p:sp>
      <p:sp>
        <p:nvSpPr>
          <p:cNvPr id="987" name="object 987"/>
          <p:cNvSpPr/>
          <p:nvPr/>
        </p:nvSpPr>
        <p:spPr>
          <a:xfrm>
            <a:off x="3759381" y="3858738"/>
            <a:ext cx="60652" cy="69889"/>
          </a:xfrm>
          <a:custGeom>
            <a:avLst/>
            <a:gdLst/>
            <a:ahLst/>
            <a:cxnLst/>
            <a:rect l="l" t="t" r="r" b="b"/>
            <a:pathLst>
              <a:path w="133350" h="153670">
                <a:moveTo>
                  <a:pt x="64280" y="0"/>
                </a:moveTo>
                <a:lnTo>
                  <a:pt x="0" y="68647"/>
                </a:lnTo>
                <a:lnTo>
                  <a:pt x="71191" y="153283"/>
                </a:lnTo>
                <a:lnTo>
                  <a:pt x="133001" y="71505"/>
                </a:lnTo>
                <a:lnTo>
                  <a:pt x="64280" y="0"/>
                </a:lnTo>
                <a:close/>
              </a:path>
            </a:pathLst>
          </a:custGeom>
          <a:solidFill>
            <a:srgbClr val="50BD86"/>
          </a:solidFill>
        </p:spPr>
        <p:txBody>
          <a:bodyPr wrap="square" lIns="0" tIns="0" rIns="0" bIns="0" rtlCol="0"/>
          <a:lstStyle/>
          <a:p>
            <a:endParaRPr/>
          </a:p>
        </p:txBody>
      </p:sp>
      <p:sp>
        <p:nvSpPr>
          <p:cNvPr id="988" name="object 988"/>
          <p:cNvSpPr/>
          <p:nvPr/>
        </p:nvSpPr>
        <p:spPr>
          <a:xfrm>
            <a:off x="3854062" y="3563852"/>
            <a:ext cx="82667" cy="87986"/>
          </a:xfrm>
          <a:prstGeom prst="rect">
            <a:avLst/>
          </a:prstGeom>
          <a:blipFill>
            <a:blip r:embed="rId47" cstate="print"/>
            <a:stretch>
              <a:fillRect/>
            </a:stretch>
          </a:blipFill>
        </p:spPr>
        <p:txBody>
          <a:bodyPr wrap="square" lIns="0" tIns="0" rIns="0" bIns="0" rtlCol="0"/>
          <a:lstStyle/>
          <a:p>
            <a:endParaRPr/>
          </a:p>
        </p:txBody>
      </p:sp>
      <p:sp>
        <p:nvSpPr>
          <p:cNvPr id="989" name="object 989"/>
          <p:cNvSpPr/>
          <p:nvPr/>
        </p:nvSpPr>
        <p:spPr>
          <a:xfrm>
            <a:off x="3682916" y="3396065"/>
            <a:ext cx="217480" cy="385546"/>
          </a:xfrm>
          <a:custGeom>
            <a:avLst/>
            <a:gdLst/>
            <a:ahLst/>
            <a:cxnLst/>
            <a:rect l="l" t="t" r="r" b="b"/>
            <a:pathLst>
              <a:path w="478154" h="847725">
                <a:moveTo>
                  <a:pt x="342020" y="0"/>
                </a:moveTo>
                <a:lnTo>
                  <a:pt x="135723" y="0"/>
                </a:lnTo>
                <a:lnTo>
                  <a:pt x="92943" y="6949"/>
                </a:lnTo>
                <a:lnTo>
                  <a:pt x="55701" y="26276"/>
                </a:lnTo>
                <a:lnTo>
                  <a:pt x="26276" y="55701"/>
                </a:lnTo>
                <a:lnTo>
                  <a:pt x="6949" y="92943"/>
                </a:lnTo>
                <a:lnTo>
                  <a:pt x="0" y="135723"/>
                </a:lnTo>
                <a:lnTo>
                  <a:pt x="0" y="711821"/>
                </a:lnTo>
                <a:lnTo>
                  <a:pt x="6949" y="754600"/>
                </a:lnTo>
                <a:lnTo>
                  <a:pt x="26276" y="791843"/>
                </a:lnTo>
                <a:lnTo>
                  <a:pt x="55701" y="821268"/>
                </a:lnTo>
                <a:lnTo>
                  <a:pt x="92943" y="840595"/>
                </a:lnTo>
                <a:lnTo>
                  <a:pt x="135723" y="847544"/>
                </a:lnTo>
                <a:lnTo>
                  <a:pt x="342020" y="847544"/>
                </a:lnTo>
                <a:lnTo>
                  <a:pt x="384800" y="840595"/>
                </a:lnTo>
                <a:lnTo>
                  <a:pt x="422043" y="821268"/>
                </a:lnTo>
                <a:lnTo>
                  <a:pt x="451468" y="791843"/>
                </a:lnTo>
                <a:lnTo>
                  <a:pt x="470795" y="754600"/>
                </a:lnTo>
                <a:lnTo>
                  <a:pt x="477744" y="711821"/>
                </a:lnTo>
                <a:lnTo>
                  <a:pt x="477744" y="135723"/>
                </a:lnTo>
                <a:lnTo>
                  <a:pt x="470795" y="92943"/>
                </a:lnTo>
                <a:lnTo>
                  <a:pt x="451468" y="55701"/>
                </a:lnTo>
                <a:lnTo>
                  <a:pt x="422043" y="26276"/>
                </a:lnTo>
                <a:lnTo>
                  <a:pt x="384800" y="6949"/>
                </a:lnTo>
                <a:lnTo>
                  <a:pt x="342020" y="0"/>
                </a:lnTo>
                <a:close/>
              </a:path>
            </a:pathLst>
          </a:custGeom>
          <a:solidFill>
            <a:srgbClr val="E4C0A2"/>
          </a:solidFill>
        </p:spPr>
        <p:txBody>
          <a:bodyPr wrap="square" lIns="0" tIns="0" rIns="0" bIns="0" rtlCol="0"/>
          <a:lstStyle/>
          <a:p>
            <a:endParaRPr/>
          </a:p>
        </p:txBody>
      </p:sp>
      <p:sp>
        <p:nvSpPr>
          <p:cNvPr id="990" name="object 990"/>
          <p:cNvSpPr/>
          <p:nvPr/>
        </p:nvSpPr>
        <p:spPr>
          <a:xfrm>
            <a:off x="3646393" y="3559039"/>
            <a:ext cx="82667" cy="87986"/>
          </a:xfrm>
          <a:prstGeom prst="rect">
            <a:avLst/>
          </a:prstGeom>
          <a:blipFill>
            <a:blip r:embed="rId48" cstate="print"/>
            <a:stretch>
              <a:fillRect/>
            </a:stretch>
          </a:blipFill>
        </p:spPr>
        <p:txBody>
          <a:bodyPr wrap="square" lIns="0" tIns="0" rIns="0" bIns="0" rtlCol="0"/>
          <a:lstStyle/>
          <a:p>
            <a:endParaRPr/>
          </a:p>
        </p:txBody>
      </p:sp>
      <p:sp>
        <p:nvSpPr>
          <p:cNvPr id="991" name="object 991"/>
          <p:cNvSpPr/>
          <p:nvPr/>
        </p:nvSpPr>
        <p:spPr>
          <a:xfrm>
            <a:off x="3672687" y="3556049"/>
            <a:ext cx="237987" cy="239991"/>
          </a:xfrm>
          <a:custGeom>
            <a:avLst/>
            <a:gdLst/>
            <a:ahLst/>
            <a:cxnLst/>
            <a:rect l="l" t="t" r="r" b="b"/>
            <a:pathLst>
              <a:path w="523240" h="527684">
                <a:moveTo>
                  <a:pt x="52605" y="0"/>
                </a:moveTo>
                <a:lnTo>
                  <a:pt x="33472" y="24280"/>
                </a:lnTo>
                <a:lnTo>
                  <a:pt x="21614" y="61995"/>
                </a:lnTo>
                <a:lnTo>
                  <a:pt x="12101" y="139804"/>
                </a:lnTo>
                <a:lnTo>
                  <a:pt x="0" y="284368"/>
                </a:lnTo>
                <a:lnTo>
                  <a:pt x="4654" y="333128"/>
                </a:lnTo>
                <a:lnTo>
                  <a:pt x="17994" y="378617"/>
                </a:lnTo>
                <a:lnTo>
                  <a:pt x="39085" y="419840"/>
                </a:lnTo>
                <a:lnTo>
                  <a:pt x="66990" y="455800"/>
                </a:lnTo>
                <a:lnTo>
                  <a:pt x="100774" y="485502"/>
                </a:lnTo>
                <a:lnTo>
                  <a:pt x="139501" y="507950"/>
                </a:lnTo>
                <a:lnTo>
                  <a:pt x="182237" y="522150"/>
                </a:lnTo>
                <a:lnTo>
                  <a:pt x="228045" y="527104"/>
                </a:lnTo>
                <a:lnTo>
                  <a:pt x="294671" y="527104"/>
                </a:lnTo>
                <a:lnTo>
                  <a:pt x="340482" y="522150"/>
                </a:lnTo>
                <a:lnTo>
                  <a:pt x="383219" y="507950"/>
                </a:lnTo>
                <a:lnTo>
                  <a:pt x="421947" y="485502"/>
                </a:lnTo>
                <a:lnTo>
                  <a:pt x="455730" y="455800"/>
                </a:lnTo>
                <a:lnTo>
                  <a:pt x="483634" y="419840"/>
                </a:lnTo>
                <a:lnTo>
                  <a:pt x="504723" y="378617"/>
                </a:lnTo>
                <a:lnTo>
                  <a:pt x="518062" y="333128"/>
                </a:lnTo>
                <a:lnTo>
                  <a:pt x="520124" y="311529"/>
                </a:lnTo>
                <a:lnTo>
                  <a:pt x="167576" y="311529"/>
                </a:lnTo>
                <a:lnTo>
                  <a:pt x="122935" y="301873"/>
                </a:lnTo>
                <a:lnTo>
                  <a:pt x="86378" y="275581"/>
                </a:lnTo>
                <a:lnTo>
                  <a:pt x="61677" y="236668"/>
                </a:lnTo>
                <a:lnTo>
                  <a:pt x="52605" y="189146"/>
                </a:lnTo>
                <a:lnTo>
                  <a:pt x="52605" y="0"/>
                </a:lnTo>
                <a:close/>
              </a:path>
              <a:path w="523240" h="527684">
                <a:moveTo>
                  <a:pt x="470121" y="0"/>
                </a:moveTo>
                <a:lnTo>
                  <a:pt x="470121" y="189146"/>
                </a:lnTo>
                <a:lnTo>
                  <a:pt x="461048" y="236668"/>
                </a:lnTo>
                <a:lnTo>
                  <a:pt x="436344" y="275581"/>
                </a:lnTo>
                <a:lnTo>
                  <a:pt x="399783" y="301873"/>
                </a:lnTo>
                <a:lnTo>
                  <a:pt x="355141" y="311529"/>
                </a:lnTo>
                <a:lnTo>
                  <a:pt x="520124" y="311529"/>
                </a:lnTo>
                <a:lnTo>
                  <a:pt x="522717" y="284368"/>
                </a:lnTo>
                <a:lnTo>
                  <a:pt x="519076" y="244895"/>
                </a:lnTo>
                <a:lnTo>
                  <a:pt x="508627" y="155408"/>
                </a:lnTo>
                <a:lnTo>
                  <a:pt x="492073" y="59310"/>
                </a:lnTo>
                <a:lnTo>
                  <a:pt x="470121" y="0"/>
                </a:lnTo>
                <a:close/>
              </a:path>
            </a:pathLst>
          </a:custGeom>
          <a:solidFill>
            <a:srgbClr val="61342C"/>
          </a:solidFill>
        </p:spPr>
        <p:txBody>
          <a:bodyPr wrap="square" lIns="0" tIns="0" rIns="0" bIns="0" rtlCol="0"/>
          <a:lstStyle/>
          <a:p>
            <a:endParaRPr/>
          </a:p>
        </p:txBody>
      </p:sp>
      <p:sp>
        <p:nvSpPr>
          <p:cNvPr id="992" name="object 992"/>
          <p:cNvSpPr/>
          <p:nvPr/>
        </p:nvSpPr>
        <p:spPr>
          <a:xfrm>
            <a:off x="3672687" y="3381756"/>
            <a:ext cx="237987" cy="246634"/>
          </a:xfrm>
          <a:custGeom>
            <a:avLst/>
            <a:gdLst/>
            <a:ahLst/>
            <a:cxnLst/>
            <a:rect l="l" t="t" r="r" b="b"/>
            <a:pathLst>
              <a:path w="523240" h="542290">
                <a:moveTo>
                  <a:pt x="339256" y="0"/>
                </a:moveTo>
                <a:lnTo>
                  <a:pt x="183460" y="0"/>
                </a:lnTo>
                <a:lnTo>
                  <a:pt x="134840" y="5276"/>
                </a:lnTo>
                <a:lnTo>
                  <a:pt x="91057" y="20903"/>
                </a:lnTo>
                <a:lnTo>
                  <a:pt x="53897" y="46577"/>
                </a:lnTo>
                <a:lnTo>
                  <a:pt x="25144" y="81994"/>
                </a:lnTo>
                <a:lnTo>
                  <a:pt x="6583" y="126850"/>
                </a:lnTo>
                <a:lnTo>
                  <a:pt x="0" y="180842"/>
                </a:lnTo>
                <a:lnTo>
                  <a:pt x="3641" y="231887"/>
                </a:lnTo>
                <a:lnTo>
                  <a:pt x="14095" y="347065"/>
                </a:lnTo>
                <a:lnTo>
                  <a:pt x="30652" y="469440"/>
                </a:lnTo>
                <a:lnTo>
                  <a:pt x="52605" y="542077"/>
                </a:lnTo>
                <a:lnTo>
                  <a:pt x="52605" y="336157"/>
                </a:lnTo>
                <a:lnTo>
                  <a:pt x="61674" y="284418"/>
                </a:lnTo>
                <a:lnTo>
                  <a:pt x="86370" y="242055"/>
                </a:lnTo>
                <a:lnTo>
                  <a:pt x="122926" y="213435"/>
                </a:lnTo>
                <a:lnTo>
                  <a:pt x="167576" y="202925"/>
                </a:lnTo>
                <a:lnTo>
                  <a:pt x="521290" y="202925"/>
                </a:lnTo>
                <a:lnTo>
                  <a:pt x="522717" y="180842"/>
                </a:lnTo>
                <a:lnTo>
                  <a:pt x="516134" y="126850"/>
                </a:lnTo>
                <a:lnTo>
                  <a:pt x="497574" y="81994"/>
                </a:lnTo>
                <a:lnTo>
                  <a:pt x="468823" y="46577"/>
                </a:lnTo>
                <a:lnTo>
                  <a:pt x="431663" y="20903"/>
                </a:lnTo>
                <a:lnTo>
                  <a:pt x="387880" y="5276"/>
                </a:lnTo>
                <a:lnTo>
                  <a:pt x="339256" y="0"/>
                </a:lnTo>
                <a:close/>
              </a:path>
              <a:path w="523240" h="542290">
                <a:moveTo>
                  <a:pt x="521290" y="202925"/>
                </a:moveTo>
                <a:lnTo>
                  <a:pt x="355141" y="202925"/>
                </a:lnTo>
                <a:lnTo>
                  <a:pt x="399790" y="213435"/>
                </a:lnTo>
                <a:lnTo>
                  <a:pt x="436346" y="242055"/>
                </a:lnTo>
                <a:lnTo>
                  <a:pt x="461042" y="284418"/>
                </a:lnTo>
                <a:lnTo>
                  <a:pt x="470111" y="336157"/>
                </a:lnTo>
                <a:lnTo>
                  <a:pt x="470111" y="542077"/>
                </a:lnTo>
                <a:lnTo>
                  <a:pt x="489250" y="514841"/>
                </a:lnTo>
                <a:lnTo>
                  <a:pt x="501110" y="468133"/>
                </a:lnTo>
                <a:lnTo>
                  <a:pt x="510621" y="368089"/>
                </a:lnTo>
                <a:lnTo>
                  <a:pt x="521290" y="202925"/>
                </a:lnTo>
                <a:close/>
              </a:path>
            </a:pathLst>
          </a:custGeom>
          <a:solidFill>
            <a:srgbClr val="61342C"/>
          </a:solidFill>
        </p:spPr>
        <p:txBody>
          <a:bodyPr wrap="square" lIns="0" tIns="0" rIns="0" bIns="0" rtlCol="0"/>
          <a:lstStyle/>
          <a:p>
            <a:endParaRPr/>
          </a:p>
        </p:txBody>
      </p:sp>
      <p:sp>
        <p:nvSpPr>
          <p:cNvPr id="993" name="object 993"/>
          <p:cNvSpPr/>
          <p:nvPr/>
        </p:nvSpPr>
        <p:spPr>
          <a:xfrm>
            <a:off x="3736417" y="3357653"/>
            <a:ext cx="165493" cy="168081"/>
          </a:xfrm>
          <a:custGeom>
            <a:avLst/>
            <a:gdLst/>
            <a:ahLst/>
            <a:cxnLst/>
            <a:rect l="l" t="t" r="r" b="b"/>
            <a:pathLst>
              <a:path w="363854" h="369570">
                <a:moveTo>
                  <a:pt x="181826" y="0"/>
                </a:moveTo>
                <a:lnTo>
                  <a:pt x="133488" y="6598"/>
                </a:lnTo>
                <a:lnTo>
                  <a:pt x="90052" y="25221"/>
                </a:lnTo>
                <a:lnTo>
                  <a:pt x="53253" y="54106"/>
                </a:lnTo>
                <a:lnTo>
                  <a:pt x="24823" y="91493"/>
                </a:lnTo>
                <a:lnTo>
                  <a:pt x="6494" y="135620"/>
                </a:lnTo>
                <a:lnTo>
                  <a:pt x="0" y="184727"/>
                </a:lnTo>
                <a:lnTo>
                  <a:pt x="79303" y="197899"/>
                </a:lnTo>
                <a:lnTo>
                  <a:pt x="136441" y="218626"/>
                </a:lnTo>
                <a:lnTo>
                  <a:pt x="174412" y="244549"/>
                </a:lnTo>
                <a:lnTo>
                  <a:pt x="196220" y="273305"/>
                </a:lnTo>
                <a:lnTo>
                  <a:pt x="204864" y="302535"/>
                </a:lnTo>
                <a:lnTo>
                  <a:pt x="203346" y="329877"/>
                </a:lnTo>
                <a:lnTo>
                  <a:pt x="194666" y="352970"/>
                </a:lnTo>
                <a:lnTo>
                  <a:pt x="181826" y="369454"/>
                </a:lnTo>
                <a:lnTo>
                  <a:pt x="230161" y="362855"/>
                </a:lnTo>
                <a:lnTo>
                  <a:pt x="273593" y="344233"/>
                </a:lnTo>
                <a:lnTo>
                  <a:pt x="310391" y="315347"/>
                </a:lnTo>
                <a:lnTo>
                  <a:pt x="338820" y="277960"/>
                </a:lnTo>
                <a:lnTo>
                  <a:pt x="357148" y="233833"/>
                </a:lnTo>
                <a:lnTo>
                  <a:pt x="363643" y="184727"/>
                </a:lnTo>
                <a:lnTo>
                  <a:pt x="357148" y="135620"/>
                </a:lnTo>
                <a:lnTo>
                  <a:pt x="338820" y="91493"/>
                </a:lnTo>
                <a:lnTo>
                  <a:pt x="310391" y="54106"/>
                </a:lnTo>
                <a:lnTo>
                  <a:pt x="273593" y="25221"/>
                </a:lnTo>
                <a:lnTo>
                  <a:pt x="230161" y="6598"/>
                </a:lnTo>
                <a:lnTo>
                  <a:pt x="181826" y="0"/>
                </a:lnTo>
                <a:close/>
              </a:path>
            </a:pathLst>
          </a:custGeom>
          <a:solidFill>
            <a:srgbClr val="61342C"/>
          </a:solidFill>
        </p:spPr>
        <p:txBody>
          <a:bodyPr wrap="square" lIns="0" tIns="0" rIns="0" bIns="0" rtlCol="0"/>
          <a:lstStyle/>
          <a:p>
            <a:endParaRPr/>
          </a:p>
        </p:txBody>
      </p:sp>
      <p:sp>
        <p:nvSpPr>
          <p:cNvPr id="994" name="object 994"/>
          <p:cNvSpPr/>
          <p:nvPr/>
        </p:nvSpPr>
        <p:spPr>
          <a:xfrm>
            <a:off x="3718600" y="3652029"/>
            <a:ext cx="146142" cy="116385"/>
          </a:xfrm>
          <a:custGeom>
            <a:avLst/>
            <a:gdLst/>
            <a:ahLst/>
            <a:cxnLst/>
            <a:rect l="l" t="t" r="r" b="b"/>
            <a:pathLst>
              <a:path w="321309" h="255904">
                <a:moveTo>
                  <a:pt x="160413" y="0"/>
                </a:moveTo>
                <a:lnTo>
                  <a:pt x="109710" y="1533"/>
                </a:lnTo>
                <a:lnTo>
                  <a:pt x="65675" y="8446"/>
                </a:lnTo>
                <a:lnTo>
                  <a:pt x="30950" y="24204"/>
                </a:lnTo>
                <a:lnTo>
                  <a:pt x="0" y="96122"/>
                </a:lnTo>
                <a:lnTo>
                  <a:pt x="8178" y="146574"/>
                </a:lnTo>
                <a:lnTo>
                  <a:pt x="30950" y="190391"/>
                </a:lnTo>
                <a:lnTo>
                  <a:pt x="65675" y="224943"/>
                </a:lnTo>
                <a:lnTo>
                  <a:pt x="109710" y="247603"/>
                </a:lnTo>
                <a:lnTo>
                  <a:pt x="160413" y="255740"/>
                </a:lnTo>
                <a:lnTo>
                  <a:pt x="211117" y="247603"/>
                </a:lnTo>
                <a:lnTo>
                  <a:pt x="255152" y="224943"/>
                </a:lnTo>
                <a:lnTo>
                  <a:pt x="289877" y="190391"/>
                </a:lnTo>
                <a:lnTo>
                  <a:pt x="312649" y="146574"/>
                </a:lnTo>
                <a:lnTo>
                  <a:pt x="320827" y="96122"/>
                </a:lnTo>
                <a:lnTo>
                  <a:pt x="312649" y="52274"/>
                </a:lnTo>
                <a:lnTo>
                  <a:pt x="289877" y="24204"/>
                </a:lnTo>
                <a:lnTo>
                  <a:pt x="255152" y="8446"/>
                </a:lnTo>
                <a:lnTo>
                  <a:pt x="211117" y="1533"/>
                </a:lnTo>
                <a:lnTo>
                  <a:pt x="160413" y="0"/>
                </a:lnTo>
                <a:close/>
              </a:path>
            </a:pathLst>
          </a:custGeom>
          <a:solidFill>
            <a:srgbClr val="61342C"/>
          </a:solidFill>
        </p:spPr>
        <p:txBody>
          <a:bodyPr wrap="square" lIns="0" tIns="0" rIns="0" bIns="0" rtlCol="0"/>
          <a:lstStyle/>
          <a:p>
            <a:endParaRPr/>
          </a:p>
        </p:txBody>
      </p:sp>
      <p:sp>
        <p:nvSpPr>
          <p:cNvPr id="995" name="object 995"/>
          <p:cNvSpPr/>
          <p:nvPr/>
        </p:nvSpPr>
        <p:spPr>
          <a:xfrm>
            <a:off x="3749442" y="3681056"/>
            <a:ext cx="90540" cy="37207"/>
          </a:xfrm>
          <a:prstGeom prst="rect">
            <a:avLst/>
          </a:prstGeom>
          <a:blipFill>
            <a:blip r:embed="rId49"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4645002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3978" y="105025"/>
            <a:ext cx="7758378" cy="641445"/>
          </a:xfrm>
          <a:prstGeom prst="rect">
            <a:avLst/>
          </a:prstGeom>
        </p:spPr>
        <p:txBody>
          <a:bodyPr vert="horz" wrap="square" lIns="0" tIns="5198" rIns="0" bIns="0" rtlCol="0">
            <a:spAutoFit/>
          </a:bodyPr>
          <a:lstStyle/>
          <a:p>
            <a:pPr marL="246056" marR="2310">
              <a:lnSpc>
                <a:spcPct val="100800"/>
              </a:lnSpc>
              <a:spcBef>
                <a:spcPts val="41"/>
              </a:spcBef>
            </a:pPr>
            <a:r>
              <a:rPr spc="-2" dirty="0"/>
              <a:t>Le </a:t>
            </a:r>
            <a:r>
              <a:rPr spc="-11" dirty="0"/>
              <a:t>contact </a:t>
            </a:r>
            <a:r>
              <a:rPr spc="7" dirty="0"/>
              <a:t>à </a:t>
            </a:r>
            <a:r>
              <a:rPr spc="-14" dirty="0"/>
              <a:t>distance </a:t>
            </a:r>
            <a:r>
              <a:rPr spc="-9" dirty="0"/>
              <a:t>est </a:t>
            </a:r>
            <a:r>
              <a:rPr spc="-16" dirty="0"/>
              <a:t>privilégié </a:t>
            </a:r>
            <a:r>
              <a:rPr spc="-9" dirty="0"/>
              <a:t>par </a:t>
            </a:r>
            <a:r>
              <a:rPr spc="-14" dirty="0"/>
              <a:t>rapport </a:t>
            </a:r>
            <a:r>
              <a:rPr spc="7" dirty="0"/>
              <a:t>à </a:t>
            </a:r>
            <a:r>
              <a:rPr spc="-7" dirty="0"/>
              <a:t>la</a:t>
            </a:r>
            <a:r>
              <a:rPr lang="fr-FR" spc="-7" dirty="0"/>
              <a:t> visite en agence</a:t>
            </a:r>
            <a:endParaRPr spc="-14" dirty="0"/>
          </a:p>
        </p:txBody>
      </p:sp>
      <p:sp>
        <p:nvSpPr>
          <p:cNvPr id="3" name="object 3"/>
          <p:cNvSpPr txBox="1"/>
          <p:nvPr/>
        </p:nvSpPr>
        <p:spPr>
          <a:xfrm>
            <a:off x="1113422" y="881401"/>
            <a:ext cx="5711363" cy="149892"/>
          </a:xfrm>
          <a:prstGeom prst="rect">
            <a:avLst/>
          </a:prstGeom>
        </p:spPr>
        <p:txBody>
          <a:bodyPr vert="horz" wrap="square" lIns="0" tIns="6354" rIns="0" bIns="0" rtlCol="0">
            <a:spAutoFit/>
          </a:bodyPr>
          <a:lstStyle/>
          <a:p>
            <a:pPr marL="5776">
              <a:spcBef>
                <a:spcPts val="50"/>
              </a:spcBef>
            </a:pPr>
            <a:r>
              <a:rPr sz="900" b="1" spc="-7" dirty="0">
                <a:latin typeface="Helvetica Neue"/>
                <a:cs typeface="Helvetica Neue"/>
              </a:rPr>
              <a:t>Quel moyen </a:t>
            </a:r>
            <a:r>
              <a:rPr sz="900" b="1" spc="-5" dirty="0">
                <a:latin typeface="Helvetica Neue"/>
                <a:cs typeface="Helvetica Neue"/>
              </a:rPr>
              <a:t>de </a:t>
            </a:r>
            <a:r>
              <a:rPr sz="900" b="1" spc="-9" dirty="0">
                <a:latin typeface="Helvetica Neue"/>
                <a:cs typeface="Helvetica Neue"/>
              </a:rPr>
              <a:t>contact privilégiez-vous </a:t>
            </a:r>
            <a:r>
              <a:rPr sz="900" b="1" spc="2" dirty="0">
                <a:latin typeface="Helvetica Neue"/>
                <a:cs typeface="Helvetica Neue"/>
              </a:rPr>
              <a:t>pour réaliser vos opérations courantes avec votre banque</a:t>
            </a:r>
            <a:r>
              <a:rPr sz="900" b="1" spc="-59" dirty="0">
                <a:latin typeface="Helvetica Neue"/>
                <a:cs typeface="Helvetica Neue"/>
              </a:rPr>
              <a:t> </a:t>
            </a:r>
            <a:r>
              <a:rPr sz="900" b="1" spc="2" dirty="0">
                <a:latin typeface="Helvetica Neue"/>
                <a:cs typeface="Helvetica Neue"/>
              </a:rPr>
              <a:t>?</a:t>
            </a:r>
            <a:endParaRPr sz="900" dirty="0">
              <a:latin typeface="Helvetica Neue"/>
              <a:cs typeface="Helvetica Neue"/>
            </a:endParaRPr>
          </a:p>
        </p:txBody>
      </p:sp>
      <p:sp>
        <p:nvSpPr>
          <p:cNvPr id="4" name="object 4"/>
          <p:cNvSpPr/>
          <p:nvPr/>
        </p:nvSpPr>
        <p:spPr>
          <a:xfrm>
            <a:off x="0" y="1184779"/>
            <a:ext cx="9144000" cy="3958560"/>
          </a:xfrm>
          <a:custGeom>
            <a:avLst/>
            <a:gdLst/>
            <a:ahLst/>
            <a:cxnLst/>
            <a:rect l="l" t="t" r="r" b="b"/>
            <a:pathLst>
              <a:path w="20104100" h="8703945">
                <a:moveTo>
                  <a:pt x="0" y="8703504"/>
                </a:moveTo>
                <a:lnTo>
                  <a:pt x="20104099" y="8703504"/>
                </a:lnTo>
                <a:lnTo>
                  <a:pt x="20104099" y="0"/>
                </a:lnTo>
                <a:lnTo>
                  <a:pt x="0" y="0"/>
                </a:lnTo>
                <a:lnTo>
                  <a:pt x="0" y="8703504"/>
                </a:lnTo>
                <a:close/>
              </a:path>
            </a:pathLst>
          </a:custGeom>
          <a:solidFill>
            <a:srgbClr val="D5D5D5"/>
          </a:solidFill>
        </p:spPr>
        <p:txBody>
          <a:bodyPr wrap="square" lIns="0" tIns="0" rIns="0" bIns="0" rtlCol="0"/>
          <a:lstStyle/>
          <a:p>
            <a:endParaRPr/>
          </a:p>
        </p:txBody>
      </p:sp>
      <p:sp>
        <p:nvSpPr>
          <p:cNvPr id="5" name="object 5"/>
          <p:cNvSpPr/>
          <p:nvPr/>
        </p:nvSpPr>
        <p:spPr>
          <a:xfrm>
            <a:off x="190895" y="214492"/>
            <a:ext cx="422542" cy="422512"/>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5"/>
                </a:lnTo>
                <a:lnTo>
                  <a:pt x="20875" y="602435"/>
                </a:lnTo>
                <a:lnTo>
                  <a:pt x="36489" y="645098"/>
                </a:lnTo>
                <a:lnTo>
                  <a:pt x="56042" y="685689"/>
                </a:lnTo>
                <a:lnTo>
                  <a:pt x="79301" y="723975"/>
                </a:lnTo>
                <a:lnTo>
                  <a:pt x="106031" y="759722"/>
                </a:lnTo>
                <a:lnTo>
                  <a:pt x="136001" y="792698"/>
                </a:lnTo>
                <a:lnTo>
                  <a:pt x="168975" y="822668"/>
                </a:lnTo>
                <a:lnTo>
                  <a:pt x="204722" y="849400"/>
                </a:lnTo>
                <a:lnTo>
                  <a:pt x="243007" y="872659"/>
                </a:lnTo>
                <a:lnTo>
                  <a:pt x="283597" y="892213"/>
                </a:lnTo>
                <a:lnTo>
                  <a:pt x="326259" y="907828"/>
                </a:lnTo>
                <a:lnTo>
                  <a:pt x="370759" y="919270"/>
                </a:lnTo>
                <a:lnTo>
                  <a:pt x="416864" y="926307"/>
                </a:lnTo>
                <a:lnTo>
                  <a:pt x="464341" y="928704"/>
                </a:lnTo>
                <a:lnTo>
                  <a:pt x="511818" y="926307"/>
                </a:lnTo>
                <a:lnTo>
                  <a:pt x="557924" y="919270"/>
                </a:lnTo>
                <a:lnTo>
                  <a:pt x="602425" y="907828"/>
                </a:lnTo>
                <a:lnTo>
                  <a:pt x="645088" y="892213"/>
                </a:lnTo>
                <a:lnTo>
                  <a:pt x="685678" y="872659"/>
                </a:lnTo>
                <a:lnTo>
                  <a:pt x="723964" y="849400"/>
                </a:lnTo>
                <a:lnTo>
                  <a:pt x="759712" y="822668"/>
                </a:lnTo>
                <a:lnTo>
                  <a:pt x="792687" y="792698"/>
                </a:lnTo>
                <a:lnTo>
                  <a:pt x="822658" y="759722"/>
                </a:lnTo>
                <a:lnTo>
                  <a:pt x="849389" y="723975"/>
                </a:lnTo>
                <a:lnTo>
                  <a:pt x="872649" y="685689"/>
                </a:lnTo>
                <a:lnTo>
                  <a:pt x="892202" y="645098"/>
                </a:lnTo>
                <a:lnTo>
                  <a:pt x="907817" y="602435"/>
                </a:lnTo>
                <a:lnTo>
                  <a:pt x="919260" y="557935"/>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FFC203"/>
          </a:solidFill>
        </p:spPr>
        <p:txBody>
          <a:bodyPr wrap="square" lIns="0" tIns="0" rIns="0" bIns="0" rtlCol="0"/>
          <a:lstStyle/>
          <a:p>
            <a:endParaRPr/>
          </a:p>
        </p:txBody>
      </p:sp>
      <p:sp>
        <p:nvSpPr>
          <p:cNvPr id="6" name="object 6"/>
          <p:cNvSpPr/>
          <p:nvPr/>
        </p:nvSpPr>
        <p:spPr>
          <a:xfrm>
            <a:off x="264443" y="300933"/>
            <a:ext cx="275533" cy="252699"/>
          </a:xfrm>
          <a:custGeom>
            <a:avLst/>
            <a:gdLst/>
            <a:ahLst/>
            <a:cxnLst/>
            <a:rect l="l" t="t" r="r" b="b"/>
            <a:pathLst>
              <a:path w="605790" h="555625">
                <a:moveTo>
                  <a:pt x="317922" y="457700"/>
                </a:moveTo>
                <a:lnTo>
                  <a:pt x="263154" y="498730"/>
                </a:lnTo>
                <a:lnTo>
                  <a:pt x="253432" y="522202"/>
                </a:lnTo>
                <a:lnTo>
                  <a:pt x="255862" y="534695"/>
                </a:lnTo>
                <a:lnTo>
                  <a:pt x="263154" y="545682"/>
                </a:lnTo>
                <a:lnTo>
                  <a:pt x="274134" y="552974"/>
                </a:lnTo>
                <a:lnTo>
                  <a:pt x="286624" y="555404"/>
                </a:lnTo>
                <a:lnTo>
                  <a:pt x="299114" y="552974"/>
                </a:lnTo>
                <a:lnTo>
                  <a:pt x="310095" y="545682"/>
                </a:lnTo>
                <a:lnTo>
                  <a:pt x="341392" y="514374"/>
                </a:lnTo>
                <a:lnTo>
                  <a:pt x="348684" y="503392"/>
                </a:lnTo>
                <a:lnTo>
                  <a:pt x="351114" y="490898"/>
                </a:lnTo>
                <a:lnTo>
                  <a:pt x="348684" y="478404"/>
                </a:lnTo>
                <a:lnTo>
                  <a:pt x="341392" y="467422"/>
                </a:lnTo>
                <a:lnTo>
                  <a:pt x="330412" y="460131"/>
                </a:lnTo>
                <a:lnTo>
                  <a:pt x="317922" y="457700"/>
                </a:lnTo>
                <a:close/>
              </a:path>
              <a:path w="605790" h="555625">
                <a:moveTo>
                  <a:pt x="255327" y="395095"/>
                </a:moveTo>
                <a:lnTo>
                  <a:pt x="200555" y="436146"/>
                </a:lnTo>
                <a:lnTo>
                  <a:pt x="190839" y="459595"/>
                </a:lnTo>
                <a:lnTo>
                  <a:pt x="193272" y="472086"/>
                </a:lnTo>
                <a:lnTo>
                  <a:pt x="200569" y="483066"/>
                </a:lnTo>
                <a:lnTo>
                  <a:pt x="211545" y="490363"/>
                </a:lnTo>
                <a:lnTo>
                  <a:pt x="224035" y="492796"/>
                </a:lnTo>
                <a:lnTo>
                  <a:pt x="236524" y="490363"/>
                </a:lnTo>
                <a:lnTo>
                  <a:pt x="247500" y="483066"/>
                </a:lnTo>
                <a:lnTo>
                  <a:pt x="278797" y="451768"/>
                </a:lnTo>
                <a:lnTo>
                  <a:pt x="286089" y="440786"/>
                </a:lnTo>
                <a:lnTo>
                  <a:pt x="288520" y="428293"/>
                </a:lnTo>
                <a:lnTo>
                  <a:pt x="286089" y="415799"/>
                </a:lnTo>
                <a:lnTo>
                  <a:pt x="278797" y="404817"/>
                </a:lnTo>
                <a:lnTo>
                  <a:pt x="267817" y="397525"/>
                </a:lnTo>
                <a:lnTo>
                  <a:pt x="255327" y="395095"/>
                </a:lnTo>
                <a:close/>
              </a:path>
              <a:path w="605790" h="555625">
                <a:moveTo>
                  <a:pt x="427706" y="435476"/>
                </a:moveTo>
                <a:lnTo>
                  <a:pt x="317393" y="435476"/>
                </a:lnTo>
                <a:lnTo>
                  <a:pt x="323162" y="435800"/>
                </a:lnTo>
                <a:lnTo>
                  <a:pt x="325257" y="436031"/>
                </a:lnTo>
                <a:lnTo>
                  <a:pt x="372690" y="467422"/>
                </a:lnTo>
                <a:lnTo>
                  <a:pt x="383670" y="474714"/>
                </a:lnTo>
                <a:lnTo>
                  <a:pt x="396160" y="477145"/>
                </a:lnTo>
                <a:lnTo>
                  <a:pt x="408650" y="474714"/>
                </a:lnTo>
                <a:lnTo>
                  <a:pt x="419631" y="467422"/>
                </a:lnTo>
                <a:lnTo>
                  <a:pt x="426922" y="456440"/>
                </a:lnTo>
                <a:lnTo>
                  <a:pt x="429353" y="443945"/>
                </a:lnTo>
                <a:lnTo>
                  <a:pt x="427706" y="435476"/>
                </a:lnTo>
                <a:close/>
              </a:path>
              <a:path w="605790" h="555625">
                <a:moveTo>
                  <a:pt x="372363" y="373181"/>
                </a:moveTo>
                <a:lnTo>
                  <a:pt x="260044" y="373181"/>
                </a:lnTo>
                <a:lnTo>
                  <a:pt x="272414" y="375666"/>
                </a:lnTo>
                <a:lnTo>
                  <a:pt x="284059" y="380994"/>
                </a:lnTo>
                <a:lnTo>
                  <a:pt x="294451" y="389163"/>
                </a:lnTo>
                <a:lnTo>
                  <a:pt x="302619" y="399555"/>
                </a:lnTo>
                <a:lnTo>
                  <a:pt x="307944" y="411202"/>
                </a:lnTo>
                <a:lnTo>
                  <a:pt x="310429" y="423575"/>
                </a:lnTo>
                <a:lnTo>
                  <a:pt x="310074" y="436146"/>
                </a:lnTo>
                <a:lnTo>
                  <a:pt x="313718" y="435633"/>
                </a:lnTo>
                <a:lnTo>
                  <a:pt x="317393" y="435476"/>
                </a:lnTo>
                <a:lnTo>
                  <a:pt x="427706" y="435476"/>
                </a:lnTo>
                <a:lnTo>
                  <a:pt x="426922" y="431449"/>
                </a:lnTo>
                <a:lnTo>
                  <a:pt x="419631" y="420461"/>
                </a:lnTo>
                <a:lnTo>
                  <a:pt x="372363" y="373181"/>
                </a:lnTo>
                <a:close/>
              </a:path>
              <a:path w="605790" h="555625">
                <a:moveTo>
                  <a:pt x="192742" y="332489"/>
                </a:moveTo>
                <a:lnTo>
                  <a:pt x="137953" y="373540"/>
                </a:lnTo>
                <a:lnTo>
                  <a:pt x="128252" y="396985"/>
                </a:lnTo>
                <a:lnTo>
                  <a:pt x="130683" y="409479"/>
                </a:lnTo>
                <a:lnTo>
                  <a:pt x="137974" y="420461"/>
                </a:lnTo>
                <a:lnTo>
                  <a:pt x="148955" y="427758"/>
                </a:lnTo>
                <a:lnTo>
                  <a:pt x="161445" y="430191"/>
                </a:lnTo>
                <a:lnTo>
                  <a:pt x="173935" y="427758"/>
                </a:lnTo>
                <a:lnTo>
                  <a:pt x="184915" y="420461"/>
                </a:lnTo>
                <a:lnTo>
                  <a:pt x="216213" y="389163"/>
                </a:lnTo>
                <a:lnTo>
                  <a:pt x="223504" y="378181"/>
                </a:lnTo>
                <a:lnTo>
                  <a:pt x="225935" y="365687"/>
                </a:lnTo>
                <a:lnTo>
                  <a:pt x="223504" y="353194"/>
                </a:lnTo>
                <a:lnTo>
                  <a:pt x="216213" y="342212"/>
                </a:lnTo>
                <a:lnTo>
                  <a:pt x="205232" y="334920"/>
                </a:lnTo>
                <a:lnTo>
                  <a:pt x="192742" y="332489"/>
                </a:lnTo>
                <a:close/>
              </a:path>
              <a:path w="605790" h="555625">
                <a:moveTo>
                  <a:pt x="399668" y="275282"/>
                </a:moveTo>
                <a:lnTo>
                  <a:pt x="305770" y="275282"/>
                </a:lnTo>
                <a:lnTo>
                  <a:pt x="435274" y="404817"/>
                </a:lnTo>
                <a:lnTo>
                  <a:pt x="446260" y="412109"/>
                </a:lnTo>
                <a:lnTo>
                  <a:pt x="458750" y="414539"/>
                </a:lnTo>
                <a:lnTo>
                  <a:pt x="471239" y="412109"/>
                </a:lnTo>
                <a:lnTo>
                  <a:pt x="482215" y="404817"/>
                </a:lnTo>
                <a:lnTo>
                  <a:pt x="489507" y="393835"/>
                </a:lnTo>
                <a:lnTo>
                  <a:pt x="491937" y="381340"/>
                </a:lnTo>
                <a:lnTo>
                  <a:pt x="489507" y="368843"/>
                </a:lnTo>
                <a:lnTo>
                  <a:pt x="482215" y="357855"/>
                </a:lnTo>
                <a:lnTo>
                  <a:pt x="399668" y="275282"/>
                </a:lnTo>
                <a:close/>
              </a:path>
              <a:path w="605790" h="555625">
                <a:moveTo>
                  <a:pt x="309772" y="310575"/>
                </a:moveTo>
                <a:lnTo>
                  <a:pt x="197455" y="310575"/>
                </a:lnTo>
                <a:lnTo>
                  <a:pt x="209827" y="313061"/>
                </a:lnTo>
                <a:lnTo>
                  <a:pt x="221470" y="318389"/>
                </a:lnTo>
                <a:lnTo>
                  <a:pt x="231856" y="326558"/>
                </a:lnTo>
                <a:lnTo>
                  <a:pt x="240024" y="336950"/>
                </a:lnTo>
                <a:lnTo>
                  <a:pt x="245349" y="348596"/>
                </a:lnTo>
                <a:lnTo>
                  <a:pt x="247834" y="360969"/>
                </a:lnTo>
                <a:lnTo>
                  <a:pt x="247479" y="373540"/>
                </a:lnTo>
                <a:lnTo>
                  <a:pt x="260044" y="373181"/>
                </a:lnTo>
                <a:lnTo>
                  <a:pt x="372363" y="373181"/>
                </a:lnTo>
                <a:lnTo>
                  <a:pt x="309772" y="310575"/>
                </a:lnTo>
                <a:close/>
              </a:path>
              <a:path w="605790" h="555625">
                <a:moveTo>
                  <a:pt x="130147" y="269873"/>
                </a:moveTo>
                <a:lnTo>
                  <a:pt x="75359" y="310935"/>
                </a:lnTo>
                <a:lnTo>
                  <a:pt x="65657" y="334379"/>
                </a:lnTo>
                <a:lnTo>
                  <a:pt x="68088" y="346873"/>
                </a:lnTo>
                <a:lnTo>
                  <a:pt x="75379" y="357855"/>
                </a:lnTo>
                <a:lnTo>
                  <a:pt x="86361" y="365153"/>
                </a:lnTo>
                <a:lnTo>
                  <a:pt x="98854" y="367585"/>
                </a:lnTo>
                <a:lnTo>
                  <a:pt x="111344" y="365153"/>
                </a:lnTo>
                <a:lnTo>
                  <a:pt x="122320" y="357855"/>
                </a:lnTo>
                <a:lnTo>
                  <a:pt x="153618" y="326558"/>
                </a:lnTo>
                <a:lnTo>
                  <a:pt x="160910" y="315571"/>
                </a:lnTo>
                <a:lnTo>
                  <a:pt x="163340" y="303077"/>
                </a:lnTo>
                <a:lnTo>
                  <a:pt x="160910" y="290582"/>
                </a:lnTo>
                <a:lnTo>
                  <a:pt x="153618" y="279596"/>
                </a:lnTo>
                <a:lnTo>
                  <a:pt x="142637" y="272304"/>
                </a:lnTo>
                <a:lnTo>
                  <a:pt x="130147" y="269873"/>
                </a:lnTo>
                <a:close/>
              </a:path>
              <a:path w="605790" h="555625">
                <a:moveTo>
                  <a:pt x="462254" y="212676"/>
                </a:moveTo>
                <a:lnTo>
                  <a:pt x="368365" y="212676"/>
                </a:lnTo>
                <a:lnTo>
                  <a:pt x="497869" y="342212"/>
                </a:lnTo>
                <a:lnTo>
                  <a:pt x="508850" y="349503"/>
                </a:lnTo>
                <a:lnTo>
                  <a:pt x="521340" y="351934"/>
                </a:lnTo>
                <a:lnTo>
                  <a:pt x="533830" y="349503"/>
                </a:lnTo>
                <a:lnTo>
                  <a:pt x="544810" y="342212"/>
                </a:lnTo>
                <a:lnTo>
                  <a:pt x="552102" y="331229"/>
                </a:lnTo>
                <a:lnTo>
                  <a:pt x="554532" y="318735"/>
                </a:lnTo>
                <a:lnTo>
                  <a:pt x="552102" y="306238"/>
                </a:lnTo>
                <a:lnTo>
                  <a:pt x="544810" y="295250"/>
                </a:lnTo>
                <a:lnTo>
                  <a:pt x="462254" y="212676"/>
                </a:lnTo>
                <a:close/>
              </a:path>
              <a:path w="605790" h="555625">
                <a:moveTo>
                  <a:pt x="372163" y="247767"/>
                </a:moveTo>
                <a:lnTo>
                  <a:pt x="130153" y="247767"/>
                </a:lnTo>
                <a:lnTo>
                  <a:pt x="150981" y="251813"/>
                </a:lnTo>
                <a:lnTo>
                  <a:pt x="169272" y="263952"/>
                </a:lnTo>
                <a:lnTo>
                  <a:pt x="177435" y="274344"/>
                </a:lnTo>
                <a:lnTo>
                  <a:pt x="182760" y="285991"/>
                </a:lnTo>
                <a:lnTo>
                  <a:pt x="185244" y="298364"/>
                </a:lnTo>
                <a:lnTo>
                  <a:pt x="184884" y="310935"/>
                </a:lnTo>
                <a:lnTo>
                  <a:pt x="197455" y="310575"/>
                </a:lnTo>
                <a:lnTo>
                  <a:pt x="309772" y="310575"/>
                </a:lnTo>
                <a:lnTo>
                  <a:pt x="290127" y="290925"/>
                </a:lnTo>
                <a:lnTo>
                  <a:pt x="290127" y="283920"/>
                </a:lnTo>
                <a:lnTo>
                  <a:pt x="298765" y="275282"/>
                </a:lnTo>
                <a:lnTo>
                  <a:pt x="399668" y="275282"/>
                </a:lnTo>
                <a:lnTo>
                  <a:pt x="372163" y="247767"/>
                </a:lnTo>
                <a:close/>
              </a:path>
              <a:path w="605790" h="555625">
                <a:moveTo>
                  <a:pt x="208391" y="735"/>
                </a:moveTo>
                <a:lnTo>
                  <a:pt x="170255" y="8156"/>
                </a:lnTo>
                <a:lnTo>
                  <a:pt x="136728" y="30420"/>
                </a:lnTo>
                <a:lnTo>
                  <a:pt x="29684" y="137485"/>
                </a:lnTo>
                <a:lnTo>
                  <a:pt x="7421" y="171021"/>
                </a:lnTo>
                <a:lnTo>
                  <a:pt x="0" y="209169"/>
                </a:lnTo>
                <a:lnTo>
                  <a:pt x="7421" y="247316"/>
                </a:lnTo>
                <a:lnTo>
                  <a:pt x="29684" y="280852"/>
                </a:lnTo>
                <a:lnTo>
                  <a:pt x="52699" y="303867"/>
                </a:lnTo>
                <a:lnTo>
                  <a:pt x="53705" y="302338"/>
                </a:lnTo>
                <a:lnTo>
                  <a:pt x="54794" y="300862"/>
                </a:lnTo>
                <a:lnTo>
                  <a:pt x="91033" y="263952"/>
                </a:lnTo>
                <a:lnTo>
                  <a:pt x="130153" y="247767"/>
                </a:lnTo>
                <a:lnTo>
                  <a:pt x="372163" y="247767"/>
                </a:lnTo>
                <a:lnTo>
                  <a:pt x="353023" y="228621"/>
                </a:lnTo>
                <a:lnTo>
                  <a:pt x="224035" y="228621"/>
                </a:lnTo>
                <a:lnTo>
                  <a:pt x="199054" y="223758"/>
                </a:lnTo>
                <a:lnTo>
                  <a:pt x="177094" y="209169"/>
                </a:lnTo>
                <a:lnTo>
                  <a:pt x="145796" y="177871"/>
                </a:lnTo>
                <a:lnTo>
                  <a:pt x="286630" y="36996"/>
                </a:lnTo>
                <a:lnTo>
                  <a:pt x="280054" y="30420"/>
                </a:lnTo>
                <a:lnTo>
                  <a:pt x="246527" y="8156"/>
                </a:lnTo>
                <a:lnTo>
                  <a:pt x="208391" y="735"/>
                </a:lnTo>
                <a:close/>
              </a:path>
              <a:path w="605790" h="555625">
                <a:moveTo>
                  <a:pt x="521340" y="83958"/>
                </a:moveTo>
                <a:lnTo>
                  <a:pt x="364858" y="83958"/>
                </a:lnTo>
                <a:lnTo>
                  <a:pt x="568286" y="287428"/>
                </a:lnTo>
                <a:lnTo>
                  <a:pt x="576108" y="279596"/>
                </a:lnTo>
                <a:lnTo>
                  <a:pt x="597983" y="246647"/>
                </a:lnTo>
                <a:lnTo>
                  <a:pt x="605274" y="209169"/>
                </a:lnTo>
                <a:lnTo>
                  <a:pt x="597983" y="171690"/>
                </a:lnTo>
                <a:lnTo>
                  <a:pt x="576108" y="138741"/>
                </a:lnTo>
                <a:lnTo>
                  <a:pt x="521340" y="83958"/>
                </a:lnTo>
                <a:close/>
              </a:path>
              <a:path w="605790" h="555625">
                <a:moveTo>
                  <a:pt x="364858" y="115266"/>
                </a:moveTo>
                <a:lnTo>
                  <a:pt x="270976" y="209169"/>
                </a:lnTo>
                <a:lnTo>
                  <a:pt x="249015" y="223758"/>
                </a:lnTo>
                <a:lnTo>
                  <a:pt x="224035" y="228621"/>
                </a:lnTo>
                <a:lnTo>
                  <a:pt x="353023" y="228621"/>
                </a:lnTo>
                <a:lnTo>
                  <a:pt x="352722" y="228320"/>
                </a:lnTo>
                <a:lnTo>
                  <a:pt x="352722" y="221315"/>
                </a:lnTo>
                <a:lnTo>
                  <a:pt x="361360" y="212676"/>
                </a:lnTo>
                <a:lnTo>
                  <a:pt x="462254" y="212676"/>
                </a:lnTo>
                <a:lnTo>
                  <a:pt x="364858" y="115266"/>
                </a:lnTo>
                <a:close/>
              </a:path>
              <a:path w="605790" h="555625">
                <a:moveTo>
                  <a:pt x="396156" y="0"/>
                </a:moveTo>
                <a:lnTo>
                  <a:pt x="358685" y="7293"/>
                </a:lnTo>
                <a:lnTo>
                  <a:pt x="325749" y="29174"/>
                </a:lnTo>
                <a:lnTo>
                  <a:pt x="177094" y="177871"/>
                </a:lnTo>
                <a:lnTo>
                  <a:pt x="192737" y="193515"/>
                </a:lnTo>
                <a:lnTo>
                  <a:pt x="207380" y="203245"/>
                </a:lnTo>
                <a:lnTo>
                  <a:pt x="224035" y="206488"/>
                </a:lnTo>
                <a:lnTo>
                  <a:pt x="240689" y="203245"/>
                </a:lnTo>
                <a:lnTo>
                  <a:pt x="255332" y="193515"/>
                </a:lnTo>
                <a:lnTo>
                  <a:pt x="364858" y="83958"/>
                </a:lnTo>
                <a:lnTo>
                  <a:pt x="521340" y="83958"/>
                </a:lnTo>
                <a:lnTo>
                  <a:pt x="466572" y="29174"/>
                </a:lnTo>
                <a:lnTo>
                  <a:pt x="433629" y="7293"/>
                </a:lnTo>
                <a:lnTo>
                  <a:pt x="396156" y="0"/>
                </a:lnTo>
                <a:close/>
              </a:path>
            </a:pathLst>
          </a:custGeom>
          <a:solidFill>
            <a:srgbClr val="000000"/>
          </a:solidFill>
        </p:spPr>
        <p:txBody>
          <a:bodyPr wrap="square" lIns="0" tIns="0" rIns="0" bIns="0" rtlCol="0"/>
          <a:lstStyle/>
          <a:p>
            <a:endParaRPr/>
          </a:p>
        </p:txBody>
      </p:sp>
      <p:sp>
        <p:nvSpPr>
          <p:cNvPr id="7" name="object 7"/>
          <p:cNvSpPr txBox="1"/>
          <p:nvPr/>
        </p:nvSpPr>
        <p:spPr>
          <a:xfrm>
            <a:off x="5360396" y="1691597"/>
            <a:ext cx="322610" cy="98749"/>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6" dirty="0">
                <a:latin typeface="Helvetica Neue"/>
                <a:cs typeface="Helvetica Neue"/>
              </a:rPr>
              <a:t> </a:t>
            </a:r>
            <a:r>
              <a:rPr sz="600" spc="2" dirty="0">
                <a:latin typeface="Helvetica Neue"/>
                <a:cs typeface="Helvetica Neue"/>
              </a:rPr>
              <a:t>1986</a:t>
            </a:r>
            <a:endParaRPr sz="600">
              <a:latin typeface="Helvetica Neue"/>
              <a:cs typeface="Helvetica Neue"/>
            </a:endParaRPr>
          </a:p>
        </p:txBody>
      </p:sp>
      <p:sp>
        <p:nvSpPr>
          <p:cNvPr id="8" name="object 8"/>
          <p:cNvSpPr/>
          <p:nvPr/>
        </p:nvSpPr>
        <p:spPr>
          <a:xfrm>
            <a:off x="5577327" y="1386273"/>
            <a:ext cx="101375" cy="288221"/>
          </a:xfrm>
          <a:custGeom>
            <a:avLst/>
            <a:gdLst/>
            <a:ahLst/>
            <a:cxnLst/>
            <a:rect l="l" t="t" r="r" b="b"/>
            <a:pathLst>
              <a:path w="222884" h="633729">
                <a:moveTo>
                  <a:pt x="0" y="0"/>
                </a:moveTo>
                <a:lnTo>
                  <a:pt x="0" y="633666"/>
                </a:lnTo>
                <a:lnTo>
                  <a:pt x="41747" y="615195"/>
                </a:lnTo>
                <a:lnTo>
                  <a:pt x="80305" y="591488"/>
                </a:lnTo>
                <a:lnTo>
                  <a:pt x="115215" y="562997"/>
                </a:lnTo>
                <a:lnTo>
                  <a:pt x="146015" y="530171"/>
                </a:lnTo>
                <a:lnTo>
                  <a:pt x="172246" y="493463"/>
                </a:lnTo>
                <a:lnTo>
                  <a:pt x="193449" y="453324"/>
                </a:lnTo>
                <a:lnTo>
                  <a:pt x="209163" y="410204"/>
                </a:lnTo>
                <a:lnTo>
                  <a:pt x="218929" y="364555"/>
                </a:lnTo>
                <a:lnTo>
                  <a:pt x="222286" y="316828"/>
                </a:lnTo>
                <a:lnTo>
                  <a:pt x="218929" y="269100"/>
                </a:lnTo>
                <a:lnTo>
                  <a:pt x="209163" y="223452"/>
                </a:lnTo>
                <a:lnTo>
                  <a:pt x="193449" y="180334"/>
                </a:lnTo>
                <a:lnTo>
                  <a:pt x="172246" y="140196"/>
                </a:lnTo>
                <a:lnTo>
                  <a:pt x="146015" y="103490"/>
                </a:lnTo>
                <a:lnTo>
                  <a:pt x="115215" y="70666"/>
                </a:lnTo>
                <a:lnTo>
                  <a:pt x="80305" y="42176"/>
                </a:lnTo>
                <a:lnTo>
                  <a:pt x="41747" y="18470"/>
                </a:lnTo>
                <a:lnTo>
                  <a:pt x="0" y="0"/>
                </a:lnTo>
                <a:close/>
              </a:path>
            </a:pathLst>
          </a:custGeom>
          <a:solidFill>
            <a:srgbClr val="C60E33"/>
          </a:solidFill>
        </p:spPr>
        <p:txBody>
          <a:bodyPr wrap="square" lIns="0" tIns="0" rIns="0" bIns="0" rtlCol="0"/>
          <a:lstStyle/>
          <a:p>
            <a:endParaRPr/>
          </a:p>
        </p:txBody>
      </p:sp>
      <p:sp>
        <p:nvSpPr>
          <p:cNvPr id="9" name="object 9"/>
          <p:cNvSpPr/>
          <p:nvPr/>
        </p:nvSpPr>
        <p:spPr>
          <a:xfrm>
            <a:off x="5371499" y="1386273"/>
            <a:ext cx="101375" cy="288221"/>
          </a:xfrm>
          <a:custGeom>
            <a:avLst/>
            <a:gdLst/>
            <a:ahLst/>
            <a:cxnLst/>
            <a:rect l="l" t="t" r="r" b="b"/>
            <a:pathLst>
              <a:path w="222884" h="633729">
                <a:moveTo>
                  <a:pt x="222296" y="0"/>
                </a:moveTo>
                <a:lnTo>
                  <a:pt x="180546" y="18470"/>
                </a:lnTo>
                <a:lnTo>
                  <a:pt x="141985" y="42176"/>
                </a:lnTo>
                <a:lnTo>
                  <a:pt x="107074" y="70666"/>
                </a:lnTo>
                <a:lnTo>
                  <a:pt x="76273" y="103490"/>
                </a:lnTo>
                <a:lnTo>
                  <a:pt x="50040" y="140196"/>
                </a:lnTo>
                <a:lnTo>
                  <a:pt x="28837" y="180334"/>
                </a:lnTo>
                <a:lnTo>
                  <a:pt x="13123" y="223452"/>
                </a:lnTo>
                <a:lnTo>
                  <a:pt x="3357" y="269100"/>
                </a:lnTo>
                <a:lnTo>
                  <a:pt x="0" y="316828"/>
                </a:lnTo>
                <a:lnTo>
                  <a:pt x="3357" y="364555"/>
                </a:lnTo>
                <a:lnTo>
                  <a:pt x="13123" y="410204"/>
                </a:lnTo>
                <a:lnTo>
                  <a:pt x="28837" y="453324"/>
                </a:lnTo>
                <a:lnTo>
                  <a:pt x="50040" y="493463"/>
                </a:lnTo>
                <a:lnTo>
                  <a:pt x="76273" y="530171"/>
                </a:lnTo>
                <a:lnTo>
                  <a:pt x="107074" y="562997"/>
                </a:lnTo>
                <a:lnTo>
                  <a:pt x="141985" y="591488"/>
                </a:lnTo>
                <a:lnTo>
                  <a:pt x="180546" y="615195"/>
                </a:lnTo>
                <a:lnTo>
                  <a:pt x="222296" y="633666"/>
                </a:lnTo>
                <a:lnTo>
                  <a:pt x="222296" y="0"/>
                </a:lnTo>
                <a:close/>
              </a:path>
            </a:pathLst>
          </a:custGeom>
          <a:solidFill>
            <a:srgbClr val="354083"/>
          </a:solidFill>
        </p:spPr>
        <p:txBody>
          <a:bodyPr wrap="square" lIns="0" tIns="0" rIns="0" bIns="0" rtlCol="0"/>
          <a:lstStyle/>
          <a:p>
            <a:endParaRPr/>
          </a:p>
        </p:txBody>
      </p:sp>
      <p:sp>
        <p:nvSpPr>
          <p:cNvPr id="10" name="object 10"/>
          <p:cNvSpPr/>
          <p:nvPr/>
        </p:nvSpPr>
        <p:spPr>
          <a:xfrm>
            <a:off x="5472607" y="1376911"/>
            <a:ext cx="104841" cy="306993"/>
          </a:xfrm>
          <a:custGeom>
            <a:avLst/>
            <a:gdLst/>
            <a:ahLst/>
            <a:cxnLst/>
            <a:rect l="l" t="t" r="r" b="b"/>
            <a:pathLst>
              <a:path w="230504" h="675004">
                <a:moveTo>
                  <a:pt x="115116" y="0"/>
                </a:moveTo>
                <a:lnTo>
                  <a:pt x="85105" y="1377"/>
                </a:lnTo>
                <a:lnTo>
                  <a:pt x="55862" y="5387"/>
                </a:lnTo>
                <a:lnTo>
                  <a:pt x="27466" y="11847"/>
                </a:lnTo>
                <a:lnTo>
                  <a:pt x="0" y="20575"/>
                </a:lnTo>
                <a:lnTo>
                  <a:pt x="0" y="654241"/>
                </a:lnTo>
                <a:lnTo>
                  <a:pt x="27466" y="662975"/>
                </a:lnTo>
                <a:lnTo>
                  <a:pt x="55862" y="669439"/>
                </a:lnTo>
                <a:lnTo>
                  <a:pt x="85105" y="673450"/>
                </a:lnTo>
                <a:lnTo>
                  <a:pt x="115116" y="674827"/>
                </a:lnTo>
                <a:lnTo>
                  <a:pt x="145128" y="673450"/>
                </a:lnTo>
                <a:lnTo>
                  <a:pt x="174371" y="669439"/>
                </a:lnTo>
                <a:lnTo>
                  <a:pt x="202767" y="662975"/>
                </a:lnTo>
                <a:lnTo>
                  <a:pt x="230233" y="654241"/>
                </a:lnTo>
                <a:lnTo>
                  <a:pt x="230233" y="20575"/>
                </a:lnTo>
                <a:lnTo>
                  <a:pt x="202767" y="11847"/>
                </a:lnTo>
                <a:lnTo>
                  <a:pt x="174371" y="5387"/>
                </a:lnTo>
                <a:lnTo>
                  <a:pt x="145128" y="1377"/>
                </a:lnTo>
                <a:lnTo>
                  <a:pt x="115116" y="0"/>
                </a:lnTo>
                <a:close/>
              </a:path>
            </a:pathLst>
          </a:custGeom>
          <a:solidFill>
            <a:srgbClr val="FFFFFF"/>
          </a:solidFill>
        </p:spPr>
        <p:txBody>
          <a:bodyPr wrap="square" lIns="0" tIns="0" rIns="0" bIns="0" rtlCol="0"/>
          <a:lstStyle/>
          <a:p>
            <a:endParaRPr/>
          </a:p>
        </p:txBody>
      </p:sp>
      <p:sp>
        <p:nvSpPr>
          <p:cNvPr id="11" name="object 11"/>
          <p:cNvSpPr txBox="1"/>
          <p:nvPr/>
        </p:nvSpPr>
        <p:spPr>
          <a:xfrm>
            <a:off x="7463677" y="1680542"/>
            <a:ext cx="322610" cy="98749"/>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6" dirty="0">
                <a:latin typeface="Helvetica Neue"/>
                <a:cs typeface="Helvetica Neue"/>
              </a:rPr>
              <a:t> </a:t>
            </a:r>
            <a:r>
              <a:rPr sz="600" spc="2" dirty="0">
                <a:latin typeface="Helvetica Neue"/>
                <a:cs typeface="Helvetica Neue"/>
              </a:rPr>
              <a:t>1992</a:t>
            </a:r>
            <a:endParaRPr sz="600">
              <a:latin typeface="Helvetica Neue"/>
              <a:cs typeface="Helvetica Neue"/>
            </a:endParaRPr>
          </a:p>
        </p:txBody>
      </p:sp>
      <p:sp>
        <p:nvSpPr>
          <p:cNvPr id="12" name="object 12"/>
          <p:cNvSpPr/>
          <p:nvPr/>
        </p:nvSpPr>
        <p:spPr>
          <a:xfrm>
            <a:off x="7466619" y="1365860"/>
            <a:ext cx="306029" cy="306007"/>
          </a:xfrm>
          <a:prstGeom prst="rect">
            <a:avLst/>
          </a:prstGeom>
          <a:blipFill>
            <a:blip r:embed="rId2" cstate="print"/>
            <a:stretch>
              <a:fillRect/>
            </a:stretch>
          </a:blipFill>
        </p:spPr>
        <p:txBody>
          <a:bodyPr wrap="square" lIns="0" tIns="0" rIns="0" bIns="0" rtlCol="0"/>
          <a:lstStyle/>
          <a:p>
            <a:endParaRPr/>
          </a:p>
        </p:txBody>
      </p:sp>
      <p:sp>
        <p:nvSpPr>
          <p:cNvPr id="14" name="object 14"/>
          <p:cNvSpPr/>
          <p:nvPr/>
        </p:nvSpPr>
        <p:spPr>
          <a:xfrm>
            <a:off x="4978323" y="1944965"/>
            <a:ext cx="1128126" cy="1128047"/>
          </a:xfrm>
          <a:custGeom>
            <a:avLst/>
            <a:gdLst/>
            <a:ahLst/>
            <a:cxnLst/>
            <a:rect l="l" t="t" r="r" b="b"/>
            <a:pathLst>
              <a:path w="2480309" h="2480309">
                <a:moveTo>
                  <a:pt x="1240098" y="0"/>
                </a:moveTo>
                <a:lnTo>
                  <a:pt x="1191403" y="938"/>
                </a:lnTo>
                <a:lnTo>
                  <a:pt x="1143185" y="3730"/>
                </a:lnTo>
                <a:lnTo>
                  <a:pt x="1095476" y="8343"/>
                </a:lnTo>
                <a:lnTo>
                  <a:pt x="1048311" y="14740"/>
                </a:lnTo>
                <a:lnTo>
                  <a:pt x="1001726" y="22887"/>
                </a:lnTo>
                <a:lnTo>
                  <a:pt x="955754" y="32751"/>
                </a:lnTo>
                <a:lnTo>
                  <a:pt x="910430" y="44297"/>
                </a:lnTo>
                <a:lnTo>
                  <a:pt x="865788" y="57490"/>
                </a:lnTo>
                <a:lnTo>
                  <a:pt x="821863" y="72295"/>
                </a:lnTo>
                <a:lnTo>
                  <a:pt x="778689" y="88679"/>
                </a:lnTo>
                <a:lnTo>
                  <a:pt x="736301" y="106607"/>
                </a:lnTo>
                <a:lnTo>
                  <a:pt x="694733" y="126044"/>
                </a:lnTo>
                <a:lnTo>
                  <a:pt x="654019" y="146956"/>
                </a:lnTo>
                <a:lnTo>
                  <a:pt x="614195" y="169309"/>
                </a:lnTo>
                <a:lnTo>
                  <a:pt x="575295" y="193067"/>
                </a:lnTo>
                <a:lnTo>
                  <a:pt x="537352" y="218197"/>
                </a:lnTo>
                <a:lnTo>
                  <a:pt x="500402" y="244665"/>
                </a:lnTo>
                <a:lnTo>
                  <a:pt x="464478" y="272434"/>
                </a:lnTo>
                <a:lnTo>
                  <a:pt x="429617" y="301472"/>
                </a:lnTo>
                <a:lnTo>
                  <a:pt x="395851" y="331744"/>
                </a:lnTo>
                <a:lnTo>
                  <a:pt x="363215" y="363215"/>
                </a:lnTo>
                <a:lnTo>
                  <a:pt x="331744" y="395851"/>
                </a:lnTo>
                <a:lnTo>
                  <a:pt x="301472" y="429617"/>
                </a:lnTo>
                <a:lnTo>
                  <a:pt x="272434" y="464478"/>
                </a:lnTo>
                <a:lnTo>
                  <a:pt x="244665" y="500402"/>
                </a:lnTo>
                <a:lnTo>
                  <a:pt x="218197" y="537352"/>
                </a:lnTo>
                <a:lnTo>
                  <a:pt x="193067" y="575295"/>
                </a:lnTo>
                <a:lnTo>
                  <a:pt x="169309" y="614195"/>
                </a:lnTo>
                <a:lnTo>
                  <a:pt x="146956" y="654019"/>
                </a:lnTo>
                <a:lnTo>
                  <a:pt x="126044" y="694733"/>
                </a:lnTo>
                <a:lnTo>
                  <a:pt x="106607" y="736301"/>
                </a:lnTo>
                <a:lnTo>
                  <a:pt x="88679" y="778689"/>
                </a:lnTo>
                <a:lnTo>
                  <a:pt x="72295" y="821863"/>
                </a:lnTo>
                <a:lnTo>
                  <a:pt x="57490" y="865788"/>
                </a:lnTo>
                <a:lnTo>
                  <a:pt x="44297" y="910430"/>
                </a:lnTo>
                <a:lnTo>
                  <a:pt x="32751" y="955754"/>
                </a:lnTo>
                <a:lnTo>
                  <a:pt x="22887" y="1001726"/>
                </a:lnTo>
                <a:lnTo>
                  <a:pt x="14740" y="1048311"/>
                </a:lnTo>
                <a:lnTo>
                  <a:pt x="8343" y="1095476"/>
                </a:lnTo>
                <a:lnTo>
                  <a:pt x="3730" y="1143185"/>
                </a:lnTo>
                <a:lnTo>
                  <a:pt x="938" y="1191403"/>
                </a:lnTo>
                <a:lnTo>
                  <a:pt x="0" y="1240098"/>
                </a:lnTo>
                <a:lnTo>
                  <a:pt x="938" y="1288792"/>
                </a:lnTo>
                <a:lnTo>
                  <a:pt x="3730" y="1337011"/>
                </a:lnTo>
                <a:lnTo>
                  <a:pt x="8343" y="1384720"/>
                </a:lnTo>
                <a:lnTo>
                  <a:pt x="14740" y="1431884"/>
                </a:lnTo>
                <a:lnTo>
                  <a:pt x="22887" y="1478470"/>
                </a:lnTo>
                <a:lnTo>
                  <a:pt x="32751" y="1524442"/>
                </a:lnTo>
                <a:lnTo>
                  <a:pt x="44297" y="1569766"/>
                </a:lnTo>
                <a:lnTo>
                  <a:pt x="57490" y="1614408"/>
                </a:lnTo>
                <a:lnTo>
                  <a:pt x="72295" y="1658333"/>
                </a:lnTo>
                <a:lnTo>
                  <a:pt x="88679" y="1701507"/>
                </a:lnTo>
                <a:lnTo>
                  <a:pt x="106607" y="1743895"/>
                </a:lnTo>
                <a:lnTo>
                  <a:pt x="126044" y="1785463"/>
                </a:lnTo>
                <a:lnTo>
                  <a:pt x="146956" y="1826176"/>
                </a:lnTo>
                <a:lnTo>
                  <a:pt x="169309" y="1866000"/>
                </a:lnTo>
                <a:lnTo>
                  <a:pt x="193067" y="1904901"/>
                </a:lnTo>
                <a:lnTo>
                  <a:pt x="218197" y="1942844"/>
                </a:lnTo>
                <a:lnTo>
                  <a:pt x="244665" y="1979794"/>
                </a:lnTo>
                <a:lnTo>
                  <a:pt x="272434" y="2015717"/>
                </a:lnTo>
                <a:lnTo>
                  <a:pt x="301472" y="2050579"/>
                </a:lnTo>
                <a:lnTo>
                  <a:pt x="331744" y="2084345"/>
                </a:lnTo>
                <a:lnTo>
                  <a:pt x="363215" y="2116981"/>
                </a:lnTo>
                <a:lnTo>
                  <a:pt x="395851" y="2148452"/>
                </a:lnTo>
                <a:lnTo>
                  <a:pt x="429617" y="2178723"/>
                </a:lnTo>
                <a:lnTo>
                  <a:pt x="464478" y="2207761"/>
                </a:lnTo>
                <a:lnTo>
                  <a:pt x="500402" y="2235531"/>
                </a:lnTo>
                <a:lnTo>
                  <a:pt x="537352" y="2261998"/>
                </a:lnTo>
                <a:lnTo>
                  <a:pt x="575295" y="2287129"/>
                </a:lnTo>
                <a:lnTo>
                  <a:pt x="614195" y="2310887"/>
                </a:lnTo>
                <a:lnTo>
                  <a:pt x="654019" y="2333240"/>
                </a:lnTo>
                <a:lnTo>
                  <a:pt x="694733" y="2354152"/>
                </a:lnTo>
                <a:lnTo>
                  <a:pt x="736301" y="2373589"/>
                </a:lnTo>
                <a:lnTo>
                  <a:pt x="778689" y="2391517"/>
                </a:lnTo>
                <a:lnTo>
                  <a:pt x="821863" y="2407900"/>
                </a:lnTo>
                <a:lnTo>
                  <a:pt x="865788" y="2422706"/>
                </a:lnTo>
                <a:lnTo>
                  <a:pt x="910430" y="2435899"/>
                </a:lnTo>
                <a:lnTo>
                  <a:pt x="955754" y="2447444"/>
                </a:lnTo>
                <a:lnTo>
                  <a:pt x="1001726" y="2457308"/>
                </a:lnTo>
                <a:lnTo>
                  <a:pt x="1048311" y="2465456"/>
                </a:lnTo>
                <a:lnTo>
                  <a:pt x="1095476" y="2471853"/>
                </a:lnTo>
                <a:lnTo>
                  <a:pt x="1143185" y="2476465"/>
                </a:lnTo>
                <a:lnTo>
                  <a:pt x="1191403" y="2479258"/>
                </a:lnTo>
                <a:lnTo>
                  <a:pt x="1240098" y="2480196"/>
                </a:lnTo>
                <a:lnTo>
                  <a:pt x="1288792" y="2479258"/>
                </a:lnTo>
                <a:lnTo>
                  <a:pt x="1337011" y="2476465"/>
                </a:lnTo>
                <a:lnTo>
                  <a:pt x="1384720" y="2471853"/>
                </a:lnTo>
                <a:lnTo>
                  <a:pt x="1431884" y="2465456"/>
                </a:lnTo>
                <a:lnTo>
                  <a:pt x="1478470" y="2457308"/>
                </a:lnTo>
                <a:lnTo>
                  <a:pt x="1524442" y="2447444"/>
                </a:lnTo>
                <a:lnTo>
                  <a:pt x="1569766" y="2435899"/>
                </a:lnTo>
                <a:lnTo>
                  <a:pt x="1614408" y="2422706"/>
                </a:lnTo>
                <a:lnTo>
                  <a:pt x="1658333" y="2407900"/>
                </a:lnTo>
                <a:lnTo>
                  <a:pt x="1701507" y="2391517"/>
                </a:lnTo>
                <a:lnTo>
                  <a:pt x="1743895" y="2373589"/>
                </a:lnTo>
                <a:lnTo>
                  <a:pt x="1785463" y="2354152"/>
                </a:lnTo>
                <a:lnTo>
                  <a:pt x="1826176" y="2333240"/>
                </a:lnTo>
                <a:lnTo>
                  <a:pt x="1866000" y="2310887"/>
                </a:lnTo>
                <a:lnTo>
                  <a:pt x="1904901" y="2287129"/>
                </a:lnTo>
                <a:lnTo>
                  <a:pt x="1942844" y="2261998"/>
                </a:lnTo>
                <a:lnTo>
                  <a:pt x="1979794" y="2235531"/>
                </a:lnTo>
                <a:lnTo>
                  <a:pt x="2015717" y="2207761"/>
                </a:lnTo>
                <a:lnTo>
                  <a:pt x="2050579" y="2178723"/>
                </a:lnTo>
                <a:lnTo>
                  <a:pt x="2084345" y="2148452"/>
                </a:lnTo>
                <a:lnTo>
                  <a:pt x="2116981" y="2116981"/>
                </a:lnTo>
                <a:lnTo>
                  <a:pt x="2148452" y="2084345"/>
                </a:lnTo>
                <a:lnTo>
                  <a:pt x="2178723" y="2050579"/>
                </a:lnTo>
                <a:lnTo>
                  <a:pt x="2207761" y="2015717"/>
                </a:lnTo>
                <a:lnTo>
                  <a:pt x="2235531" y="1979794"/>
                </a:lnTo>
                <a:lnTo>
                  <a:pt x="2261998" y="1942844"/>
                </a:lnTo>
                <a:lnTo>
                  <a:pt x="2287129" y="1904901"/>
                </a:lnTo>
                <a:lnTo>
                  <a:pt x="2310887" y="1866000"/>
                </a:lnTo>
                <a:lnTo>
                  <a:pt x="2333240" y="1826176"/>
                </a:lnTo>
                <a:lnTo>
                  <a:pt x="2354152" y="1785463"/>
                </a:lnTo>
                <a:lnTo>
                  <a:pt x="2373589" y="1743895"/>
                </a:lnTo>
                <a:lnTo>
                  <a:pt x="2391517" y="1701507"/>
                </a:lnTo>
                <a:lnTo>
                  <a:pt x="2407900" y="1658333"/>
                </a:lnTo>
                <a:lnTo>
                  <a:pt x="2422706" y="1614408"/>
                </a:lnTo>
                <a:lnTo>
                  <a:pt x="2435899" y="1569766"/>
                </a:lnTo>
                <a:lnTo>
                  <a:pt x="2447444" y="1524442"/>
                </a:lnTo>
                <a:lnTo>
                  <a:pt x="2457308" y="1478470"/>
                </a:lnTo>
                <a:lnTo>
                  <a:pt x="2465456" y="1431884"/>
                </a:lnTo>
                <a:lnTo>
                  <a:pt x="2471853" y="1384720"/>
                </a:lnTo>
                <a:lnTo>
                  <a:pt x="2476465" y="1337011"/>
                </a:lnTo>
                <a:lnTo>
                  <a:pt x="2479258" y="1288792"/>
                </a:lnTo>
                <a:lnTo>
                  <a:pt x="2480196" y="1240098"/>
                </a:lnTo>
                <a:lnTo>
                  <a:pt x="2479258" y="1191403"/>
                </a:lnTo>
                <a:lnTo>
                  <a:pt x="2476465" y="1143185"/>
                </a:lnTo>
                <a:lnTo>
                  <a:pt x="2471853" y="1095476"/>
                </a:lnTo>
                <a:lnTo>
                  <a:pt x="2465456" y="1048311"/>
                </a:lnTo>
                <a:lnTo>
                  <a:pt x="2457308" y="1001726"/>
                </a:lnTo>
                <a:lnTo>
                  <a:pt x="2447444" y="955754"/>
                </a:lnTo>
                <a:lnTo>
                  <a:pt x="2435899" y="910430"/>
                </a:lnTo>
                <a:lnTo>
                  <a:pt x="2422706" y="865788"/>
                </a:lnTo>
                <a:lnTo>
                  <a:pt x="2407900" y="821863"/>
                </a:lnTo>
                <a:lnTo>
                  <a:pt x="2391517" y="778689"/>
                </a:lnTo>
                <a:lnTo>
                  <a:pt x="2373589" y="736301"/>
                </a:lnTo>
                <a:lnTo>
                  <a:pt x="2354152" y="694733"/>
                </a:lnTo>
                <a:lnTo>
                  <a:pt x="2333240" y="654019"/>
                </a:lnTo>
                <a:lnTo>
                  <a:pt x="2310887" y="614195"/>
                </a:lnTo>
                <a:lnTo>
                  <a:pt x="2287129" y="575295"/>
                </a:lnTo>
                <a:lnTo>
                  <a:pt x="2261998" y="537352"/>
                </a:lnTo>
                <a:lnTo>
                  <a:pt x="2235531" y="500402"/>
                </a:lnTo>
                <a:lnTo>
                  <a:pt x="2207761" y="464478"/>
                </a:lnTo>
                <a:lnTo>
                  <a:pt x="2178723" y="429617"/>
                </a:lnTo>
                <a:lnTo>
                  <a:pt x="2148452" y="395851"/>
                </a:lnTo>
                <a:lnTo>
                  <a:pt x="2116981" y="363215"/>
                </a:lnTo>
                <a:lnTo>
                  <a:pt x="2084345" y="331744"/>
                </a:lnTo>
                <a:lnTo>
                  <a:pt x="2050579" y="301472"/>
                </a:lnTo>
                <a:lnTo>
                  <a:pt x="2015717" y="272434"/>
                </a:lnTo>
                <a:lnTo>
                  <a:pt x="1979794" y="244665"/>
                </a:lnTo>
                <a:lnTo>
                  <a:pt x="1942844" y="218197"/>
                </a:lnTo>
                <a:lnTo>
                  <a:pt x="1904901" y="193067"/>
                </a:lnTo>
                <a:lnTo>
                  <a:pt x="1866000" y="169309"/>
                </a:lnTo>
                <a:lnTo>
                  <a:pt x="1826176" y="146956"/>
                </a:lnTo>
                <a:lnTo>
                  <a:pt x="1785463" y="126044"/>
                </a:lnTo>
                <a:lnTo>
                  <a:pt x="1743895" y="106607"/>
                </a:lnTo>
                <a:lnTo>
                  <a:pt x="1701507" y="88679"/>
                </a:lnTo>
                <a:lnTo>
                  <a:pt x="1658333" y="72295"/>
                </a:lnTo>
                <a:lnTo>
                  <a:pt x="1614408" y="57490"/>
                </a:lnTo>
                <a:lnTo>
                  <a:pt x="1569766" y="44297"/>
                </a:lnTo>
                <a:lnTo>
                  <a:pt x="1524442" y="32751"/>
                </a:lnTo>
                <a:lnTo>
                  <a:pt x="1478470" y="22887"/>
                </a:lnTo>
                <a:lnTo>
                  <a:pt x="1431884" y="14740"/>
                </a:lnTo>
                <a:lnTo>
                  <a:pt x="1384720" y="8343"/>
                </a:lnTo>
                <a:lnTo>
                  <a:pt x="1337011" y="3730"/>
                </a:lnTo>
                <a:lnTo>
                  <a:pt x="1288792" y="938"/>
                </a:lnTo>
                <a:lnTo>
                  <a:pt x="1240098" y="0"/>
                </a:lnTo>
                <a:close/>
              </a:path>
            </a:pathLst>
          </a:custGeom>
          <a:solidFill>
            <a:srgbClr val="FFFFFF"/>
          </a:solidFill>
        </p:spPr>
        <p:txBody>
          <a:bodyPr wrap="square" lIns="0" tIns="0" rIns="0" bIns="0" rtlCol="0"/>
          <a:lstStyle/>
          <a:p>
            <a:endParaRPr/>
          </a:p>
        </p:txBody>
      </p:sp>
      <p:sp>
        <p:nvSpPr>
          <p:cNvPr id="15" name="object 15"/>
          <p:cNvSpPr txBox="1"/>
          <p:nvPr/>
        </p:nvSpPr>
        <p:spPr>
          <a:xfrm>
            <a:off x="5293465" y="2323484"/>
            <a:ext cx="514675" cy="297462"/>
          </a:xfrm>
          <a:prstGeom prst="rect">
            <a:avLst/>
          </a:prstGeom>
        </p:spPr>
        <p:txBody>
          <a:bodyPr vert="horz" wrap="square" lIns="0" tIns="6931" rIns="0" bIns="0" rtlCol="0">
            <a:spAutoFit/>
          </a:bodyPr>
          <a:lstStyle/>
          <a:p>
            <a:pPr marL="5776">
              <a:spcBef>
                <a:spcPts val="55"/>
              </a:spcBef>
            </a:pPr>
            <a:r>
              <a:rPr sz="1900" b="1" spc="7" dirty="0">
                <a:solidFill>
                  <a:srgbClr val="FF7900"/>
                </a:solidFill>
                <a:latin typeface="Helvetica Neue"/>
                <a:cs typeface="Helvetica Neue"/>
              </a:rPr>
              <a:t>73%</a:t>
            </a:r>
            <a:endParaRPr sz="1900">
              <a:latin typeface="Helvetica Neue"/>
              <a:cs typeface="Helvetica Neue"/>
            </a:endParaRPr>
          </a:p>
        </p:txBody>
      </p:sp>
      <p:sp>
        <p:nvSpPr>
          <p:cNvPr id="16" name="object 16"/>
          <p:cNvSpPr/>
          <p:nvPr/>
        </p:nvSpPr>
        <p:spPr>
          <a:xfrm>
            <a:off x="5165232" y="2125553"/>
            <a:ext cx="763925" cy="748566"/>
          </a:xfrm>
          <a:custGeom>
            <a:avLst/>
            <a:gdLst/>
            <a:ahLst/>
            <a:cxnLst/>
            <a:rect l="l" t="t" r="r" b="b"/>
            <a:pathLst>
              <a:path w="1679575" h="1645920">
                <a:moveTo>
                  <a:pt x="1679498" y="822896"/>
                </a:moveTo>
                <a:lnTo>
                  <a:pt x="1678073" y="871247"/>
                </a:lnTo>
                <a:lnTo>
                  <a:pt x="1673849" y="918862"/>
                </a:lnTo>
                <a:lnTo>
                  <a:pt x="1666905" y="965664"/>
                </a:lnTo>
                <a:lnTo>
                  <a:pt x="1657320" y="1011576"/>
                </a:lnTo>
                <a:lnTo>
                  <a:pt x="1645173" y="1056521"/>
                </a:lnTo>
                <a:lnTo>
                  <a:pt x="1630542" y="1100422"/>
                </a:lnTo>
                <a:lnTo>
                  <a:pt x="1613506" y="1143200"/>
                </a:lnTo>
                <a:lnTo>
                  <a:pt x="1594145" y="1184781"/>
                </a:lnTo>
                <a:lnTo>
                  <a:pt x="1572536" y="1225085"/>
                </a:lnTo>
                <a:lnTo>
                  <a:pt x="1548759" y="1264036"/>
                </a:lnTo>
                <a:lnTo>
                  <a:pt x="1522892" y="1301556"/>
                </a:lnTo>
                <a:lnTo>
                  <a:pt x="1495015" y="1337569"/>
                </a:lnTo>
                <a:lnTo>
                  <a:pt x="1465204" y="1371998"/>
                </a:lnTo>
                <a:lnTo>
                  <a:pt x="1433541" y="1404764"/>
                </a:lnTo>
                <a:lnTo>
                  <a:pt x="1400103" y="1435792"/>
                </a:lnTo>
                <a:lnTo>
                  <a:pt x="1364969" y="1465003"/>
                </a:lnTo>
                <a:lnTo>
                  <a:pt x="1328217" y="1492321"/>
                </a:lnTo>
                <a:lnTo>
                  <a:pt x="1289928" y="1517669"/>
                </a:lnTo>
                <a:lnTo>
                  <a:pt x="1250178" y="1540968"/>
                </a:lnTo>
                <a:lnTo>
                  <a:pt x="1209048" y="1562143"/>
                </a:lnTo>
                <a:lnTo>
                  <a:pt x="1166615" y="1581115"/>
                </a:lnTo>
                <a:lnTo>
                  <a:pt x="1122959" y="1597809"/>
                </a:lnTo>
                <a:lnTo>
                  <a:pt x="1078159" y="1612146"/>
                </a:lnTo>
                <a:lnTo>
                  <a:pt x="1032293" y="1624049"/>
                </a:lnTo>
                <a:lnTo>
                  <a:pt x="985439" y="1633441"/>
                </a:lnTo>
                <a:lnTo>
                  <a:pt x="937677" y="1640246"/>
                </a:lnTo>
                <a:lnTo>
                  <a:pt x="889086" y="1644385"/>
                </a:lnTo>
                <a:lnTo>
                  <a:pt x="839744" y="1645782"/>
                </a:lnTo>
                <a:lnTo>
                  <a:pt x="790402" y="1644385"/>
                </a:lnTo>
                <a:lnTo>
                  <a:pt x="741812" y="1640246"/>
                </a:lnTo>
                <a:lnTo>
                  <a:pt x="694051" y="1633441"/>
                </a:lnTo>
                <a:lnTo>
                  <a:pt x="647198" y="1624049"/>
                </a:lnTo>
                <a:lnTo>
                  <a:pt x="601333" y="1612146"/>
                </a:lnTo>
                <a:lnTo>
                  <a:pt x="556533" y="1597809"/>
                </a:lnTo>
                <a:lnTo>
                  <a:pt x="512878" y="1581115"/>
                </a:lnTo>
                <a:lnTo>
                  <a:pt x="470446" y="1562143"/>
                </a:lnTo>
                <a:lnTo>
                  <a:pt x="429316" y="1540968"/>
                </a:lnTo>
                <a:lnTo>
                  <a:pt x="389567" y="1517669"/>
                </a:lnTo>
                <a:lnTo>
                  <a:pt x="351278" y="1492321"/>
                </a:lnTo>
                <a:lnTo>
                  <a:pt x="314527" y="1465003"/>
                </a:lnTo>
                <a:lnTo>
                  <a:pt x="279393" y="1435792"/>
                </a:lnTo>
                <a:lnTo>
                  <a:pt x="245955" y="1404764"/>
                </a:lnTo>
                <a:lnTo>
                  <a:pt x="214292" y="1371998"/>
                </a:lnTo>
                <a:lnTo>
                  <a:pt x="184482" y="1337569"/>
                </a:lnTo>
                <a:lnTo>
                  <a:pt x="156605" y="1301556"/>
                </a:lnTo>
                <a:lnTo>
                  <a:pt x="130738" y="1264036"/>
                </a:lnTo>
                <a:lnTo>
                  <a:pt x="106961" y="1225085"/>
                </a:lnTo>
                <a:lnTo>
                  <a:pt x="85352" y="1184781"/>
                </a:lnTo>
                <a:lnTo>
                  <a:pt x="65991" y="1143200"/>
                </a:lnTo>
                <a:lnTo>
                  <a:pt x="48956" y="1100422"/>
                </a:lnTo>
                <a:lnTo>
                  <a:pt x="34325" y="1056521"/>
                </a:lnTo>
                <a:lnTo>
                  <a:pt x="22178" y="1011576"/>
                </a:lnTo>
                <a:lnTo>
                  <a:pt x="12593" y="965664"/>
                </a:lnTo>
                <a:lnTo>
                  <a:pt x="5649" y="918862"/>
                </a:lnTo>
                <a:lnTo>
                  <a:pt x="1425" y="871247"/>
                </a:lnTo>
                <a:lnTo>
                  <a:pt x="0" y="822896"/>
                </a:lnTo>
                <a:lnTo>
                  <a:pt x="1425" y="774545"/>
                </a:lnTo>
                <a:lnTo>
                  <a:pt x="5649" y="726930"/>
                </a:lnTo>
                <a:lnTo>
                  <a:pt x="12593" y="680127"/>
                </a:lnTo>
                <a:lnTo>
                  <a:pt x="22178" y="634215"/>
                </a:lnTo>
                <a:lnTo>
                  <a:pt x="34325" y="589270"/>
                </a:lnTo>
                <a:lnTo>
                  <a:pt x="48956" y="545369"/>
                </a:lnTo>
                <a:lnTo>
                  <a:pt x="65991" y="502590"/>
                </a:lnTo>
                <a:lnTo>
                  <a:pt x="85352" y="461009"/>
                </a:lnTo>
                <a:lnTo>
                  <a:pt x="106961" y="420705"/>
                </a:lnTo>
                <a:lnTo>
                  <a:pt x="130738" y="381753"/>
                </a:lnTo>
                <a:lnTo>
                  <a:pt x="156605" y="344232"/>
                </a:lnTo>
                <a:lnTo>
                  <a:pt x="184482" y="308218"/>
                </a:lnTo>
                <a:lnTo>
                  <a:pt x="214292" y="273789"/>
                </a:lnTo>
                <a:lnTo>
                  <a:pt x="245955" y="241022"/>
                </a:lnTo>
                <a:lnTo>
                  <a:pt x="279393" y="209994"/>
                </a:lnTo>
                <a:lnTo>
                  <a:pt x="314527" y="180782"/>
                </a:lnTo>
                <a:lnTo>
                  <a:pt x="351278" y="153464"/>
                </a:lnTo>
                <a:lnTo>
                  <a:pt x="389567" y="128116"/>
                </a:lnTo>
                <a:lnTo>
                  <a:pt x="429316" y="104816"/>
                </a:lnTo>
                <a:lnTo>
                  <a:pt x="470446" y="83641"/>
                </a:lnTo>
                <a:lnTo>
                  <a:pt x="512878" y="64668"/>
                </a:lnTo>
                <a:lnTo>
                  <a:pt x="556533" y="47974"/>
                </a:lnTo>
                <a:lnTo>
                  <a:pt x="601333" y="33637"/>
                </a:lnTo>
                <a:lnTo>
                  <a:pt x="647198" y="21733"/>
                </a:lnTo>
                <a:lnTo>
                  <a:pt x="694051" y="12340"/>
                </a:lnTo>
                <a:lnTo>
                  <a:pt x="741812" y="5536"/>
                </a:lnTo>
                <a:lnTo>
                  <a:pt x="790402" y="1396"/>
                </a:lnTo>
                <a:lnTo>
                  <a:pt x="839744" y="0"/>
                </a:lnTo>
                <a:lnTo>
                  <a:pt x="889086" y="1396"/>
                </a:lnTo>
                <a:lnTo>
                  <a:pt x="937677" y="5536"/>
                </a:lnTo>
                <a:lnTo>
                  <a:pt x="985439" y="12340"/>
                </a:lnTo>
                <a:lnTo>
                  <a:pt x="1032293" y="21733"/>
                </a:lnTo>
                <a:lnTo>
                  <a:pt x="1078159" y="33637"/>
                </a:lnTo>
                <a:lnTo>
                  <a:pt x="1122959" y="47974"/>
                </a:lnTo>
                <a:lnTo>
                  <a:pt x="1166615" y="64668"/>
                </a:lnTo>
                <a:lnTo>
                  <a:pt x="1209048" y="83641"/>
                </a:lnTo>
                <a:lnTo>
                  <a:pt x="1250178" y="104816"/>
                </a:lnTo>
                <a:lnTo>
                  <a:pt x="1289928" y="128116"/>
                </a:lnTo>
                <a:lnTo>
                  <a:pt x="1328217" y="153464"/>
                </a:lnTo>
                <a:lnTo>
                  <a:pt x="1364969" y="180782"/>
                </a:lnTo>
                <a:lnTo>
                  <a:pt x="1400103" y="209994"/>
                </a:lnTo>
                <a:lnTo>
                  <a:pt x="1433541" y="241022"/>
                </a:lnTo>
                <a:lnTo>
                  <a:pt x="1465204" y="273789"/>
                </a:lnTo>
                <a:lnTo>
                  <a:pt x="1495015" y="308218"/>
                </a:lnTo>
                <a:lnTo>
                  <a:pt x="1522892" y="344232"/>
                </a:lnTo>
                <a:lnTo>
                  <a:pt x="1548759" y="381753"/>
                </a:lnTo>
                <a:lnTo>
                  <a:pt x="1572536" y="420705"/>
                </a:lnTo>
                <a:lnTo>
                  <a:pt x="1594145" y="461009"/>
                </a:lnTo>
                <a:lnTo>
                  <a:pt x="1613506" y="502590"/>
                </a:lnTo>
                <a:lnTo>
                  <a:pt x="1630542" y="545369"/>
                </a:lnTo>
                <a:lnTo>
                  <a:pt x="1645173" y="589270"/>
                </a:lnTo>
                <a:lnTo>
                  <a:pt x="1657320" y="634215"/>
                </a:lnTo>
                <a:lnTo>
                  <a:pt x="1666905" y="680127"/>
                </a:lnTo>
                <a:lnTo>
                  <a:pt x="1673849" y="726930"/>
                </a:lnTo>
                <a:lnTo>
                  <a:pt x="1678073" y="774545"/>
                </a:lnTo>
                <a:lnTo>
                  <a:pt x="1679498" y="822896"/>
                </a:lnTo>
                <a:close/>
              </a:path>
            </a:pathLst>
          </a:custGeom>
          <a:ln w="16711">
            <a:solidFill>
              <a:srgbClr val="808080"/>
            </a:solidFill>
          </a:ln>
        </p:spPr>
        <p:txBody>
          <a:bodyPr wrap="square" lIns="0" tIns="0" rIns="0" bIns="0" rtlCol="0"/>
          <a:lstStyle/>
          <a:p>
            <a:endParaRPr/>
          </a:p>
        </p:txBody>
      </p:sp>
      <p:sp>
        <p:nvSpPr>
          <p:cNvPr id="17" name="object 17"/>
          <p:cNvSpPr/>
          <p:nvPr/>
        </p:nvSpPr>
        <p:spPr>
          <a:xfrm>
            <a:off x="5054486" y="2012849"/>
            <a:ext cx="989782" cy="993755"/>
          </a:xfrm>
          <a:custGeom>
            <a:avLst/>
            <a:gdLst/>
            <a:ahLst/>
            <a:cxnLst/>
            <a:rect l="l" t="t" r="r" b="b"/>
            <a:pathLst>
              <a:path w="2176144" h="2185034">
                <a:moveTo>
                  <a:pt x="509021" y="1166959"/>
                </a:moveTo>
                <a:lnTo>
                  <a:pt x="0" y="1234873"/>
                </a:lnTo>
                <a:lnTo>
                  <a:pt x="7159" y="1281846"/>
                </a:lnTo>
                <a:lnTo>
                  <a:pt x="16291" y="1328141"/>
                </a:lnTo>
                <a:lnTo>
                  <a:pt x="27351" y="1373713"/>
                </a:lnTo>
                <a:lnTo>
                  <a:pt x="40294" y="1418518"/>
                </a:lnTo>
                <a:lnTo>
                  <a:pt x="55075" y="1462511"/>
                </a:lnTo>
                <a:lnTo>
                  <a:pt x="71651" y="1505647"/>
                </a:lnTo>
                <a:lnTo>
                  <a:pt x="89976" y="1547883"/>
                </a:lnTo>
                <a:lnTo>
                  <a:pt x="110005" y="1589173"/>
                </a:lnTo>
                <a:lnTo>
                  <a:pt x="131696" y="1629473"/>
                </a:lnTo>
                <a:lnTo>
                  <a:pt x="155002" y="1668738"/>
                </a:lnTo>
                <a:lnTo>
                  <a:pt x="179879" y="1706924"/>
                </a:lnTo>
                <a:lnTo>
                  <a:pt x="206283" y="1743987"/>
                </a:lnTo>
                <a:lnTo>
                  <a:pt x="234169" y="1779881"/>
                </a:lnTo>
                <a:lnTo>
                  <a:pt x="263492" y="1814562"/>
                </a:lnTo>
                <a:lnTo>
                  <a:pt x="294209" y="1847985"/>
                </a:lnTo>
                <a:lnTo>
                  <a:pt x="326274" y="1880107"/>
                </a:lnTo>
                <a:lnTo>
                  <a:pt x="359643" y="1910882"/>
                </a:lnTo>
                <a:lnTo>
                  <a:pt x="394271" y="1940267"/>
                </a:lnTo>
                <a:lnTo>
                  <a:pt x="430114" y="1968215"/>
                </a:lnTo>
                <a:lnTo>
                  <a:pt x="467128" y="1994683"/>
                </a:lnTo>
                <a:lnTo>
                  <a:pt x="505267" y="2019627"/>
                </a:lnTo>
                <a:lnTo>
                  <a:pt x="544487" y="2043001"/>
                </a:lnTo>
                <a:lnTo>
                  <a:pt x="584743" y="2064761"/>
                </a:lnTo>
                <a:lnTo>
                  <a:pt x="625992" y="2084863"/>
                </a:lnTo>
                <a:lnTo>
                  <a:pt x="668188" y="2103262"/>
                </a:lnTo>
                <a:lnTo>
                  <a:pt x="711287" y="2119913"/>
                </a:lnTo>
                <a:lnTo>
                  <a:pt x="755244" y="2134772"/>
                </a:lnTo>
                <a:lnTo>
                  <a:pt x="800015" y="2147795"/>
                </a:lnTo>
                <a:lnTo>
                  <a:pt x="845555" y="2158936"/>
                </a:lnTo>
                <a:lnTo>
                  <a:pt x="891819" y="2168152"/>
                </a:lnTo>
                <a:lnTo>
                  <a:pt x="938764" y="2175397"/>
                </a:lnTo>
                <a:lnTo>
                  <a:pt x="986345" y="2180627"/>
                </a:lnTo>
                <a:lnTo>
                  <a:pt x="1034628" y="2183801"/>
                </a:lnTo>
                <a:lnTo>
                  <a:pt x="1083234" y="2184865"/>
                </a:lnTo>
                <a:lnTo>
                  <a:pt x="1131932" y="2183798"/>
                </a:lnTo>
                <a:lnTo>
                  <a:pt x="1180099" y="2180627"/>
                </a:lnTo>
                <a:lnTo>
                  <a:pt x="1227537" y="2175419"/>
                </a:lnTo>
                <a:lnTo>
                  <a:pt x="1274430" y="2168190"/>
                </a:lnTo>
                <a:lnTo>
                  <a:pt x="1320644" y="2158995"/>
                </a:lnTo>
                <a:lnTo>
                  <a:pt x="1366136" y="2147879"/>
                </a:lnTo>
                <a:lnTo>
                  <a:pt x="1410861" y="2134885"/>
                </a:lnTo>
                <a:lnTo>
                  <a:pt x="1454774" y="2120059"/>
                </a:lnTo>
                <a:lnTo>
                  <a:pt x="1497831" y="2103445"/>
                </a:lnTo>
                <a:lnTo>
                  <a:pt x="1539988" y="2085086"/>
                </a:lnTo>
                <a:lnTo>
                  <a:pt x="1581200" y="2065028"/>
                </a:lnTo>
                <a:lnTo>
                  <a:pt x="1621423" y="2043315"/>
                </a:lnTo>
                <a:lnTo>
                  <a:pt x="1660613" y="2019991"/>
                </a:lnTo>
                <a:lnTo>
                  <a:pt x="1698724" y="1995100"/>
                </a:lnTo>
                <a:lnTo>
                  <a:pt x="1735714" y="1968688"/>
                </a:lnTo>
                <a:lnTo>
                  <a:pt x="1771536" y="1940798"/>
                </a:lnTo>
                <a:lnTo>
                  <a:pt x="1806148" y="1911475"/>
                </a:lnTo>
                <a:lnTo>
                  <a:pt x="1839504" y="1880764"/>
                </a:lnTo>
                <a:lnTo>
                  <a:pt x="1871560" y="1848708"/>
                </a:lnTo>
                <a:lnTo>
                  <a:pt x="1902271" y="1815352"/>
                </a:lnTo>
                <a:lnTo>
                  <a:pt x="1931594" y="1780740"/>
                </a:lnTo>
                <a:lnTo>
                  <a:pt x="1959484" y="1744917"/>
                </a:lnTo>
                <a:lnTo>
                  <a:pt x="1985896" y="1707928"/>
                </a:lnTo>
                <a:lnTo>
                  <a:pt x="2009782" y="1671355"/>
                </a:lnTo>
                <a:lnTo>
                  <a:pt x="1068601" y="1671355"/>
                </a:lnTo>
                <a:lnTo>
                  <a:pt x="1023712" y="1668504"/>
                </a:lnTo>
                <a:lnTo>
                  <a:pt x="978888" y="1662101"/>
                </a:lnTo>
                <a:lnTo>
                  <a:pt x="934333" y="1652088"/>
                </a:lnTo>
                <a:lnTo>
                  <a:pt x="890248" y="1638407"/>
                </a:lnTo>
                <a:lnTo>
                  <a:pt x="846836" y="1620999"/>
                </a:lnTo>
                <a:lnTo>
                  <a:pt x="804300" y="1599804"/>
                </a:lnTo>
                <a:lnTo>
                  <a:pt x="760047" y="1572873"/>
                </a:lnTo>
                <a:lnTo>
                  <a:pt x="719047" y="1542670"/>
                </a:lnTo>
                <a:lnTo>
                  <a:pt x="681376" y="1509458"/>
                </a:lnTo>
                <a:lnTo>
                  <a:pt x="647111" y="1473500"/>
                </a:lnTo>
                <a:lnTo>
                  <a:pt x="616327" y="1435057"/>
                </a:lnTo>
                <a:lnTo>
                  <a:pt x="589102" y="1394394"/>
                </a:lnTo>
                <a:lnTo>
                  <a:pt x="565512" y="1351772"/>
                </a:lnTo>
                <a:lnTo>
                  <a:pt x="545632" y="1307455"/>
                </a:lnTo>
                <a:lnTo>
                  <a:pt x="529539" y="1261705"/>
                </a:lnTo>
                <a:lnTo>
                  <a:pt x="517310" y="1214785"/>
                </a:lnTo>
                <a:lnTo>
                  <a:pt x="509021" y="1166959"/>
                </a:lnTo>
                <a:close/>
              </a:path>
              <a:path w="2176144" h="2185034">
                <a:moveTo>
                  <a:pt x="1083234" y="0"/>
                </a:moveTo>
                <a:lnTo>
                  <a:pt x="1083234" y="513439"/>
                </a:lnTo>
                <a:lnTo>
                  <a:pt x="1131823" y="515482"/>
                </a:lnTo>
                <a:lnTo>
                  <a:pt x="1179903" y="521567"/>
                </a:lnTo>
                <a:lnTo>
                  <a:pt x="1227224" y="531631"/>
                </a:lnTo>
                <a:lnTo>
                  <a:pt x="1273540" y="545611"/>
                </a:lnTo>
                <a:lnTo>
                  <a:pt x="1318604" y="563441"/>
                </a:lnTo>
                <a:lnTo>
                  <a:pt x="1362167" y="585060"/>
                </a:lnTo>
                <a:lnTo>
                  <a:pt x="1402855" y="609619"/>
                </a:lnTo>
                <a:lnTo>
                  <a:pt x="1440814" y="636945"/>
                </a:lnTo>
                <a:lnTo>
                  <a:pt x="1475987" y="666836"/>
                </a:lnTo>
                <a:lnTo>
                  <a:pt x="1508314" y="699090"/>
                </a:lnTo>
                <a:lnTo>
                  <a:pt x="1537737" y="733504"/>
                </a:lnTo>
                <a:lnTo>
                  <a:pt x="1564197" y="769876"/>
                </a:lnTo>
                <a:lnTo>
                  <a:pt x="1587635" y="808004"/>
                </a:lnTo>
                <a:lnTo>
                  <a:pt x="1607993" y="847686"/>
                </a:lnTo>
                <a:lnTo>
                  <a:pt x="1625211" y="888718"/>
                </a:lnTo>
                <a:lnTo>
                  <a:pt x="1639231" y="930899"/>
                </a:lnTo>
                <a:lnTo>
                  <a:pt x="1649994" y="974026"/>
                </a:lnTo>
                <a:lnTo>
                  <a:pt x="1657441" y="1017897"/>
                </a:lnTo>
                <a:lnTo>
                  <a:pt x="1661514" y="1062310"/>
                </a:lnTo>
                <a:lnTo>
                  <a:pt x="1662154" y="1107062"/>
                </a:lnTo>
                <a:lnTo>
                  <a:pt x="1659301" y="1151950"/>
                </a:lnTo>
                <a:lnTo>
                  <a:pt x="1652898" y="1196773"/>
                </a:lnTo>
                <a:lnTo>
                  <a:pt x="1642885" y="1241328"/>
                </a:lnTo>
                <a:lnTo>
                  <a:pt x="1629203" y="1285412"/>
                </a:lnTo>
                <a:lnTo>
                  <a:pt x="1611795" y="1328824"/>
                </a:lnTo>
                <a:lnTo>
                  <a:pt x="1590600" y="1371361"/>
                </a:lnTo>
                <a:lnTo>
                  <a:pt x="1566043" y="1412048"/>
                </a:lnTo>
                <a:lnTo>
                  <a:pt x="1538719" y="1450008"/>
                </a:lnTo>
                <a:lnTo>
                  <a:pt x="1508828" y="1485181"/>
                </a:lnTo>
                <a:lnTo>
                  <a:pt x="1476575" y="1517509"/>
                </a:lnTo>
                <a:lnTo>
                  <a:pt x="1442161" y="1546932"/>
                </a:lnTo>
                <a:lnTo>
                  <a:pt x="1405789" y="1573393"/>
                </a:lnTo>
                <a:lnTo>
                  <a:pt x="1367661" y="1596832"/>
                </a:lnTo>
                <a:lnTo>
                  <a:pt x="1327979" y="1617190"/>
                </a:lnTo>
                <a:lnTo>
                  <a:pt x="1286947" y="1634409"/>
                </a:lnTo>
                <a:lnTo>
                  <a:pt x="1244765" y="1648430"/>
                </a:lnTo>
                <a:lnTo>
                  <a:pt x="1201638" y="1659194"/>
                </a:lnTo>
                <a:lnTo>
                  <a:pt x="1157766" y="1666642"/>
                </a:lnTo>
                <a:lnTo>
                  <a:pt x="1113353" y="1670715"/>
                </a:lnTo>
                <a:lnTo>
                  <a:pt x="1068601" y="1671355"/>
                </a:lnTo>
                <a:lnTo>
                  <a:pt x="2009782" y="1671355"/>
                </a:lnTo>
                <a:lnTo>
                  <a:pt x="2034111" y="1630627"/>
                </a:lnTo>
                <a:lnTo>
                  <a:pt x="2055824" y="1590404"/>
                </a:lnTo>
                <a:lnTo>
                  <a:pt x="2075882" y="1549192"/>
                </a:lnTo>
                <a:lnTo>
                  <a:pt x="2094241" y="1507035"/>
                </a:lnTo>
                <a:lnTo>
                  <a:pt x="2110855" y="1463978"/>
                </a:lnTo>
                <a:lnTo>
                  <a:pt x="2125681" y="1420064"/>
                </a:lnTo>
                <a:lnTo>
                  <a:pt x="2138675" y="1375340"/>
                </a:lnTo>
                <a:lnTo>
                  <a:pt x="2149791" y="1329848"/>
                </a:lnTo>
                <a:lnTo>
                  <a:pt x="2158986" y="1283634"/>
                </a:lnTo>
                <a:lnTo>
                  <a:pt x="2166215" y="1236741"/>
                </a:lnTo>
                <a:lnTo>
                  <a:pt x="2171433" y="1189215"/>
                </a:lnTo>
                <a:lnTo>
                  <a:pt x="2174597" y="1141099"/>
                </a:lnTo>
                <a:lnTo>
                  <a:pt x="2175661" y="1092437"/>
                </a:lnTo>
                <a:lnTo>
                  <a:pt x="2174597" y="1043776"/>
                </a:lnTo>
                <a:lnTo>
                  <a:pt x="2171433" y="995659"/>
                </a:lnTo>
                <a:lnTo>
                  <a:pt x="2166215" y="948131"/>
                </a:lnTo>
                <a:lnTo>
                  <a:pt x="2158986" y="901238"/>
                </a:lnTo>
                <a:lnTo>
                  <a:pt x="2149791" y="855023"/>
                </a:lnTo>
                <a:lnTo>
                  <a:pt x="2138675" y="809531"/>
                </a:lnTo>
                <a:lnTo>
                  <a:pt x="2125681" y="764806"/>
                </a:lnTo>
                <a:lnTo>
                  <a:pt x="2110855" y="720892"/>
                </a:lnTo>
                <a:lnTo>
                  <a:pt x="2094241" y="677834"/>
                </a:lnTo>
                <a:lnTo>
                  <a:pt x="2075882" y="635677"/>
                </a:lnTo>
                <a:lnTo>
                  <a:pt x="2055824" y="594464"/>
                </a:lnTo>
                <a:lnTo>
                  <a:pt x="2034111" y="554241"/>
                </a:lnTo>
                <a:lnTo>
                  <a:pt x="2010787" y="515051"/>
                </a:lnTo>
                <a:lnTo>
                  <a:pt x="1985896" y="476939"/>
                </a:lnTo>
                <a:lnTo>
                  <a:pt x="1959484" y="439949"/>
                </a:lnTo>
                <a:lnTo>
                  <a:pt x="1931594" y="404126"/>
                </a:lnTo>
                <a:lnTo>
                  <a:pt x="1902271" y="369514"/>
                </a:lnTo>
                <a:lnTo>
                  <a:pt x="1871560" y="336158"/>
                </a:lnTo>
                <a:lnTo>
                  <a:pt x="1839504" y="304102"/>
                </a:lnTo>
                <a:lnTo>
                  <a:pt x="1806148" y="273390"/>
                </a:lnTo>
                <a:lnTo>
                  <a:pt x="1771536" y="244067"/>
                </a:lnTo>
                <a:lnTo>
                  <a:pt x="1735714" y="216177"/>
                </a:lnTo>
                <a:lnTo>
                  <a:pt x="1698724" y="189765"/>
                </a:lnTo>
                <a:lnTo>
                  <a:pt x="1660613" y="164874"/>
                </a:lnTo>
                <a:lnTo>
                  <a:pt x="1621423" y="141550"/>
                </a:lnTo>
                <a:lnTo>
                  <a:pt x="1581200" y="119837"/>
                </a:lnTo>
                <a:lnTo>
                  <a:pt x="1539988" y="99779"/>
                </a:lnTo>
                <a:lnTo>
                  <a:pt x="1497831" y="81420"/>
                </a:lnTo>
                <a:lnTo>
                  <a:pt x="1454774" y="64805"/>
                </a:lnTo>
                <a:lnTo>
                  <a:pt x="1410861" y="49979"/>
                </a:lnTo>
                <a:lnTo>
                  <a:pt x="1366136" y="36986"/>
                </a:lnTo>
                <a:lnTo>
                  <a:pt x="1320644" y="25869"/>
                </a:lnTo>
                <a:lnTo>
                  <a:pt x="1274430" y="16675"/>
                </a:lnTo>
                <a:lnTo>
                  <a:pt x="1227537" y="9446"/>
                </a:lnTo>
                <a:lnTo>
                  <a:pt x="1180011" y="4227"/>
                </a:lnTo>
                <a:lnTo>
                  <a:pt x="1131895" y="1064"/>
                </a:lnTo>
                <a:lnTo>
                  <a:pt x="1083234" y="0"/>
                </a:lnTo>
                <a:close/>
              </a:path>
            </a:pathLst>
          </a:custGeom>
          <a:solidFill>
            <a:srgbClr val="FF7900"/>
          </a:solidFill>
        </p:spPr>
        <p:txBody>
          <a:bodyPr wrap="square" lIns="0" tIns="0" rIns="0" bIns="0" rtlCol="0"/>
          <a:lstStyle/>
          <a:p>
            <a:endParaRPr/>
          </a:p>
        </p:txBody>
      </p:sp>
      <p:sp>
        <p:nvSpPr>
          <p:cNvPr id="18" name="object 18"/>
          <p:cNvSpPr/>
          <p:nvPr/>
        </p:nvSpPr>
        <p:spPr>
          <a:xfrm>
            <a:off x="7030089" y="1944965"/>
            <a:ext cx="1128126" cy="1128047"/>
          </a:xfrm>
          <a:custGeom>
            <a:avLst/>
            <a:gdLst/>
            <a:ahLst/>
            <a:cxnLst/>
            <a:rect l="l" t="t" r="r" b="b"/>
            <a:pathLst>
              <a:path w="2480309" h="2480309">
                <a:moveTo>
                  <a:pt x="1240098" y="0"/>
                </a:moveTo>
                <a:lnTo>
                  <a:pt x="1191404" y="938"/>
                </a:lnTo>
                <a:lnTo>
                  <a:pt x="1143186" y="3730"/>
                </a:lnTo>
                <a:lnTo>
                  <a:pt x="1095478" y="8343"/>
                </a:lnTo>
                <a:lnTo>
                  <a:pt x="1048314" y="14740"/>
                </a:lnTo>
                <a:lnTo>
                  <a:pt x="1001729" y="22887"/>
                </a:lnTo>
                <a:lnTo>
                  <a:pt x="955757" y="32751"/>
                </a:lnTo>
                <a:lnTo>
                  <a:pt x="910433" y="44297"/>
                </a:lnTo>
                <a:lnTo>
                  <a:pt x="865792" y="57490"/>
                </a:lnTo>
                <a:lnTo>
                  <a:pt x="821867" y="72295"/>
                </a:lnTo>
                <a:lnTo>
                  <a:pt x="778693" y="88679"/>
                </a:lnTo>
                <a:lnTo>
                  <a:pt x="736305" y="106607"/>
                </a:lnTo>
                <a:lnTo>
                  <a:pt x="694737" y="126044"/>
                </a:lnTo>
                <a:lnTo>
                  <a:pt x="654024" y="146956"/>
                </a:lnTo>
                <a:lnTo>
                  <a:pt x="614200" y="169309"/>
                </a:lnTo>
                <a:lnTo>
                  <a:pt x="575299" y="193067"/>
                </a:lnTo>
                <a:lnTo>
                  <a:pt x="537356" y="218197"/>
                </a:lnTo>
                <a:lnTo>
                  <a:pt x="500406" y="244665"/>
                </a:lnTo>
                <a:lnTo>
                  <a:pt x="464483" y="272434"/>
                </a:lnTo>
                <a:lnTo>
                  <a:pt x="429621" y="301472"/>
                </a:lnTo>
                <a:lnTo>
                  <a:pt x="395855" y="331744"/>
                </a:lnTo>
                <a:lnTo>
                  <a:pt x="363219" y="363215"/>
                </a:lnTo>
                <a:lnTo>
                  <a:pt x="331748" y="395851"/>
                </a:lnTo>
                <a:lnTo>
                  <a:pt x="301476" y="429617"/>
                </a:lnTo>
                <a:lnTo>
                  <a:pt x="272438" y="464478"/>
                </a:lnTo>
                <a:lnTo>
                  <a:pt x="244668" y="500402"/>
                </a:lnTo>
                <a:lnTo>
                  <a:pt x="218200" y="537352"/>
                </a:lnTo>
                <a:lnTo>
                  <a:pt x="193070" y="575295"/>
                </a:lnTo>
                <a:lnTo>
                  <a:pt x="169311" y="614195"/>
                </a:lnTo>
                <a:lnTo>
                  <a:pt x="146958" y="654019"/>
                </a:lnTo>
                <a:lnTo>
                  <a:pt x="126046" y="694733"/>
                </a:lnTo>
                <a:lnTo>
                  <a:pt x="106608" y="736301"/>
                </a:lnTo>
                <a:lnTo>
                  <a:pt x="88680" y="778689"/>
                </a:lnTo>
                <a:lnTo>
                  <a:pt x="72296" y="821863"/>
                </a:lnTo>
                <a:lnTo>
                  <a:pt x="57491" y="865788"/>
                </a:lnTo>
                <a:lnTo>
                  <a:pt x="44298" y="910430"/>
                </a:lnTo>
                <a:lnTo>
                  <a:pt x="32752" y="955754"/>
                </a:lnTo>
                <a:lnTo>
                  <a:pt x="22888" y="1001726"/>
                </a:lnTo>
                <a:lnTo>
                  <a:pt x="14740" y="1048311"/>
                </a:lnTo>
                <a:lnTo>
                  <a:pt x="8343" y="1095476"/>
                </a:lnTo>
                <a:lnTo>
                  <a:pt x="3731" y="1143185"/>
                </a:lnTo>
                <a:lnTo>
                  <a:pt x="938" y="1191403"/>
                </a:lnTo>
                <a:lnTo>
                  <a:pt x="0" y="1240098"/>
                </a:lnTo>
                <a:lnTo>
                  <a:pt x="938" y="1288792"/>
                </a:lnTo>
                <a:lnTo>
                  <a:pt x="3731" y="1337011"/>
                </a:lnTo>
                <a:lnTo>
                  <a:pt x="8343" y="1384720"/>
                </a:lnTo>
                <a:lnTo>
                  <a:pt x="14740" y="1431884"/>
                </a:lnTo>
                <a:lnTo>
                  <a:pt x="22888" y="1478470"/>
                </a:lnTo>
                <a:lnTo>
                  <a:pt x="32752" y="1524442"/>
                </a:lnTo>
                <a:lnTo>
                  <a:pt x="44298" y="1569766"/>
                </a:lnTo>
                <a:lnTo>
                  <a:pt x="57491" y="1614408"/>
                </a:lnTo>
                <a:lnTo>
                  <a:pt x="72296" y="1658333"/>
                </a:lnTo>
                <a:lnTo>
                  <a:pt x="88680" y="1701507"/>
                </a:lnTo>
                <a:lnTo>
                  <a:pt x="106608" y="1743895"/>
                </a:lnTo>
                <a:lnTo>
                  <a:pt x="126046" y="1785463"/>
                </a:lnTo>
                <a:lnTo>
                  <a:pt x="146958" y="1826176"/>
                </a:lnTo>
                <a:lnTo>
                  <a:pt x="169311" y="1866000"/>
                </a:lnTo>
                <a:lnTo>
                  <a:pt x="193070" y="1904901"/>
                </a:lnTo>
                <a:lnTo>
                  <a:pt x="218200" y="1942844"/>
                </a:lnTo>
                <a:lnTo>
                  <a:pt x="244668" y="1979794"/>
                </a:lnTo>
                <a:lnTo>
                  <a:pt x="272438" y="2015717"/>
                </a:lnTo>
                <a:lnTo>
                  <a:pt x="301476" y="2050579"/>
                </a:lnTo>
                <a:lnTo>
                  <a:pt x="331748" y="2084345"/>
                </a:lnTo>
                <a:lnTo>
                  <a:pt x="363219" y="2116981"/>
                </a:lnTo>
                <a:lnTo>
                  <a:pt x="395855" y="2148452"/>
                </a:lnTo>
                <a:lnTo>
                  <a:pt x="429621" y="2178723"/>
                </a:lnTo>
                <a:lnTo>
                  <a:pt x="464483" y="2207761"/>
                </a:lnTo>
                <a:lnTo>
                  <a:pt x="500406" y="2235531"/>
                </a:lnTo>
                <a:lnTo>
                  <a:pt x="537356" y="2261998"/>
                </a:lnTo>
                <a:lnTo>
                  <a:pt x="575299" y="2287129"/>
                </a:lnTo>
                <a:lnTo>
                  <a:pt x="614200" y="2310887"/>
                </a:lnTo>
                <a:lnTo>
                  <a:pt x="654024" y="2333240"/>
                </a:lnTo>
                <a:lnTo>
                  <a:pt x="694737" y="2354152"/>
                </a:lnTo>
                <a:lnTo>
                  <a:pt x="736305" y="2373589"/>
                </a:lnTo>
                <a:lnTo>
                  <a:pt x="778693" y="2391517"/>
                </a:lnTo>
                <a:lnTo>
                  <a:pt x="821867" y="2407900"/>
                </a:lnTo>
                <a:lnTo>
                  <a:pt x="865792" y="2422706"/>
                </a:lnTo>
                <a:lnTo>
                  <a:pt x="910433" y="2435899"/>
                </a:lnTo>
                <a:lnTo>
                  <a:pt x="955757" y="2447444"/>
                </a:lnTo>
                <a:lnTo>
                  <a:pt x="1001729" y="2457308"/>
                </a:lnTo>
                <a:lnTo>
                  <a:pt x="1048314" y="2465456"/>
                </a:lnTo>
                <a:lnTo>
                  <a:pt x="1095478" y="2471853"/>
                </a:lnTo>
                <a:lnTo>
                  <a:pt x="1143186" y="2476465"/>
                </a:lnTo>
                <a:lnTo>
                  <a:pt x="1191404" y="2479258"/>
                </a:lnTo>
                <a:lnTo>
                  <a:pt x="1240098" y="2480196"/>
                </a:lnTo>
                <a:lnTo>
                  <a:pt x="1288793" y="2479258"/>
                </a:lnTo>
                <a:lnTo>
                  <a:pt x="1337013" y="2476465"/>
                </a:lnTo>
                <a:lnTo>
                  <a:pt x="1384722" y="2471853"/>
                </a:lnTo>
                <a:lnTo>
                  <a:pt x="1431887" y="2465456"/>
                </a:lnTo>
                <a:lnTo>
                  <a:pt x="1478473" y="2457308"/>
                </a:lnTo>
                <a:lnTo>
                  <a:pt x="1524446" y="2447444"/>
                </a:lnTo>
                <a:lnTo>
                  <a:pt x="1569770" y="2435899"/>
                </a:lnTo>
                <a:lnTo>
                  <a:pt x="1614413" y="2422706"/>
                </a:lnTo>
                <a:lnTo>
                  <a:pt x="1658338" y="2407900"/>
                </a:lnTo>
                <a:lnTo>
                  <a:pt x="1701513" y="2391517"/>
                </a:lnTo>
                <a:lnTo>
                  <a:pt x="1743901" y="2373589"/>
                </a:lnTo>
                <a:lnTo>
                  <a:pt x="1785470" y="2354152"/>
                </a:lnTo>
                <a:lnTo>
                  <a:pt x="1826183" y="2333240"/>
                </a:lnTo>
                <a:lnTo>
                  <a:pt x="1866008" y="2310887"/>
                </a:lnTo>
                <a:lnTo>
                  <a:pt x="1904909" y="2287129"/>
                </a:lnTo>
                <a:lnTo>
                  <a:pt x="1942852" y="2261998"/>
                </a:lnTo>
                <a:lnTo>
                  <a:pt x="1979802" y="2235531"/>
                </a:lnTo>
                <a:lnTo>
                  <a:pt x="2015726" y="2207761"/>
                </a:lnTo>
                <a:lnTo>
                  <a:pt x="2050588" y="2178723"/>
                </a:lnTo>
                <a:lnTo>
                  <a:pt x="2084354" y="2148452"/>
                </a:lnTo>
                <a:lnTo>
                  <a:pt x="2116990" y="2116981"/>
                </a:lnTo>
                <a:lnTo>
                  <a:pt x="2148461" y="2084345"/>
                </a:lnTo>
                <a:lnTo>
                  <a:pt x="2178733" y="2050579"/>
                </a:lnTo>
                <a:lnTo>
                  <a:pt x="2207771" y="2015717"/>
                </a:lnTo>
                <a:lnTo>
                  <a:pt x="2235541" y="1979794"/>
                </a:lnTo>
                <a:lnTo>
                  <a:pt x="2262008" y="1942844"/>
                </a:lnTo>
                <a:lnTo>
                  <a:pt x="2287138" y="1904901"/>
                </a:lnTo>
                <a:lnTo>
                  <a:pt x="2310897" y="1866000"/>
                </a:lnTo>
                <a:lnTo>
                  <a:pt x="2333250" y="1826176"/>
                </a:lnTo>
                <a:lnTo>
                  <a:pt x="2354162" y="1785463"/>
                </a:lnTo>
                <a:lnTo>
                  <a:pt x="2373599" y="1743895"/>
                </a:lnTo>
                <a:lnTo>
                  <a:pt x="2391527" y="1701507"/>
                </a:lnTo>
                <a:lnTo>
                  <a:pt x="2407911" y="1658333"/>
                </a:lnTo>
                <a:lnTo>
                  <a:pt x="2422716" y="1614408"/>
                </a:lnTo>
                <a:lnTo>
                  <a:pt x="2435909" y="1569766"/>
                </a:lnTo>
                <a:lnTo>
                  <a:pt x="2447455" y="1524442"/>
                </a:lnTo>
                <a:lnTo>
                  <a:pt x="2457319" y="1478470"/>
                </a:lnTo>
                <a:lnTo>
                  <a:pt x="2465467" y="1431884"/>
                </a:lnTo>
                <a:lnTo>
                  <a:pt x="2471864" y="1384720"/>
                </a:lnTo>
                <a:lnTo>
                  <a:pt x="2476476" y="1337011"/>
                </a:lnTo>
                <a:lnTo>
                  <a:pt x="2479268" y="1288792"/>
                </a:lnTo>
                <a:lnTo>
                  <a:pt x="2480207" y="1240098"/>
                </a:lnTo>
                <a:lnTo>
                  <a:pt x="2479268" y="1191403"/>
                </a:lnTo>
                <a:lnTo>
                  <a:pt x="2476476" y="1143185"/>
                </a:lnTo>
                <a:lnTo>
                  <a:pt x="2471864" y="1095476"/>
                </a:lnTo>
                <a:lnTo>
                  <a:pt x="2465467" y="1048311"/>
                </a:lnTo>
                <a:lnTo>
                  <a:pt x="2457319" y="1001726"/>
                </a:lnTo>
                <a:lnTo>
                  <a:pt x="2447455" y="955754"/>
                </a:lnTo>
                <a:lnTo>
                  <a:pt x="2435909" y="910430"/>
                </a:lnTo>
                <a:lnTo>
                  <a:pt x="2422716" y="865788"/>
                </a:lnTo>
                <a:lnTo>
                  <a:pt x="2407911" y="821863"/>
                </a:lnTo>
                <a:lnTo>
                  <a:pt x="2391527" y="778689"/>
                </a:lnTo>
                <a:lnTo>
                  <a:pt x="2373599" y="736301"/>
                </a:lnTo>
                <a:lnTo>
                  <a:pt x="2354162" y="694733"/>
                </a:lnTo>
                <a:lnTo>
                  <a:pt x="2333250" y="654019"/>
                </a:lnTo>
                <a:lnTo>
                  <a:pt x="2310897" y="614195"/>
                </a:lnTo>
                <a:lnTo>
                  <a:pt x="2287138" y="575295"/>
                </a:lnTo>
                <a:lnTo>
                  <a:pt x="2262008" y="537352"/>
                </a:lnTo>
                <a:lnTo>
                  <a:pt x="2235541" y="500402"/>
                </a:lnTo>
                <a:lnTo>
                  <a:pt x="2207771" y="464478"/>
                </a:lnTo>
                <a:lnTo>
                  <a:pt x="2178733" y="429617"/>
                </a:lnTo>
                <a:lnTo>
                  <a:pt x="2148461" y="395851"/>
                </a:lnTo>
                <a:lnTo>
                  <a:pt x="2116990" y="363215"/>
                </a:lnTo>
                <a:lnTo>
                  <a:pt x="2084354" y="331744"/>
                </a:lnTo>
                <a:lnTo>
                  <a:pt x="2050588" y="301472"/>
                </a:lnTo>
                <a:lnTo>
                  <a:pt x="2015726" y="272434"/>
                </a:lnTo>
                <a:lnTo>
                  <a:pt x="1979802" y="244665"/>
                </a:lnTo>
                <a:lnTo>
                  <a:pt x="1942852" y="218197"/>
                </a:lnTo>
                <a:lnTo>
                  <a:pt x="1904909" y="193067"/>
                </a:lnTo>
                <a:lnTo>
                  <a:pt x="1866008" y="169309"/>
                </a:lnTo>
                <a:lnTo>
                  <a:pt x="1826183" y="146956"/>
                </a:lnTo>
                <a:lnTo>
                  <a:pt x="1785470" y="126044"/>
                </a:lnTo>
                <a:lnTo>
                  <a:pt x="1743901" y="106607"/>
                </a:lnTo>
                <a:lnTo>
                  <a:pt x="1701513" y="88679"/>
                </a:lnTo>
                <a:lnTo>
                  <a:pt x="1658338" y="72295"/>
                </a:lnTo>
                <a:lnTo>
                  <a:pt x="1614413" y="57490"/>
                </a:lnTo>
                <a:lnTo>
                  <a:pt x="1569770" y="44297"/>
                </a:lnTo>
                <a:lnTo>
                  <a:pt x="1524446" y="32751"/>
                </a:lnTo>
                <a:lnTo>
                  <a:pt x="1478473" y="22887"/>
                </a:lnTo>
                <a:lnTo>
                  <a:pt x="1431887" y="14740"/>
                </a:lnTo>
                <a:lnTo>
                  <a:pt x="1384722" y="8343"/>
                </a:lnTo>
                <a:lnTo>
                  <a:pt x="1337013" y="3730"/>
                </a:lnTo>
                <a:lnTo>
                  <a:pt x="1288793" y="938"/>
                </a:lnTo>
                <a:lnTo>
                  <a:pt x="1240098" y="0"/>
                </a:lnTo>
                <a:close/>
              </a:path>
            </a:pathLst>
          </a:custGeom>
          <a:solidFill>
            <a:srgbClr val="FFFFFF"/>
          </a:solidFill>
        </p:spPr>
        <p:txBody>
          <a:bodyPr wrap="square" lIns="0" tIns="0" rIns="0" bIns="0" rtlCol="0"/>
          <a:lstStyle/>
          <a:p>
            <a:endParaRPr/>
          </a:p>
        </p:txBody>
      </p:sp>
      <p:sp>
        <p:nvSpPr>
          <p:cNvPr id="19" name="object 19"/>
          <p:cNvSpPr txBox="1"/>
          <p:nvPr/>
        </p:nvSpPr>
        <p:spPr>
          <a:xfrm>
            <a:off x="7345235" y="2323484"/>
            <a:ext cx="514675" cy="297462"/>
          </a:xfrm>
          <a:prstGeom prst="rect">
            <a:avLst/>
          </a:prstGeom>
        </p:spPr>
        <p:txBody>
          <a:bodyPr vert="horz" wrap="square" lIns="0" tIns="6931" rIns="0" bIns="0" rtlCol="0">
            <a:spAutoFit/>
          </a:bodyPr>
          <a:lstStyle/>
          <a:p>
            <a:pPr marL="5776">
              <a:spcBef>
                <a:spcPts val="55"/>
              </a:spcBef>
            </a:pPr>
            <a:r>
              <a:rPr sz="1900" b="1" spc="7" dirty="0">
                <a:solidFill>
                  <a:srgbClr val="FF7900"/>
                </a:solidFill>
                <a:latin typeface="Helvetica Neue"/>
                <a:cs typeface="Helvetica Neue"/>
              </a:rPr>
              <a:t>60%</a:t>
            </a:r>
            <a:endParaRPr sz="1900">
              <a:latin typeface="Helvetica Neue"/>
              <a:cs typeface="Helvetica Neue"/>
            </a:endParaRPr>
          </a:p>
        </p:txBody>
      </p:sp>
      <p:sp>
        <p:nvSpPr>
          <p:cNvPr id="20" name="object 20"/>
          <p:cNvSpPr/>
          <p:nvPr/>
        </p:nvSpPr>
        <p:spPr>
          <a:xfrm>
            <a:off x="7216998" y="2125553"/>
            <a:ext cx="763925" cy="748566"/>
          </a:xfrm>
          <a:custGeom>
            <a:avLst/>
            <a:gdLst/>
            <a:ahLst/>
            <a:cxnLst/>
            <a:rect l="l" t="t" r="r" b="b"/>
            <a:pathLst>
              <a:path w="1679575" h="1645920">
                <a:moveTo>
                  <a:pt x="1679509" y="822896"/>
                </a:moveTo>
                <a:lnTo>
                  <a:pt x="1678083" y="871247"/>
                </a:lnTo>
                <a:lnTo>
                  <a:pt x="1673859" y="918862"/>
                </a:lnTo>
                <a:lnTo>
                  <a:pt x="1666915" y="965664"/>
                </a:lnTo>
                <a:lnTo>
                  <a:pt x="1657330" y="1011576"/>
                </a:lnTo>
                <a:lnTo>
                  <a:pt x="1645183" y="1056521"/>
                </a:lnTo>
                <a:lnTo>
                  <a:pt x="1630552" y="1100422"/>
                </a:lnTo>
                <a:lnTo>
                  <a:pt x="1613517" y="1143200"/>
                </a:lnTo>
                <a:lnTo>
                  <a:pt x="1594156" y="1184781"/>
                </a:lnTo>
                <a:lnTo>
                  <a:pt x="1572547" y="1225085"/>
                </a:lnTo>
                <a:lnTo>
                  <a:pt x="1548770" y="1264036"/>
                </a:lnTo>
                <a:lnTo>
                  <a:pt x="1522903" y="1301556"/>
                </a:lnTo>
                <a:lnTo>
                  <a:pt x="1495025" y="1337569"/>
                </a:lnTo>
                <a:lnTo>
                  <a:pt x="1465215" y="1371998"/>
                </a:lnTo>
                <a:lnTo>
                  <a:pt x="1433551" y="1404764"/>
                </a:lnTo>
                <a:lnTo>
                  <a:pt x="1400113" y="1435792"/>
                </a:lnTo>
                <a:lnTo>
                  <a:pt x="1364979" y="1465003"/>
                </a:lnTo>
                <a:lnTo>
                  <a:pt x="1328228" y="1492321"/>
                </a:lnTo>
                <a:lnTo>
                  <a:pt x="1289938" y="1517669"/>
                </a:lnTo>
                <a:lnTo>
                  <a:pt x="1250189" y="1540968"/>
                </a:lnTo>
                <a:lnTo>
                  <a:pt x="1209058" y="1562143"/>
                </a:lnTo>
                <a:lnTo>
                  <a:pt x="1166626" y="1581115"/>
                </a:lnTo>
                <a:lnTo>
                  <a:pt x="1122970" y="1597809"/>
                </a:lnTo>
                <a:lnTo>
                  <a:pt x="1078169" y="1612146"/>
                </a:lnTo>
                <a:lnTo>
                  <a:pt x="1032303" y="1624049"/>
                </a:lnTo>
                <a:lnTo>
                  <a:pt x="985450" y="1633441"/>
                </a:lnTo>
                <a:lnTo>
                  <a:pt x="937688" y="1640246"/>
                </a:lnTo>
                <a:lnTo>
                  <a:pt x="889096" y="1644385"/>
                </a:lnTo>
                <a:lnTo>
                  <a:pt x="839754" y="1645782"/>
                </a:lnTo>
                <a:lnTo>
                  <a:pt x="790412" y="1644385"/>
                </a:lnTo>
                <a:lnTo>
                  <a:pt x="741820" y="1640246"/>
                </a:lnTo>
                <a:lnTo>
                  <a:pt x="694058" y="1633441"/>
                </a:lnTo>
                <a:lnTo>
                  <a:pt x="647205" y="1624049"/>
                </a:lnTo>
                <a:lnTo>
                  <a:pt x="601339" y="1612146"/>
                </a:lnTo>
                <a:lnTo>
                  <a:pt x="556538" y="1597809"/>
                </a:lnTo>
                <a:lnTo>
                  <a:pt x="512882" y="1581115"/>
                </a:lnTo>
                <a:lnTo>
                  <a:pt x="470450" y="1562143"/>
                </a:lnTo>
                <a:lnTo>
                  <a:pt x="429320" y="1540968"/>
                </a:lnTo>
                <a:lnTo>
                  <a:pt x="389570" y="1517669"/>
                </a:lnTo>
                <a:lnTo>
                  <a:pt x="351280" y="1492321"/>
                </a:lnTo>
                <a:lnTo>
                  <a:pt x="314529" y="1465003"/>
                </a:lnTo>
                <a:lnTo>
                  <a:pt x="279395" y="1435792"/>
                </a:lnTo>
                <a:lnTo>
                  <a:pt x="245957" y="1404764"/>
                </a:lnTo>
                <a:lnTo>
                  <a:pt x="214293" y="1371998"/>
                </a:lnTo>
                <a:lnTo>
                  <a:pt x="184483" y="1337569"/>
                </a:lnTo>
                <a:lnTo>
                  <a:pt x="156605" y="1301556"/>
                </a:lnTo>
                <a:lnTo>
                  <a:pt x="130738" y="1264036"/>
                </a:lnTo>
                <a:lnTo>
                  <a:pt x="106961" y="1225085"/>
                </a:lnTo>
                <a:lnTo>
                  <a:pt x="85353" y="1184781"/>
                </a:lnTo>
                <a:lnTo>
                  <a:pt x="65991" y="1143200"/>
                </a:lnTo>
                <a:lnTo>
                  <a:pt x="48956" y="1100422"/>
                </a:lnTo>
                <a:lnTo>
                  <a:pt x="34325" y="1056521"/>
                </a:lnTo>
                <a:lnTo>
                  <a:pt x="22178" y="1011576"/>
                </a:lnTo>
                <a:lnTo>
                  <a:pt x="12593" y="965664"/>
                </a:lnTo>
                <a:lnTo>
                  <a:pt x="5649" y="918862"/>
                </a:lnTo>
                <a:lnTo>
                  <a:pt x="1425" y="871247"/>
                </a:lnTo>
                <a:lnTo>
                  <a:pt x="0" y="822896"/>
                </a:lnTo>
                <a:lnTo>
                  <a:pt x="1425" y="774545"/>
                </a:lnTo>
                <a:lnTo>
                  <a:pt x="5649" y="726930"/>
                </a:lnTo>
                <a:lnTo>
                  <a:pt x="12593" y="680127"/>
                </a:lnTo>
                <a:lnTo>
                  <a:pt x="22178" y="634215"/>
                </a:lnTo>
                <a:lnTo>
                  <a:pt x="34325" y="589270"/>
                </a:lnTo>
                <a:lnTo>
                  <a:pt x="48956" y="545369"/>
                </a:lnTo>
                <a:lnTo>
                  <a:pt x="65991" y="502590"/>
                </a:lnTo>
                <a:lnTo>
                  <a:pt x="85353" y="461009"/>
                </a:lnTo>
                <a:lnTo>
                  <a:pt x="106961" y="420705"/>
                </a:lnTo>
                <a:lnTo>
                  <a:pt x="130738" y="381753"/>
                </a:lnTo>
                <a:lnTo>
                  <a:pt x="156605" y="344232"/>
                </a:lnTo>
                <a:lnTo>
                  <a:pt x="184483" y="308218"/>
                </a:lnTo>
                <a:lnTo>
                  <a:pt x="214293" y="273789"/>
                </a:lnTo>
                <a:lnTo>
                  <a:pt x="245957" y="241022"/>
                </a:lnTo>
                <a:lnTo>
                  <a:pt x="279395" y="209994"/>
                </a:lnTo>
                <a:lnTo>
                  <a:pt x="314529" y="180782"/>
                </a:lnTo>
                <a:lnTo>
                  <a:pt x="351280" y="153464"/>
                </a:lnTo>
                <a:lnTo>
                  <a:pt x="389570" y="128116"/>
                </a:lnTo>
                <a:lnTo>
                  <a:pt x="429320" y="104816"/>
                </a:lnTo>
                <a:lnTo>
                  <a:pt x="470450" y="83641"/>
                </a:lnTo>
                <a:lnTo>
                  <a:pt x="512882" y="64668"/>
                </a:lnTo>
                <a:lnTo>
                  <a:pt x="556538" y="47974"/>
                </a:lnTo>
                <a:lnTo>
                  <a:pt x="601339" y="33637"/>
                </a:lnTo>
                <a:lnTo>
                  <a:pt x="647205" y="21733"/>
                </a:lnTo>
                <a:lnTo>
                  <a:pt x="694058" y="12340"/>
                </a:lnTo>
                <a:lnTo>
                  <a:pt x="741820" y="5536"/>
                </a:lnTo>
                <a:lnTo>
                  <a:pt x="790412" y="1396"/>
                </a:lnTo>
                <a:lnTo>
                  <a:pt x="839754" y="0"/>
                </a:lnTo>
                <a:lnTo>
                  <a:pt x="889096" y="1396"/>
                </a:lnTo>
                <a:lnTo>
                  <a:pt x="937688" y="5536"/>
                </a:lnTo>
                <a:lnTo>
                  <a:pt x="985450" y="12340"/>
                </a:lnTo>
                <a:lnTo>
                  <a:pt x="1032303" y="21733"/>
                </a:lnTo>
                <a:lnTo>
                  <a:pt x="1078169" y="33637"/>
                </a:lnTo>
                <a:lnTo>
                  <a:pt x="1122970" y="47974"/>
                </a:lnTo>
                <a:lnTo>
                  <a:pt x="1166626" y="64668"/>
                </a:lnTo>
                <a:lnTo>
                  <a:pt x="1209058" y="83641"/>
                </a:lnTo>
                <a:lnTo>
                  <a:pt x="1250189" y="104816"/>
                </a:lnTo>
                <a:lnTo>
                  <a:pt x="1289938" y="128116"/>
                </a:lnTo>
                <a:lnTo>
                  <a:pt x="1328228" y="153464"/>
                </a:lnTo>
                <a:lnTo>
                  <a:pt x="1364979" y="180782"/>
                </a:lnTo>
                <a:lnTo>
                  <a:pt x="1400113" y="209994"/>
                </a:lnTo>
                <a:lnTo>
                  <a:pt x="1433551" y="241022"/>
                </a:lnTo>
                <a:lnTo>
                  <a:pt x="1465215" y="273789"/>
                </a:lnTo>
                <a:lnTo>
                  <a:pt x="1495025" y="308218"/>
                </a:lnTo>
                <a:lnTo>
                  <a:pt x="1522903" y="344232"/>
                </a:lnTo>
                <a:lnTo>
                  <a:pt x="1548770" y="381753"/>
                </a:lnTo>
                <a:lnTo>
                  <a:pt x="1572547" y="420705"/>
                </a:lnTo>
                <a:lnTo>
                  <a:pt x="1594156" y="461009"/>
                </a:lnTo>
                <a:lnTo>
                  <a:pt x="1613517" y="502590"/>
                </a:lnTo>
                <a:lnTo>
                  <a:pt x="1630552" y="545369"/>
                </a:lnTo>
                <a:lnTo>
                  <a:pt x="1645183" y="589270"/>
                </a:lnTo>
                <a:lnTo>
                  <a:pt x="1657330" y="634215"/>
                </a:lnTo>
                <a:lnTo>
                  <a:pt x="1666915" y="680127"/>
                </a:lnTo>
                <a:lnTo>
                  <a:pt x="1673859" y="726930"/>
                </a:lnTo>
                <a:lnTo>
                  <a:pt x="1678083" y="774545"/>
                </a:lnTo>
                <a:lnTo>
                  <a:pt x="1679509" y="822896"/>
                </a:lnTo>
                <a:close/>
              </a:path>
            </a:pathLst>
          </a:custGeom>
          <a:ln w="16711">
            <a:solidFill>
              <a:srgbClr val="808080"/>
            </a:solidFill>
          </a:ln>
        </p:spPr>
        <p:txBody>
          <a:bodyPr wrap="square" lIns="0" tIns="0" rIns="0" bIns="0" rtlCol="0"/>
          <a:lstStyle/>
          <a:p>
            <a:endParaRPr/>
          </a:p>
        </p:txBody>
      </p:sp>
      <p:sp>
        <p:nvSpPr>
          <p:cNvPr id="21" name="object 21"/>
          <p:cNvSpPr/>
          <p:nvPr/>
        </p:nvSpPr>
        <p:spPr>
          <a:xfrm>
            <a:off x="7302884" y="2012849"/>
            <a:ext cx="793096" cy="993755"/>
          </a:xfrm>
          <a:custGeom>
            <a:avLst/>
            <a:gdLst/>
            <a:ahLst/>
            <a:cxnLst/>
            <a:rect l="l" t="t" r="r" b="b"/>
            <a:pathLst>
              <a:path w="1743709" h="2185034">
                <a:moveTo>
                  <a:pt x="302493" y="1554936"/>
                </a:moveTo>
                <a:lnTo>
                  <a:pt x="0" y="1969856"/>
                </a:lnTo>
                <a:lnTo>
                  <a:pt x="39613" y="1997949"/>
                </a:lnTo>
                <a:lnTo>
                  <a:pt x="80502" y="2024300"/>
                </a:lnTo>
                <a:lnTo>
                  <a:pt x="122612" y="2048854"/>
                </a:lnTo>
                <a:lnTo>
                  <a:pt x="165888" y="2071556"/>
                </a:lnTo>
                <a:lnTo>
                  <a:pt x="210277" y="2092354"/>
                </a:lnTo>
                <a:lnTo>
                  <a:pt x="255724" y="2111192"/>
                </a:lnTo>
                <a:lnTo>
                  <a:pt x="302176" y="2128017"/>
                </a:lnTo>
                <a:lnTo>
                  <a:pt x="349578" y="2142774"/>
                </a:lnTo>
                <a:lnTo>
                  <a:pt x="397877" y="2155410"/>
                </a:lnTo>
                <a:lnTo>
                  <a:pt x="447018" y="2165869"/>
                </a:lnTo>
                <a:lnTo>
                  <a:pt x="496947" y="2174099"/>
                </a:lnTo>
                <a:lnTo>
                  <a:pt x="547610" y="2180044"/>
                </a:lnTo>
                <a:lnTo>
                  <a:pt x="598953" y="2183651"/>
                </a:lnTo>
                <a:lnTo>
                  <a:pt x="650922" y="2184865"/>
                </a:lnTo>
                <a:lnTo>
                  <a:pt x="699583" y="2183801"/>
                </a:lnTo>
                <a:lnTo>
                  <a:pt x="747699" y="2180637"/>
                </a:lnTo>
                <a:lnTo>
                  <a:pt x="795226" y="2175419"/>
                </a:lnTo>
                <a:lnTo>
                  <a:pt x="842119" y="2168190"/>
                </a:lnTo>
                <a:lnTo>
                  <a:pt x="888333" y="2158995"/>
                </a:lnTo>
                <a:lnTo>
                  <a:pt x="933825" y="2147879"/>
                </a:lnTo>
                <a:lnTo>
                  <a:pt x="978550" y="2134885"/>
                </a:lnTo>
                <a:lnTo>
                  <a:pt x="1022463" y="2120059"/>
                </a:lnTo>
                <a:lnTo>
                  <a:pt x="1065521" y="2103444"/>
                </a:lnTo>
                <a:lnTo>
                  <a:pt x="1107678" y="2085086"/>
                </a:lnTo>
                <a:lnTo>
                  <a:pt x="1148891" y="2065028"/>
                </a:lnTo>
                <a:lnTo>
                  <a:pt x="1189114" y="2043314"/>
                </a:lnTo>
                <a:lnTo>
                  <a:pt x="1228304" y="2019990"/>
                </a:lnTo>
                <a:lnTo>
                  <a:pt x="1266416" y="1995100"/>
                </a:lnTo>
                <a:lnTo>
                  <a:pt x="1303406" y="1968687"/>
                </a:lnTo>
                <a:lnTo>
                  <a:pt x="1339229" y="1940797"/>
                </a:lnTo>
                <a:lnTo>
                  <a:pt x="1373841" y="1911474"/>
                </a:lnTo>
                <a:lnTo>
                  <a:pt x="1407197" y="1880762"/>
                </a:lnTo>
                <a:lnTo>
                  <a:pt x="1439254" y="1848706"/>
                </a:lnTo>
                <a:lnTo>
                  <a:pt x="1469966" y="1815350"/>
                </a:lnTo>
                <a:lnTo>
                  <a:pt x="1499289" y="1780738"/>
                </a:lnTo>
                <a:lnTo>
                  <a:pt x="1527179" y="1744915"/>
                </a:lnTo>
                <a:lnTo>
                  <a:pt x="1553592" y="1707926"/>
                </a:lnTo>
                <a:lnTo>
                  <a:pt x="1577476" y="1671355"/>
                </a:lnTo>
                <a:lnTo>
                  <a:pt x="636294" y="1671355"/>
                </a:lnTo>
                <a:lnTo>
                  <a:pt x="591405" y="1668504"/>
                </a:lnTo>
                <a:lnTo>
                  <a:pt x="546581" y="1662101"/>
                </a:lnTo>
                <a:lnTo>
                  <a:pt x="502025" y="1652088"/>
                </a:lnTo>
                <a:lnTo>
                  <a:pt x="457940" y="1638407"/>
                </a:lnTo>
                <a:lnTo>
                  <a:pt x="414526" y="1620999"/>
                </a:lnTo>
                <a:lnTo>
                  <a:pt x="371988" y="1599804"/>
                </a:lnTo>
                <a:lnTo>
                  <a:pt x="336200" y="1578442"/>
                </a:lnTo>
                <a:lnTo>
                  <a:pt x="319084" y="1566949"/>
                </a:lnTo>
                <a:lnTo>
                  <a:pt x="302493" y="1554936"/>
                </a:lnTo>
                <a:close/>
              </a:path>
              <a:path w="1743709" h="2185034">
                <a:moveTo>
                  <a:pt x="650922" y="0"/>
                </a:moveTo>
                <a:lnTo>
                  <a:pt x="650922" y="513439"/>
                </a:lnTo>
                <a:lnTo>
                  <a:pt x="699512" y="515482"/>
                </a:lnTo>
                <a:lnTo>
                  <a:pt x="747591" y="521567"/>
                </a:lnTo>
                <a:lnTo>
                  <a:pt x="794912" y="531631"/>
                </a:lnTo>
                <a:lnTo>
                  <a:pt x="841228" y="545611"/>
                </a:lnTo>
                <a:lnTo>
                  <a:pt x="886292" y="563441"/>
                </a:lnTo>
                <a:lnTo>
                  <a:pt x="929856" y="585060"/>
                </a:lnTo>
                <a:lnTo>
                  <a:pt x="970543" y="609619"/>
                </a:lnTo>
                <a:lnTo>
                  <a:pt x="1008503" y="636945"/>
                </a:lnTo>
                <a:lnTo>
                  <a:pt x="1043676" y="666836"/>
                </a:lnTo>
                <a:lnTo>
                  <a:pt x="1076004" y="699090"/>
                </a:lnTo>
                <a:lnTo>
                  <a:pt x="1105427" y="733504"/>
                </a:lnTo>
                <a:lnTo>
                  <a:pt x="1131888" y="769876"/>
                </a:lnTo>
                <a:lnTo>
                  <a:pt x="1155327" y="808004"/>
                </a:lnTo>
                <a:lnTo>
                  <a:pt x="1175685" y="847686"/>
                </a:lnTo>
                <a:lnTo>
                  <a:pt x="1192904" y="888718"/>
                </a:lnTo>
                <a:lnTo>
                  <a:pt x="1206925" y="930899"/>
                </a:lnTo>
                <a:lnTo>
                  <a:pt x="1217689" y="974026"/>
                </a:lnTo>
                <a:lnTo>
                  <a:pt x="1225137" y="1017897"/>
                </a:lnTo>
                <a:lnTo>
                  <a:pt x="1229210" y="1062310"/>
                </a:lnTo>
                <a:lnTo>
                  <a:pt x="1229851" y="1107062"/>
                </a:lnTo>
                <a:lnTo>
                  <a:pt x="1226999" y="1151950"/>
                </a:lnTo>
                <a:lnTo>
                  <a:pt x="1220596" y="1196773"/>
                </a:lnTo>
                <a:lnTo>
                  <a:pt x="1210583" y="1241328"/>
                </a:lnTo>
                <a:lnTo>
                  <a:pt x="1196902" y="1285412"/>
                </a:lnTo>
                <a:lnTo>
                  <a:pt x="1179494" y="1328824"/>
                </a:lnTo>
                <a:lnTo>
                  <a:pt x="1158299" y="1371361"/>
                </a:lnTo>
                <a:lnTo>
                  <a:pt x="1133741" y="1412048"/>
                </a:lnTo>
                <a:lnTo>
                  <a:pt x="1106415" y="1450008"/>
                </a:lnTo>
                <a:lnTo>
                  <a:pt x="1076524" y="1485181"/>
                </a:lnTo>
                <a:lnTo>
                  <a:pt x="1044270" y="1517509"/>
                </a:lnTo>
                <a:lnTo>
                  <a:pt x="1009856" y="1546932"/>
                </a:lnTo>
                <a:lnTo>
                  <a:pt x="973483" y="1573393"/>
                </a:lnTo>
                <a:lnTo>
                  <a:pt x="935355" y="1596832"/>
                </a:lnTo>
                <a:lnTo>
                  <a:pt x="895673" y="1617190"/>
                </a:lnTo>
                <a:lnTo>
                  <a:pt x="854640" y="1634409"/>
                </a:lnTo>
                <a:lnTo>
                  <a:pt x="812459" y="1648430"/>
                </a:lnTo>
                <a:lnTo>
                  <a:pt x="769331" y="1659194"/>
                </a:lnTo>
                <a:lnTo>
                  <a:pt x="725460" y="1666642"/>
                </a:lnTo>
                <a:lnTo>
                  <a:pt x="681047" y="1670715"/>
                </a:lnTo>
                <a:lnTo>
                  <a:pt x="636294" y="1671355"/>
                </a:lnTo>
                <a:lnTo>
                  <a:pt x="1577476" y="1671355"/>
                </a:lnTo>
                <a:lnTo>
                  <a:pt x="1601807" y="1630624"/>
                </a:lnTo>
                <a:lnTo>
                  <a:pt x="1623521" y="1590400"/>
                </a:lnTo>
                <a:lnTo>
                  <a:pt x="1643579" y="1549188"/>
                </a:lnTo>
                <a:lnTo>
                  <a:pt x="1661938" y="1507030"/>
                </a:lnTo>
                <a:lnTo>
                  <a:pt x="1678553" y="1463972"/>
                </a:lnTo>
                <a:lnTo>
                  <a:pt x="1693380" y="1420059"/>
                </a:lnTo>
                <a:lnTo>
                  <a:pt x="1706373" y="1375334"/>
                </a:lnTo>
                <a:lnTo>
                  <a:pt x="1717490" y="1329841"/>
                </a:lnTo>
                <a:lnTo>
                  <a:pt x="1726685" y="1283626"/>
                </a:lnTo>
                <a:lnTo>
                  <a:pt x="1733914" y="1236733"/>
                </a:lnTo>
                <a:lnTo>
                  <a:pt x="1739132" y="1189206"/>
                </a:lnTo>
                <a:lnTo>
                  <a:pt x="1742296" y="1141089"/>
                </a:lnTo>
                <a:lnTo>
                  <a:pt x="1743360" y="1092427"/>
                </a:lnTo>
                <a:lnTo>
                  <a:pt x="1742296" y="1043766"/>
                </a:lnTo>
                <a:lnTo>
                  <a:pt x="1739132" y="995650"/>
                </a:lnTo>
                <a:lnTo>
                  <a:pt x="1733914" y="948123"/>
                </a:lnTo>
                <a:lnTo>
                  <a:pt x="1726685" y="901231"/>
                </a:lnTo>
                <a:lnTo>
                  <a:pt x="1717490" y="855016"/>
                </a:lnTo>
                <a:lnTo>
                  <a:pt x="1706373" y="809525"/>
                </a:lnTo>
                <a:lnTo>
                  <a:pt x="1693380" y="764800"/>
                </a:lnTo>
                <a:lnTo>
                  <a:pt x="1678553" y="720887"/>
                </a:lnTo>
                <a:lnTo>
                  <a:pt x="1661938" y="677830"/>
                </a:lnTo>
                <a:lnTo>
                  <a:pt x="1643579" y="635673"/>
                </a:lnTo>
                <a:lnTo>
                  <a:pt x="1623521" y="594461"/>
                </a:lnTo>
                <a:lnTo>
                  <a:pt x="1601807" y="554238"/>
                </a:lnTo>
                <a:lnTo>
                  <a:pt x="1578483" y="515048"/>
                </a:lnTo>
                <a:lnTo>
                  <a:pt x="1553592" y="476936"/>
                </a:lnTo>
                <a:lnTo>
                  <a:pt x="1527179" y="439947"/>
                </a:lnTo>
                <a:lnTo>
                  <a:pt x="1499289" y="404124"/>
                </a:lnTo>
                <a:lnTo>
                  <a:pt x="1469966" y="369513"/>
                </a:lnTo>
                <a:lnTo>
                  <a:pt x="1439254" y="336157"/>
                </a:lnTo>
                <a:lnTo>
                  <a:pt x="1407197" y="304101"/>
                </a:lnTo>
                <a:lnTo>
                  <a:pt x="1373841" y="273389"/>
                </a:lnTo>
                <a:lnTo>
                  <a:pt x="1339229" y="244066"/>
                </a:lnTo>
                <a:lnTo>
                  <a:pt x="1303406" y="216176"/>
                </a:lnTo>
                <a:lnTo>
                  <a:pt x="1266416" y="189764"/>
                </a:lnTo>
                <a:lnTo>
                  <a:pt x="1228304" y="164874"/>
                </a:lnTo>
                <a:lnTo>
                  <a:pt x="1189114" y="141550"/>
                </a:lnTo>
                <a:lnTo>
                  <a:pt x="1148891" y="119836"/>
                </a:lnTo>
                <a:lnTo>
                  <a:pt x="1107678" y="99778"/>
                </a:lnTo>
                <a:lnTo>
                  <a:pt x="1065521" y="81420"/>
                </a:lnTo>
                <a:lnTo>
                  <a:pt x="1022463" y="64805"/>
                </a:lnTo>
                <a:lnTo>
                  <a:pt x="978550" y="49979"/>
                </a:lnTo>
                <a:lnTo>
                  <a:pt x="933825" y="36986"/>
                </a:lnTo>
                <a:lnTo>
                  <a:pt x="888333" y="25869"/>
                </a:lnTo>
                <a:lnTo>
                  <a:pt x="842119" y="16675"/>
                </a:lnTo>
                <a:lnTo>
                  <a:pt x="795226" y="9446"/>
                </a:lnTo>
                <a:lnTo>
                  <a:pt x="747699" y="4227"/>
                </a:lnTo>
                <a:lnTo>
                  <a:pt x="699583" y="1064"/>
                </a:lnTo>
                <a:lnTo>
                  <a:pt x="650922" y="0"/>
                </a:lnTo>
                <a:close/>
              </a:path>
            </a:pathLst>
          </a:custGeom>
          <a:solidFill>
            <a:srgbClr val="FF7900"/>
          </a:solidFill>
        </p:spPr>
        <p:txBody>
          <a:bodyPr wrap="square" lIns="0" tIns="0" rIns="0" bIns="0" rtlCol="0"/>
          <a:lstStyle/>
          <a:p>
            <a:endParaRPr/>
          </a:p>
        </p:txBody>
      </p:sp>
      <p:sp>
        <p:nvSpPr>
          <p:cNvPr id="22" name="object 22"/>
          <p:cNvSpPr txBox="1"/>
          <p:nvPr/>
        </p:nvSpPr>
        <p:spPr>
          <a:xfrm>
            <a:off x="2581501" y="2149413"/>
            <a:ext cx="2210907" cy="570964"/>
          </a:xfrm>
          <a:prstGeom prst="rect">
            <a:avLst/>
          </a:prstGeom>
        </p:spPr>
        <p:txBody>
          <a:bodyPr vert="horz" wrap="square" lIns="0" tIns="6642" rIns="0" bIns="0" rtlCol="0">
            <a:spAutoFit/>
          </a:bodyPr>
          <a:lstStyle/>
          <a:p>
            <a:pPr marL="5776">
              <a:lnSpc>
                <a:spcPts val="1594"/>
              </a:lnSpc>
              <a:spcBef>
                <a:spcPts val="52"/>
              </a:spcBef>
            </a:pPr>
            <a:r>
              <a:rPr sz="1300" b="1" spc="2" dirty="0">
                <a:latin typeface="Helvetica Neue"/>
                <a:cs typeface="Helvetica Neue"/>
              </a:rPr>
              <a:t>Contact </a:t>
            </a:r>
            <a:r>
              <a:rPr sz="1300" b="1" spc="5" dirty="0">
                <a:latin typeface="Helvetica Neue"/>
                <a:cs typeface="Helvetica Neue"/>
              </a:rPr>
              <a:t>à</a:t>
            </a:r>
            <a:r>
              <a:rPr sz="1300" b="1" dirty="0">
                <a:latin typeface="Helvetica Neue"/>
                <a:cs typeface="Helvetica Neue"/>
              </a:rPr>
              <a:t> </a:t>
            </a:r>
            <a:r>
              <a:rPr sz="1300" b="1" spc="2" dirty="0">
                <a:latin typeface="Helvetica Neue"/>
                <a:cs typeface="Helvetica Neue"/>
              </a:rPr>
              <a:t>distance</a:t>
            </a:r>
            <a:endParaRPr sz="1300">
              <a:latin typeface="Helvetica Neue"/>
              <a:cs typeface="Helvetica Neue"/>
            </a:endParaRPr>
          </a:p>
          <a:p>
            <a:pPr marL="5776" marR="2310">
              <a:lnSpc>
                <a:spcPts val="1351"/>
              </a:lnSpc>
              <a:spcBef>
                <a:spcPts val="18"/>
              </a:spcBef>
            </a:pPr>
            <a:r>
              <a:rPr sz="1100" spc="5" dirty="0">
                <a:latin typeface="Helvetica Neue"/>
                <a:cs typeface="Helvetica Neue"/>
              </a:rPr>
              <a:t>(espace en </a:t>
            </a:r>
            <a:r>
              <a:rPr sz="1100" spc="2" dirty="0">
                <a:latin typeface="Helvetica Neue"/>
                <a:cs typeface="Helvetica Neue"/>
              </a:rPr>
              <a:t>ligne, mail,</a:t>
            </a:r>
            <a:r>
              <a:rPr sz="1100" spc="-16" dirty="0">
                <a:latin typeface="Helvetica Neue"/>
                <a:cs typeface="Helvetica Neue"/>
              </a:rPr>
              <a:t> </a:t>
            </a:r>
            <a:r>
              <a:rPr sz="1100" spc="5" dirty="0">
                <a:latin typeface="Helvetica Neue"/>
                <a:cs typeface="Helvetica Neue"/>
              </a:rPr>
              <a:t>application,  téléphone ou</a:t>
            </a:r>
            <a:r>
              <a:rPr sz="1100" spc="-2" dirty="0">
                <a:latin typeface="Helvetica Neue"/>
                <a:cs typeface="Helvetica Neue"/>
              </a:rPr>
              <a:t> </a:t>
            </a:r>
            <a:r>
              <a:rPr sz="1100" spc="2" dirty="0">
                <a:latin typeface="Helvetica Neue"/>
                <a:cs typeface="Helvetica Neue"/>
              </a:rPr>
              <a:t>tchat)</a:t>
            </a:r>
            <a:endParaRPr sz="1100">
              <a:latin typeface="Helvetica Neue"/>
              <a:cs typeface="Helvetica Neue"/>
            </a:endParaRPr>
          </a:p>
        </p:txBody>
      </p:sp>
      <p:sp>
        <p:nvSpPr>
          <p:cNvPr id="23" name="object 23"/>
          <p:cNvSpPr/>
          <p:nvPr/>
        </p:nvSpPr>
        <p:spPr>
          <a:xfrm>
            <a:off x="4978323" y="3611321"/>
            <a:ext cx="1128126" cy="1128047"/>
          </a:xfrm>
          <a:custGeom>
            <a:avLst/>
            <a:gdLst/>
            <a:ahLst/>
            <a:cxnLst/>
            <a:rect l="l" t="t" r="r" b="b"/>
            <a:pathLst>
              <a:path w="2480309" h="2480309">
                <a:moveTo>
                  <a:pt x="1240098" y="0"/>
                </a:moveTo>
                <a:lnTo>
                  <a:pt x="1191403" y="938"/>
                </a:lnTo>
                <a:lnTo>
                  <a:pt x="1143185" y="3730"/>
                </a:lnTo>
                <a:lnTo>
                  <a:pt x="1095476" y="8343"/>
                </a:lnTo>
                <a:lnTo>
                  <a:pt x="1048311" y="14740"/>
                </a:lnTo>
                <a:lnTo>
                  <a:pt x="1001726" y="22887"/>
                </a:lnTo>
                <a:lnTo>
                  <a:pt x="955754" y="32751"/>
                </a:lnTo>
                <a:lnTo>
                  <a:pt x="910430" y="44297"/>
                </a:lnTo>
                <a:lnTo>
                  <a:pt x="865788" y="57490"/>
                </a:lnTo>
                <a:lnTo>
                  <a:pt x="821863" y="72295"/>
                </a:lnTo>
                <a:lnTo>
                  <a:pt x="778689" y="88679"/>
                </a:lnTo>
                <a:lnTo>
                  <a:pt x="736301" y="106607"/>
                </a:lnTo>
                <a:lnTo>
                  <a:pt x="694733" y="126044"/>
                </a:lnTo>
                <a:lnTo>
                  <a:pt x="654019" y="146956"/>
                </a:lnTo>
                <a:lnTo>
                  <a:pt x="614195" y="169309"/>
                </a:lnTo>
                <a:lnTo>
                  <a:pt x="575295" y="193067"/>
                </a:lnTo>
                <a:lnTo>
                  <a:pt x="537352" y="218197"/>
                </a:lnTo>
                <a:lnTo>
                  <a:pt x="500402" y="244665"/>
                </a:lnTo>
                <a:lnTo>
                  <a:pt x="464478" y="272434"/>
                </a:lnTo>
                <a:lnTo>
                  <a:pt x="429617" y="301472"/>
                </a:lnTo>
                <a:lnTo>
                  <a:pt x="395851" y="331744"/>
                </a:lnTo>
                <a:lnTo>
                  <a:pt x="363215" y="363215"/>
                </a:lnTo>
                <a:lnTo>
                  <a:pt x="331744" y="395851"/>
                </a:lnTo>
                <a:lnTo>
                  <a:pt x="301472" y="429617"/>
                </a:lnTo>
                <a:lnTo>
                  <a:pt x="272434" y="464478"/>
                </a:lnTo>
                <a:lnTo>
                  <a:pt x="244665" y="500402"/>
                </a:lnTo>
                <a:lnTo>
                  <a:pt x="218197" y="537352"/>
                </a:lnTo>
                <a:lnTo>
                  <a:pt x="193067" y="575295"/>
                </a:lnTo>
                <a:lnTo>
                  <a:pt x="169309" y="614195"/>
                </a:lnTo>
                <a:lnTo>
                  <a:pt x="146956" y="654019"/>
                </a:lnTo>
                <a:lnTo>
                  <a:pt x="126044" y="694733"/>
                </a:lnTo>
                <a:lnTo>
                  <a:pt x="106607" y="736301"/>
                </a:lnTo>
                <a:lnTo>
                  <a:pt x="88679" y="778689"/>
                </a:lnTo>
                <a:lnTo>
                  <a:pt x="72295" y="821863"/>
                </a:lnTo>
                <a:lnTo>
                  <a:pt x="57490" y="865788"/>
                </a:lnTo>
                <a:lnTo>
                  <a:pt x="44297" y="910430"/>
                </a:lnTo>
                <a:lnTo>
                  <a:pt x="32751" y="955754"/>
                </a:lnTo>
                <a:lnTo>
                  <a:pt x="22887" y="1001726"/>
                </a:lnTo>
                <a:lnTo>
                  <a:pt x="14740" y="1048311"/>
                </a:lnTo>
                <a:lnTo>
                  <a:pt x="8343" y="1095476"/>
                </a:lnTo>
                <a:lnTo>
                  <a:pt x="3730" y="1143185"/>
                </a:lnTo>
                <a:lnTo>
                  <a:pt x="938" y="1191403"/>
                </a:lnTo>
                <a:lnTo>
                  <a:pt x="0" y="1240098"/>
                </a:lnTo>
                <a:lnTo>
                  <a:pt x="938" y="1288792"/>
                </a:lnTo>
                <a:lnTo>
                  <a:pt x="3730" y="1337011"/>
                </a:lnTo>
                <a:lnTo>
                  <a:pt x="8343" y="1384720"/>
                </a:lnTo>
                <a:lnTo>
                  <a:pt x="14740" y="1431884"/>
                </a:lnTo>
                <a:lnTo>
                  <a:pt x="22887" y="1478470"/>
                </a:lnTo>
                <a:lnTo>
                  <a:pt x="32751" y="1524442"/>
                </a:lnTo>
                <a:lnTo>
                  <a:pt x="44297" y="1569766"/>
                </a:lnTo>
                <a:lnTo>
                  <a:pt x="57490" y="1614408"/>
                </a:lnTo>
                <a:lnTo>
                  <a:pt x="72295" y="1658333"/>
                </a:lnTo>
                <a:lnTo>
                  <a:pt x="88679" y="1701507"/>
                </a:lnTo>
                <a:lnTo>
                  <a:pt x="106607" y="1743895"/>
                </a:lnTo>
                <a:lnTo>
                  <a:pt x="126044" y="1785463"/>
                </a:lnTo>
                <a:lnTo>
                  <a:pt x="146956" y="1826176"/>
                </a:lnTo>
                <a:lnTo>
                  <a:pt x="169309" y="1866000"/>
                </a:lnTo>
                <a:lnTo>
                  <a:pt x="193067" y="1904901"/>
                </a:lnTo>
                <a:lnTo>
                  <a:pt x="218197" y="1942844"/>
                </a:lnTo>
                <a:lnTo>
                  <a:pt x="244665" y="1979794"/>
                </a:lnTo>
                <a:lnTo>
                  <a:pt x="272434" y="2015717"/>
                </a:lnTo>
                <a:lnTo>
                  <a:pt x="301472" y="2050579"/>
                </a:lnTo>
                <a:lnTo>
                  <a:pt x="331744" y="2084345"/>
                </a:lnTo>
                <a:lnTo>
                  <a:pt x="363215" y="2116981"/>
                </a:lnTo>
                <a:lnTo>
                  <a:pt x="395851" y="2148452"/>
                </a:lnTo>
                <a:lnTo>
                  <a:pt x="429617" y="2178723"/>
                </a:lnTo>
                <a:lnTo>
                  <a:pt x="464478" y="2207761"/>
                </a:lnTo>
                <a:lnTo>
                  <a:pt x="500402" y="2235531"/>
                </a:lnTo>
                <a:lnTo>
                  <a:pt x="537352" y="2261998"/>
                </a:lnTo>
                <a:lnTo>
                  <a:pt x="575295" y="2287129"/>
                </a:lnTo>
                <a:lnTo>
                  <a:pt x="614195" y="2310887"/>
                </a:lnTo>
                <a:lnTo>
                  <a:pt x="654019" y="2333240"/>
                </a:lnTo>
                <a:lnTo>
                  <a:pt x="694733" y="2354152"/>
                </a:lnTo>
                <a:lnTo>
                  <a:pt x="736301" y="2373589"/>
                </a:lnTo>
                <a:lnTo>
                  <a:pt x="778689" y="2391517"/>
                </a:lnTo>
                <a:lnTo>
                  <a:pt x="821863" y="2407900"/>
                </a:lnTo>
                <a:lnTo>
                  <a:pt x="865788" y="2422706"/>
                </a:lnTo>
                <a:lnTo>
                  <a:pt x="910430" y="2435899"/>
                </a:lnTo>
                <a:lnTo>
                  <a:pt x="955754" y="2447444"/>
                </a:lnTo>
                <a:lnTo>
                  <a:pt x="1001726" y="2457308"/>
                </a:lnTo>
                <a:lnTo>
                  <a:pt x="1048311" y="2465456"/>
                </a:lnTo>
                <a:lnTo>
                  <a:pt x="1095476" y="2471853"/>
                </a:lnTo>
                <a:lnTo>
                  <a:pt x="1143185" y="2476465"/>
                </a:lnTo>
                <a:lnTo>
                  <a:pt x="1191403" y="2479258"/>
                </a:lnTo>
                <a:lnTo>
                  <a:pt x="1240098" y="2480196"/>
                </a:lnTo>
                <a:lnTo>
                  <a:pt x="1288792" y="2479258"/>
                </a:lnTo>
                <a:lnTo>
                  <a:pt x="1337011" y="2476465"/>
                </a:lnTo>
                <a:lnTo>
                  <a:pt x="1384720" y="2471853"/>
                </a:lnTo>
                <a:lnTo>
                  <a:pt x="1431884" y="2465456"/>
                </a:lnTo>
                <a:lnTo>
                  <a:pt x="1478470" y="2457308"/>
                </a:lnTo>
                <a:lnTo>
                  <a:pt x="1524442" y="2447444"/>
                </a:lnTo>
                <a:lnTo>
                  <a:pt x="1569766" y="2435899"/>
                </a:lnTo>
                <a:lnTo>
                  <a:pt x="1614408" y="2422706"/>
                </a:lnTo>
                <a:lnTo>
                  <a:pt x="1658333" y="2407900"/>
                </a:lnTo>
                <a:lnTo>
                  <a:pt x="1701507" y="2391517"/>
                </a:lnTo>
                <a:lnTo>
                  <a:pt x="1743895" y="2373589"/>
                </a:lnTo>
                <a:lnTo>
                  <a:pt x="1785463" y="2354152"/>
                </a:lnTo>
                <a:lnTo>
                  <a:pt x="1826176" y="2333240"/>
                </a:lnTo>
                <a:lnTo>
                  <a:pt x="1866000" y="2310887"/>
                </a:lnTo>
                <a:lnTo>
                  <a:pt x="1904901" y="2287129"/>
                </a:lnTo>
                <a:lnTo>
                  <a:pt x="1942844" y="2261998"/>
                </a:lnTo>
                <a:lnTo>
                  <a:pt x="1979794" y="2235531"/>
                </a:lnTo>
                <a:lnTo>
                  <a:pt x="2015717" y="2207761"/>
                </a:lnTo>
                <a:lnTo>
                  <a:pt x="2050579" y="2178723"/>
                </a:lnTo>
                <a:lnTo>
                  <a:pt x="2084345" y="2148452"/>
                </a:lnTo>
                <a:lnTo>
                  <a:pt x="2116981" y="2116981"/>
                </a:lnTo>
                <a:lnTo>
                  <a:pt x="2148452" y="2084345"/>
                </a:lnTo>
                <a:lnTo>
                  <a:pt x="2178723" y="2050579"/>
                </a:lnTo>
                <a:lnTo>
                  <a:pt x="2207761" y="2015717"/>
                </a:lnTo>
                <a:lnTo>
                  <a:pt x="2235531" y="1979794"/>
                </a:lnTo>
                <a:lnTo>
                  <a:pt x="2261998" y="1942844"/>
                </a:lnTo>
                <a:lnTo>
                  <a:pt x="2287129" y="1904901"/>
                </a:lnTo>
                <a:lnTo>
                  <a:pt x="2310887" y="1866000"/>
                </a:lnTo>
                <a:lnTo>
                  <a:pt x="2333240" y="1826176"/>
                </a:lnTo>
                <a:lnTo>
                  <a:pt x="2354152" y="1785463"/>
                </a:lnTo>
                <a:lnTo>
                  <a:pt x="2373589" y="1743895"/>
                </a:lnTo>
                <a:lnTo>
                  <a:pt x="2391517" y="1701507"/>
                </a:lnTo>
                <a:lnTo>
                  <a:pt x="2407900" y="1658333"/>
                </a:lnTo>
                <a:lnTo>
                  <a:pt x="2422706" y="1614408"/>
                </a:lnTo>
                <a:lnTo>
                  <a:pt x="2435899" y="1569766"/>
                </a:lnTo>
                <a:lnTo>
                  <a:pt x="2447444" y="1524442"/>
                </a:lnTo>
                <a:lnTo>
                  <a:pt x="2457308" y="1478470"/>
                </a:lnTo>
                <a:lnTo>
                  <a:pt x="2465456" y="1431884"/>
                </a:lnTo>
                <a:lnTo>
                  <a:pt x="2471853" y="1384720"/>
                </a:lnTo>
                <a:lnTo>
                  <a:pt x="2476465" y="1337011"/>
                </a:lnTo>
                <a:lnTo>
                  <a:pt x="2479258" y="1288792"/>
                </a:lnTo>
                <a:lnTo>
                  <a:pt x="2480196" y="1240098"/>
                </a:lnTo>
                <a:lnTo>
                  <a:pt x="2479258" y="1191403"/>
                </a:lnTo>
                <a:lnTo>
                  <a:pt x="2476465" y="1143185"/>
                </a:lnTo>
                <a:lnTo>
                  <a:pt x="2471853" y="1095476"/>
                </a:lnTo>
                <a:lnTo>
                  <a:pt x="2465456" y="1048311"/>
                </a:lnTo>
                <a:lnTo>
                  <a:pt x="2457308" y="1001726"/>
                </a:lnTo>
                <a:lnTo>
                  <a:pt x="2447444" y="955754"/>
                </a:lnTo>
                <a:lnTo>
                  <a:pt x="2435899" y="910430"/>
                </a:lnTo>
                <a:lnTo>
                  <a:pt x="2422706" y="865788"/>
                </a:lnTo>
                <a:lnTo>
                  <a:pt x="2407900" y="821863"/>
                </a:lnTo>
                <a:lnTo>
                  <a:pt x="2391517" y="778689"/>
                </a:lnTo>
                <a:lnTo>
                  <a:pt x="2373589" y="736301"/>
                </a:lnTo>
                <a:lnTo>
                  <a:pt x="2354152" y="694733"/>
                </a:lnTo>
                <a:lnTo>
                  <a:pt x="2333240" y="654019"/>
                </a:lnTo>
                <a:lnTo>
                  <a:pt x="2310887" y="614195"/>
                </a:lnTo>
                <a:lnTo>
                  <a:pt x="2287129" y="575295"/>
                </a:lnTo>
                <a:lnTo>
                  <a:pt x="2261998" y="537352"/>
                </a:lnTo>
                <a:lnTo>
                  <a:pt x="2235531" y="500402"/>
                </a:lnTo>
                <a:lnTo>
                  <a:pt x="2207761" y="464478"/>
                </a:lnTo>
                <a:lnTo>
                  <a:pt x="2178723" y="429617"/>
                </a:lnTo>
                <a:lnTo>
                  <a:pt x="2148452" y="395851"/>
                </a:lnTo>
                <a:lnTo>
                  <a:pt x="2116981" y="363215"/>
                </a:lnTo>
                <a:lnTo>
                  <a:pt x="2084345" y="331744"/>
                </a:lnTo>
                <a:lnTo>
                  <a:pt x="2050579" y="301472"/>
                </a:lnTo>
                <a:lnTo>
                  <a:pt x="2015717" y="272434"/>
                </a:lnTo>
                <a:lnTo>
                  <a:pt x="1979794" y="244665"/>
                </a:lnTo>
                <a:lnTo>
                  <a:pt x="1942844" y="218197"/>
                </a:lnTo>
                <a:lnTo>
                  <a:pt x="1904901" y="193067"/>
                </a:lnTo>
                <a:lnTo>
                  <a:pt x="1866000" y="169309"/>
                </a:lnTo>
                <a:lnTo>
                  <a:pt x="1826176" y="146956"/>
                </a:lnTo>
                <a:lnTo>
                  <a:pt x="1785463" y="126044"/>
                </a:lnTo>
                <a:lnTo>
                  <a:pt x="1743895" y="106607"/>
                </a:lnTo>
                <a:lnTo>
                  <a:pt x="1701507" y="88679"/>
                </a:lnTo>
                <a:lnTo>
                  <a:pt x="1658333" y="72295"/>
                </a:lnTo>
                <a:lnTo>
                  <a:pt x="1614408" y="57490"/>
                </a:lnTo>
                <a:lnTo>
                  <a:pt x="1569766" y="44297"/>
                </a:lnTo>
                <a:lnTo>
                  <a:pt x="1524442" y="32751"/>
                </a:lnTo>
                <a:lnTo>
                  <a:pt x="1478470" y="22887"/>
                </a:lnTo>
                <a:lnTo>
                  <a:pt x="1431884" y="14740"/>
                </a:lnTo>
                <a:lnTo>
                  <a:pt x="1384720" y="8343"/>
                </a:lnTo>
                <a:lnTo>
                  <a:pt x="1337011" y="3730"/>
                </a:lnTo>
                <a:lnTo>
                  <a:pt x="1288792" y="938"/>
                </a:lnTo>
                <a:lnTo>
                  <a:pt x="1240098" y="0"/>
                </a:lnTo>
                <a:close/>
              </a:path>
            </a:pathLst>
          </a:custGeom>
          <a:solidFill>
            <a:srgbClr val="FFFFFF"/>
          </a:solidFill>
        </p:spPr>
        <p:txBody>
          <a:bodyPr wrap="square" lIns="0" tIns="0" rIns="0" bIns="0" rtlCol="0"/>
          <a:lstStyle/>
          <a:p>
            <a:endParaRPr/>
          </a:p>
        </p:txBody>
      </p:sp>
      <p:sp>
        <p:nvSpPr>
          <p:cNvPr id="24" name="object 24"/>
          <p:cNvSpPr txBox="1"/>
          <p:nvPr/>
        </p:nvSpPr>
        <p:spPr>
          <a:xfrm>
            <a:off x="5293465" y="3989839"/>
            <a:ext cx="514675" cy="297462"/>
          </a:xfrm>
          <a:prstGeom prst="rect">
            <a:avLst/>
          </a:prstGeom>
        </p:spPr>
        <p:txBody>
          <a:bodyPr vert="horz" wrap="square" lIns="0" tIns="6931" rIns="0" bIns="0" rtlCol="0">
            <a:spAutoFit/>
          </a:bodyPr>
          <a:lstStyle/>
          <a:p>
            <a:pPr marL="5776">
              <a:spcBef>
                <a:spcPts val="55"/>
              </a:spcBef>
            </a:pPr>
            <a:r>
              <a:rPr sz="1900" b="1" spc="7" dirty="0">
                <a:solidFill>
                  <a:srgbClr val="FF7900"/>
                </a:solidFill>
                <a:latin typeface="Helvetica Neue"/>
                <a:cs typeface="Helvetica Neue"/>
              </a:rPr>
              <a:t>24%</a:t>
            </a:r>
            <a:endParaRPr sz="1900">
              <a:latin typeface="Helvetica Neue"/>
              <a:cs typeface="Helvetica Neue"/>
            </a:endParaRPr>
          </a:p>
        </p:txBody>
      </p:sp>
      <p:sp>
        <p:nvSpPr>
          <p:cNvPr id="25" name="object 25"/>
          <p:cNvSpPr/>
          <p:nvPr/>
        </p:nvSpPr>
        <p:spPr>
          <a:xfrm>
            <a:off x="5165232" y="3791913"/>
            <a:ext cx="763925" cy="748566"/>
          </a:xfrm>
          <a:custGeom>
            <a:avLst/>
            <a:gdLst/>
            <a:ahLst/>
            <a:cxnLst/>
            <a:rect l="l" t="t" r="r" b="b"/>
            <a:pathLst>
              <a:path w="1679575" h="1645920">
                <a:moveTo>
                  <a:pt x="1679498" y="822885"/>
                </a:moveTo>
                <a:lnTo>
                  <a:pt x="1678073" y="871236"/>
                </a:lnTo>
                <a:lnTo>
                  <a:pt x="1673849" y="918851"/>
                </a:lnTo>
                <a:lnTo>
                  <a:pt x="1666905" y="965654"/>
                </a:lnTo>
                <a:lnTo>
                  <a:pt x="1657320" y="1011566"/>
                </a:lnTo>
                <a:lnTo>
                  <a:pt x="1645173" y="1056511"/>
                </a:lnTo>
                <a:lnTo>
                  <a:pt x="1630542" y="1100411"/>
                </a:lnTo>
                <a:lnTo>
                  <a:pt x="1613506" y="1143190"/>
                </a:lnTo>
                <a:lnTo>
                  <a:pt x="1594145" y="1184770"/>
                </a:lnTo>
                <a:lnTo>
                  <a:pt x="1572536" y="1225074"/>
                </a:lnTo>
                <a:lnTo>
                  <a:pt x="1548759" y="1264025"/>
                </a:lnTo>
                <a:lnTo>
                  <a:pt x="1522892" y="1301546"/>
                </a:lnTo>
                <a:lnTo>
                  <a:pt x="1495015" y="1337559"/>
                </a:lnTo>
                <a:lnTo>
                  <a:pt x="1465204" y="1371987"/>
                </a:lnTo>
                <a:lnTo>
                  <a:pt x="1433541" y="1404754"/>
                </a:lnTo>
                <a:lnTo>
                  <a:pt x="1400103" y="1435781"/>
                </a:lnTo>
                <a:lnTo>
                  <a:pt x="1364969" y="1464993"/>
                </a:lnTo>
                <a:lnTo>
                  <a:pt x="1328217" y="1492311"/>
                </a:lnTo>
                <a:lnTo>
                  <a:pt x="1289928" y="1517658"/>
                </a:lnTo>
                <a:lnTo>
                  <a:pt x="1250178" y="1540958"/>
                </a:lnTo>
                <a:lnTo>
                  <a:pt x="1209048" y="1562132"/>
                </a:lnTo>
                <a:lnTo>
                  <a:pt x="1166615" y="1581105"/>
                </a:lnTo>
                <a:lnTo>
                  <a:pt x="1122959" y="1597798"/>
                </a:lnTo>
                <a:lnTo>
                  <a:pt x="1078159" y="1612135"/>
                </a:lnTo>
                <a:lnTo>
                  <a:pt x="1032293" y="1624038"/>
                </a:lnTo>
                <a:lnTo>
                  <a:pt x="985439" y="1633431"/>
                </a:lnTo>
                <a:lnTo>
                  <a:pt x="937677" y="1640235"/>
                </a:lnTo>
                <a:lnTo>
                  <a:pt x="889086" y="1644374"/>
                </a:lnTo>
                <a:lnTo>
                  <a:pt x="839744" y="1645771"/>
                </a:lnTo>
                <a:lnTo>
                  <a:pt x="790402" y="1644374"/>
                </a:lnTo>
                <a:lnTo>
                  <a:pt x="741812" y="1640235"/>
                </a:lnTo>
                <a:lnTo>
                  <a:pt x="694051" y="1633431"/>
                </a:lnTo>
                <a:lnTo>
                  <a:pt x="647198" y="1624038"/>
                </a:lnTo>
                <a:lnTo>
                  <a:pt x="601333" y="1612135"/>
                </a:lnTo>
                <a:lnTo>
                  <a:pt x="556533" y="1597798"/>
                </a:lnTo>
                <a:lnTo>
                  <a:pt x="512878" y="1581105"/>
                </a:lnTo>
                <a:lnTo>
                  <a:pt x="470446" y="1562132"/>
                </a:lnTo>
                <a:lnTo>
                  <a:pt x="429316" y="1540958"/>
                </a:lnTo>
                <a:lnTo>
                  <a:pt x="389567" y="1517658"/>
                </a:lnTo>
                <a:lnTo>
                  <a:pt x="351278" y="1492311"/>
                </a:lnTo>
                <a:lnTo>
                  <a:pt x="314527" y="1464993"/>
                </a:lnTo>
                <a:lnTo>
                  <a:pt x="279393" y="1435781"/>
                </a:lnTo>
                <a:lnTo>
                  <a:pt x="245955" y="1404754"/>
                </a:lnTo>
                <a:lnTo>
                  <a:pt x="214292" y="1371987"/>
                </a:lnTo>
                <a:lnTo>
                  <a:pt x="184482" y="1337559"/>
                </a:lnTo>
                <a:lnTo>
                  <a:pt x="156605" y="1301546"/>
                </a:lnTo>
                <a:lnTo>
                  <a:pt x="130738" y="1264025"/>
                </a:lnTo>
                <a:lnTo>
                  <a:pt x="106961" y="1225074"/>
                </a:lnTo>
                <a:lnTo>
                  <a:pt x="85352" y="1184770"/>
                </a:lnTo>
                <a:lnTo>
                  <a:pt x="65991" y="1143190"/>
                </a:lnTo>
                <a:lnTo>
                  <a:pt x="48956" y="1100411"/>
                </a:lnTo>
                <a:lnTo>
                  <a:pt x="34325" y="1056511"/>
                </a:lnTo>
                <a:lnTo>
                  <a:pt x="22178" y="1011566"/>
                </a:lnTo>
                <a:lnTo>
                  <a:pt x="12593" y="965654"/>
                </a:lnTo>
                <a:lnTo>
                  <a:pt x="5649" y="918851"/>
                </a:lnTo>
                <a:lnTo>
                  <a:pt x="1425" y="871236"/>
                </a:lnTo>
                <a:lnTo>
                  <a:pt x="0" y="822885"/>
                </a:lnTo>
                <a:lnTo>
                  <a:pt x="1425" y="774535"/>
                </a:lnTo>
                <a:lnTo>
                  <a:pt x="5649" y="726919"/>
                </a:lnTo>
                <a:lnTo>
                  <a:pt x="12593" y="680117"/>
                </a:lnTo>
                <a:lnTo>
                  <a:pt x="22178" y="634205"/>
                </a:lnTo>
                <a:lnTo>
                  <a:pt x="34325" y="589260"/>
                </a:lnTo>
                <a:lnTo>
                  <a:pt x="48956" y="545360"/>
                </a:lnTo>
                <a:lnTo>
                  <a:pt x="65991" y="502581"/>
                </a:lnTo>
                <a:lnTo>
                  <a:pt x="85352" y="461001"/>
                </a:lnTo>
                <a:lnTo>
                  <a:pt x="106961" y="420697"/>
                </a:lnTo>
                <a:lnTo>
                  <a:pt x="130738" y="381746"/>
                </a:lnTo>
                <a:lnTo>
                  <a:pt x="156605" y="344225"/>
                </a:lnTo>
                <a:lnTo>
                  <a:pt x="184482" y="308212"/>
                </a:lnTo>
                <a:lnTo>
                  <a:pt x="214292" y="273784"/>
                </a:lnTo>
                <a:lnTo>
                  <a:pt x="245955" y="241017"/>
                </a:lnTo>
                <a:lnTo>
                  <a:pt x="279393" y="209989"/>
                </a:lnTo>
                <a:lnTo>
                  <a:pt x="314527" y="180778"/>
                </a:lnTo>
                <a:lnTo>
                  <a:pt x="351278" y="153460"/>
                </a:lnTo>
                <a:lnTo>
                  <a:pt x="389567" y="128113"/>
                </a:lnTo>
                <a:lnTo>
                  <a:pt x="429316" y="104813"/>
                </a:lnTo>
                <a:lnTo>
                  <a:pt x="470446" y="83638"/>
                </a:lnTo>
                <a:lnTo>
                  <a:pt x="512878" y="64666"/>
                </a:lnTo>
                <a:lnTo>
                  <a:pt x="556533" y="47973"/>
                </a:lnTo>
                <a:lnTo>
                  <a:pt x="601333" y="33636"/>
                </a:lnTo>
                <a:lnTo>
                  <a:pt x="647198" y="21732"/>
                </a:lnTo>
                <a:lnTo>
                  <a:pt x="694051" y="12340"/>
                </a:lnTo>
                <a:lnTo>
                  <a:pt x="741812" y="5536"/>
                </a:lnTo>
                <a:lnTo>
                  <a:pt x="790402" y="1396"/>
                </a:lnTo>
                <a:lnTo>
                  <a:pt x="839744" y="0"/>
                </a:lnTo>
                <a:lnTo>
                  <a:pt x="889086" y="1396"/>
                </a:lnTo>
                <a:lnTo>
                  <a:pt x="937677" y="5536"/>
                </a:lnTo>
                <a:lnTo>
                  <a:pt x="985439" y="12340"/>
                </a:lnTo>
                <a:lnTo>
                  <a:pt x="1032293" y="21732"/>
                </a:lnTo>
                <a:lnTo>
                  <a:pt x="1078159" y="33636"/>
                </a:lnTo>
                <a:lnTo>
                  <a:pt x="1122959" y="47973"/>
                </a:lnTo>
                <a:lnTo>
                  <a:pt x="1166615" y="64666"/>
                </a:lnTo>
                <a:lnTo>
                  <a:pt x="1209048" y="83638"/>
                </a:lnTo>
                <a:lnTo>
                  <a:pt x="1250178" y="104813"/>
                </a:lnTo>
                <a:lnTo>
                  <a:pt x="1289928" y="128113"/>
                </a:lnTo>
                <a:lnTo>
                  <a:pt x="1328217" y="153460"/>
                </a:lnTo>
                <a:lnTo>
                  <a:pt x="1364969" y="180778"/>
                </a:lnTo>
                <a:lnTo>
                  <a:pt x="1400103" y="209989"/>
                </a:lnTo>
                <a:lnTo>
                  <a:pt x="1433541" y="241017"/>
                </a:lnTo>
                <a:lnTo>
                  <a:pt x="1465204" y="273784"/>
                </a:lnTo>
                <a:lnTo>
                  <a:pt x="1495015" y="308212"/>
                </a:lnTo>
                <a:lnTo>
                  <a:pt x="1522892" y="344225"/>
                </a:lnTo>
                <a:lnTo>
                  <a:pt x="1548759" y="381746"/>
                </a:lnTo>
                <a:lnTo>
                  <a:pt x="1572536" y="420697"/>
                </a:lnTo>
                <a:lnTo>
                  <a:pt x="1594145" y="461001"/>
                </a:lnTo>
                <a:lnTo>
                  <a:pt x="1613506" y="502581"/>
                </a:lnTo>
                <a:lnTo>
                  <a:pt x="1630542" y="545360"/>
                </a:lnTo>
                <a:lnTo>
                  <a:pt x="1645173" y="589260"/>
                </a:lnTo>
                <a:lnTo>
                  <a:pt x="1657320" y="634205"/>
                </a:lnTo>
                <a:lnTo>
                  <a:pt x="1666905" y="680117"/>
                </a:lnTo>
                <a:lnTo>
                  <a:pt x="1673849" y="726919"/>
                </a:lnTo>
                <a:lnTo>
                  <a:pt x="1678073" y="774535"/>
                </a:lnTo>
                <a:lnTo>
                  <a:pt x="1679498" y="822885"/>
                </a:lnTo>
                <a:close/>
              </a:path>
            </a:pathLst>
          </a:custGeom>
          <a:ln w="16711">
            <a:solidFill>
              <a:srgbClr val="808080"/>
            </a:solidFill>
          </a:ln>
        </p:spPr>
        <p:txBody>
          <a:bodyPr wrap="square" lIns="0" tIns="0" rIns="0" bIns="0" rtlCol="0"/>
          <a:lstStyle/>
          <a:p>
            <a:endParaRPr/>
          </a:p>
        </p:txBody>
      </p:sp>
      <p:sp>
        <p:nvSpPr>
          <p:cNvPr id="26" name="object 26"/>
          <p:cNvSpPr/>
          <p:nvPr/>
        </p:nvSpPr>
        <p:spPr>
          <a:xfrm>
            <a:off x="5547174" y="3679203"/>
            <a:ext cx="496191" cy="485470"/>
          </a:xfrm>
          <a:custGeom>
            <a:avLst/>
            <a:gdLst/>
            <a:ahLst/>
            <a:cxnLst/>
            <a:rect l="l" t="t" r="r" b="b"/>
            <a:pathLst>
              <a:path w="1090930" h="1067434">
                <a:moveTo>
                  <a:pt x="0" y="0"/>
                </a:moveTo>
                <a:lnTo>
                  <a:pt x="0" y="513450"/>
                </a:lnTo>
                <a:lnTo>
                  <a:pt x="48590" y="515492"/>
                </a:lnTo>
                <a:lnTo>
                  <a:pt x="96671" y="521575"/>
                </a:lnTo>
                <a:lnTo>
                  <a:pt x="143994" y="531636"/>
                </a:lnTo>
                <a:lnTo>
                  <a:pt x="190311" y="545613"/>
                </a:lnTo>
                <a:lnTo>
                  <a:pt x="235373" y="563442"/>
                </a:lnTo>
                <a:lnTo>
                  <a:pt x="278933" y="585060"/>
                </a:lnTo>
                <a:lnTo>
                  <a:pt x="323226" y="612019"/>
                </a:lnTo>
                <a:lnTo>
                  <a:pt x="364260" y="642256"/>
                </a:lnTo>
                <a:lnTo>
                  <a:pt x="401958" y="675507"/>
                </a:lnTo>
                <a:lnTo>
                  <a:pt x="436245" y="711509"/>
                </a:lnTo>
                <a:lnTo>
                  <a:pt x="467042" y="749998"/>
                </a:lnTo>
                <a:lnTo>
                  <a:pt x="494275" y="790711"/>
                </a:lnTo>
                <a:lnTo>
                  <a:pt x="517866" y="833384"/>
                </a:lnTo>
                <a:lnTo>
                  <a:pt x="537739" y="877754"/>
                </a:lnTo>
                <a:lnTo>
                  <a:pt x="553817" y="923557"/>
                </a:lnTo>
                <a:lnTo>
                  <a:pt x="566023" y="970530"/>
                </a:lnTo>
                <a:lnTo>
                  <a:pt x="574282" y="1018409"/>
                </a:lnTo>
                <a:lnTo>
                  <a:pt x="578516" y="1066930"/>
                </a:lnTo>
                <a:lnTo>
                  <a:pt x="1090804" y="1032240"/>
                </a:lnTo>
                <a:lnTo>
                  <a:pt x="1087177" y="984576"/>
                </a:lnTo>
                <a:lnTo>
                  <a:pt x="1081532" y="937504"/>
                </a:lnTo>
                <a:lnTo>
                  <a:pt x="1073914" y="891068"/>
                </a:lnTo>
                <a:lnTo>
                  <a:pt x="1064365" y="845310"/>
                </a:lnTo>
                <a:lnTo>
                  <a:pt x="1052929" y="800275"/>
                </a:lnTo>
                <a:lnTo>
                  <a:pt x="1039650" y="756006"/>
                </a:lnTo>
                <a:lnTo>
                  <a:pt x="1024571" y="712546"/>
                </a:lnTo>
                <a:lnTo>
                  <a:pt x="1007736" y="669940"/>
                </a:lnTo>
                <a:lnTo>
                  <a:pt x="989187" y="628230"/>
                </a:lnTo>
                <a:lnTo>
                  <a:pt x="968970" y="587460"/>
                </a:lnTo>
                <a:lnTo>
                  <a:pt x="947127" y="547673"/>
                </a:lnTo>
                <a:lnTo>
                  <a:pt x="923701" y="508914"/>
                </a:lnTo>
                <a:lnTo>
                  <a:pt x="898737" y="471225"/>
                </a:lnTo>
                <a:lnTo>
                  <a:pt x="872278" y="434651"/>
                </a:lnTo>
                <a:lnTo>
                  <a:pt x="844367" y="399234"/>
                </a:lnTo>
                <a:lnTo>
                  <a:pt x="815048" y="365019"/>
                </a:lnTo>
                <a:lnTo>
                  <a:pt x="784365" y="332048"/>
                </a:lnTo>
                <a:lnTo>
                  <a:pt x="752360" y="300366"/>
                </a:lnTo>
                <a:lnTo>
                  <a:pt x="719078" y="270015"/>
                </a:lnTo>
                <a:lnTo>
                  <a:pt x="684562" y="241040"/>
                </a:lnTo>
                <a:lnTo>
                  <a:pt x="648855" y="213484"/>
                </a:lnTo>
                <a:lnTo>
                  <a:pt x="612002" y="187390"/>
                </a:lnTo>
                <a:lnTo>
                  <a:pt x="574045" y="162802"/>
                </a:lnTo>
                <a:lnTo>
                  <a:pt x="535028" y="139763"/>
                </a:lnTo>
                <a:lnTo>
                  <a:pt x="494995" y="118318"/>
                </a:lnTo>
                <a:lnTo>
                  <a:pt x="453989" y="98509"/>
                </a:lnTo>
                <a:lnTo>
                  <a:pt x="412054" y="80379"/>
                </a:lnTo>
                <a:lnTo>
                  <a:pt x="369232" y="63974"/>
                </a:lnTo>
                <a:lnTo>
                  <a:pt x="325569" y="49335"/>
                </a:lnTo>
                <a:lnTo>
                  <a:pt x="281107" y="36507"/>
                </a:lnTo>
                <a:lnTo>
                  <a:pt x="235890" y="25534"/>
                </a:lnTo>
                <a:lnTo>
                  <a:pt x="189961" y="16457"/>
                </a:lnTo>
                <a:lnTo>
                  <a:pt x="143364" y="9322"/>
                </a:lnTo>
                <a:lnTo>
                  <a:pt x="96142" y="4172"/>
                </a:lnTo>
                <a:lnTo>
                  <a:pt x="48340" y="1050"/>
                </a:lnTo>
                <a:lnTo>
                  <a:pt x="0" y="0"/>
                </a:lnTo>
                <a:close/>
              </a:path>
            </a:pathLst>
          </a:custGeom>
          <a:solidFill>
            <a:srgbClr val="FF7900"/>
          </a:solidFill>
        </p:spPr>
        <p:txBody>
          <a:bodyPr wrap="square" lIns="0" tIns="0" rIns="0" bIns="0" rtlCol="0"/>
          <a:lstStyle/>
          <a:p>
            <a:endParaRPr/>
          </a:p>
        </p:txBody>
      </p:sp>
      <p:sp>
        <p:nvSpPr>
          <p:cNvPr id="27" name="object 27"/>
          <p:cNvSpPr/>
          <p:nvPr/>
        </p:nvSpPr>
        <p:spPr>
          <a:xfrm>
            <a:off x="7030089" y="3611321"/>
            <a:ext cx="1128126" cy="1128047"/>
          </a:xfrm>
          <a:custGeom>
            <a:avLst/>
            <a:gdLst/>
            <a:ahLst/>
            <a:cxnLst/>
            <a:rect l="l" t="t" r="r" b="b"/>
            <a:pathLst>
              <a:path w="2480309" h="2480309">
                <a:moveTo>
                  <a:pt x="1240098" y="0"/>
                </a:moveTo>
                <a:lnTo>
                  <a:pt x="1191404" y="938"/>
                </a:lnTo>
                <a:lnTo>
                  <a:pt x="1143186" y="3730"/>
                </a:lnTo>
                <a:lnTo>
                  <a:pt x="1095478" y="8343"/>
                </a:lnTo>
                <a:lnTo>
                  <a:pt x="1048314" y="14740"/>
                </a:lnTo>
                <a:lnTo>
                  <a:pt x="1001729" y="22887"/>
                </a:lnTo>
                <a:lnTo>
                  <a:pt x="955757" y="32751"/>
                </a:lnTo>
                <a:lnTo>
                  <a:pt x="910433" y="44297"/>
                </a:lnTo>
                <a:lnTo>
                  <a:pt x="865792" y="57490"/>
                </a:lnTo>
                <a:lnTo>
                  <a:pt x="821867" y="72295"/>
                </a:lnTo>
                <a:lnTo>
                  <a:pt x="778693" y="88679"/>
                </a:lnTo>
                <a:lnTo>
                  <a:pt x="736305" y="106607"/>
                </a:lnTo>
                <a:lnTo>
                  <a:pt x="694737" y="126044"/>
                </a:lnTo>
                <a:lnTo>
                  <a:pt x="654024" y="146956"/>
                </a:lnTo>
                <a:lnTo>
                  <a:pt x="614200" y="169309"/>
                </a:lnTo>
                <a:lnTo>
                  <a:pt x="575299" y="193067"/>
                </a:lnTo>
                <a:lnTo>
                  <a:pt x="537356" y="218197"/>
                </a:lnTo>
                <a:lnTo>
                  <a:pt x="500406" y="244665"/>
                </a:lnTo>
                <a:lnTo>
                  <a:pt x="464483" y="272434"/>
                </a:lnTo>
                <a:lnTo>
                  <a:pt x="429621" y="301472"/>
                </a:lnTo>
                <a:lnTo>
                  <a:pt x="395855" y="331744"/>
                </a:lnTo>
                <a:lnTo>
                  <a:pt x="363219" y="363215"/>
                </a:lnTo>
                <a:lnTo>
                  <a:pt x="331748" y="395851"/>
                </a:lnTo>
                <a:lnTo>
                  <a:pt x="301476" y="429617"/>
                </a:lnTo>
                <a:lnTo>
                  <a:pt x="272438" y="464478"/>
                </a:lnTo>
                <a:lnTo>
                  <a:pt x="244668" y="500402"/>
                </a:lnTo>
                <a:lnTo>
                  <a:pt x="218200" y="537352"/>
                </a:lnTo>
                <a:lnTo>
                  <a:pt x="193070" y="575295"/>
                </a:lnTo>
                <a:lnTo>
                  <a:pt x="169311" y="614195"/>
                </a:lnTo>
                <a:lnTo>
                  <a:pt x="146958" y="654019"/>
                </a:lnTo>
                <a:lnTo>
                  <a:pt x="126046" y="694733"/>
                </a:lnTo>
                <a:lnTo>
                  <a:pt x="106608" y="736301"/>
                </a:lnTo>
                <a:lnTo>
                  <a:pt x="88680" y="778689"/>
                </a:lnTo>
                <a:lnTo>
                  <a:pt x="72296" y="821863"/>
                </a:lnTo>
                <a:lnTo>
                  <a:pt x="57491" y="865788"/>
                </a:lnTo>
                <a:lnTo>
                  <a:pt x="44298" y="910430"/>
                </a:lnTo>
                <a:lnTo>
                  <a:pt x="32752" y="955754"/>
                </a:lnTo>
                <a:lnTo>
                  <a:pt x="22888" y="1001726"/>
                </a:lnTo>
                <a:lnTo>
                  <a:pt x="14740" y="1048311"/>
                </a:lnTo>
                <a:lnTo>
                  <a:pt x="8343" y="1095476"/>
                </a:lnTo>
                <a:lnTo>
                  <a:pt x="3731" y="1143185"/>
                </a:lnTo>
                <a:lnTo>
                  <a:pt x="938" y="1191403"/>
                </a:lnTo>
                <a:lnTo>
                  <a:pt x="0" y="1240098"/>
                </a:lnTo>
                <a:lnTo>
                  <a:pt x="938" y="1288792"/>
                </a:lnTo>
                <a:lnTo>
                  <a:pt x="3731" y="1337011"/>
                </a:lnTo>
                <a:lnTo>
                  <a:pt x="8343" y="1384720"/>
                </a:lnTo>
                <a:lnTo>
                  <a:pt x="14740" y="1431884"/>
                </a:lnTo>
                <a:lnTo>
                  <a:pt x="22888" y="1478470"/>
                </a:lnTo>
                <a:lnTo>
                  <a:pt x="32752" y="1524442"/>
                </a:lnTo>
                <a:lnTo>
                  <a:pt x="44298" y="1569766"/>
                </a:lnTo>
                <a:lnTo>
                  <a:pt x="57491" y="1614408"/>
                </a:lnTo>
                <a:lnTo>
                  <a:pt x="72296" y="1658333"/>
                </a:lnTo>
                <a:lnTo>
                  <a:pt x="88680" y="1701507"/>
                </a:lnTo>
                <a:lnTo>
                  <a:pt x="106608" y="1743895"/>
                </a:lnTo>
                <a:lnTo>
                  <a:pt x="126046" y="1785463"/>
                </a:lnTo>
                <a:lnTo>
                  <a:pt x="146958" y="1826176"/>
                </a:lnTo>
                <a:lnTo>
                  <a:pt x="169311" y="1866000"/>
                </a:lnTo>
                <a:lnTo>
                  <a:pt x="193070" y="1904901"/>
                </a:lnTo>
                <a:lnTo>
                  <a:pt x="218200" y="1942844"/>
                </a:lnTo>
                <a:lnTo>
                  <a:pt x="244668" y="1979794"/>
                </a:lnTo>
                <a:lnTo>
                  <a:pt x="272438" y="2015717"/>
                </a:lnTo>
                <a:lnTo>
                  <a:pt x="301476" y="2050579"/>
                </a:lnTo>
                <a:lnTo>
                  <a:pt x="331748" y="2084345"/>
                </a:lnTo>
                <a:lnTo>
                  <a:pt x="363219" y="2116981"/>
                </a:lnTo>
                <a:lnTo>
                  <a:pt x="395855" y="2148452"/>
                </a:lnTo>
                <a:lnTo>
                  <a:pt x="429621" y="2178723"/>
                </a:lnTo>
                <a:lnTo>
                  <a:pt x="464483" y="2207761"/>
                </a:lnTo>
                <a:lnTo>
                  <a:pt x="500406" y="2235531"/>
                </a:lnTo>
                <a:lnTo>
                  <a:pt x="537356" y="2261998"/>
                </a:lnTo>
                <a:lnTo>
                  <a:pt x="575299" y="2287129"/>
                </a:lnTo>
                <a:lnTo>
                  <a:pt x="614200" y="2310887"/>
                </a:lnTo>
                <a:lnTo>
                  <a:pt x="654024" y="2333240"/>
                </a:lnTo>
                <a:lnTo>
                  <a:pt x="694737" y="2354152"/>
                </a:lnTo>
                <a:lnTo>
                  <a:pt x="736305" y="2373589"/>
                </a:lnTo>
                <a:lnTo>
                  <a:pt x="778693" y="2391517"/>
                </a:lnTo>
                <a:lnTo>
                  <a:pt x="821867" y="2407900"/>
                </a:lnTo>
                <a:lnTo>
                  <a:pt x="865792" y="2422706"/>
                </a:lnTo>
                <a:lnTo>
                  <a:pt x="910433" y="2435899"/>
                </a:lnTo>
                <a:lnTo>
                  <a:pt x="955757" y="2447444"/>
                </a:lnTo>
                <a:lnTo>
                  <a:pt x="1001729" y="2457308"/>
                </a:lnTo>
                <a:lnTo>
                  <a:pt x="1048314" y="2465456"/>
                </a:lnTo>
                <a:lnTo>
                  <a:pt x="1095478" y="2471853"/>
                </a:lnTo>
                <a:lnTo>
                  <a:pt x="1143186" y="2476465"/>
                </a:lnTo>
                <a:lnTo>
                  <a:pt x="1191404" y="2479258"/>
                </a:lnTo>
                <a:lnTo>
                  <a:pt x="1240098" y="2480196"/>
                </a:lnTo>
                <a:lnTo>
                  <a:pt x="1288793" y="2479258"/>
                </a:lnTo>
                <a:lnTo>
                  <a:pt x="1337013" y="2476465"/>
                </a:lnTo>
                <a:lnTo>
                  <a:pt x="1384722" y="2471853"/>
                </a:lnTo>
                <a:lnTo>
                  <a:pt x="1431887" y="2465456"/>
                </a:lnTo>
                <a:lnTo>
                  <a:pt x="1478473" y="2457308"/>
                </a:lnTo>
                <a:lnTo>
                  <a:pt x="1524446" y="2447444"/>
                </a:lnTo>
                <a:lnTo>
                  <a:pt x="1569770" y="2435899"/>
                </a:lnTo>
                <a:lnTo>
                  <a:pt x="1614413" y="2422706"/>
                </a:lnTo>
                <a:lnTo>
                  <a:pt x="1658338" y="2407900"/>
                </a:lnTo>
                <a:lnTo>
                  <a:pt x="1701513" y="2391517"/>
                </a:lnTo>
                <a:lnTo>
                  <a:pt x="1743901" y="2373589"/>
                </a:lnTo>
                <a:lnTo>
                  <a:pt x="1785470" y="2354152"/>
                </a:lnTo>
                <a:lnTo>
                  <a:pt x="1826183" y="2333240"/>
                </a:lnTo>
                <a:lnTo>
                  <a:pt x="1866008" y="2310887"/>
                </a:lnTo>
                <a:lnTo>
                  <a:pt x="1904909" y="2287129"/>
                </a:lnTo>
                <a:lnTo>
                  <a:pt x="1942852" y="2261998"/>
                </a:lnTo>
                <a:lnTo>
                  <a:pt x="1979802" y="2235531"/>
                </a:lnTo>
                <a:lnTo>
                  <a:pt x="2015726" y="2207761"/>
                </a:lnTo>
                <a:lnTo>
                  <a:pt x="2050588" y="2178723"/>
                </a:lnTo>
                <a:lnTo>
                  <a:pt x="2084354" y="2148452"/>
                </a:lnTo>
                <a:lnTo>
                  <a:pt x="2116990" y="2116981"/>
                </a:lnTo>
                <a:lnTo>
                  <a:pt x="2148461" y="2084345"/>
                </a:lnTo>
                <a:lnTo>
                  <a:pt x="2178733" y="2050579"/>
                </a:lnTo>
                <a:lnTo>
                  <a:pt x="2207771" y="2015717"/>
                </a:lnTo>
                <a:lnTo>
                  <a:pt x="2235541" y="1979794"/>
                </a:lnTo>
                <a:lnTo>
                  <a:pt x="2262008" y="1942844"/>
                </a:lnTo>
                <a:lnTo>
                  <a:pt x="2287138" y="1904901"/>
                </a:lnTo>
                <a:lnTo>
                  <a:pt x="2310897" y="1866000"/>
                </a:lnTo>
                <a:lnTo>
                  <a:pt x="2333250" y="1826176"/>
                </a:lnTo>
                <a:lnTo>
                  <a:pt x="2354162" y="1785463"/>
                </a:lnTo>
                <a:lnTo>
                  <a:pt x="2373599" y="1743895"/>
                </a:lnTo>
                <a:lnTo>
                  <a:pt x="2391527" y="1701507"/>
                </a:lnTo>
                <a:lnTo>
                  <a:pt x="2407911" y="1658333"/>
                </a:lnTo>
                <a:lnTo>
                  <a:pt x="2422716" y="1614408"/>
                </a:lnTo>
                <a:lnTo>
                  <a:pt x="2435909" y="1569766"/>
                </a:lnTo>
                <a:lnTo>
                  <a:pt x="2447455" y="1524442"/>
                </a:lnTo>
                <a:lnTo>
                  <a:pt x="2457319" y="1478470"/>
                </a:lnTo>
                <a:lnTo>
                  <a:pt x="2465467" y="1431884"/>
                </a:lnTo>
                <a:lnTo>
                  <a:pt x="2471864" y="1384720"/>
                </a:lnTo>
                <a:lnTo>
                  <a:pt x="2476476" y="1337011"/>
                </a:lnTo>
                <a:lnTo>
                  <a:pt x="2479268" y="1288792"/>
                </a:lnTo>
                <a:lnTo>
                  <a:pt x="2480207" y="1240098"/>
                </a:lnTo>
                <a:lnTo>
                  <a:pt x="2479268" y="1191403"/>
                </a:lnTo>
                <a:lnTo>
                  <a:pt x="2476476" y="1143185"/>
                </a:lnTo>
                <a:lnTo>
                  <a:pt x="2471864" y="1095476"/>
                </a:lnTo>
                <a:lnTo>
                  <a:pt x="2465467" y="1048311"/>
                </a:lnTo>
                <a:lnTo>
                  <a:pt x="2457319" y="1001726"/>
                </a:lnTo>
                <a:lnTo>
                  <a:pt x="2447455" y="955754"/>
                </a:lnTo>
                <a:lnTo>
                  <a:pt x="2435909" y="910430"/>
                </a:lnTo>
                <a:lnTo>
                  <a:pt x="2422716" y="865788"/>
                </a:lnTo>
                <a:lnTo>
                  <a:pt x="2407911" y="821863"/>
                </a:lnTo>
                <a:lnTo>
                  <a:pt x="2391527" y="778689"/>
                </a:lnTo>
                <a:lnTo>
                  <a:pt x="2373599" y="736301"/>
                </a:lnTo>
                <a:lnTo>
                  <a:pt x="2354162" y="694733"/>
                </a:lnTo>
                <a:lnTo>
                  <a:pt x="2333250" y="654019"/>
                </a:lnTo>
                <a:lnTo>
                  <a:pt x="2310897" y="614195"/>
                </a:lnTo>
                <a:lnTo>
                  <a:pt x="2287138" y="575295"/>
                </a:lnTo>
                <a:lnTo>
                  <a:pt x="2262008" y="537352"/>
                </a:lnTo>
                <a:lnTo>
                  <a:pt x="2235541" y="500402"/>
                </a:lnTo>
                <a:lnTo>
                  <a:pt x="2207771" y="464478"/>
                </a:lnTo>
                <a:lnTo>
                  <a:pt x="2178733" y="429617"/>
                </a:lnTo>
                <a:lnTo>
                  <a:pt x="2148461" y="395851"/>
                </a:lnTo>
                <a:lnTo>
                  <a:pt x="2116990" y="363215"/>
                </a:lnTo>
                <a:lnTo>
                  <a:pt x="2084354" y="331744"/>
                </a:lnTo>
                <a:lnTo>
                  <a:pt x="2050588" y="301472"/>
                </a:lnTo>
                <a:lnTo>
                  <a:pt x="2015726" y="272434"/>
                </a:lnTo>
                <a:lnTo>
                  <a:pt x="1979802" y="244665"/>
                </a:lnTo>
                <a:lnTo>
                  <a:pt x="1942852" y="218197"/>
                </a:lnTo>
                <a:lnTo>
                  <a:pt x="1904909" y="193067"/>
                </a:lnTo>
                <a:lnTo>
                  <a:pt x="1866008" y="169309"/>
                </a:lnTo>
                <a:lnTo>
                  <a:pt x="1826183" y="146956"/>
                </a:lnTo>
                <a:lnTo>
                  <a:pt x="1785470" y="126044"/>
                </a:lnTo>
                <a:lnTo>
                  <a:pt x="1743901" y="106607"/>
                </a:lnTo>
                <a:lnTo>
                  <a:pt x="1701513" y="88679"/>
                </a:lnTo>
                <a:lnTo>
                  <a:pt x="1658338" y="72295"/>
                </a:lnTo>
                <a:lnTo>
                  <a:pt x="1614413" y="57490"/>
                </a:lnTo>
                <a:lnTo>
                  <a:pt x="1569770" y="44297"/>
                </a:lnTo>
                <a:lnTo>
                  <a:pt x="1524446" y="32751"/>
                </a:lnTo>
                <a:lnTo>
                  <a:pt x="1478473" y="22887"/>
                </a:lnTo>
                <a:lnTo>
                  <a:pt x="1431887" y="14740"/>
                </a:lnTo>
                <a:lnTo>
                  <a:pt x="1384722" y="8343"/>
                </a:lnTo>
                <a:lnTo>
                  <a:pt x="1337013" y="3730"/>
                </a:lnTo>
                <a:lnTo>
                  <a:pt x="1288793" y="938"/>
                </a:lnTo>
                <a:lnTo>
                  <a:pt x="1240098" y="0"/>
                </a:lnTo>
                <a:close/>
              </a:path>
            </a:pathLst>
          </a:custGeom>
          <a:solidFill>
            <a:srgbClr val="FFFFFF"/>
          </a:solidFill>
        </p:spPr>
        <p:txBody>
          <a:bodyPr wrap="square" lIns="0" tIns="0" rIns="0" bIns="0" rtlCol="0"/>
          <a:lstStyle/>
          <a:p>
            <a:endParaRPr/>
          </a:p>
        </p:txBody>
      </p:sp>
      <p:sp>
        <p:nvSpPr>
          <p:cNvPr id="28" name="object 28"/>
          <p:cNvSpPr txBox="1"/>
          <p:nvPr/>
        </p:nvSpPr>
        <p:spPr>
          <a:xfrm>
            <a:off x="7345235" y="3989839"/>
            <a:ext cx="514675" cy="297462"/>
          </a:xfrm>
          <a:prstGeom prst="rect">
            <a:avLst/>
          </a:prstGeom>
        </p:spPr>
        <p:txBody>
          <a:bodyPr vert="horz" wrap="square" lIns="0" tIns="6931" rIns="0" bIns="0" rtlCol="0">
            <a:spAutoFit/>
          </a:bodyPr>
          <a:lstStyle/>
          <a:p>
            <a:pPr marL="5776">
              <a:spcBef>
                <a:spcPts val="55"/>
              </a:spcBef>
            </a:pPr>
            <a:r>
              <a:rPr sz="1900" b="1" spc="7" dirty="0">
                <a:solidFill>
                  <a:srgbClr val="FF7900"/>
                </a:solidFill>
                <a:latin typeface="Helvetica Neue"/>
                <a:cs typeface="Helvetica Neue"/>
              </a:rPr>
              <a:t>39%</a:t>
            </a:r>
            <a:endParaRPr sz="1900">
              <a:latin typeface="Helvetica Neue"/>
              <a:cs typeface="Helvetica Neue"/>
            </a:endParaRPr>
          </a:p>
        </p:txBody>
      </p:sp>
      <p:sp>
        <p:nvSpPr>
          <p:cNvPr id="29" name="object 29"/>
          <p:cNvSpPr/>
          <p:nvPr/>
        </p:nvSpPr>
        <p:spPr>
          <a:xfrm>
            <a:off x="7216998" y="3791913"/>
            <a:ext cx="763925" cy="748566"/>
          </a:xfrm>
          <a:custGeom>
            <a:avLst/>
            <a:gdLst/>
            <a:ahLst/>
            <a:cxnLst/>
            <a:rect l="l" t="t" r="r" b="b"/>
            <a:pathLst>
              <a:path w="1679575" h="1645920">
                <a:moveTo>
                  <a:pt x="1679509" y="822885"/>
                </a:moveTo>
                <a:lnTo>
                  <a:pt x="1678083" y="871236"/>
                </a:lnTo>
                <a:lnTo>
                  <a:pt x="1673859" y="918851"/>
                </a:lnTo>
                <a:lnTo>
                  <a:pt x="1666915" y="965654"/>
                </a:lnTo>
                <a:lnTo>
                  <a:pt x="1657330" y="1011566"/>
                </a:lnTo>
                <a:lnTo>
                  <a:pt x="1645183" y="1056511"/>
                </a:lnTo>
                <a:lnTo>
                  <a:pt x="1630552" y="1100411"/>
                </a:lnTo>
                <a:lnTo>
                  <a:pt x="1613517" y="1143190"/>
                </a:lnTo>
                <a:lnTo>
                  <a:pt x="1594156" y="1184770"/>
                </a:lnTo>
                <a:lnTo>
                  <a:pt x="1572547" y="1225074"/>
                </a:lnTo>
                <a:lnTo>
                  <a:pt x="1548770" y="1264025"/>
                </a:lnTo>
                <a:lnTo>
                  <a:pt x="1522903" y="1301546"/>
                </a:lnTo>
                <a:lnTo>
                  <a:pt x="1495025" y="1337559"/>
                </a:lnTo>
                <a:lnTo>
                  <a:pt x="1465215" y="1371987"/>
                </a:lnTo>
                <a:lnTo>
                  <a:pt x="1433551" y="1404754"/>
                </a:lnTo>
                <a:lnTo>
                  <a:pt x="1400113" y="1435781"/>
                </a:lnTo>
                <a:lnTo>
                  <a:pt x="1364979" y="1464993"/>
                </a:lnTo>
                <a:lnTo>
                  <a:pt x="1328228" y="1492311"/>
                </a:lnTo>
                <a:lnTo>
                  <a:pt x="1289938" y="1517658"/>
                </a:lnTo>
                <a:lnTo>
                  <a:pt x="1250189" y="1540958"/>
                </a:lnTo>
                <a:lnTo>
                  <a:pt x="1209058" y="1562132"/>
                </a:lnTo>
                <a:lnTo>
                  <a:pt x="1166626" y="1581105"/>
                </a:lnTo>
                <a:lnTo>
                  <a:pt x="1122970" y="1597798"/>
                </a:lnTo>
                <a:lnTo>
                  <a:pt x="1078169" y="1612135"/>
                </a:lnTo>
                <a:lnTo>
                  <a:pt x="1032303" y="1624038"/>
                </a:lnTo>
                <a:lnTo>
                  <a:pt x="985450" y="1633431"/>
                </a:lnTo>
                <a:lnTo>
                  <a:pt x="937688" y="1640235"/>
                </a:lnTo>
                <a:lnTo>
                  <a:pt x="889096" y="1644374"/>
                </a:lnTo>
                <a:lnTo>
                  <a:pt x="839754" y="1645771"/>
                </a:lnTo>
                <a:lnTo>
                  <a:pt x="790412" y="1644374"/>
                </a:lnTo>
                <a:lnTo>
                  <a:pt x="741820" y="1640235"/>
                </a:lnTo>
                <a:lnTo>
                  <a:pt x="694058" y="1633431"/>
                </a:lnTo>
                <a:lnTo>
                  <a:pt x="647205" y="1624038"/>
                </a:lnTo>
                <a:lnTo>
                  <a:pt x="601339" y="1612135"/>
                </a:lnTo>
                <a:lnTo>
                  <a:pt x="556538" y="1597798"/>
                </a:lnTo>
                <a:lnTo>
                  <a:pt x="512882" y="1581105"/>
                </a:lnTo>
                <a:lnTo>
                  <a:pt x="470450" y="1562132"/>
                </a:lnTo>
                <a:lnTo>
                  <a:pt x="429320" y="1540958"/>
                </a:lnTo>
                <a:lnTo>
                  <a:pt x="389570" y="1517658"/>
                </a:lnTo>
                <a:lnTo>
                  <a:pt x="351280" y="1492311"/>
                </a:lnTo>
                <a:lnTo>
                  <a:pt x="314529" y="1464993"/>
                </a:lnTo>
                <a:lnTo>
                  <a:pt x="279395" y="1435781"/>
                </a:lnTo>
                <a:lnTo>
                  <a:pt x="245957" y="1404754"/>
                </a:lnTo>
                <a:lnTo>
                  <a:pt x="214293" y="1371987"/>
                </a:lnTo>
                <a:lnTo>
                  <a:pt x="184483" y="1337559"/>
                </a:lnTo>
                <a:lnTo>
                  <a:pt x="156605" y="1301546"/>
                </a:lnTo>
                <a:lnTo>
                  <a:pt x="130738" y="1264025"/>
                </a:lnTo>
                <a:lnTo>
                  <a:pt x="106961" y="1225074"/>
                </a:lnTo>
                <a:lnTo>
                  <a:pt x="85353" y="1184770"/>
                </a:lnTo>
                <a:lnTo>
                  <a:pt x="65991" y="1143190"/>
                </a:lnTo>
                <a:lnTo>
                  <a:pt x="48956" y="1100411"/>
                </a:lnTo>
                <a:lnTo>
                  <a:pt x="34325" y="1056511"/>
                </a:lnTo>
                <a:lnTo>
                  <a:pt x="22178" y="1011566"/>
                </a:lnTo>
                <a:lnTo>
                  <a:pt x="12593" y="965654"/>
                </a:lnTo>
                <a:lnTo>
                  <a:pt x="5649" y="918851"/>
                </a:lnTo>
                <a:lnTo>
                  <a:pt x="1425" y="871236"/>
                </a:lnTo>
                <a:lnTo>
                  <a:pt x="0" y="822885"/>
                </a:lnTo>
                <a:lnTo>
                  <a:pt x="1425" y="774535"/>
                </a:lnTo>
                <a:lnTo>
                  <a:pt x="5649" y="726919"/>
                </a:lnTo>
                <a:lnTo>
                  <a:pt x="12593" y="680117"/>
                </a:lnTo>
                <a:lnTo>
                  <a:pt x="22178" y="634205"/>
                </a:lnTo>
                <a:lnTo>
                  <a:pt x="34325" y="589260"/>
                </a:lnTo>
                <a:lnTo>
                  <a:pt x="48956" y="545360"/>
                </a:lnTo>
                <a:lnTo>
                  <a:pt x="65991" y="502581"/>
                </a:lnTo>
                <a:lnTo>
                  <a:pt x="85353" y="461001"/>
                </a:lnTo>
                <a:lnTo>
                  <a:pt x="106961" y="420697"/>
                </a:lnTo>
                <a:lnTo>
                  <a:pt x="130738" y="381746"/>
                </a:lnTo>
                <a:lnTo>
                  <a:pt x="156605" y="344225"/>
                </a:lnTo>
                <a:lnTo>
                  <a:pt x="184483" y="308212"/>
                </a:lnTo>
                <a:lnTo>
                  <a:pt x="214293" y="273784"/>
                </a:lnTo>
                <a:lnTo>
                  <a:pt x="245957" y="241017"/>
                </a:lnTo>
                <a:lnTo>
                  <a:pt x="279395" y="209989"/>
                </a:lnTo>
                <a:lnTo>
                  <a:pt x="314529" y="180778"/>
                </a:lnTo>
                <a:lnTo>
                  <a:pt x="351280" y="153460"/>
                </a:lnTo>
                <a:lnTo>
                  <a:pt x="389570" y="128113"/>
                </a:lnTo>
                <a:lnTo>
                  <a:pt x="429320" y="104813"/>
                </a:lnTo>
                <a:lnTo>
                  <a:pt x="470450" y="83638"/>
                </a:lnTo>
                <a:lnTo>
                  <a:pt x="512882" y="64666"/>
                </a:lnTo>
                <a:lnTo>
                  <a:pt x="556538" y="47973"/>
                </a:lnTo>
                <a:lnTo>
                  <a:pt x="601339" y="33636"/>
                </a:lnTo>
                <a:lnTo>
                  <a:pt x="647205" y="21732"/>
                </a:lnTo>
                <a:lnTo>
                  <a:pt x="694058" y="12340"/>
                </a:lnTo>
                <a:lnTo>
                  <a:pt x="741820" y="5536"/>
                </a:lnTo>
                <a:lnTo>
                  <a:pt x="790412" y="1396"/>
                </a:lnTo>
                <a:lnTo>
                  <a:pt x="839754" y="0"/>
                </a:lnTo>
                <a:lnTo>
                  <a:pt x="889096" y="1396"/>
                </a:lnTo>
                <a:lnTo>
                  <a:pt x="937688" y="5536"/>
                </a:lnTo>
                <a:lnTo>
                  <a:pt x="985450" y="12340"/>
                </a:lnTo>
                <a:lnTo>
                  <a:pt x="1032303" y="21732"/>
                </a:lnTo>
                <a:lnTo>
                  <a:pt x="1078169" y="33636"/>
                </a:lnTo>
                <a:lnTo>
                  <a:pt x="1122970" y="47973"/>
                </a:lnTo>
                <a:lnTo>
                  <a:pt x="1166626" y="64666"/>
                </a:lnTo>
                <a:lnTo>
                  <a:pt x="1209058" y="83638"/>
                </a:lnTo>
                <a:lnTo>
                  <a:pt x="1250189" y="104813"/>
                </a:lnTo>
                <a:lnTo>
                  <a:pt x="1289938" y="128113"/>
                </a:lnTo>
                <a:lnTo>
                  <a:pt x="1328228" y="153460"/>
                </a:lnTo>
                <a:lnTo>
                  <a:pt x="1364979" y="180778"/>
                </a:lnTo>
                <a:lnTo>
                  <a:pt x="1400113" y="209989"/>
                </a:lnTo>
                <a:lnTo>
                  <a:pt x="1433551" y="241017"/>
                </a:lnTo>
                <a:lnTo>
                  <a:pt x="1465215" y="273784"/>
                </a:lnTo>
                <a:lnTo>
                  <a:pt x="1495025" y="308212"/>
                </a:lnTo>
                <a:lnTo>
                  <a:pt x="1522903" y="344225"/>
                </a:lnTo>
                <a:lnTo>
                  <a:pt x="1548770" y="381746"/>
                </a:lnTo>
                <a:lnTo>
                  <a:pt x="1572547" y="420697"/>
                </a:lnTo>
                <a:lnTo>
                  <a:pt x="1594156" y="461001"/>
                </a:lnTo>
                <a:lnTo>
                  <a:pt x="1613517" y="502581"/>
                </a:lnTo>
                <a:lnTo>
                  <a:pt x="1630552" y="545360"/>
                </a:lnTo>
                <a:lnTo>
                  <a:pt x="1645183" y="589260"/>
                </a:lnTo>
                <a:lnTo>
                  <a:pt x="1657330" y="634205"/>
                </a:lnTo>
                <a:lnTo>
                  <a:pt x="1666915" y="680117"/>
                </a:lnTo>
                <a:lnTo>
                  <a:pt x="1673859" y="726919"/>
                </a:lnTo>
                <a:lnTo>
                  <a:pt x="1678083" y="774535"/>
                </a:lnTo>
                <a:lnTo>
                  <a:pt x="1679509" y="822885"/>
                </a:lnTo>
                <a:close/>
              </a:path>
            </a:pathLst>
          </a:custGeom>
          <a:ln w="16711">
            <a:solidFill>
              <a:srgbClr val="808080"/>
            </a:solidFill>
          </a:ln>
        </p:spPr>
        <p:txBody>
          <a:bodyPr wrap="square" lIns="0" tIns="0" rIns="0" bIns="0" rtlCol="0"/>
          <a:lstStyle/>
          <a:p>
            <a:endParaRPr/>
          </a:p>
        </p:txBody>
      </p:sp>
      <p:sp>
        <p:nvSpPr>
          <p:cNvPr id="30" name="object 30"/>
          <p:cNvSpPr/>
          <p:nvPr/>
        </p:nvSpPr>
        <p:spPr>
          <a:xfrm>
            <a:off x="7598945" y="3679203"/>
            <a:ext cx="497057" cy="880258"/>
          </a:xfrm>
          <a:custGeom>
            <a:avLst/>
            <a:gdLst/>
            <a:ahLst/>
            <a:cxnLst/>
            <a:rect l="l" t="t" r="r" b="b"/>
            <a:pathLst>
              <a:path w="1092834" h="1935479">
                <a:moveTo>
                  <a:pt x="0" y="0"/>
                </a:moveTo>
                <a:lnTo>
                  <a:pt x="0" y="513439"/>
                </a:lnTo>
                <a:lnTo>
                  <a:pt x="48589" y="515482"/>
                </a:lnTo>
                <a:lnTo>
                  <a:pt x="96669" y="521567"/>
                </a:lnTo>
                <a:lnTo>
                  <a:pt x="143990" y="531631"/>
                </a:lnTo>
                <a:lnTo>
                  <a:pt x="190306" y="545611"/>
                </a:lnTo>
                <a:lnTo>
                  <a:pt x="235369" y="563441"/>
                </a:lnTo>
                <a:lnTo>
                  <a:pt x="278933" y="585060"/>
                </a:lnTo>
                <a:lnTo>
                  <a:pt x="319621" y="609619"/>
                </a:lnTo>
                <a:lnTo>
                  <a:pt x="357580" y="636945"/>
                </a:lnTo>
                <a:lnTo>
                  <a:pt x="392754" y="666836"/>
                </a:lnTo>
                <a:lnTo>
                  <a:pt x="425081" y="699090"/>
                </a:lnTo>
                <a:lnTo>
                  <a:pt x="454505" y="733504"/>
                </a:lnTo>
                <a:lnTo>
                  <a:pt x="480965" y="769876"/>
                </a:lnTo>
                <a:lnTo>
                  <a:pt x="504404" y="808004"/>
                </a:lnTo>
                <a:lnTo>
                  <a:pt x="524762" y="847686"/>
                </a:lnTo>
                <a:lnTo>
                  <a:pt x="541981" y="888718"/>
                </a:lnTo>
                <a:lnTo>
                  <a:pt x="556002" y="930899"/>
                </a:lnTo>
                <a:lnTo>
                  <a:pt x="566766" y="974026"/>
                </a:lnTo>
                <a:lnTo>
                  <a:pt x="574214" y="1017897"/>
                </a:lnTo>
                <a:lnTo>
                  <a:pt x="578288" y="1062310"/>
                </a:lnTo>
                <a:lnTo>
                  <a:pt x="578928" y="1107062"/>
                </a:lnTo>
                <a:lnTo>
                  <a:pt x="576076" y="1151950"/>
                </a:lnTo>
                <a:lnTo>
                  <a:pt x="569673" y="1196773"/>
                </a:lnTo>
                <a:lnTo>
                  <a:pt x="559661" y="1241328"/>
                </a:lnTo>
                <a:lnTo>
                  <a:pt x="545980" y="1285412"/>
                </a:lnTo>
                <a:lnTo>
                  <a:pt x="528571" y="1328824"/>
                </a:lnTo>
                <a:lnTo>
                  <a:pt x="507377" y="1371361"/>
                </a:lnTo>
                <a:lnTo>
                  <a:pt x="477460" y="1420014"/>
                </a:lnTo>
                <a:lnTo>
                  <a:pt x="443593" y="1464694"/>
                </a:lnTo>
                <a:lnTo>
                  <a:pt x="406130" y="1505301"/>
                </a:lnTo>
                <a:lnTo>
                  <a:pt x="365423" y="1541733"/>
                </a:lnTo>
                <a:lnTo>
                  <a:pt x="694889" y="1935407"/>
                </a:lnTo>
                <a:lnTo>
                  <a:pt x="730639" y="1904589"/>
                </a:lnTo>
                <a:lnTo>
                  <a:pt x="765018" y="1872279"/>
                </a:lnTo>
                <a:lnTo>
                  <a:pt x="797977" y="1838525"/>
                </a:lnTo>
                <a:lnTo>
                  <a:pt x="829465" y="1803379"/>
                </a:lnTo>
                <a:lnTo>
                  <a:pt x="859433" y="1766890"/>
                </a:lnTo>
                <a:lnTo>
                  <a:pt x="887829" y="1729108"/>
                </a:lnTo>
                <a:lnTo>
                  <a:pt x="914606" y="1690083"/>
                </a:lnTo>
                <a:lnTo>
                  <a:pt x="939711" y="1649865"/>
                </a:lnTo>
                <a:lnTo>
                  <a:pt x="963095" y="1608504"/>
                </a:lnTo>
                <a:lnTo>
                  <a:pt x="984709" y="1566051"/>
                </a:lnTo>
                <a:lnTo>
                  <a:pt x="1004502" y="1522556"/>
                </a:lnTo>
                <a:lnTo>
                  <a:pt x="1022424" y="1478067"/>
                </a:lnTo>
                <a:lnTo>
                  <a:pt x="1038424" y="1432637"/>
                </a:lnTo>
                <a:lnTo>
                  <a:pt x="1052454" y="1386314"/>
                </a:lnTo>
                <a:lnTo>
                  <a:pt x="1064463" y="1339148"/>
                </a:lnTo>
                <a:lnTo>
                  <a:pt x="1074400" y="1291190"/>
                </a:lnTo>
                <a:lnTo>
                  <a:pt x="1082216" y="1242490"/>
                </a:lnTo>
                <a:lnTo>
                  <a:pt x="1087861" y="1193098"/>
                </a:lnTo>
                <a:lnTo>
                  <a:pt x="1091285" y="1143064"/>
                </a:lnTo>
                <a:lnTo>
                  <a:pt x="1092437" y="1092437"/>
                </a:lnTo>
                <a:lnTo>
                  <a:pt x="1091373" y="1043776"/>
                </a:lnTo>
                <a:lnTo>
                  <a:pt x="1088209" y="995660"/>
                </a:lnTo>
                <a:lnTo>
                  <a:pt x="1082991" y="948134"/>
                </a:lnTo>
                <a:lnTo>
                  <a:pt x="1075762" y="901241"/>
                </a:lnTo>
                <a:lnTo>
                  <a:pt x="1066567" y="855026"/>
                </a:lnTo>
                <a:lnTo>
                  <a:pt x="1055451" y="809534"/>
                </a:lnTo>
                <a:lnTo>
                  <a:pt x="1042457" y="764809"/>
                </a:lnTo>
                <a:lnTo>
                  <a:pt x="1027630" y="720896"/>
                </a:lnTo>
                <a:lnTo>
                  <a:pt x="1011016" y="677839"/>
                </a:lnTo>
                <a:lnTo>
                  <a:pt x="992657" y="635681"/>
                </a:lnTo>
                <a:lnTo>
                  <a:pt x="972598" y="594469"/>
                </a:lnTo>
                <a:lnTo>
                  <a:pt x="950885" y="554245"/>
                </a:lnTo>
                <a:lnTo>
                  <a:pt x="927560" y="515055"/>
                </a:lnTo>
                <a:lnTo>
                  <a:pt x="902670" y="476943"/>
                </a:lnTo>
                <a:lnTo>
                  <a:pt x="876257" y="439954"/>
                </a:lnTo>
                <a:lnTo>
                  <a:pt x="848367" y="404131"/>
                </a:lnTo>
                <a:lnTo>
                  <a:pt x="819043" y="369519"/>
                </a:lnTo>
                <a:lnTo>
                  <a:pt x="788331" y="336162"/>
                </a:lnTo>
                <a:lnTo>
                  <a:pt x="756275" y="304106"/>
                </a:lnTo>
                <a:lnTo>
                  <a:pt x="722918" y="273394"/>
                </a:lnTo>
                <a:lnTo>
                  <a:pt x="688306" y="244070"/>
                </a:lnTo>
                <a:lnTo>
                  <a:pt x="652483" y="216180"/>
                </a:lnTo>
                <a:lnTo>
                  <a:pt x="615494" y="189767"/>
                </a:lnTo>
                <a:lnTo>
                  <a:pt x="577381" y="164877"/>
                </a:lnTo>
                <a:lnTo>
                  <a:pt x="538192" y="141552"/>
                </a:lnTo>
                <a:lnTo>
                  <a:pt x="497968" y="119839"/>
                </a:lnTo>
                <a:lnTo>
                  <a:pt x="456756" y="99780"/>
                </a:lnTo>
                <a:lnTo>
                  <a:pt x="414598" y="81421"/>
                </a:lnTo>
                <a:lnTo>
                  <a:pt x="371541" y="64806"/>
                </a:lnTo>
                <a:lnTo>
                  <a:pt x="327627" y="49980"/>
                </a:lnTo>
                <a:lnTo>
                  <a:pt x="282903" y="36986"/>
                </a:lnTo>
                <a:lnTo>
                  <a:pt x="237411" y="25870"/>
                </a:lnTo>
                <a:lnTo>
                  <a:pt x="191196" y="16675"/>
                </a:lnTo>
                <a:lnTo>
                  <a:pt x="144303" y="9446"/>
                </a:lnTo>
                <a:lnTo>
                  <a:pt x="96777" y="4228"/>
                </a:lnTo>
                <a:lnTo>
                  <a:pt x="48661" y="1064"/>
                </a:lnTo>
                <a:lnTo>
                  <a:pt x="0" y="0"/>
                </a:lnTo>
                <a:close/>
              </a:path>
            </a:pathLst>
          </a:custGeom>
          <a:solidFill>
            <a:srgbClr val="FF7900"/>
          </a:solidFill>
        </p:spPr>
        <p:txBody>
          <a:bodyPr wrap="square" lIns="0" tIns="0" rIns="0" bIns="0" rtlCol="0"/>
          <a:lstStyle/>
          <a:p>
            <a:endParaRPr/>
          </a:p>
        </p:txBody>
      </p:sp>
      <p:sp>
        <p:nvSpPr>
          <p:cNvPr id="31" name="object 31"/>
          <p:cNvSpPr txBox="1"/>
          <p:nvPr/>
        </p:nvSpPr>
        <p:spPr>
          <a:xfrm>
            <a:off x="2581501" y="4056509"/>
            <a:ext cx="1351383" cy="206762"/>
          </a:xfrm>
          <a:prstGeom prst="rect">
            <a:avLst/>
          </a:prstGeom>
        </p:spPr>
        <p:txBody>
          <a:bodyPr vert="horz" wrap="square" lIns="0" tIns="6642" rIns="0" bIns="0" rtlCol="0">
            <a:spAutoFit/>
          </a:bodyPr>
          <a:lstStyle/>
          <a:p>
            <a:pPr marL="5776">
              <a:spcBef>
                <a:spcPts val="52"/>
              </a:spcBef>
            </a:pPr>
            <a:r>
              <a:rPr sz="1300" b="1" spc="-2" dirty="0">
                <a:latin typeface="Helvetica Neue"/>
                <a:cs typeface="Helvetica Neue"/>
              </a:rPr>
              <a:t>Visite </a:t>
            </a:r>
            <a:r>
              <a:rPr sz="1300" b="1" spc="5" dirty="0">
                <a:latin typeface="Helvetica Neue"/>
                <a:cs typeface="Helvetica Neue"/>
              </a:rPr>
              <a:t>en</a:t>
            </a:r>
            <a:r>
              <a:rPr sz="1300" b="1" spc="-25" dirty="0">
                <a:latin typeface="Helvetica Neue"/>
                <a:cs typeface="Helvetica Neue"/>
              </a:rPr>
              <a:t> </a:t>
            </a:r>
            <a:r>
              <a:rPr sz="1300" b="1" spc="5" dirty="0">
                <a:latin typeface="Helvetica Neue"/>
                <a:cs typeface="Helvetica Neue"/>
              </a:rPr>
              <a:t>agence</a:t>
            </a:r>
            <a:endParaRPr sz="1300">
              <a:latin typeface="Helvetica Neue"/>
              <a:cs typeface="Helvetica Neue"/>
            </a:endParaRPr>
          </a:p>
        </p:txBody>
      </p:sp>
      <p:sp>
        <p:nvSpPr>
          <p:cNvPr id="32" name="object 32"/>
          <p:cNvSpPr txBox="1"/>
          <p:nvPr/>
        </p:nvSpPr>
        <p:spPr>
          <a:xfrm>
            <a:off x="4660711" y="3148692"/>
            <a:ext cx="1786344" cy="144916"/>
          </a:xfrm>
          <a:prstGeom prst="rect">
            <a:avLst/>
          </a:prstGeom>
        </p:spPr>
        <p:txBody>
          <a:bodyPr vert="horz" wrap="square" lIns="0" tIns="6354" rIns="0" bIns="0" rtlCol="0">
            <a:spAutoFit/>
          </a:bodyPr>
          <a:lstStyle/>
          <a:p>
            <a:pPr marL="5776">
              <a:spcBef>
                <a:spcPts val="50"/>
              </a:spcBef>
            </a:pPr>
            <a:r>
              <a:rPr sz="900" b="1" spc="2" dirty="0">
                <a:latin typeface="Helvetica Neue"/>
                <a:cs typeface="Helvetica Neue"/>
              </a:rPr>
              <a:t>42% via l’espace </a:t>
            </a:r>
            <a:r>
              <a:rPr sz="900" b="1" dirty="0">
                <a:latin typeface="Helvetica Neue"/>
                <a:cs typeface="Helvetica Neue"/>
              </a:rPr>
              <a:t>client </a:t>
            </a:r>
            <a:r>
              <a:rPr sz="900" b="1" spc="2" dirty="0">
                <a:latin typeface="Helvetica Neue"/>
                <a:cs typeface="Helvetica Neue"/>
              </a:rPr>
              <a:t>en</a:t>
            </a:r>
            <a:r>
              <a:rPr sz="900" b="1" spc="-32" dirty="0">
                <a:latin typeface="Helvetica Neue"/>
                <a:cs typeface="Helvetica Neue"/>
              </a:rPr>
              <a:t> </a:t>
            </a:r>
            <a:r>
              <a:rPr sz="900" b="1" spc="2" dirty="0">
                <a:latin typeface="Helvetica Neue"/>
                <a:cs typeface="Helvetica Neue"/>
              </a:rPr>
              <a:t>ligne</a:t>
            </a:r>
            <a:endParaRPr sz="900">
              <a:latin typeface="Helvetica Neue"/>
              <a:cs typeface="Helvetica Neue"/>
            </a:endParaRPr>
          </a:p>
        </p:txBody>
      </p:sp>
      <p:pic>
        <p:nvPicPr>
          <p:cNvPr id="33" name="Picture 2" descr="C:\Users\WQLH3866\AppData\Local\Microsoft\Windows\Temporary Internet Files\Content.Outlook\KUT2FT4K\Hauteur_IMG_20170228_190859.jpg (ID_ 3457).jpg">
            <a:extLst>
              <a:ext uri="{FF2B5EF4-FFF2-40B4-BE49-F238E27FC236}">
                <a16:creationId xmlns:a16="http://schemas.microsoft.com/office/drawing/2014/main" id="{D533176D-5626-0049-971D-98EFCEDA37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82667"/>
            <a:ext cx="2226846" cy="3958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62924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28650" y="457451"/>
            <a:ext cx="7886700" cy="626957"/>
          </a:xfrm>
          <a:prstGeom prst="rect">
            <a:avLst/>
          </a:prstGeom>
        </p:spPr>
        <p:txBody>
          <a:bodyPr vert="horz" wrap="square" lIns="0" tIns="5198" rIns="0" bIns="0" rtlCol="0">
            <a:spAutoFit/>
          </a:bodyPr>
          <a:lstStyle/>
          <a:p>
            <a:pPr marL="246056" marR="2310">
              <a:lnSpc>
                <a:spcPct val="100800"/>
              </a:lnSpc>
              <a:spcBef>
                <a:spcPts val="41"/>
              </a:spcBef>
            </a:pPr>
            <a:r>
              <a:rPr spc="-9" dirty="0"/>
              <a:t>Près </a:t>
            </a:r>
            <a:r>
              <a:rPr spc="-2" dirty="0"/>
              <a:t>de </a:t>
            </a:r>
            <a:r>
              <a:rPr spc="-7" dirty="0"/>
              <a:t>la </a:t>
            </a:r>
            <a:r>
              <a:rPr spc="-11" dirty="0"/>
              <a:t>moitié </a:t>
            </a:r>
            <a:r>
              <a:rPr spc="-7" dirty="0"/>
              <a:t>des </a:t>
            </a:r>
            <a:r>
              <a:rPr spc="-14" dirty="0"/>
              <a:t>Français </a:t>
            </a:r>
            <a:r>
              <a:rPr spc="-11" dirty="0"/>
              <a:t>n’ont jamais </a:t>
            </a:r>
            <a:r>
              <a:rPr spc="-14" dirty="0"/>
              <a:t>rencontré</a:t>
            </a:r>
            <a:r>
              <a:rPr spc="-273" dirty="0"/>
              <a:t> </a:t>
            </a:r>
            <a:r>
              <a:rPr spc="-16" dirty="0"/>
              <a:t>leur  </a:t>
            </a:r>
            <a:r>
              <a:rPr spc="-14" dirty="0"/>
              <a:t>conseiller</a:t>
            </a:r>
            <a:r>
              <a:rPr spc="-41" dirty="0"/>
              <a:t> </a:t>
            </a:r>
            <a:r>
              <a:rPr spc="-16" dirty="0"/>
              <a:t>bancaire</a:t>
            </a:r>
          </a:p>
        </p:txBody>
      </p:sp>
      <p:sp>
        <p:nvSpPr>
          <p:cNvPr id="3" name="object 3"/>
          <p:cNvSpPr txBox="1"/>
          <p:nvPr/>
        </p:nvSpPr>
        <p:spPr>
          <a:xfrm>
            <a:off x="748485" y="1031293"/>
            <a:ext cx="8128612" cy="149892"/>
          </a:xfrm>
          <a:prstGeom prst="rect">
            <a:avLst/>
          </a:prstGeom>
        </p:spPr>
        <p:txBody>
          <a:bodyPr vert="horz" wrap="square" lIns="0" tIns="6354" rIns="0" bIns="0" rtlCol="0">
            <a:spAutoFit/>
          </a:bodyPr>
          <a:lstStyle/>
          <a:p>
            <a:pPr marL="5776">
              <a:spcBef>
                <a:spcPts val="50"/>
              </a:spcBef>
            </a:pPr>
            <a:r>
              <a:rPr lang="fr-FR" sz="900" b="1" spc="2" dirty="0">
                <a:latin typeface="Helvetica Neue"/>
                <a:cs typeface="Helvetica Neue"/>
              </a:rPr>
              <a:t>Connaissez-vous </a:t>
            </a:r>
            <a:r>
              <a:rPr lang="fr-FR" sz="900" b="1" dirty="0">
                <a:latin typeface="Helvetica Neue"/>
                <a:cs typeface="Helvetica Neue"/>
              </a:rPr>
              <a:t>le </a:t>
            </a:r>
            <a:r>
              <a:rPr lang="fr-FR" sz="900" b="1" spc="2" dirty="0">
                <a:latin typeface="Helvetica Neue"/>
                <a:cs typeface="Helvetica Neue"/>
              </a:rPr>
              <a:t>nom de votre conseiller bancaire dans votre banque principale et l’avez-vous déjà rencontré ?</a:t>
            </a:r>
            <a:r>
              <a:rPr lang="fr-FR" sz="900" b="1" spc="-34" dirty="0">
                <a:latin typeface="Helvetica Neue"/>
                <a:cs typeface="Helvetica Neue"/>
              </a:rPr>
              <a:t> </a:t>
            </a:r>
            <a:endParaRPr lang="fr-FR" sz="900" dirty="0">
              <a:latin typeface="Helvetica Neue"/>
              <a:cs typeface="Helvetica Neue"/>
            </a:endParaRPr>
          </a:p>
        </p:txBody>
      </p:sp>
      <p:sp>
        <p:nvSpPr>
          <p:cNvPr id="4" name="object 4"/>
          <p:cNvSpPr/>
          <p:nvPr/>
        </p:nvSpPr>
        <p:spPr>
          <a:xfrm>
            <a:off x="0" y="1181622"/>
            <a:ext cx="9144000" cy="3961737"/>
          </a:xfrm>
          <a:custGeom>
            <a:avLst/>
            <a:gdLst/>
            <a:ahLst/>
            <a:cxnLst/>
            <a:rect l="l" t="t" r="r" b="b"/>
            <a:pathLst>
              <a:path w="20104100" h="8710930">
                <a:moveTo>
                  <a:pt x="0" y="8710446"/>
                </a:moveTo>
                <a:lnTo>
                  <a:pt x="20104099" y="8710446"/>
                </a:lnTo>
                <a:lnTo>
                  <a:pt x="20104099" y="0"/>
                </a:lnTo>
                <a:lnTo>
                  <a:pt x="0" y="0"/>
                </a:lnTo>
                <a:lnTo>
                  <a:pt x="0" y="8710446"/>
                </a:lnTo>
                <a:close/>
              </a:path>
            </a:pathLst>
          </a:custGeom>
          <a:solidFill>
            <a:srgbClr val="D5D5D5"/>
          </a:solidFill>
        </p:spPr>
        <p:txBody>
          <a:bodyPr wrap="square" lIns="0" tIns="0" rIns="0" bIns="0" rtlCol="0"/>
          <a:lstStyle/>
          <a:p>
            <a:endParaRPr/>
          </a:p>
        </p:txBody>
      </p:sp>
      <p:sp>
        <p:nvSpPr>
          <p:cNvPr id="5" name="object 5"/>
          <p:cNvSpPr/>
          <p:nvPr/>
        </p:nvSpPr>
        <p:spPr>
          <a:xfrm>
            <a:off x="150057" y="2580870"/>
            <a:ext cx="718581" cy="788709"/>
          </a:xfrm>
          <a:custGeom>
            <a:avLst/>
            <a:gdLst/>
            <a:ahLst/>
            <a:cxnLst/>
            <a:rect l="l" t="t" r="r" b="b"/>
            <a:pathLst>
              <a:path w="1579880" h="1734184">
                <a:moveTo>
                  <a:pt x="0" y="1733957"/>
                </a:moveTo>
                <a:lnTo>
                  <a:pt x="1579480" y="1733957"/>
                </a:lnTo>
                <a:lnTo>
                  <a:pt x="1579480" y="0"/>
                </a:lnTo>
                <a:lnTo>
                  <a:pt x="0" y="0"/>
                </a:lnTo>
                <a:lnTo>
                  <a:pt x="0" y="1733957"/>
                </a:lnTo>
                <a:close/>
              </a:path>
            </a:pathLst>
          </a:custGeom>
          <a:solidFill>
            <a:srgbClr val="BCBBBB"/>
          </a:solidFill>
        </p:spPr>
        <p:txBody>
          <a:bodyPr wrap="square" lIns="0" tIns="0" rIns="0" bIns="0" rtlCol="0"/>
          <a:lstStyle/>
          <a:p>
            <a:endParaRPr/>
          </a:p>
        </p:txBody>
      </p:sp>
      <p:sp>
        <p:nvSpPr>
          <p:cNvPr id="6" name="object 6"/>
          <p:cNvSpPr/>
          <p:nvPr/>
        </p:nvSpPr>
        <p:spPr>
          <a:xfrm>
            <a:off x="1311369" y="2580870"/>
            <a:ext cx="721180" cy="788709"/>
          </a:xfrm>
          <a:custGeom>
            <a:avLst/>
            <a:gdLst/>
            <a:ahLst/>
            <a:cxnLst/>
            <a:rect l="l" t="t" r="r" b="b"/>
            <a:pathLst>
              <a:path w="1585595" h="1734184">
                <a:moveTo>
                  <a:pt x="0" y="1733957"/>
                </a:moveTo>
                <a:lnTo>
                  <a:pt x="1585564" y="1733957"/>
                </a:lnTo>
                <a:lnTo>
                  <a:pt x="1585564" y="0"/>
                </a:lnTo>
                <a:lnTo>
                  <a:pt x="0" y="0"/>
                </a:lnTo>
                <a:lnTo>
                  <a:pt x="0" y="1733957"/>
                </a:lnTo>
                <a:close/>
              </a:path>
            </a:pathLst>
          </a:custGeom>
          <a:solidFill>
            <a:srgbClr val="BCBBBB"/>
          </a:solidFill>
        </p:spPr>
        <p:txBody>
          <a:bodyPr wrap="square" lIns="0" tIns="0" rIns="0" bIns="0" rtlCol="0"/>
          <a:lstStyle/>
          <a:p>
            <a:endParaRPr/>
          </a:p>
        </p:txBody>
      </p:sp>
      <p:sp>
        <p:nvSpPr>
          <p:cNvPr id="7" name="object 7"/>
          <p:cNvSpPr/>
          <p:nvPr/>
        </p:nvSpPr>
        <p:spPr>
          <a:xfrm>
            <a:off x="2474590" y="2580870"/>
            <a:ext cx="714826" cy="788709"/>
          </a:xfrm>
          <a:custGeom>
            <a:avLst/>
            <a:gdLst/>
            <a:ahLst/>
            <a:cxnLst/>
            <a:rect l="l" t="t" r="r" b="b"/>
            <a:pathLst>
              <a:path w="1571625" h="1734184">
                <a:moveTo>
                  <a:pt x="0" y="1733957"/>
                </a:moveTo>
                <a:lnTo>
                  <a:pt x="1571397" y="1733957"/>
                </a:lnTo>
                <a:lnTo>
                  <a:pt x="1571397" y="0"/>
                </a:lnTo>
                <a:lnTo>
                  <a:pt x="0" y="0"/>
                </a:lnTo>
                <a:lnTo>
                  <a:pt x="0" y="1733957"/>
                </a:lnTo>
                <a:close/>
              </a:path>
            </a:pathLst>
          </a:custGeom>
          <a:solidFill>
            <a:srgbClr val="BCBBBB"/>
          </a:solidFill>
        </p:spPr>
        <p:txBody>
          <a:bodyPr wrap="square" lIns="0" tIns="0" rIns="0" bIns="0" rtlCol="0"/>
          <a:lstStyle/>
          <a:p>
            <a:endParaRPr/>
          </a:p>
        </p:txBody>
      </p:sp>
      <p:sp>
        <p:nvSpPr>
          <p:cNvPr id="8" name="object 8"/>
          <p:cNvSpPr/>
          <p:nvPr/>
        </p:nvSpPr>
        <p:spPr>
          <a:xfrm>
            <a:off x="2796488" y="3034447"/>
            <a:ext cx="393082" cy="335295"/>
          </a:xfrm>
          <a:custGeom>
            <a:avLst/>
            <a:gdLst/>
            <a:ahLst/>
            <a:cxnLst/>
            <a:rect l="l" t="t" r="r" b="b"/>
            <a:pathLst>
              <a:path w="864234" h="737234">
                <a:moveTo>
                  <a:pt x="0" y="736647"/>
                </a:moveTo>
                <a:lnTo>
                  <a:pt x="863670" y="736647"/>
                </a:lnTo>
                <a:lnTo>
                  <a:pt x="863670" y="0"/>
                </a:lnTo>
                <a:lnTo>
                  <a:pt x="0" y="0"/>
                </a:lnTo>
                <a:lnTo>
                  <a:pt x="0" y="736647"/>
                </a:lnTo>
                <a:close/>
              </a:path>
            </a:pathLst>
          </a:custGeom>
          <a:solidFill>
            <a:srgbClr val="888888"/>
          </a:solidFill>
        </p:spPr>
        <p:txBody>
          <a:bodyPr wrap="square" lIns="0" tIns="0" rIns="0" bIns="0" rtlCol="0"/>
          <a:lstStyle/>
          <a:p>
            <a:endParaRPr/>
          </a:p>
        </p:txBody>
      </p:sp>
      <p:sp>
        <p:nvSpPr>
          <p:cNvPr id="9" name="object 9"/>
          <p:cNvSpPr/>
          <p:nvPr/>
        </p:nvSpPr>
        <p:spPr>
          <a:xfrm>
            <a:off x="1645306" y="3034447"/>
            <a:ext cx="387306" cy="335295"/>
          </a:xfrm>
          <a:custGeom>
            <a:avLst/>
            <a:gdLst/>
            <a:ahLst/>
            <a:cxnLst/>
            <a:rect l="l" t="t" r="r" b="b"/>
            <a:pathLst>
              <a:path w="851535" h="737234">
                <a:moveTo>
                  <a:pt x="0" y="736647"/>
                </a:moveTo>
                <a:lnTo>
                  <a:pt x="851366" y="736647"/>
                </a:lnTo>
                <a:lnTo>
                  <a:pt x="851366" y="0"/>
                </a:lnTo>
                <a:lnTo>
                  <a:pt x="0" y="0"/>
                </a:lnTo>
                <a:lnTo>
                  <a:pt x="0" y="736647"/>
                </a:lnTo>
                <a:close/>
              </a:path>
            </a:pathLst>
          </a:custGeom>
          <a:solidFill>
            <a:srgbClr val="888888"/>
          </a:solidFill>
        </p:spPr>
        <p:txBody>
          <a:bodyPr wrap="square" lIns="0" tIns="0" rIns="0" bIns="0" rtlCol="0"/>
          <a:lstStyle/>
          <a:p>
            <a:endParaRPr/>
          </a:p>
        </p:txBody>
      </p:sp>
      <p:sp>
        <p:nvSpPr>
          <p:cNvPr id="10" name="object 10"/>
          <p:cNvSpPr/>
          <p:nvPr/>
        </p:nvSpPr>
        <p:spPr>
          <a:xfrm>
            <a:off x="944599" y="3034447"/>
            <a:ext cx="866" cy="335295"/>
          </a:xfrm>
          <a:custGeom>
            <a:avLst/>
            <a:gdLst/>
            <a:ahLst/>
            <a:cxnLst/>
            <a:rect l="l" t="t" r="r" b="b"/>
            <a:pathLst>
              <a:path w="1905" h="737234">
                <a:moveTo>
                  <a:pt x="0" y="736647"/>
                </a:moveTo>
                <a:lnTo>
                  <a:pt x="1895" y="736647"/>
                </a:lnTo>
                <a:lnTo>
                  <a:pt x="1895" y="0"/>
                </a:lnTo>
                <a:lnTo>
                  <a:pt x="0" y="0"/>
                </a:lnTo>
                <a:lnTo>
                  <a:pt x="0" y="736647"/>
                </a:lnTo>
                <a:close/>
              </a:path>
            </a:pathLst>
          </a:custGeom>
          <a:solidFill>
            <a:srgbClr val="888888"/>
          </a:solidFill>
        </p:spPr>
        <p:txBody>
          <a:bodyPr wrap="square" lIns="0" tIns="0" rIns="0" bIns="0" rtlCol="0"/>
          <a:lstStyle/>
          <a:p>
            <a:endParaRPr/>
          </a:p>
        </p:txBody>
      </p:sp>
      <p:sp>
        <p:nvSpPr>
          <p:cNvPr id="11" name="object 11"/>
          <p:cNvSpPr/>
          <p:nvPr/>
        </p:nvSpPr>
        <p:spPr>
          <a:xfrm>
            <a:off x="482222" y="3034447"/>
            <a:ext cx="386439" cy="335295"/>
          </a:xfrm>
          <a:custGeom>
            <a:avLst/>
            <a:gdLst/>
            <a:ahLst/>
            <a:cxnLst/>
            <a:rect l="l" t="t" r="r" b="b"/>
            <a:pathLst>
              <a:path w="849630" h="737234">
                <a:moveTo>
                  <a:pt x="0" y="736647"/>
                </a:moveTo>
                <a:lnTo>
                  <a:pt x="849178" y="736647"/>
                </a:lnTo>
                <a:lnTo>
                  <a:pt x="849178" y="0"/>
                </a:lnTo>
                <a:lnTo>
                  <a:pt x="0" y="0"/>
                </a:lnTo>
                <a:lnTo>
                  <a:pt x="0" y="736647"/>
                </a:lnTo>
                <a:close/>
              </a:path>
            </a:pathLst>
          </a:custGeom>
          <a:solidFill>
            <a:srgbClr val="888888"/>
          </a:solidFill>
        </p:spPr>
        <p:txBody>
          <a:bodyPr wrap="square" lIns="0" tIns="0" rIns="0" bIns="0" rtlCol="0"/>
          <a:lstStyle/>
          <a:p>
            <a:endParaRPr/>
          </a:p>
        </p:txBody>
      </p:sp>
      <p:sp>
        <p:nvSpPr>
          <p:cNvPr id="12" name="object 12"/>
          <p:cNvSpPr/>
          <p:nvPr/>
        </p:nvSpPr>
        <p:spPr>
          <a:xfrm>
            <a:off x="2697463" y="3201614"/>
            <a:ext cx="331853" cy="499910"/>
          </a:xfrm>
          <a:custGeom>
            <a:avLst/>
            <a:gdLst/>
            <a:ahLst/>
            <a:cxnLst/>
            <a:rect l="l" t="t" r="r" b="b"/>
            <a:pathLst>
              <a:path w="729615" h="1099184">
                <a:moveTo>
                  <a:pt x="525177" y="0"/>
                </a:moveTo>
                <a:lnTo>
                  <a:pt x="204098" y="0"/>
                </a:lnTo>
                <a:lnTo>
                  <a:pt x="156796" y="8454"/>
                </a:lnTo>
                <a:lnTo>
                  <a:pt x="116752" y="31645"/>
                </a:lnTo>
                <a:lnTo>
                  <a:pt x="88100" y="66314"/>
                </a:lnTo>
                <a:lnTo>
                  <a:pt x="74971" y="109200"/>
                </a:lnTo>
                <a:lnTo>
                  <a:pt x="0" y="912055"/>
                </a:lnTo>
                <a:lnTo>
                  <a:pt x="1552" y="961034"/>
                </a:lnTo>
                <a:lnTo>
                  <a:pt x="14084" y="1005478"/>
                </a:lnTo>
                <a:lnTo>
                  <a:pt x="36216" y="1043439"/>
                </a:lnTo>
                <a:lnTo>
                  <a:pt x="66565" y="1072967"/>
                </a:lnTo>
                <a:lnTo>
                  <a:pt x="103751" y="1092114"/>
                </a:lnTo>
                <a:lnTo>
                  <a:pt x="146393" y="1098929"/>
                </a:lnTo>
                <a:lnTo>
                  <a:pt x="582893" y="1098929"/>
                </a:lnTo>
                <a:lnTo>
                  <a:pt x="625535" y="1092114"/>
                </a:lnTo>
                <a:lnTo>
                  <a:pt x="662721" y="1072967"/>
                </a:lnTo>
                <a:lnTo>
                  <a:pt x="693070" y="1043439"/>
                </a:lnTo>
                <a:lnTo>
                  <a:pt x="715201" y="1005478"/>
                </a:lnTo>
                <a:lnTo>
                  <a:pt x="727734" y="961034"/>
                </a:lnTo>
                <a:lnTo>
                  <a:pt x="729286" y="912055"/>
                </a:lnTo>
                <a:lnTo>
                  <a:pt x="654304" y="109200"/>
                </a:lnTo>
                <a:lnTo>
                  <a:pt x="641181" y="66314"/>
                </a:lnTo>
                <a:lnTo>
                  <a:pt x="612531" y="31645"/>
                </a:lnTo>
                <a:lnTo>
                  <a:pt x="572485" y="8454"/>
                </a:lnTo>
                <a:lnTo>
                  <a:pt x="525177" y="0"/>
                </a:lnTo>
                <a:close/>
              </a:path>
            </a:pathLst>
          </a:custGeom>
          <a:solidFill>
            <a:srgbClr val="676767"/>
          </a:solidFill>
        </p:spPr>
        <p:txBody>
          <a:bodyPr wrap="square" lIns="0" tIns="0" rIns="0" bIns="0" rtlCol="0"/>
          <a:lstStyle/>
          <a:p>
            <a:endParaRPr/>
          </a:p>
        </p:txBody>
      </p:sp>
      <p:sp>
        <p:nvSpPr>
          <p:cNvPr id="13" name="object 13"/>
          <p:cNvSpPr/>
          <p:nvPr/>
        </p:nvSpPr>
        <p:spPr>
          <a:xfrm>
            <a:off x="2733259" y="3638902"/>
            <a:ext cx="268313" cy="86640"/>
          </a:xfrm>
          <a:custGeom>
            <a:avLst/>
            <a:gdLst/>
            <a:ahLst/>
            <a:cxnLst/>
            <a:rect l="l" t="t" r="r" b="b"/>
            <a:pathLst>
              <a:path w="589915" h="190500">
                <a:moveTo>
                  <a:pt x="524758" y="0"/>
                </a:moveTo>
                <a:lnTo>
                  <a:pt x="64971" y="0"/>
                </a:lnTo>
                <a:lnTo>
                  <a:pt x="39681" y="5105"/>
                </a:lnTo>
                <a:lnTo>
                  <a:pt x="19029" y="19029"/>
                </a:lnTo>
                <a:lnTo>
                  <a:pt x="5105" y="39681"/>
                </a:lnTo>
                <a:lnTo>
                  <a:pt x="0" y="64971"/>
                </a:lnTo>
                <a:lnTo>
                  <a:pt x="0" y="124938"/>
                </a:lnTo>
                <a:lnTo>
                  <a:pt x="5105" y="150228"/>
                </a:lnTo>
                <a:lnTo>
                  <a:pt x="19029" y="170880"/>
                </a:lnTo>
                <a:lnTo>
                  <a:pt x="39681" y="184804"/>
                </a:lnTo>
                <a:lnTo>
                  <a:pt x="64971" y="189910"/>
                </a:lnTo>
                <a:lnTo>
                  <a:pt x="524758" y="189910"/>
                </a:lnTo>
                <a:lnTo>
                  <a:pt x="550043" y="184804"/>
                </a:lnTo>
                <a:lnTo>
                  <a:pt x="570692" y="170880"/>
                </a:lnTo>
                <a:lnTo>
                  <a:pt x="584614" y="150228"/>
                </a:lnTo>
                <a:lnTo>
                  <a:pt x="589720" y="124938"/>
                </a:lnTo>
                <a:lnTo>
                  <a:pt x="589720" y="64971"/>
                </a:lnTo>
                <a:lnTo>
                  <a:pt x="584614" y="39681"/>
                </a:lnTo>
                <a:lnTo>
                  <a:pt x="570692" y="19029"/>
                </a:lnTo>
                <a:lnTo>
                  <a:pt x="550043" y="5105"/>
                </a:lnTo>
                <a:lnTo>
                  <a:pt x="524758" y="0"/>
                </a:lnTo>
                <a:close/>
              </a:path>
            </a:pathLst>
          </a:custGeom>
          <a:solidFill>
            <a:srgbClr val="514F66"/>
          </a:solidFill>
        </p:spPr>
        <p:txBody>
          <a:bodyPr wrap="square" lIns="0" tIns="0" rIns="0" bIns="0" rtlCol="0"/>
          <a:lstStyle/>
          <a:p>
            <a:endParaRPr/>
          </a:p>
        </p:txBody>
      </p:sp>
      <p:sp>
        <p:nvSpPr>
          <p:cNvPr id="14" name="object 14"/>
          <p:cNvSpPr/>
          <p:nvPr/>
        </p:nvSpPr>
        <p:spPr>
          <a:xfrm>
            <a:off x="1694080" y="3201614"/>
            <a:ext cx="331853" cy="499910"/>
          </a:xfrm>
          <a:custGeom>
            <a:avLst/>
            <a:gdLst/>
            <a:ahLst/>
            <a:cxnLst/>
            <a:rect l="l" t="t" r="r" b="b"/>
            <a:pathLst>
              <a:path w="729614" h="1099184">
                <a:moveTo>
                  <a:pt x="525177" y="0"/>
                </a:moveTo>
                <a:lnTo>
                  <a:pt x="204098" y="0"/>
                </a:lnTo>
                <a:lnTo>
                  <a:pt x="156796" y="8454"/>
                </a:lnTo>
                <a:lnTo>
                  <a:pt x="116752" y="31645"/>
                </a:lnTo>
                <a:lnTo>
                  <a:pt x="88100" y="66314"/>
                </a:lnTo>
                <a:lnTo>
                  <a:pt x="74971" y="109200"/>
                </a:lnTo>
                <a:lnTo>
                  <a:pt x="0" y="912055"/>
                </a:lnTo>
                <a:lnTo>
                  <a:pt x="1552" y="961034"/>
                </a:lnTo>
                <a:lnTo>
                  <a:pt x="14084" y="1005478"/>
                </a:lnTo>
                <a:lnTo>
                  <a:pt x="36216" y="1043439"/>
                </a:lnTo>
                <a:lnTo>
                  <a:pt x="66565" y="1072967"/>
                </a:lnTo>
                <a:lnTo>
                  <a:pt x="103751" y="1092114"/>
                </a:lnTo>
                <a:lnTo>
                  <a:pt x="146393" y="1098929"/>
                </a:lnTo>
                <a:lnTo>
                  <a:pt x="582893" y="1098929"/>
                </a:lnTo>
                <a:lnTo>
                  <a:pt x="625535" y="1092114"/>
                </a:lnTo>
                <a:lnTo>
                  <a:pt x="662721" y="1072967"/>
                </a:lnTo>
                <a:lnTo>
                  <a:pt x="693070" y="1043439"/>
                </a:lnTo>
                <a:lnTo>
                  <a:pt x="715201" y="1005478"/>
                </a:lnTo>
                <a:lnTo>
                  <a:pt x="727734" y="961034"/>
                </a:lnTo>
                <a:lnTo>
                  <a:pt x="729286" y="912055"/>
                </a:lnTo>
                <a:lnTo>
                  <a:pt x="654304" y="109200"/>
                </a:lnTo>
                <a:lnTo>
                  <a:pt x="641181" y="66314"/>
                </a:lnTo>
                <a:lnTo>
                  <a:pt x="612531" y="31645"/>
                </a:lnTo>
                <a:lnTo>
                  <a:pt x="572485" y="8454"/>
                </a:lnTo>
                <a:lnTo>
                  <a:pt x="525177" y="0"/>
                </a:lnTo>
                <a:close/>
              </a:path>
            </a:pathLst>
          </a:custGeom>
          <a:solidFill>
            <a:srgbClr val="676767"/>
          </a:solidFill>
        </p:spPr>
        <p:txBody>
          <a:bodyPr wrap="square" lIns="0" tIns="0" rIns="0" bIns="0" rtlCol="0"/>
          <a:lstStyle/>
          <a:p>
            <a:endParaRPr/>
          </a:p>
        </p:txBody>
      </p:sp>
      <p:sp>
        <p:nvSpPr>
          <p:cNvPr id="15" name="object 15"/>
          <p:cNvSpPr/>
          <p:nvPr/>
        </p:nvSpPr>
        <p:spPr>
          <a:xfrm>
            <a:off x="1729876" y="3638902"/>
            <a:ext cx="268313" cy="86640"/>
          </a:xfrm>
          <a:custGeom>
            <a:avLst/>
            <a:gdLst/>
            <a:ahLst/>
            <a:cxnLst/>
            <a:rect l="l" t="t" r="r" b="b"/>
            <a:pathLst>
              <a:path w="589914" h="190500">
                <a:moveTo>
                  <a:pt x="524758" y="0"/>
                </a:moveTo>
                <a:lnTo>
                  <a:pt x="64971" y="0"/>
                </a:lnTo>
                <a:lnTo>
                  <a:pt x="39681" y="5105"/>
                </a:lnTo>
                <a:lnTo>
                  <a:pt x="19029" y="19029"/>
                </a:lnTo>
                <a:lnTo>
                  <a:pt x="5105" y="39681"/>
                </a:lnTo>
                <a:lnTo>
                  <a:pt x="0" y="64971"/>
                </a:lnTo>
                <a:lnTo>
                  <a:pt x="0" y="124938"/>
                </a:lnTo>
                <a:lnTo>
                  <a:pt x="5105" y="150228"/>
                </a:lnTo>
                <a:lnTo>
                  <a:pt x="19029" y="170880"/>
                </a:lnTo>
                <a:lnTo>
                  <a:pt x="39681" y="184804"/>
                </a:lnTo>
                <a:lnTo>
                  <a:pt x="64971" y="189910"/>
                </a:lnTo>
                <a:lnTo>
                  <a:pt x="524758" y="189910"/>
                </a:lnTo>
                <a:lnTo>
                  <a:pt x="550043" y="184804"/>
                </a:lnTo>
                <a:lnTo>
                  <a:pt x="570692" y="170880"/>
                </a:lnTo>
                <a:lnTo>
                  <a:pt x="584614" y="150228"/>
                </a:lnTo>
                <a:lnTo>
                  <a:pt x="589720" y="124938"/>
                </a:lnTo>
                <a:lnTo>
                  <a:pt x="589720" y="64971"/>
                </a:lnTo>
                <a:lnTo>
                  <a:pt x="584614" y="39681"/>
                </a:lnTo>
                <a:lnTo>
                  <a:pt x="570692" y="19029"/>
                </a:lnTo>
                <a:lnTo>
                  <a:pt x="550043" y="5105"/>
                </a:lnTo>
                <a:lnTo>
                  <a:pt x="524758" y="0"/>
                </a:lnTo>
                <a:close/>
              </a:path>
            </a:pathLst>
          </a:custGeom>
          <a:solidFill>
            <a:srgbClr val="514F66"/>
          </a:solidFill>
        </p:spPr>
        <p:txBody>
          <a:bodyPr wrap="square" lIns="0" tIns="0" rIns="0" bIns="0" rtlCol="0"/>
          <a:lstStyle/>
          <a:p>
            <a:endParaRPr/>
          </a:p>
        </p:txBody>
      </p:sp>
      <p:sp>
        <p:nvSpPr>
          <p:cNvPr id="16" name="object 16"/>
          <p:cNvSpPr/>
          <p:nvPr/>
        </p:nvSpPr>
        <p:spPr>
          <a:xfrm>
            <a:off x="534690" y="3201395"/>
            <a:ext cx="331853" cy="499910"/>
          </a:xfrm>
          <a:custGeom>
            <a:avLst/>
            <a:gdLst/>
            <a:ahLst/>
            <a:cxnLst/>
            <a:rect l="l" t="t" r="r" b="b"/>
            <a:pathLst>
              <a:path w="729614" h="1099184">
                <a:moveTo>
                  <a:pt x="525188" y="0"/>
                </a:moveTo>
                <a:lnTo>
                  <a:pt x="204098" y="0"/>
                </a:lnTo>
                <a:lnTo>
                  <a:pt x="156796" y="8454"/>
                </a:lnTo>
                <a:lnTo>
                  <a:pt x="116752" y="31645"/>
                </a:lnTo>
                <a:lnTo>
                  <a:pt x="88100" y="66314"/>
                </a:lnTo>
                <a:lnTo>
                  <a:pt x="74971" y="109200"/>
                </a:lnTo>
                <a:lnTo>
                  <a:pt x="0" y="912055"/>
                </a:lnTo>
                <a:lnTo>
                  <a:pt x="1551" y="961034"/>
                </a:lnTo>
                <a:lnTo>
                  <a:pt x="14082" y="1005478"/>
                </a:lnTo>
                <a:lnTo>
                  <a:pt x="36212" y="1043439"/>
                </a:lnTo>
                <a:lnTo>
                  <a:pt x="66560" y="1072967"/>
                </a:lnTo>
                <a:lnTo>
                  <a:pt x="103747" y="1092114"/>
                </a:lnTo>
                <a:lnTo>
                  <a:pt x="146393" y="1098929"/>
                </a:lnTo>
                <a:lnTo>
                  <a:pt x="582893" y="1098929"/>
                </a:lnTo>
                <a:lnTo>
                  <a:pt x="625535" y="1092114"/>
                </a:lnTo>
                <a:lnTo>
                  <a:pt x="662721" y="1072967"/>
                </a:lnTo>
                <a:lnTo>
                  <a:pt x="693070" y="1043439"/>
                </a:lnTo>
                <a:lnTo>
                  <a:pt x="715201" y="1005478"/>
                </a:lnTo>
                <a:lnTo>
                  <a:pt x="727734" y="961034"/>
                </a:lnTo>
                <a:lnTo>
                  <a:pt x="729286" y="912055"/>
                </a:lnTo>
                <a:lnTo>
                  <a:pt x="654304" y="109200"/>
                </a:lnTo>
                <a:lnTo>
                  <a:pt x="641181" y="66314"/>
                </a:lnTo>
                <a:lnTo>
                  <a:pt x="612532" y="31645"/>
                </a:lnTo>
                <a:lnTo>
                  <a:pt x="572489" y="8454"/>
                </a:lnTo>
                <a:lnTo>
                  <a:pt x="525188" y="0"/>
                </a:lnTo>
                <a:close/>
              </a:path>
            </a:pathLst>
          </a:custGeom>
          <a:solidFill>
            <a:srgbClr val="676767"/>
          </a:solidFill>
        </p:spPr>
        <p:txBody>
          <a:bodyPr wrap="square" lIns="0" tIns="0" rIns="0" bIns="0" rtlCol="0"/>
          <a:lstStyle/>
          <a:p>
            <a:endParaRPr/>
          </a:p>
        </p:txBody>
      </p:sp>
      <p:sp>
        <p:nvSpPr>
          <p:cNvPr id="17" name="object 17"/>
          <p:cNvSpPr/>
          <p:nvPr/>
        </p:nvSpPr>
        <p:spPr>
          <a:xfrm>
            <a:off x="570487" y="3638682"/>
            <a:ext cx="268313" cy="86640"/>
          </a:xfrm>
          <a:custGeom>
            <a:avLst/>
            <a:gdLst/>
            <a:ahLst/>
            <a:cxnLst/>
            <a:rect l="l" t="t" r="r" b="b"/>
            <a:pathLst>
              <a:path w="589914" h="190500">
                <a:moveTo>
                  <a:pt x="524758" y="0"/>
                </a:moveTo>
                <a:lnTo>
                  <a:pt x="64971" y="0"/>
                </a:lnTo>
                <a:lnTo>
                  <a:pt x="39681" y="5105"/>
                </a:lnTo>
                <a:lnTo>
                  <a:pt x="19029" y="19029"/>
                </a:lnTo>
                <a:lnTo>
                  <a:pt x="5105" y="39681"/>
                </a:lnTo>
                <a:lnTo>
                  <a:pt x="0" y="64971"/>
                </a:lnTo>
                <a:lnTo>
                  <a:pt x="0" y="124938"/>
                </a:lnTo>
                <a:lnTo>
                  <a:pt x="5105" y="150228"/>
                </a:lnTo>
                <a:lnTo>
                  <a:pt x="19029" y="170880"/>
                </a:lnTo>
                <a:lnTo>
                  <a:pt x="39681" y="184804"/>
                </a:lnTo>
                <a:lnTo>
                  <a:pt x="64971" y="189910"/>
                </a:lnTo>
                <a:lnTo>
                  <a:pt x="524758" y="189910"/>
                </a:lnTo>
                <a:lnTo>
                  <a:pt x="550043" y="184804"/>
                </a:lnTo>
                <a:lnTo>
                  <a:pt x="570692" y="170880"/>
                </a:lnTo>
                <a:lnTo>
                  <a:pt x="584614" y="150228"/>
                </a:lnTo>
                <a:lnTo>
                  <a:pt x="589720" y="124938"/>
                </a:lnTo>
                <a:lnTo>
                  <a:pt x="589720" y="64971"/>
                </a:lnTo>
                <a:lnTo>
                  <a:pt x="584614" y="39681"/>
                </a:lnTo>
                <a:lnTo>
                  <a:pt x="570692" y="19029"/>
                </a:lnTo>
                <a:lnTo>
                  <a:pt x="550043" y="5105"/>
                </a:lnTo>
                <a:lnTo>
                  <a:pt x="524758" y="0"/>
                </a:lnTo>
                <a:close/>
              </a:path>
            </a:pathLst>
          </a:custGeom>
          <a:solidFill>
            <a:srgbClr val="514F66"/>
          </a:solidFill>
        </p:spPr>
        <p:txBody>
          <a:bodyPr wrap="square" lIns="0" tIns="0" rIns="0" bIns="0" rtlCol="0"/>
          <a:lstStyle/>
          <a:p>
            <a:endParaRPr/>
          </a:p>
        </p:txBody>
      </p:sp>
      <p:sp>
        <p:nvSpPr>
          <p:cNvPr id="18" name="object 18"/>
          <p:cNvSpPr/>
          <p:nvPr/>
        </p:nvSpPr>
        <p:spPr>
          <a:xfrm>
            <a:off x="2108683" y="2255980"/>
            <a:ext cx="365933" cy="1113607"/>
          </a:xfrm>
          <a:custGeom>
            <a:avLst/>
            <a:gdLst/>
            <a:ahLst/>
            <a:cxnLst/>
            <a:rect l="l" t="t" r="r" b="b"/>
            <a:pathLst>
              <a:path w="804545" h="2448559">
                <a:moveTo>
                  <a:pt x="0" y="2448312"/>
                </a:moveTo>
                <a:lnTo>
                  <a:pt x="804488" y="2448312"/>
                </a:lnTo>
                <a:lnTo>
                  <a:pt x="804488" y="0"/>
                </a:lnTo>
                <a:lnTo>
                  <a:pt x="0" y="0"/>
                </a:lnTo>
                <a:lnTo>
                  <a:pt x="0" y="2448312"/>
                </a:lnTo>
                <a:close/>
              </a:path>
            </a:pathLst>
          </a:custGeom>
          <a:solidFill>
            <a:srgbClr val="D4D6D5">
              <a:alpha val="54998"/>
            </a:srgbClr>
          </a:solidFill>
        </p:spPr>
        <p:txBody>
          <a:bodyPr wrap="square" lIns="0" tIns="0" rIns="0" bIns="0" rtlCol="0"/>
          <a:lstStyle/>
          <a:p>
            <a:endParaRPr/>
          </a:p>
        </p:txBody>
      </p:sp>
      <p:sp>
        <p:nvSpPr>
          <p:cNvPr id="19" name="object 19"/>
          <p:cNvSpPr/>
          <p:nvPr/>
        </p:nvSpPr>
        <p:spPr>
          <a:xfrm>
            <a:off x="2032535" y="2255980"/>
            <a:ext cx="76248" cy="1113607"/>
          </a:xfrm>
          <a:custGeom>
            <a:avLst/>
            <a:gdLst/>
            <a:ahLst/>
            <a:cxnLst/>
            <a:rect l="l" t="t" r="r" b="b"/>
            <a:pathLst>
              <a:path w="167639" h="2448559">
                <a:moveTo>
                  <a:pt x="0" y="2448312"/>
                </a:moveTo>
                <a:lnTo>
                  <a:pt x="167408" y="2448312"/>
                </a:lnTo>
                <a:lnTo>
                  <a:pt x="167408" y="0"/>
                </a:lnTo>
                <a:lnTo>
                  <a:pt x="0" y="0"/>
                </a:lnTo>
                <a:lnTo>
                  <a:pt x="0" y="2448312"/>
                </a:lnTo>
                <a:close/>
              </a:path>
            </a:pathLst>
          </a:custGeom>
          <a:solidFill>
            <a:srgbClr val="BCBBBB"/>
          </a:solidFill>
        </p:spPr>
        <p:txBody>
          <a:bodyPr wrap="square" lIns="0" tIns="0" rIns="0" bIns="0" rtlCol="0"/>
          <a:lstStyle/>
          <a:p>
            <a:endParaRPr/>
          </a:p>
        </p:txBody>
      </p:sp>
      <p:sp>
        <p:nvSpPr>
          <p:cNvPr id="20" name="object 20"/>
          <p:cNvSpPr/>
          <p:nvPr/>
        </p:nvSpPr>
        <p:spPr>
          <a:xfrm>
            <a:off x="3189313" y="2255980"/>
            <a:ext cx="76248" cy="1113607"/>
          </a:xfrm>
          <a:custGeom>
            <a:avLst/>
            <a:gdLst/>
            <a:ahLst/>
            <a:cxnLst/>
            <a:rect l="l" t="t" r="r" b="b"/>
            <a:pathLst>
              <a:path w="167640" h="2448559">
                <a:moveTo>
                  <a:pt x="0" y="2448312"/>
                </a:moveTo>
                <a:lnTo>
                  <a:pt x="167408" y="2448312"/>
                </a:lnTo>
                <a:lnTo>
                  <a:pt x="167408" y="0"/>
                </a:lnTo>
                <a:lnTo>
                  <a:pt x="0" y="0"/>
                </a:lnTo>
                <a:lnTo>
                  <a:pt x="0" y="2448312"/>
                </a:lnTo>
                <a:close/>
              </a:path>
            </a:pathLst>
          </a:custGeom>
          <a:solidFill>
            <a:srgbClr val="BCBBBB"/>
          </a:solidFill>
        </p:spPr>
        <p:txBody>
          <a:bodyPr wrap="square" lIns="0" tIns="0" rIns="0" bIns="0" rtlCol="0"/>
          <a:lstStyle/>
          <a:p>
            <a:endParaRPr/>
          </a:p>
        </p:txBody>
      </p:sp>
      <p:sp>
        <p:nvSpPr>
          <p:cNvPr id="21" name="object 21"/>
          <p:cNvSpPr/>
          <p:nvPr/>
        </p:nvSpPr>
        <p:spPr>
          <a:xfrm>
            <a:off x="868456" y="2255980"/>
            <a:ext cx="76248" cy="1113607"/>
          </a:xfrm>
          <a:custGeom>
            <a:avLst/>
            <a:gdLst/>
            <a:ahLst/>
            <a:cxnLst/>
            <a:rect l="l" t="t" r="r" b="b"/>
            <a:pathLst>
              <a:path w="167639" h="2448559">
                <a:moveTo>
                  <a:pt x="0" y="2448312"/>
                </a:moveTo>
                <a:lnTo>
                  <a:pt x="167408" y="2448312"/>
                </a:lnTo>
                <a:lnTo>
                  <a:pt x="167408" y="0"/>
                </a:lnTo>
                <a:lnTo>
                  <a:pt x="0" y="0"/>
                </a:lnTo>
                <a:lnTo>
                  <a:pt x="0" y="2448312"/>
                </a:lnTo>
                <a:close/>
              </a:path>
            </a:pathLst>
          </a:custGeom>
          <a:solidFill>
            <a:srgbClr val="BCBBBB"/>
          </a:solidFill>
        </p:spPr>
        <p:txBody>
          <a:bodyPr wrap="square" lIns="0" tIns="0" rIns="0" bIns="0" rtlCol="0"/>
          <a:lstStyle/>
          <a:p>
            <a:endParaRPr/>
          </a:p>
        </p:txBody>
      </p:sp>
      <p:sp>
        <p:nvSpPr>
          <p:cNvPr id="22" name="object 22"/>
          <p:cNvSpPr/>
          <p:nvPr/>
        </p:nvSpPr>
        <p:spPr>
          <a:xfrm>
            <a:off x="945461" y="2250423"/>
            <a:ext cx="365933" cy="1119094"/>
          </a:xfrm>
          <a:custGeom>
            <a:avLst/>
            <a:gdLst/>
            <a:ahLst/>
            <a:cxnLst/>
            <a:rect l="l" t="t" r="r" b="b"/>
            <a:pathLst>
              <a:path w="804544" h="2460625">
                <a:moveTo>
                  <a:pt x="0" y="2460532"/>
                </a:moveTo>
                <a:lnTo>
                  <a:pt x="804488" y="2460532"/>
                </a:lnTo>
                <a:lnTo>
                  <a:pt x="804488" y="0"/>
                </a:lnTo>
                <a:lnTo>
                  <a:pt x="0" y="0"/>
                </a:lnTo>
                <a:lnTo>
                  <a:pt x="0" y="2460532"/>
                </a:lnTo>
                <a:close/>
              </a:path>
            </a:pathLst>
          </a:custGeom>
          <a:solidFill>
            <a:srgbClr val="D4D6D5">
              <a:alpha val="54998"/>
            </a:srgbClr>
          </a:solidFill>
        </p:spPr>
        <p:txBody>
          <a:bodyPr wrap="square" lIns="0" tIns="0" rIns="0" bIns="0" rtlCol="0"/>
          <a:lstStyle/>
          <a:p>
            <a:endParaRPr/>
          </a:p>
        </p:txBody>
      </p:sp>
      <p:sp>
        <p:nvSpPr>
          <p:cNvPr id="23" name="object 23"/>
          <p:cNvSpPr/>
          <p:nvPr/>
        </p:nvSpPr>
        <p:spPr>
          <a:xfrm>
            <a:off x="2875764" y="3268598"/>
            <a:ext cx="71338" cy="101079"/>
          </a:xfrm>
          <a:custGeom>
            <a:avLst/>
            <a:gdLst/>
            <a:ahLst/>
            <a:cxnLst/>
            <a:rect l="l" t="t" r="r" b="b"/>
            <a:pathLst>
              <a:path w="156845" h="222250">
                <a:moveTo>
                  <a:pt x="0" y="0"/>
                </a:moveTo>
                <a:lnTo>
                  <a:pt x="156613" y="0"/>
                </a:lnTo>
                <a:lnTo>
                  <a:pt x="156613" y="221815"/>
                </a:lnTo>
                <a:lnTo>
                  <a:pt x="0" y="221815"/>
                </a:lnTo>
                <a:lnTo>
                  <a:pt x="0" y="0"/>
                </a:lnTo>
                <a:close/>
              </a:path>
            </a:pathLst>
          </a:custGeom>
          <a:solidFill>
            <a:srgbClr val="DDDCD3"/>
          </a:solidFill>
        </p:spPr>
        <p:txBody>
          <a:bodyPr wrap="square" lIns="0" tIns="0" rIns="0" bIns="0" rtlCol="0"/>
          <a:lstStyle/>
          <a:p>
            <a:endParaRPr/>
          </a:p>
        </p:txBody>
      </p:sp>
      <p:sp>
        <p:nvSpPr>
          <p:cNvPr id="24" name="object 24"/>
          <p:cNvSpPr/>
          <p:nvPr/>
        </p:nvSpPr>
        <p:spPr>
          <a:xfrm>
            <a:off x="2884608" y="3321260"/>
            <a:ext cx="54298" cy="0"/>
          </a:xfrm>
          <a:custGeom>
            <a:avLst/>
            <a:gdLst/>
            <a:ahLst/>
            <a:cxnLst/>
            <a:rect l="l" t="t" r="r" b="b"/>
            <a:pathLst>
              <a:path w="119379">
                <a:moveTo>
                  <a:pt x="0" y="0"/>
                </a:moveTo>
                <a:lnTo>
                  <a:pt x="119085" y="0"/>
                </a:lnTo>
              </a:path>
            </a:pathLst>
          </a:custGeom>
          <a:ln w="9790">
            <a:solidFill>
              <a:srgbClr val="788080"/>
            </a:solidFill>
          </a:ln>
        </p:spPr>
        <p:txBody>
          <a:bodyPr wrap="square" lIns="0" tIns="0" rIns="0" bIns="0" rtlCol="0"/>
          <a:lstStyle/>
          <a:p>
            <a:endParaRPr/>
          </a:p>
        </p:txBody>
      </p:sp>
      <p:sp>
        <p:nvSpPr>
          <p:cNvPr id="25" name="object 25"/>
          <p:cNvSpPr/>
          <p:nvPr/>
        </p:nvSpPr>
        <p:spPr>
          <a:xfrm>
            <a:off x="2884608" y="3331156"/>
            <a:ext cx="54298" cy="0"/>
          </a:xfrm>
          <a:custGeom>
            <a:avLst/>
            <a:gdLst/>
            <a:ahLst/>
            <a:cxnLst/>
            <a:rect l="l" t="t" r="r" b="b"/>
            <a:pathLst>
              <a:path w="119379">
                <a:moveTo>
                  <a:pt x="0" y="0"/>
                </a:moveTo>
                <a:lnTo>
                  <a:pt x="119085" y="0"/>
                </a:lnTo>
              </a:path>
            </a:pathLst>
          </a:custGeom>
          <a:ln w="9790">
            <a:solidFill>
              <a:srgbClr val="788080"/>
            </a:solidFill>
          </a:ln>
        </p:spPr>
        <p:txBody>
          <a:bodyPr wrap="square" lIns="0" tIns="0" rIns="0" bIns="0" rtlCol="0"/>
          <a:lstStyle/>
          <a:p>
            <a:endParaRPr/>
          </a:p>
        </p:txBody>
      </p:sp>
      <p:sp>
        <p:nvSpPr>
          <p:cNvPr id="26" name="object 26"/>
          <p:cNvSpPr/>
          <p:nvPr/>
        </p:nvSpPr>
        <p:spPr>
          <a:xfrm>
            <a:off x="2885227" y="3341171"/>
            <a:ext cx="54298" cy="0"/>
          </a:xfrm>
          <a:custGeom>
            <a:avLst/>
            <a:gdLst/>
            <a:ahLst/>
            <a:cxnLst/>
            <a:rect l="l" t="t" r="r" b="b"/>
            <a:pathLst>
              <a:path w="119379">
                <a:moveTo>
                  <a:pt x="0" y="0"/>
                </a:moveTo>
                <a:lnTo>
                  <a:pt x="119085" y="0"/>
                </a:lnTo>
              </a:path>
            </a:pathLst>
          </a:custGeom>
          <a:ln w="9790">
            <a:solidFill>
              <a:srgbClr val="788080"/>
            </a:solidFill>
          </a:ln>
        </p:spPr>
        <p:txBody>
          <a:bodyPr wrap="square" lIns="0" tIns="0" rIns="0" bIns="0" rtlCol="0"/>
          <a:lstStyle/>
          <a:p>
            <a:endParaRPr/>
          </a:p>
        </p:txBody>
      </p:sp>
      <p:sp>
        <p:nvSpPr>
          <p:cNvPr id="27" name="object 27"/>
          <p:cNvSpPr/>
          <p:nvPr/>
        </p:nvSpPr>
        <p:spPr>
          <a:xfrm>
            <a:off x="2885227" y="3351062"/>
            <a:ext cx="54298" cy="0"/>
          </a:xfrm>
          <a:custGeom>
            <a:avLst/>
            <a:gdLst/>
            <a:ahLst/>
            <a:cxnLst/>
            <a:rect l="l" t="t" r="r" b="b"/>
            <a:pathLst>
              <a:path w="119379">
                <a:moveTo>
                  <a:pt x="0" y="0"/>
                </a:moveTo>
                <a:lnTo>
                  <a:pt x="119085" y="0"/>
                </a:lnTo>
              </a:path>
            </a:pathLst>
          </a:custGeom>
          <a:ln w="9790">
            <a:solidFill>
              <a:srgbClr val="788080"/>
            </a:solidFill>
          </a:ln>
        </p:spPr>
        <p:txBody>
          <a:bodyPr wrap="square" lIns="0" tIns="0" rIns="0" bIns="0" rtlCol="0"/>
          <a:lstStyle/>
          <a:p>
            <a:endParaRPr/>
          </a:p>
        </p:txBody>
      </p:sp>
      <p:sp>
        <p:nvSpPr>
          <p:cNvPr id="28" name="object 28"/>
          <p:cNvSpPr/>
          <p:nvPr/>
        </p:nvSpPr>
        <p:spPr>
          <a:xfrm>
            <a:off x="2885227" y="3294947"/>
            <a:ext cx="53431" cy="0"/>
          </a:xfrm>
          <a:custGeom>
            <a:avLst/>
            <a:gdLst/>
            <a:ahLst/>
            <a:cxnLst/>
            <a:rect l="l" t="t" r="r" b="b"/>
            <a:pathLst>
              <a:path w="117475">
                <a:moveTo>
                  <a:pt x="0" y="0"/>
                </a:moveTo>
                <a:lnTo>
                  <a:pt x="117043" y="0"/>
                </a:lnTo>
              </a:path>
            </a:pathLst>
          </a:custGeom>
          <a:ln w="74447">
            <a:solidFill>
              <a:srgbClr val="788080"/>
            </a:solidFill>
          </a:ln>
        </p:spPr>
        <p:txBody>
          <a:bodyPr wrap="square" lIns="0" tIns="0" rIns="0" bIns="0" rtlCol="0"/>
          <a:lstStyle/>
          <a:p>
            <a:endParaRPr/>
          </a:p>
        </p:txBody>
      </p:sp>
      <p:sp>
        <p:nvSpPr>
          <p:cNvPr id="29" name="object 29"/>
          <p:cNvSpPr/>
          <p:nvPr/>
        </p:nvSpPr>
        <p:spPr>
          <a:xfrm>
            <a:off x="1866510" y="3268598"/>
            <a:ext cx="71338" cy="101079"/>
          </a:xfrm>
          <a:custGeom>
            <a:avLst/>
            <a:gdLst/>
            <a:ahLst/>
            <a:cxnLst/>
            <a:rect l="l" t="t" r="r" b="b"/>
            <a:pathLst>
              <a:path w="156845" h="222250">
                <a:moveTo>
                  <a:pt x="0" y="0"/>
                </a:moveTo>
                <a:lnTo>
                  <a:pt x="156602" y="0"/>
                </a:lnTo>
                <a:lnTo>
                  <a:pt x="156602" y="221815"/>
                </a:lnTo>
                <a:lnTo>
                  <a:pt x="0" y="221815"/>
                </a:lnTo>
                <a:lnTo>
                  <a:pt x="0" y="0"/>
                </a:lnTo>
                <a:close/>
              </a:path>
            </a:pathLst>
          </a:custGeom>
          <a:solidFill>
            <a:srgbClr val="DDDCD3"/>
          </a:solidFill>
        </p:spPr>
        <p:txBody>
          <a:bodyPr wrap="square" lIns="0" tIns="0" rIns="0" bIns="0" rtlCol="0"/>
          <a:lstStyle/>
          <a:p>
            <a:endParaRPr/>
          </a:p>
        </p:txBody>
      </p:sp>
      <p:sp>
        <p:nvSpPr>
          <p:cNvPr id="30" name="object 30"/>
          <p:cNvSpPr/>
          <p:nvPr/>
        </p:nvSpPr>
        <p:spPr>
          <a:xfrm>
            <a:off x="1875353" y="3321260"/>
            <a:ext cx="54298" cy="0"/>
          </a:xfrm>
          <a:custGeom>
            <a:avLst/>
            <a:gdLst/>
            <a:ahLst/>
            <a:cxnLst/>
            <a:rect l="l" t="t" r="r" b="b"/>
            <a:pathLst>
              <a:path w="119379">
                <a:moveTo>
                  <a:pt x="0" y="0"/>
                </a:moveTo>
                <a:lnTo>
                  <a:pt x="119085" y="0"/>
                </a:lnTo>
              </a:path>
            </a:pathLst>
          </a:custGeom>
          <a:ln w="9790">
            <a:solidFill>
              <a:srgbClr val="788080"/>
            </a:solidFill>
          </a:ln>
        </p:spPr>
        <p:txBody>
          <a:bodyPr wrap="square" lIns="0" tIns="0" rIns="0" bIns="0" rtlCol="0"/>
          <a:lstStyle/>
          <a:p>
            <a:endParaRPr/>
          </a:p>
        </p:txBody>
      </p:sp>
      <p:sp>
        <p:nvSpPr>
          <p:cNvPr id="31" name="object 31"/>
          <p:cNvSpPr/>
          <p:nvPr/>
        </p:nvSpPr>
        <p:spPr>
          <a:xfrm>
            <a:off x="1875353" y="3331156"/>
            <a:ext cx="54298" cy="0"/>
          </a:xfrm>
          <a:custGeom>
            <a:avLst/>
            <a:gdLst/>
            <a:ahLst/>
            <a:cxnLst/>
            <a:rect l="l" t="t" r="r" b="b"/>
            <a:pathLst>
              <a:path w="119379">
                <a:moveTo>
                  <a:pt x="0" y="0"/>
                </a:moveTo>
                <a:lnTo>
                  <a:pt x="119085" y="0"/>
                </a:lnTo>
              </a:path>
            </a:pathLst>
          </a:custGeom>
          <a:ln w="9790">
            <a:solidFill>
              <a:srgbClr val="788080"/>
            </a:solidFill>
          </a:ln>
        </p:spPr>
        <p:txBody>
          <a:bodyPr wrap="square" lIns="0" tIns="0" rIns="0" bIns="0" rtlCol="0"/>
          <a:lstStyle/>
          <a:p>
            <a:endParaRPr/>
          </a:p>
        </p:txBody>
      </p:sp>
      <p:sp>
        <p:nvSpPr>
          <p:cNvPr id="32" name="object 32"/>
          <p:cNvSpPr/>
          <p:nvPr/>
        </p:nvSpPr>
        <p:spPr>
          <a:xfrm>
            <a:off x="1875967" y="3341171"/>
            <a:ext cx="54298" cy="0"/>
          </a:xfrm>
          <a:custGeom>
            <a:avLst/>
            <a:gdLst/>
            <a:ahLst/>
            <a:cxnLst/>
            <a:rect l="l" t="t" r="r" b="b"/>
            <a:pathLst>
              <a:path w="119379">
                <a:moveTo>
                  <a:pt x="0" y="0"/>
                </a:moveTo>
                <a:lnTo>
                  <a:pt x="119085" y="0"/>
                </a:lnTo>
              </a:path>
            </a:pathLst>
          </a:custGeom>
          <a:ln w="9790">
            <a:solidFill>
              <a:srgbClr val="788080"/>
            </a:solidFill>
          </a:ln>
        </p:spPr>
        <p:txBody>
          <a:bodyPr wrap="square" lIns="0" tIns="0" rIns="0" bIns="0" rtlCol="0"/>
          <a:lstStyle/>
          <a:p>
            <a:endParaRPr/>
          </a:p>
        </p:txBody>
      </p:sp>
      <p:sp>
        <p:nvSpPr>
          <p:cNvPr id="33" name="object 33"/>
          <p:cNvSpPr/>
          <p:nvPr/>
        </p:nvSpPr>
        <p:spPr>
          <a:xfrm>
            <a:off x="1875967" y="3351062"/>
            <a:ext cx="54298" cy="0"/>
          </a:xfrm>
          <a:custGeom>
            <a:avLst/>
            <a:gdLst/>
            <a:ahLst/>
            <a:cxnLst/>
            <a:rect l="l" t="t" r="r" b="b"/>
            <a:pathLst>
              <a:path w="119379">
                <a:moveTo>
                  <a:pt x="0" y="0"/>
                </a:moveTo>
                <a:lnTo>
                  <a:pt x="119085" y="0"/>
                </a:lnTo>
              </a:path>
            </a:pathLst>
          </a:custGeom>
          <a:ln w="9790">
            <a:solidFill>
              <a:srgbClr val="788080"/>
            </a:solidFill>
          </a:ln>
        </p:spPr>
        <p:txBody>
          <a:bodyPr wrap="square" lIns="0" tIns="0" rIns="0" bIns="0" rtlCol="0"/>
          <a:lstStyle/>
          <a:p>
            <a:endParaRPr/>
          </a:p>
        </p:txBody>
      </p:sp>
      <p:sp>
        <p:nvSpPr>
          <p:cNvPr id="34" name="object 34"/>
          <p:cNvSpPr/>
          <p:nvPr/>
        </p:nvSpPr>
        <p:spPr>
          <a:xfrm>
            <a:off x="1875968" y="3294947"/>
            <a:ext cx="53431" cy="0"/>
          </a:xfrm>
          <a:custGeom>
            <a:avLst/>
            <a:gdLst/>
            <a:ahLst/>
            <a:cxnLst/>
            <a:rect l="l" t="t" r="r" b="b"/>
            <a:pathLst>
              <a:path w="117475">
                <a:moveTo>
                  <a:pt x="0" y="0"/>
                </a:moveTo>
                <a:lnTo>
                  <a:pt x="117043" y="0"/>
                </a:lnTo>
              </a:path>
            </a:pathLst>
          </a:custGeom>
          <a:ln w="74447">
            <a:solidFill>
              <a:srgbClr val="788080"/>
            </a:solidFill>
          </a:ln>
        </p:spPr>
        <p:txBody>
          <a:bodyPr wrap="square" lIns="0" tIns="0" rIns="0" bIns="0" rtlCol="0"/>
          <a:lstStyle/>
          <a:p>
            <a:endParaRPr/>
          </a:p>
        </p:txBody>
      </p:sp>
      <p:sp>
        <p:nvSpPr>
          <p:cNvPr id="35" name="object 35"/>
          <p:cNvSpPr/>
          <p:nvPr/>
        </p:nvSpPr>
        <p:spPr>
          <a:xfrm>
            <a:off x="704393" y="3268598"/>
            <a:ext cx="71338" cy="101079"/>
          </a:xfrm>
          <a:custGeom>
            <a:avLst/>
            <a:gdLst/>
            <a:ahLst/>
            <a:cxnLst/>
            <a:rect l="l" t="t" r="r" b="b"/>
            <a:pathLst>
              <a:path w="156844" h="222250">
                <a:moveTo>
                  <a:pt x="0" y="0"/>
                </a:moveTo>
                <a:lnTo>
                  <a:pt x="156602" y="0"/>
                </a:lnTo>
                <a:lnTo>
                  <a:pt x="156602" y="221815"/>
                </a:lnTo>
                <a:lnTo>
                  <a:pt x="0" y="221815"/>
                </a:lnTo>
                <a:lnTo>
                  <a:pt x="0" y="0"/>
                </a:lnTo>
                <a:close/>
              </a:path>
            </a:pathLst>
          </a:custGeom>
          <a:solidFill>
            <a:srgbClr val="DDDCD3"/>
          </a:solidFill>
        </p:spPr>
        <p:txBody>
          <a:bodyPr wrap="square" lIns="0" tIns="0" rIns="0" bIns="0" rtlCol="0"/>
          <a:lstStyle/>
          <a:p>
            <a:endParaRPr/>
          </a:p>
        </p:txBody>
      </p:sp>
      <p:sp>
        <p:nvSpPr>
          <p:cNvPr id="36" name="object 36"/>
          <p:cNvSpPr/>
          <p:nvPr/>
        </p:nvSpPr>
        <p:spPr>
          <a:xfrm>
            <a:off x="713237" y="3321260"/>
            <a:ext cx="54298" cy="0"/>
          </a:xfrm>
          <a:custGeom>
            <a:avLst/>
            <a:gdLst/>
            <a:ahLst/>
            <a:cxnLst/>
            <a:rect l="l" t="t" r="r" b="b"/>
            <a:pathLst>
              <a:path w="119380">
                <a:moveTo>
                  <a:pt x="0" y="0"/>
                </a:moveTo>
                <a:lnTo>
                  <a:pt x="119085" y="0"/>
                </a:lnTo>
              </a:path>
            </a:pathLst>
          </a:custGeom>
          <a:ln w="9790">
            <a:solidFill>
              <a:srgbClr val="788080"/>
            </a:solidFill>
          </a:ln>
        </p:spPr>
        <p:txBody>
          <a:bodyPr wrap="square" lIns="0" tIns="0" rIns="0" bIns="0" rtlCol="0"/>
          <a:lstStyle/>
          <a:p>
            <a:endParaRPr/>
          </a:p>
        </p:txBody>
      </p:sp>
      <p:sp>
        <p:nvSpPr>
          <p:cNvPr id="37" name="object 37"/>
          <p:cNvSpPr/>
          <p:nvPr/>
        </p:nvSpPr>
        <p:spPr>
          <a:xfrm>
            <a:off x="713237" y="3331156"/>
            <a:ext cx="54298" cy="0"/>
          </a:xfrm>
          <a:custGeom>
            <a:avLst/>
            <a:gdLst/>
            <a:ahLst/>
            <a:cxnLst/>
            <a:rect l="l" t="t" r="r" b="b"/>
            <a:pathLst>
              <a:path w="119380">
                <a:moveTo>
                  <a:pt x="0" y="0"/>
                </a:moveTo>
                <a:lnTo>
                  <a:pt x="119085" y="0"/>
                </a:lnTo>
              </a:path>
            </a:pathLst>
          </a:custGeom>
          <a:ln w="9790">
            <a:solidFill>
              <a:srgbClr val="788080"/>
            </a:solidFill>
          </a:ln>
        </p:spPr>
        <p:txBody>
          <a:bodyPr wrap="square" lIns="0" tIns="0" rIns="0" bIns="0" rtlCol="0"/>
          <a:lstStyle/>
          <a:p>
            <a:endParaRPr/>
          </a:p>
        </p:txBody>
      </p:sp>
      <p:sp>
        <p:nvSpPr>
          <p:cNvPr id="38" name="object 38"/>
          <p:cNvSpPr/>
          <p:nvPr/>
        </p:nvSpPr>
        <p:spPr>
          <a:xfrm>
            <a:off x="713856" y="3341171"/>
            <a:ext cx="54298" cy="0"/>
          </a:xfrm>
          <a:custGeom>
            <a:avLst/>
            <a:gdLst/>
            <a:ahLst/>
            <a:cxnLst/>
            <a:rect l="l" t="t" r="r" b="b"/>
            <a:pathLst>
              <a:path w="119380">
                <a:moveTo>
                  <a:pt x="0" y="0"/>
                </a:moveTo>
                <a:lnTo>
                  <a:pt x="119085" y="0"/>
                </a:lnTo>
              </a:path>
            </a:pathLst>
          </a:custGeom>
          <a:ln w="9790">
            <a:solidFill>
              <a:srgbClr val="788080"/>
            </a:solidFill>
          </a:ln>
        </p:spPr>
        <p:txBody>
          <a:bodyPr wrap="square" lIns="0" tIns="0" rIns="0" bIns="0" rtlCol="0"/>
          <a:lstStyle/>
          <a:p>
            <a:endParaRPr/>
          </a:p>
        </p:txBody>
      </p:sp>
      <p:sp>
        <p:nvSpPr>
          <p:cNvPr id="39" name="object 39"/>
          <p:cNvSpPr/>
          <p:nvPr/>
        </p:nvSpPr>
        <p:spPr>
          <a:xfrm>
            <a:off x="713856" y="3351062"/>
            <a:ext cx="54298" cy="0"/>
          </a:xfrm>
          <a:custGeom>
            <a:avLst/>
            <a:gdLst/>
            <a:ahLst/>
            <a:cxnLst/>
            <a:rect l="l" t="t" r="r" b="b"/>
            <a:pathLst>
              <a:path w="119380">
                <a:moveTo>
                  <a:pt x="0" y="0"/>
                </a:moveTo>
                <a:lnTo>
                  <a:pt x="119085" y="0"/>
                </a:lnTo>
              </a:path>
            </a:pathLst>
          </a:custGeom>
          <a:ln w="9790">
            <a:solidFill>
              <a:srgbClr val="788080"/>
            </a:solidFill>
          </a:ln>
        </p:spPr>
        <p:txBody>
          <a:bodyPr wrap="square" lIns="0" tIns="0" rIns="0" bIns="0" rtlCol="0"/>
          <a:lstStyle/>
          <a:p>
            <a:endParaRPr/>
          </a:p>
        </p:txBody>
      </p:sp>
      <p:sp>
        <p:nvSpPr>
          <p:cNvPr id="40" name="object 40"/>
          <p:cNvSpPr/>
          <p:nvPr/>
        </p:nvSpPr>
        <p:spPr>
          <a:xfrm>
            <a:off x="713856" y="3294947"/>
            <a:ext cx="53431" cy="0"/>
          </a:xfrm>
          <a:custGeom>
            <a:avLst/>
            <a:gdLst/>
            <a:ahLst/>
            <a:cxnLst/>
            <a:rect l="l" t="t" r="r" b="b"/>
            <a:pathLst>
              <a:path w="117475">
                <a:moveTo>
                  <a:pt x="0" y="0"/>
                </a:moveTo>
                <a:lnTo>
                  <a:pt x="117043" y="0"/>
                </a:lnTo>
              </a:path>
            </a:pathLst>
          </a:custGeom>
          <a:ln w="74447">
            <a:solidFill>
              <a:srgbClr val="788080"/>
            </a:solidFill>
          </a:ln>
        </p:spPr>
        <p:txBody>
          <a:bodyPr wrap="square" lIns="0" tIns="0" rIns="0" bIns="0" rtlCol="0"/>
          <a:lstStyle/>
          <a:p>
            <a:endParaRPr/>
          </a:p>
        </p:txBody>
      </p:sp>
      <p:sp>
        <p:nvSpPr>
          <p:cNvPr id="41" name="object 41"/>
          <p:cNvSpPr/>
          <p:nvPr/>
        </p:nvSpPr>
        <p:spPr>
          <a:xfrm>
            <a:off x="7782" y="3399486"/>
            <a:ext cx="3354052" cy="218909"/>
          </a:xfrm>
          <a:custGeom>
            <a:avLst/>
            <a:gdLst/>
            <a:ahLst/>
            <a:cxnLst/>
            <a:rect l="l" t="t" r="r" b="b"/>
            <a:pathLst>
              <a:path w="7374255" h="481329">
                <a:moveTo>
                  <a:pt x="0" y="480906"/>
                </a:moveTo>
                <a:lnTo>
                  <a:pt x="7374257" y="480906"/>
                </a:lnTo>
                <a:lnTo>
                  <a:pt x="7374257" y="0"/>
                </a:lnTo>
                <a:lnTo>
                  <a:pt x="0" y="0"/>
                </a:lnTo>
                <a:lnTo>
                  <a:pt x="0" y="480906"/>
                </a:lnTo>
                <a:close/>
              </a:path>
            </a:pathLst>
          </a:custGeom>
          <a:solidFill>
            <a:srgbClr val="E4E4E4"/>
          </a:solidFill>
        </p:spPr>
        <p:txBody>
          <a:bodyPr wrap="square" lIns="0" tIns="0" rIns="0" bIns="0" rtlCol="0"/>
          <a:lstStyle/>
          <a:p>
            <a:endParaRPr/>
          </a:p>
        </p:txBody>
      </p:sp>
      <p:sp>
        <p:nvSpPr>
          <p:cNvPr id="42" name="object 42"/>
          <p:cNvSpPr/>
          <p:nvPr/>
        </p:nvSpPr>
        <p:spPr>
          <a:xfrm>
            <a:off x="7782" y="3741810"/>
            <a:ext cx="3354052" cy="417314"/>
          </a:xfrm>
          <a:custGeom>
            <a:avLst/>
            <a:gdLst/>
            <a:ahLst/>
            <a:cxnLst/>
            <a:rect l="l" t="t" r="r" b="b"/>
            <a:pathLst>
              <a:path w="7374255" h="917575">
                <a:moveTo>
                  <a:pt x="0" y="917176"/>
                </a:moveTo>
                <a:lnTo>
                  <a:pt x="7374257" y="917176"/>
                </a:lnTo>
                <a:lnTo>
                  <a:pt x="7374257" y="0"/>
                </a:lnTo>
                <a:lnTo>
                  <a:pt x="0" y="0"/>
                </a:lnTo>
                <a:lnTo>
                  <a:pt x="0" y="917176"/>
                </a:lnTo>
                <a:close/>
              </a:path>
            </a:pathLst>
          </a:custGeom>
          <a:solidFill>
            <a:srgbClr val="E4E4E4"/>
          </a:solidFill>
        </p:spPr>
        <p:txBody>
          <a:bodyPr wrap="square" lIns="0" tIns="0" rIns="0" bIns="0" rtlCol="0"/>
          <a:lstStyle/>
          <a:p>
            <a:endParaRPr/>
          </a:p>
        </p:txBody>
      </p:sp>
      <p:sp>
        <p:nvSpPr>
          <p:cNvPr id="43" name="object 43"/>
          <p:cNvSpPr/>
          <p:nvPr/>
        </p:nvSpPr>
        <p:spPr>
          <a:xfrm>
            <a:off x="7782" y="3369479"/>
            <a:ext cx="3354052" cy="30035"/>
          </a:xfrm>
          <a:custGeom>
            <a:avLst/>
            <a:gdLst/>
            <a:ahLst/>
            <a:cxnLst/>
            <a:rect l="l" t="t" r="r" b="b"/>
            <a:pathLst>
              <a:path w="7374255" h="66040">
                <a:moveTo>
                  <a:pt x="0" y="65977"/>
                </a:moveTo>
                <a:lnTo>
                  <a:pt x="7374257" y="65977"/>
                </a:lnTo>
                <a:lnTo>
                  <a:pt x="7374257" y="0"/>
                </a:lnTo>
                <a:lnTo>
                  <a:pt x="0" y="0"/>
                </a:lnTo>
                <a:lnTo>
                  <a:pt x="0" y="65977"/>
                </a:lnTo>
                <a:close/>
              </a:path>
            </a:pathLst>
          </a:custGeom>
          <a:solidFill>
            <a:srgbClr val="50BD86"/>
          </a:solidFill>
        </p:spPr>
        <p:txBody>
          <a:bodyPr wrap="square" lIns="0" tIns="0" rIns="0" bIns="0" rtlCol="0"/>
          <a:lstStyle/>
          <a:p>
            <a:endParaRPr/>
          </a:p>
        </p:txBody>
      </p:sp>
      <p:sp>
        <p:nvSpPr>
          <p:cNvPr id="44" name="object 44"/>
          <p:cNvSpPr/>
          <p:nvPr/>
        </p:nvSpPr>
        <p:spPr>
          <a:xfrm>
            <a:off x="2955455" y="3161996"/>
            <a:ext cx="253583" cy="173568"/>
          </a:xfrm>
          <a:custGeom>
            <a:avLst/>
            <a:gdLst/>
            <a:ahLst/>
            <a:cxnLst/>
            <a:rect l="l" t="t" r="r" b="b"/>
            <a:pathLst>
              <a:path w="557529" h="381634">
                <a:moveTo>
                  <a:pt x="535261" y="0"/>
                </a:moveTo>
                <a:lnTo>
                  <a:pt x="21946" y="0"/>
                </a:lnTo>
                <a:lnTo>
                  <a:pt x="13406" y="1723"/>
                </a:lnTo>
                <a:lnTo>
                  <a:pt x="6430" y="6425"/>
                </a:lnTo>
                <a:lnTo>
                  <a:pt x="1725" y="13397"/>
                </a:lnTo>
                <a:lnTo>
                  <a:pt x="0" y="21936"/>
                </a:lnTo>
                <a:lnTo>
                  <a:pt x="0" y="359130"/>
                </a:lnTo>
                <a:lnTo>
                  <a:pt x="1725" y="367674"/>
                </a:lnTo>
                <a:lnTo>
                  <a:pt x="6430" y="374650"/>
                </a:lnTo>
                <a:lnTo>
                  <a:pt x="13406" y="379353"/>
                </a:lnTo>
                <a:lnTo>
                  <a:pt x="21946" y="381077"/>
                </a:lnTo>
                <a:lnTo>
                  <a:pt x="535261" y="381077"/>
                </a:lnTo>
                <a:lnTo>
                  <a:pt x="543805" y="379353"/>
                </a:lnTo>
                <a:lnTo>
                  <a:pt x="550781" y="374650"/>
                </a:lnTo>
                <a:lnTo>
                  <a:pt x="555484" y="367674"/>
                </a:lnTo>
                <a:lnTo>
                  <a:pt x="557208" y="359130"/>
                </a:lnTo>
                <a:lnTo>
                  <a:pt x="557208" y="21936"/>
                </a:lnTo>
                <a:lnTo>
                  <a:pt x="555484" y="13397"/>
                </a:lnTo>
                <a:lnTo>
                  <a:pt x="550781" y="6425"/>
                </a:lnTo>
                <a:lnTo>
                  <a:pt x="543805" y="1723"/>
                </a:lnTo>
                <a:lnTo>
                  <a:pt x="535261" y="0"/>
                </a:lnTo>
                <a:close/>
              </a:path>
            </a:pathLst>
          </a:custGeom>
          <a:solidFill>
            <a:srgbClr val="BCBBBB"/>
          </a:solidFill>
        </p:spPr>
        <p:txBody>
          <a:bodyPr wrap="square" lIns="0" tIns="0" rIns="0" bIns="0" rtlCol="0"/>
          <a:lstStyle/>
          <a:p>
            <a:endParaRPr/>
          </a:p>
        </p:txBody>
      </p:sp>
      <p:sp>
        <p:nvSpPr>
          <p:cNvPr id="45" name="object 45"/>
          <p:cNvSpPr/>
          <p:nvPr/>
        </p:nvSpPr>
        <p:spPr>
          <a:xfrm>
            <a:off x="2955458" y="3161996"/>
            <a:ext cx="253583" cy="173568"/>
          </a:xfrm>
          <a:custGeom>
            <a:avLst/>
            <a:gdLst/>
            <a:ahLst/>
            <a:cxnLst/>
            <a:rect l="l" t="t" r="r" b="b"/>
            <a:pathLst>
              <a:path w="557529" h="381634">
                <a:moveTo>
                  <a:pt x="535418" y="0"/>
                </a:moveTo>
                <a:lnTo>
                  <a:pt x="0" y="358962"/>
                </a:lnTo>
                <a:lnTo>
                  <a:pt x="1711" y="367573"/>
                </a:lnTo>
                <a:lnTo>
                  <a:pt x="6378" y="374602"/>
                </a:lnTo>
                <a:lnTo>
                  <a:pt x="13300" y="379340"/>
                </a:lnTo>
                <a:lnTo>
                  <a:pt x="21779" y="381077"/>
                </a:lnTo>
                <a:lnTo>
                  <a:pt x="535418" y="381077"/>
                </a:lnTo>
                <a:lnTo>
                  <a:pt x="543898" y="379340"/>
                </a:lnTo>
                <a:lnTo>
                  <a:pt x="550824" y="374602"/>
                </a:lnTo>
                <a:lnTo>
                  <a:pt x="555495" y="367573"/>
                </a:lnTo>
                <a:lnTo>
                  <a:pt x="557208" y="358962"/>
                </a:lnTo>
                <a:lnTo>
                  <a:pt x="557208" y="22104"/>
                </a:lnTo>
                <a:lnTo>
                  <a:pt x="555495" y="13499"/>
                </a:lnTo>
                <a:lnTo>
                  <a:pt x="550824" y="6473"/>
                </a:lnTo>
                <a:lnTo>
                  <a:pt x="543898" y="1736"/>
                </a:lnTo>
                <a:lnTo>
                  <a:pt x="535418" y="0"/>
                </a:lnTo>
                <a:close/>
              </a:path>
            </a:pathLst>
          </a:custGeom>
          <a:solidFill>
            <a:srgbClr val="211E1F">
              <a:alpha val="16000"/>
            </a:srgbClr>
          </a:solidFill>
        </p:spPr>
        <p:txBody>
          <a:bodyPr wrap="square" lIns="0" tIns="0" rIns="0" bIns="0" rtlCol="0"/>
          <a:lstStyle/>
          <a:p>
            <a:endParaRPr/>
          </a:p>
        </p:txBody>
      </p:sp>
      <p:sp>
        <p:nvSpPr>
          <p:cNvPr id="46" name="object 46"/>
          <p:cNvSpPr/>
          <p:nvPr/>
        </p:nvSpPr>
        <p:spPr>
          <a:xfrm>
            <a:off x="3056467" y="3257267"/>
            <a:ext cx="51698" cy="112343"/>
          </a:xfrm>
          <a:custGeom>
            <a:avLst/>
            <a:gdLst/>
            <a:ahLst/>
            <a:cxnLst/>
            <a:rect l="l" t="t" r="r" b="b"/>
            <a:pathLst>
              <a:path w="113665" h="247015">
                <a:moveTo>
                  <a:pt x="85055" y="0"/>
                </a:moveTo>
                <a:lnTo>
                  <a:pt x="27978" y="0"/>
                </a:lnTo>
                <a:lnTo>
                  <a:pt x="0" y="246725"/>
                </a:lnTo>
                <a:lnTo>
                  <a:pt x="113043" y="246725"/>
                </a:lnTo>
                <a:lnTo>
                  <a:pt x="85055" y="0"/>
                </a:lnTo>
                <a:close/>
              </a:path>
            </a:pathLst>
          </a:custGeom>
          <a:solidFill>
            <a:srgbClr val="888888"/>
          </a:solidFill>
        </p:spPr>
        <p:txBody>
          <a:bodyPr wrap="square" lIns="0" tIns="0" rIns="0" bIns="0" rtlCol="0"/>
          <a:lstStyle/>
          <a:p>
            <a:endParaRPr/>
          </a:p>
        </p:txBody>
      </p:sp>
      <p:sp>
        <p:nvSpPr>
          <p:cNvPr id="47" name="object 47"/>
          <p:cNvSpPr/>
          <p:nvPr/>
        </p:nvSpPr>
        <p:spPr>
          <a:xfrm>
            <a:off x="3056405" y="3365160"/>
            <a:ext cx="51698" cy="0"/>
          </a:xfrm>
          <a:custGeom>
            <a:avLst/>
            <a:gdLst/>
            <a:ahLst/>
            <a:cxnLst/>
            <a:rect l="l" t="t" r="r" b="b"/>
            <a:pathLst>
              <a:path w="113665">
                <a:moveTo>
                  <a:pt x="0" y="0"/>
                </a:moveTo>
                <a:lnTo>
                  <a:pt x="113179" y="0"/>
                </a:lnTo>
              </a:path>
            </a:pathLst>
          </a:custGeom>
          <a:ln w="18973">
            <a:solidFill>
              <a:srgbClr val="373346"/>
            </a:solidFill>
          </a:ln>
        </p:spPr>
        <p:txBody>
          <a:bodyPr wrap="square" lIns="0" tIns="0" rIns="0" bIns="0" rtlCol="0"/>
          <a:lstStyle/>
          <a:p>
            <a:endParaRPr/>
          </a:p>
        </p:txBody>
      </p:sp>
      <p:sp>
        <p:nvSpPr>
          <p:cNvPr id="48" name="object 48"/>
          <p:cNvSpPr/>
          <p:nvPr/>
        </p:nvSpPr>
        <p:spPr>
          <a:xfrm>
            <a:off x="1954033" y="3161996"/>
            <a:ext cx="253583" cy="173568"/>
          </a:xfrm>
          <a:custGeom>
            <a:avLst/>
            <a:gdLst/>
            <a:ahLst/>
            <a:cxnLst/>
            <a:rect l="l" t="t" r="r" b="b"/>
            <a:pathLst>
              <a:path w="557529" h="381634">
                <a:moveTo>
                  <a:pt x="535261" y="0"/>
                </a:moveTo>
                <a:lnTo>
                  <a:pt x="21946" y="0"/>
                </a:lnTo>
                <a:lnTo>
                  <a:pt x="13402" y="1723"/>
                </a:lnTo>
                <a:lnTo>
                  <a:pt x="6426" y="6425"/>
                </a:lnTo>
                <a:lnTo>
                  <a:pt x="1724" y="13397"/>
                </a:lnTo>
                <a:lnTo>
                  <a:pt x="0" y="21936"/>
                </a:lnTo>
                <a:lnTo>
                  <a:pt x="0" y="359130"/>
                </a:lnTo>
                <a:lnTo>
                  <a:pt x="1724" y="367674"/>
                </a:lnTo>
                <a:lnTo>
                  <a:pt x="6426" y="374650"/>
                </a:lnTo>
                <a:lnTo>
                  <a:pt x="13402" y="379353"/>
                </a:lnTo>
                <a:lnTo>
                  <a:pt x="21946" y="381077"/>
                </a:lnTo>
                <a:lnTo>
                  <a:pt x="535261" y="381077"/>
                </a:lnTo>
                <a:lnTo>
                  <a:pt x="543801" y="379353"/>
                </a:lnTo>
                <a:lnTo>
                  <a:pt x="550777" y="374650"/>
                </a:lnTo>
                <a:lnTo>
                  <a:pt x="555482" y="367674"/>
                </a:lnTo>
                <a:lnTo>
                  <a:pt x="557208" y="359130"/>
                </a:lnTo>
                <a:lnTo>
                  <a:pt x="557208" y="21936"/>
                </a:lnTo>
                <a:lnTo>
                  <a:pt x="555482" y="13397"/>
                </a:lnTo>
                <a:lnTo>
                  <a:pt x="550777" y="6425"/>
                </a:lnTo>
                <a:lnTo>
                  <a:pt x="543801" y="1723"/>
                </a:lnTo>
                <a:lnTo>
                  <a:pt x="535261" y="0"/>
                </a:lnTo>
                <a:close/>
              </a:path>
            </a:pathLst>
          </a:custGeom>
          <a:solidFill>
            <a:srgbClr val="BCBBBB"/>
          </a:solidFill>
        </p:spPr>
        <p:txBody>
          <a:bodyPr wrap="square" lIns="0" tIns="0" rIns="0" bIns="0" rtlCol="0"/>
          <a:lstStyle/>
          <a:p>
            <a:endParaRPr/>
          </a:p>
        </p:txBody>
      </p:sp>
      <p:sp>
        <p:nvSpPr>
          <p:cNvPr id="49" name="object 49"/>
          <p:cNvSpPr/>
          <p:nvPr/>
        </p:nvSpPr>
        <p:spPr>
          <a:xfrm>
            <a:off x="1954036" y="3161996"/>
            <a:ext cx="253583" cy="173568"/>
          </a:xfrm>
          <a:custGeom>
            <a:avLst/>
            <a:gdLst/>
            <a:ahLst/>
            <a:cxnLst/>
            <a:rect l="l" t="t" r="r" b="b"/>
            <a:pathLst>
              <a:path w="557529" h="381634">
                <a:moveTo>
                  <a:pt x="535418" y="0"/>
                </a:moveTo>
                <a:lnTo>
                  <a:pt x="0" y="358962"/>
                </a:lnTo>
                <a:lnTo>
                  <a:pt x="1711" y="367573"/>
                </a:lnTo>
                <a:lnTo>
                  <a:pt x="6378" y="374602"/>
                </a:lnTo>
                <a:lnTo>
                  <a:pt x="13300" y="379340"/>
                </a:lnTo>
                <a:lnTo>
                  <a:pt x="21779" y="381077"/>
                </a:lnTo>
                <a:lnTo>
                  <a:pt x="535418" y="381077"/>
                </a:lnTo>
                <a:lnTo>
                  <a:pt x="543896" y="379340"/>
                </a:lnTo>
                <a:lnTo>
                  <a:pt x="550819" y="374602"/>
                </a:lnTo>
                <a:lnTo>
                  <a:pt x="555486" y="367573"/>
                </a:lnTo>
                <a:lnTo>
                  <a:pt x="557197" y="358962"/>
                </a:lnTo>
                <a:lnTo>
                  <a:pt x="557197" y="22104"/>
                </a:lnTo>
                <a:lnTo>
                  <a:pt x="555486" y="13499"/>
                </a:lnTo>
                <a:lnTo>
                  <a:pt x="550819" y="6473"/>
                </a:lnTo>
                <a:lnTo>
                  <a:pt x="543896" y="1736"/>
                </a:lnTo>
                <a:lnTo>
                  <a:pt x="535418" y="0"/>
                </a:lnTo>
                <a:close/>
              </a:path>
            </a:pathLst>
          </a:custGeom>
          <a:solidFill>
            <a:srgbClr val="211E1F">
              <a:alpha val="16000"/>
            </a:srgbClr>
          </a:solidFill>
        </p:spPr>
        <p:txBody>
          <a:bodyPr wrap="square" lIns="0" tIns="0" rIns="0" bIns="0" rtlCol="0"/>
          <a:lstStyle/>
          <a:p>
            <a:endParaRPr/>
          </a:p>
        </p:txBody>
      </p:sp>
      <p:sp>
        <p:nvSpPr>
          <p:cNvPr id="50" name="object 50"/>
          <p:cNvSpPr/>
          <p:nvPr/>
        </p:nvSpPr>
        <p:spPr>
          <a:xfrm>
            <a:off x="2055044" y="3257267"/>
            <a:ext cx="51698" cy="112343"/>
          </a:xfrm>
          <a:custGeom>
            <a:avLst/>
            <a:gdLst/>
            <a:ahLst/>
            <a:cxnLst/>
            <a:rect l="l" t="t" r="r" b="b"/>
            <a:pathLst>
              <a:path w="113664" h="247015">
                <a:moveTo>
                  <a:pt x="85055" y="0"/>
                </a:moveTo>
                <a:lnTo>
                  <a:pt x="27978" y="0"/>
                </a:lnTo>
                <a:lnTo>
                  <a:pt x="0" y="246725"/>
                </a:lnTo>
                <a:lnTo>
                  <a:pt x="113043" y="246725"/>
                </a:lnTo>
                <a:lnTo>
                  <a:pt x="85055" y="0"/>
                </a:lnTo>
                <a:close/>
              </a:path>
            </a:pathLst>
          </a:custGeom>
          <a:solidFill>
            <a:srgbClr val="888888"/>
          </a:solidFill>
        </p:spPr>
        <p:txBody>
          <a:bodyPr wrap="square" lIns="0" tIns="0" rIns="0" bIns="0" rtlCol="0"/>
          <a:lstStyle/>
          <a:p>
            <a:endParaRPr/>
          </a:p>
        </p:txBody>
      </p:sp>
      <p:sp>
        <p:nvSpPr>
          <p:cNvPr id="51" name="object 51"/>
          <p:cNvSpPr/>
          <p:nvPr/>
        </p:nvSpPr>
        <p:spPr>
          <a:xfrm>
            <a:off x="2054982" y="3365160"/>
            <a:ext cx="51698" cy="0"/>
          </a:xfrm>
          <a:custGeom>
            <a:avLst/>
            <a:gdLst/>
            <a:ahLst/>
            <a:cxnLst/>
            <a:rect l="l" t="t" r="r" b="b"/>
            <a:pathLst>
              <a:path w="113664">
                <a:moveTo>
                  <a:pt x="0" y="0"/>
                </a:moveTo>
                <a:lnTo>
                  <a:pt x="113179" y="0"/>
                </a:lnTo>
              </a:path>
            </a:pathLst>
          </a:custGeom>
          <a:ln w="18973">
            <a:solidFill>
              <a:srgbClr val="373346"/>
            </a:solidFill>
          </a:ln>
        </p:spPr>
        <p:txBody>
          <a:bodyPr wrap="square" lIns="0" tIns="0" rIns="0" bIns="0" rtlCol="0"/>
          <a:lstStyle/>
          <a:p>
            <a:endParaRPr/>
          </a:p>
        </p:txBody>
      </p:sp>
      <p:sp>
        <p:nvSpPr>
          <p:cNvPr id="52" name="object 52"/>
          <p:cNvSpPr/>
          <p:nvPr/>
        </p:nvSpPr>
        <p:spPr>
          <a:xfrm>
            <a:off x="792932" y="3161996"/>
            <a:ext cx="253583" cy="173568"/>
          </a:xfrm>
          <a:custGeom>
            <a:avLst/>
            <a:gdLst/>
            <a:ahLst/>
            <a:cxnLst/>
            <a:rect l="l" t="t" r="r" b="b"/>
            <a:pathLst>
              <a:path w="557530" h="381634">
                <a:moveTo>
                  <a:pt x="535261" y="0"/>
                </a:moveTo>
                <a:lnTo>
                  <a:pt x="21946" y="0"/>
                </a:lnTo>
                <a:lnTo>
                  <a:pt x="13402" y="1723"/>
                </a:lnTo>
                <a:lnTo>
                  <a:pt x="6426" y="6425"/>
                </a:lnTo>
                <a:lnTo>
                  <a:pt x="1724" y="13397"/>
                </a:lnTo>
                <a:lnTo>
                  <a:pt x="0" y="21936"/>
                </a:lnTo>
                <a:lnTo>
                  <a:pt x="0" y="359130"/>
                </a:lnTo>
                <a:lnTo>
                  <a:pt x="1724" y="367674"/>
                </a:lnTo>
                <a:lnTo>
                  <a:pt x="6426" y="374650"/>
                </a:lnTo>
                <a:lnTo>
                  <a:pt x="13402" y="379353"/>
                </a:lnTo>
                <a:lnTo>
                  <a:pt x="21946" y="381077"/>
                </a:lnTo>
                <a:lnTo>
                  <a:pt x="535261" y="381077"/>
                </a:lnTo>
                <a:lnTo>
                  <a:pt x="543801" y="379353"/>
                </a:lnTo>
                <a:lnTo>
                  <a:pt x="550777" y="374650"/>
                </a:lnTo>
                <a:lnTo>
                  <a:pt x="555482" y="367674"/>
                </a:lnTo>
                <a:lnTo>
                  <a:pt x="557208" y="359130"/>
                </a:lnTo>
                <a:lnTo>
                  <a:pt x="557208" y="21936"/>
                </a:lnTo>
                <a:lnTo>
                  <a:pt x="555482" y="13397"/>
                </a:lnTo>
                <a:lnTo>
                  <a:pt x="550777" y="6425"/>
                </a:lnTo>
                <a:lnTo>
                  <a:pt x="543801" y="1723"/>
                </a:lnTo>
                <a:lnTo>
                  <a:pt x="535261" y="0"/>
                </a:lnTo>
                <a:close/>
              </a:path>
            </a:pathLst>
          </a:custGeom>
          <a:solidFill>
            <a:srgbClr val="BCBBBB"/>
          </a:solidFill>
        </p:spPr>
        <p:txBody>
          <a:bodyPr wrap="square" lIns="0" tIns="0" rIns="0" bIns="0" rtlCol="0"/>
          <a:lstStyle/>
          <a:p>
            <a:endParaRPr/>
          </a:p>
        </p:txBody>
      </p:sp>
      <p:sp>
        <p:nvSpPr>
          <p:cNvPr id="53" name="object 53"/>
          <p:cNvSpPr/>
          <p:nvPr/>
        </p:nvSpPr>
        <p:spPr>
          <a:xfrm>
            <a:off x="792935" y="3161996"/>
            <a:ext cx="253583" cy="173568"/>
          </a:xfrm>
          <a:custGeom>
            <a:avLst/>
            <a:gdLst/>
            <a:ahLst/>
            <a:cxnLst/>
            <a:rect l="l" t="t" r="r" b="b"/>
            <a:pathLst>
              <a:path w="557530" h="381634">
                <a:moveTo>
                  <a:pt x="535418" y="0"/>
                </a:moveTo>
                <a:lnTo>
                  <a:pt x="0" y="358962"/>
                </a:lnTo>
                <a:lnTo>
                  <a:pt x="1711" y="367573"/>
                </a:lnTo>
                <a:lnTo>
                  <a:pt x="6378" y="374602"/>
                </a:lnTo>
                <a:lnTo>
                  <a:pt x="13300" y="379340"/>
                </a:lnTo>
                <a:lnTo>
                  <a:pt x="21779" y="381077"/>
                </a:lnTo>
                <a:lnTo>
                  <a:pt x="535418" y="381077"/>
                </a:lnTo>
                <a:lnTo>
                  <a:pt x="543896" y="379340"/>
                </a:lnTo>
                <a:lnTo>
                  <a:pt x="550819" y="374602"/>
                </a:lnTo>
                <a:lnTo>
                  <a:pt x="555486" y="367573"/>
                </a:lnTo>
                <a:lnTo>
                  <a:pt x="557197" y="358962"/>
                </a:lnTo>
                <a:lnTo>
                  <a:pt x="557197" y="22104"/>
                </a:lnTo>
                <a:lnTo>
                  <a:pt x="555486" y="13499"/>
                </a:lnTo>
                <a:lnTo>
                  <a:pt x="550819" y="6473"/>
                </a:lnTo>
                <a:lnTo>
                  <a:pt x="543896" y="1736"/>
                </a:lnTo>
                <a:lnTo>
                  <a:pt x="535418" y="0"/>
                </a:lnTo>
                <a:close/>
              </a:path>
            </a:pathLst>
          </a:custGeom>
          <a:solidFill>
            <a:srgbClr val="211E1F">
              <a:alpha val="16000"/>
            </a:srgbClr>
          </a:solidFill>
        </p:spPr>
        <p:txBody>
          <a:bodyPr wrap="square" lIns="0" tIns="0" rIns="0" bIns="0" rtlCol="0"/>
          <a:lstStyle/>
          <a:p>
            <a:endParaRPr/>
          </a:p>
        </p:txBody>
      </p:sp>
      <p:sp>
        <p:nvSpPr>
          <p:cNvPr id="54" name="object 54"/>
          <p:cNvSpPr/>
          <p:nvPr/>
        </p:nvSpPr>
        <p:spPr>
          <a:xfrm>
            <a:off x="893943" y="3257267"/>
            <a:ext cx="51698" cy="112343"/>
          </a:xfrm>
          <a:custGeom>
            <a:avLst/>
            <a:gdLst/>
            <a:ahLst/>
            <a:cxnLst/>
            <a:rect l="l" t="t" r="r" b="b"/>
            <a:pathLst>
              <a:path w="113664" h="247015">
                <a:moveTo>
                  <a:pt x="85055" y="0"/>
                </a:moveTo>
                <a:lnTo>
                  <a:pt x="27978" y="0"/>
                </a:lnTo>
                <a:lnTo>
                  <a:pt x="0" y="246725"/>
                </a:lnTo>
                <a:lnTo>
                  <a:pt x="113043" y="246725"/>
                </a:lnTo>
                <a:lnTo>
                  <a:pt x="85055" y="0"/>
                </a:lnTo>
                <a:close/>
              </a:path>
            </a:pathLst>
          </a:custGeom>
          <a:solidFill>
            <a:srgbClr val="888888"/>
          </a:solidFill>
        </p:spPr>
        <p:txBody>
          <a:bodyPr wrap="square" lIns="0" tIns="0" rIns="0" bIns="0" rtlCol="0"/>
          <a:lstStyle/>
          <a:p>
            <a:endParaRPr/>
          </a:p>
        </p:txBody>
      </p:sp>
      <p:sp>
        <p:nvSpPr>
          <p:cNvPr id="55" name="object 55"/>
          <p:cNvSpPr/>
          <p:nvPr/>
        </p:nvSpPr>
        <p:spPr>
          <a:xfrm>
            <a:off x="893881" y="3365160"/>
            <a:ext cx="51698" cy="0"/>
          </a:xfrm>
          <a:custGeom>
            <a:avLst/>
            <a:gdLst/>
            <a:ahLst/>
            <a:cxnLst/>
            <a:rect l="l" t="t" r="r" b="b"/>
            <a:pathLst>
              <a:path w="113664">
                <a:moveTo>
                  <a:pt x="0" y="0"/>
                </a:moveTo>
                <a:lnTo>
                  <a:pt x="113179" y="0"/>
                </a:lnTo>
              </a:path>
            </a:pathLst>
          </a:custGeom>
          <a:ln w="18973">
            <a:solidFill>
              <a:srgbClr val="373346"/>
            </a:solidFill>
          </a:ln>
        </p:spPr>
        <p:txBody>
          <a:bodyPr wrap="square" lIns="0" tIns="0" rIns="0" bIns="0" rtlCol="0"/>
          <a:lstStyle/>
          <a:p>
            <a:endParaRPr/>
          </a:p>
        </p:txBody>
      </p:sp>
      <p:sp>
        <p:nvSpPr>
          <p:cNvPr id="56" name="object 56"/>
          <p:cNvSpPr/>
          <p:nvPr/>
        </p:nvSpPr>
        <p:spPr>
          <a:xfrm>
            <a:off x="1161442" y="2965306"/>
            <a:ext cx="0" cy="652973"/>
          </a:xfrm>
          <a:custGeom>
            <a:avLst/>
            <a:gdLst/>
            <a:ahLst/>
            <a:cxnLst/>
            <a:rect l="l" t="t" r="r" b="b"/>
            <a:pathLst>
              <a:path h="1435734">
                <a:moveTo>
                  <a:pt x="0" y="0"/>
                </a:moveTo>
                <a:lnTo>
                  <a:pt x="0" y="1435568"/>
                </a:lnTo>
              </a:path>
            </a:pathLst>
          </a:custGeom>
          <a:ln w="40030">
            <a:solidFill>
              <a:srgbClr val="50BD86"/>
            </a:solidFill>
          </a:ln>
        </p:spPr>
        <p:txBody>
          <a:bodyPr wrap="square" lIns="0" tIns="0" rIns="0" bIns="0" rtlCol="0"/>
          <a:lstStyle/>
          <a:p>
            <a:endParaRPr/>
          </a:p>
        </p:txBody>
      </p:sp>
      <p:sp>
        <p:nvSpPr>
          <p:cNvPr id="57" name="object 57"/>
          <p:cNvSpPr/>
          <p:nvPr/>
        </p:nvSpPr>
        <p:spPr>
          <a:xfrm>
            <a:off x="1161442" y="3741810"/>
            <a:ext cx="0" cy="416736"/>
          </a:xfrm>
          <a:custGeom>
            <a:avLst/>
            <a:gdLst/>
            <a:ahLst/>
            <a:cxnLst/>
            <a:rect l="l" t="t" r="r" b="b"/>
            <a:pathLst>
              <a:path h="916304">
                <a:moveTo>
                  <a:pt x="0" y="0"/>
                </a:moveTo>
                <a:lnTo>
                  <a:pt x="0" y="916212"/>
                </a:lnTo>
              </a:path>
            </a:pathLst>
          </a:custGeom>
          <a:ln w="40030">
            <a:solidFill>
              <a:srgbClr val="50BD86"/>
            </a:solidFill>
          </a:ln>
        </p:spPr>
        <p:txBody>
          <a:bodyPr wrap="square" lIns="0" tIns="0" rIns="0" bIns="0" rtlCol="0"/>
          <a:lstStyle/>
          <a:p>
            <a:endParaRPr/>
          </a:p>
        </p:txBody>
      </p:sp>
      <p:sp>
        <p:nvSpPr>
          <p:cNvPr id="58" name="object 58"/>
          <p:cNvSpPr/>
          <p:nvPr/>
        </p:nvSpPr>
        <p:spPr>
          <a:xfrm>
            <a:off x="2299352" y="2965306"/>
            <a:ext cx="0" cy="652973"/>
          </a:xfrm>
          <a:custGeom>
            <a:avLst/>
            <a:gdLst/>
            <a:ahLst/>
            <a:cxnLst/>
            <a:rect l="l" t="t" r="r" b="b"/>
            <a:pathLst>
              <a:path h="1435734">
                <a:moveTo>
                  <a:pt x="0" y="0"/>
                </a:moveTo>
                <a:lnTo>
                  <a:pt x="0" y="1435568"/>
                </a:lnTo>
              </a:path>
            </a:pathLst>
          </a:custGeom>
          <a:ln w="40030">
            <a:solidFill>
              <a:srgbClr val="50BD86"/>
            </a:solidFill>
          </a:ln>
        </p:spPr>
        <p:txBody>
          <a:bodyPr wrap="square" lIns="0" tIns="0" rIns="0" bIns="0" rtlCol="0"/>
          <a:lstStyle/>
          <a:p>
            <a:endParaRPr/>
          </a:p>
        </p:txBody>
      </p:sp>
      <p:sp>
        <p:nvSpPr>
          <p:cNvPr id="59" name="object 59"/>
          <p:cNvSpPr/>
          <p:nvPr/>
        </p:nvSpPr>
        <p:spPr>
          <a:xfrm>
            <a:off x="2299352" y="3741810"/>
            <a:ext cx="0" cy="416736"/>
          </a:xfrm>
          <a:custGeom>
            <a:avLst/>
            <a:gdLst/>
            <a:ahLst/>
            <a:cxnLst/>
            <a:rect l="l" t="t" r="r" b="b"/>
            <a:pathLst>
              <a:path h="916304">
                <a:moveTo>
                  <a:pt x="0" y="0"/>
                </a:moveTo>
                <a:lnTo>
                  <a:pt x="0" y="916212"/>
                </a:lnTo>
              </a:path>
            </a:pathLst>
          </a:custGeom>
          <a:ln w="40030">
            <a:solidFill>
              <a:srgbClr val="50BD86"/>
            </a:solidFill>
          </a:ln>
        </p:spPr>
        <p:txBody>
          <a:bodyPr wrap="square" lIns="0" tIns="0" rIns="0" bIns="0" rtlCol="0"/>
          <a:lstStyle/>
          <a:p>
            <a:endParaRPr/>
          </a:p>
        </p:txBody>
      </p:sp>
      <p:sp>
        <p:nvSpPr>
          <p:cNvPr id="60" name="object 60"/>
          <p:cNvSpPr/>
          <p:nvPr/>
        </p:nvSpPr>
        <p:spPr>
          <a:xfrm>
            <a:off x="2243112" y="2965307"/>
            <a:ext cx="47366" cy="1193893"/>
          </a:xfrm>
          <a:custGeom>
            <a:avLst/>
            <a:gdLst/>
            <a:ahLst/>
            <a:cxnLst/>
            <a:rect l="l" t="t" r="r" b="b"/>
            <a:pathLst>
              <a:path w="104139" h="2625090">
                <a:moveTo>
                  <a:pt x="103630" y="0"/>
                </a:moveTo>
                <a:lnTo>
                  <a:pt x="96038" y="0"/>
                </a:lnTo>
                <a:lnTo>
                  <a:pt x="58654" y="7548"/>
                </a:lnTo>
                <a:lnTo>
                  <a:pt x="28127" y="28131"/>
                </a:lnTo>
                <a:lnTo>
                  <a:pt x="7546" y="58658"/>
                </a:lnTo>
                <a:lnTo>
                  <a:pt x="0" y="96038"/>
                </a:lnTo>
                <a:lnTo>
                  <a:pt x="0" y="2624527"/>
                </a:lnTo>
                <a:lnTo>
                  <a:pt x="103630" y="2624527"/>
                </a:lnTo>
                <a:lnTo>
                  <a:pt x="103630" y="0"/>
                </a:lnTo>
                <a:close/>
              </a:path>
            </a:pathLst>
          </a:custGeom>
          <a:solidFill>
            <a:srgbClr val="211E1F">
              <a:alpha val="6999"/>
            </a:srgbClr>
          </a:solidFill>
        </p:spPr>
        <p:txBody>
          <a:bodyPr wrap="square" lIns="0" tIns="0" rIns="0" bIns="0" rtlCol="0"/>
          <a:lstStyle/>
          <a:p>
            <a:endParaRPr/>
          </a:p>
        </p:txBody>
      </p:sp>
      <p:sp>
        <p:nvSpPr>
          <p:cNvPr id="61" name="object 61"/>
          <p:cNvSpPr/>
          <p:nvPr/>
        </p:nvSpPr>
        <p:spPr>
          <a:xfrm>
            <a:off x="1105205" y="2965307"/>
            <a:ext cx="47366" cy="1193893"/>
          </a:xfrm>
          <a:custGeom>
            <a:avLst/>
            <a:gdLst/>
            <a:ahLst/>
            <a:cxnLst/>
            <a:rect l="l" t="t" r="r" b="b"/>
            <a:pathLst>
              <a:path w="104139" h="2625090">
                <a:moveTo>
                  <a:pt x="103630" y="0"/>
                </a:moveTo>
                <a:lnTo>
                  <a:pt x="96028" y="0"/>
                </a:lnTo>
                <a:lnTo>
                  <a:pt x="58649" y="7548"/>
                </a:lnTo>
                <a:lnTo>
                  <a:pt x="28126" y="28131"/>
                </a:lnTo>
                <a:lnTo>
                  <a:pt x="7546" y="58658"/>
                </a:lnTo>
                <a:lnTo>
                  <a:pt x="0" y="96038"/>
                </a:lnTo>
                <a:lnTo>
                  <a:pt x="0" y="2624527"/>
                </a:lnTo>
                <a:lnTo>
                  <a:pt x="103630" y="2624527"/>
                </a:lnTo>
                <a:lnTo>
                  <a:pt x="103630" y="0"/>
                </a:lnTo>
                <a:close/>
              </a:path>
            </a:pathLst>
          </a:custGeom>
          <a:solidFill>
            <a:srgbClr val="211E1F">
              <a:alpha val="6999"/>
            </a:srgbClr>
          </a:solidFill>
        </p:spPr>
        <p:txBody>
          <a:bodyPr wrap="square" lIns="0" tIns="0" rIns="0" bIns="0" rtlCol="0"/>
          <a:lstStyle/>
          <a:p>
            <a:endParaRPr/>
          </a:p>
        </p:txBody>
      </p:sp>
      <p:sp>
        <p:nvSpPr>
          <p:cNvPr id="62" name="object 62"/>
          <p:cNvSpPr/>
          <p:nvPr/>
        </p:nvSpPr>
        <p:spPr>
          <a:xfrm>
            <a:off x="1047455" y="2635192"/>
            <a:ext cx="164049" cy="164038"/>
          </a:xfrm>
          <a:custGeom>
            <a:avLst/>
            <a:gdLst/>
            <a:ahLst/>
            <a:cxnLst/>
            <a:rect l="l" t="t" r="r" b="b"/>
            <a:pathLst>
              <a:path w="360680" h="360679">
                <a:moveTo>
                  <a:pt x="180224" y="0"/>
                </a:moveTo>
                <a:lnTo>
                  <a:pt x="119962" y="10324"/>
                </a:lnTo>
                <a:lnTo>
                  <a:pt x="68353" y="38930"/>
                </a:lnTo>
                <a:lnTo>
                  <a:pt x="40105" y="66878"/>
                </a:lnTo>
                <a:lnTo>
                  <a:pt x="18560" y="100479"/>
                </a:lnTo>
                <a:lnTo>
                  <a:pt x="4824" y="138630"/>
                </a:lnTo>
                <a:lnTo>
                  <a:pt x="0" y="180224"/>
                </a:lnTo>
                <a:lnTo>
                  <a:pt x="6438" y="228132"/>
                </a:lnTo>
                <a:lnTo>
                  <a:pt x="24608" y="271183"/>
                </a:lnTo>
                <a:lnTo>
                  <a:pt x="52790" y="307659"/>
                </a:lnTo>
                <a:lnTo>
                  <a:pt x="89266" y="335841"/>
                </a:lnTo>
                <a:lnTo>
                  <a:pt x="132317" y="354011"/>
                </a:lnTo>
                <a:lnTo>
                  <a:pt x="180224" y="360449"/>
                </a:lnTo>
                <a:lnTo>
                  <a:pt x="213547" y="357373"/>
                </a:lnTo>
                <a:lnTo>
                  <a:pt x="273532" y="334435"/>
                </a:lnTo>
                <a:lnTo>
                  <a:pt x="324540" y="288180"/>
                </a:lnTo>
                <a:lnTo>
                  <a:pt x="356151" y="219522"/>
                </a:lnTo>
                <a:lnTo>
                  <a:pt x="360449" y="180224"/>
                </a:lnTo>
                <a:lnTo>
                  <a:pt x="354012" y="132313"/>
                </a:lnTo>
                <a:lnTo>
                  <a:pt x="335843" y="89261"/>
                </a:lnTo>
                <a:lnTo>
                  <a:pt x="307663" y="52786"/>
                </a:lnTo>
                <a:lnTo>
                  <a:pt x="271188" y="24605"/>
                </a:lnTo>
                <a:lnTo>
                  <a:pt x="228136" y="6437"/>
                </a:lnTo>
                <a:lnTo>
                  <a:pt x="180224" y="0"/>
                </a:lnTo>
                <a:close/>
              </a:path>
            </a:pathLst>
          </a:custGeom>
          <a:solidFill>
            <a:srgbClr val="FFEDE9"/>
          </a:solidFill>
        </p:spPr>
        <p:txBody>
          <a:bodyPr wrap="square" lIns="0" tIns="0" rIns="0" bIns="0" rtlCol="0"/>
          <a:lstStyle/>
          <a:p>
            <a:endParaRPr/>
          </a:p>
        </p:txBody>
      </p:sp>
      <p:sp>
        <p:nvSpPr>
          <p:cNvPr id="63" name="object 63"/>
          <p:cNvSpPr/>
          <p:nvPr/>
        </p:nvSpPr>
        <p:spPr>
          <a:xfrm>
            <a:off x="1078543" y="2635192"/>
            <a:ext cx="132857" cy="143822"/>
          </a:xfrm>
          <a:custGeom>
            <a:avLst/>
            <a:gdLst/>
            <a:ahLst/>
            <a:cxnLst/>
            <a:rect l="l" t="t" r="r" b="b"/>
            <a:pathLst>
              <a:path w="292100" h="316229">
                <a:moveTo>
                  <a:pt x="111870" y="0"/>
                </a:moveTo>
                <a:lnTo>
                  <a:pt x="80881" y="2655"/>
                </a:lnTo>
                <a:lnTo>
                  <a:pt x="51612" y="10324"/>
                </a:lnTo>
                <a:lnTo>
                  <a:pt x="24504" y="22564"/>
                </a:lnTo>
                <a:lnTo>
                  <a:pt x="0" y="38930"/>
                </a:lnTo>
                <a:lnTo>
                  <a:pt x="25480" y="69817"/>
                </a:lnTo>
                <a:lnTo>
                  <a:pt x="230736" y="315686"/>
                </a:lnTo>
                <a:lnTo>
                  <a:pt x="256191" y="288180"/>
                </a:lnTo>
                <a:lnTo>
                  <a:pt x="275520" y="255816"/>
                </a:lnTo>
                <a:lnTo>
                  <a:pt x="287797" y="219522"/>
                </a:lnTo>
                <a:lnTo>
                  <a:pt x="292095" y="180224"/>
                </a:lnTo>
                <a:lnTo>
                  <a:pt x="285658" y="132313"/>
                </a:lnTo>
                <a:lnTo>
                  <a:pt x="267490" y="89261"/>
                </a:lnTo>
                <a:lnTo>
                  <a:pt x="239309" y="52786"/>
                </a:lnTo>
                <a:lnTo>
                  <a:pt x="202834" y="24605"/>
                </a:lnTo>
                <a:lnTo>
                  <a:pt x="159782" y="6437"/>
                </a:lnTo>
                <a:lnTo>
                  <a:pt x="111870" y="0"/>
                </a:lnTo>
                <a:close/>
              </a:path>
            </a:pathLst>
          </a:custGeom>
          <a:solidFill>
            <a:srgbClr val="FFFFFF">
              <a:alpha val="31999"/>
            </a:srgbClr>
          </a:solidFill>
        </p:spPr>
        <p:txBody>
          <a:bodyPr wrap="square" lIns="0" tIns="0" rIns="0" bIns="0" rtlCol="0"/>
          <a:lstStyle/>
          <a:p>
            <a:endParaRPr/>
          </a:p>
        </p:txBody>
      </p:sp>
      <p:sp>
        <p:nvSpPr>
          <p:cNvPr id="64" name="object 64"/>
          <p:cNvSpPr/>
          <p:nvPr/>
        </p:nvSpPr>
        <p:spPr>
          <a:xfrm>
            <a:off x="1032206" y="2625509"/>
            <a:ext cx="188599" cy="188585"/>
          </a:xfrm>
          <a:custGeom>
            <a:avLst/>
            <a:gdLst/>
            <a:ahLst/>
            <a:cxnLst/>
            <a:rect l="l" t="t" r="r" b="b"/>
            <a:pathLst>
              <a:path w="414655" h="414654">
                <a:moveTo>
                  <a:pt x="207072" y="0"/>
                </a:moveTo>
                <a:lnTo>
                  <a:pt x="159592" y="5469"/>
                </a:lnTo>
                <a:lnTo>
                  <a:pt x="116007" y="21049"/>
                </a:lnTo>
                <a:lnTo>
                  <a:pt x="77559" y="45495"/>
                </a:lnTo>
                <a:lnTo>
                  <a:pt x="45491" y="77565"/>
                </a:lnTo>
                <a:lnTo>
                  <a:pt x="21047" y="116015"/>
                </a:lnTo>
                <a:lnTo>
                  <a:pt x="5468" y="159602"/>
                </a:lnTo>
                <a:lnTo>
                  <a:pt x="0" y="207082"/>
                </a:lnTo>
                <a:lnTo>
                  <a:pt x="5468" y="254562"/>
                </a:lnTo>
                <a:lnTo>
                  <a:pt x="21047" y="298147"/>
                </a:lnTo>
                <a:lnTo>
                  <a:pt x="45491" y="336595"/>
                </a:lnTo>
                <a:lnTo>
                  <a:pt x="77559" y="368663"/>
                </a:lnTo>
                <a:lnTo>
                  <a:pt x="116007" y="393107"/>
                </a:lnTo>
                <a:lnTo>
                  <a:pt x="159592" y="408686"/>
                </a:lnTo>
                <a:lnTo>
                  <a:pt x="207072" y="414154"/>
                </a:lnTo>
                <a:lnTo>
                  <a:pt x="254552" y="408686"/>
                </a:lnTo>
                <a:lnTo>
                  <a:pt x="298137" y="393107"/>
                </a:lnTo>
                <a:lnTo>
                  <a:pt x="321523" y="378239"/>
                </a:lnTo>
                <a:lnTo>
                  <a:pt x="207072" y="378239"/>
                </a:lnTo>
                <a:lnTo>
                  <a:pt x="161570" y="372126"/>
                </a:lnTo>
                <a:lnTo>
                  <a:pt x="120684" y="354872"/>
                </a:lnTo>
                <a:lnTo>
                  <a:pt x="86044" y="328110"/>
                </a:lnTo>
                <a:lnTo>
                  <a:pt x="59282" y="293470"/>
                </a:lnTo>
                <a:lnTo>
                  <a:pt x="42028" y="252584"/>
                </a:lnTo>
                <a:lnTo>
                  <a:pt x="35915" y="207082"/>
                </a:lnTo>
                <a:lnTo>
                  <a:pt x="42028" y="161581"/>
                </a:lnTo>
                <a:lnTo>
                  <a:pt x="59282" y="120694"/>
                </a:lnTo>
                <a:lnTo>
                  <a:pt x="86044" y="86054"/>
                </a:lnTo>
                <a:lnTo>
                  <a:pt x="120684" y="59292"/>
                </a:lnTo>
                <a:lnTo>
                  <a:pt x="161570" y="42039"/>
                </a:lnTo>
                <a:lnTo>
                  <a:pt x="207072" y="35925"/>
                </a:lnTo>
                <a:lnTo>
                  <a:pt x="321534" y="35925"/>
                </a:lnTo>
                <a:lnTo>
                  <a:pt x="298137" y="21049"/>
                </a:lnTo>
                <a:lnTo>
                  <a:pt x="254552" y="5469"/>
                </a:lnTo>
                <a:lnTo>
                  <a:pt x="207072" y="0"/>
                </a:lnTo>
                <a:close/>
              </a:path>
              <a:path w="414655" h="414654">
                <a:moveTo>
                  <a:pt x="321534" y="35925"/>
                </a:moveTo>
                <a:lnTo>
                  <a:pt x="207072" y="35925"/>
                </a:lnTo>
                <a:lnTo>
                  <a:pt x="252573" y="42039"/>
                </a:lnTo>
                <a:lnTo>
                  <a:pt x="293460" y="59292"/>
                </a:lnTo>
                <a:lnTo>
                  <a:pt x="328099" y="86054"/>
                </a:lnTo>
                <a:lnTo>
                  <a:pt x="354862" y="120694"/>
                </a:lnTo>
                <a:lnTo>
                  <a:pt x="372115" y="161581"/>
                </a:lnTo>
                <a:lnTo>
                  <a:pt x="378229" y="207082"/>
                </a:lnTo>
                <a:lnTo>
                  <a:pt x="372115" y="252584"/>
                </a:lnTo>
                <a:lnTo>
                  <a:pt x="354862" y="293470"/>
                </a:lnTo>
                <a:lnTo>
                  <a:pt x="328099" y="328110"/>
                </a:lnTo>
                <a:lnTo>
                  <a:pt x="293460" y="354872"/>
                </a:lnTo>
                <a:lnTo>
                  <a:pt x="252573" y="372126"/>
                </a:lnTo>
                <a:lnTo>
                  <a:pt x="207072" y="378239"/>
                </a:lnTo>
                <a:lnTo>
                  <a:pt x="321523" y="378239"/>
                </a:lnTo>
                <a:lnTo>
                  <a:pt x="368653" y="336595"/>
                </a:lnTo>
                <a:lnTo>
                  <a:pt x="393097" y="298147"/>
                </a:lnTo>
                <a:lnTo>
                  <a:pt x="408675" y="254562"/>
                </a:lnTo>
                <a:lnTo>
                  <a:pt x="414144" y="207082"/>
                </a:lnTo>
                <a:lnTo>
                  <a:pt x="408675" y="159602"/>
                </a:lnTo>
                <a:lnTo>
                  <a:pt x="393097" y="116015"/>
                </a:lnTo>
                <a:lnTo>
                  <a:pt x="368653" y="77565"/>
                </a:lnTo>
                <a:lnTo>
                  <a:pt x="336585" y="45495"/>
                </a:lnTo>
                <a:lnTo>
                  <a:pt x="321534" y="35925"/>
                </a:lnTo>
                <a:close/>
              </a:path>
            </a:pathLst>
          </a:custGeom>
          <a:solidFill>
            <a:srgbClr val="000000">
              <a:alpha val="16998"/>
            </a:srgbClr>
          </a:solidFill>
        </p:spPr>
        <p:txBody>
          <a:bodyPr wrap="square" lIns="0" tIns="0" rIns="0" bIns="0" rtlCol="0"/>
          <a:lstStyle/>
          <a:p>
            <a:endParaRPr/>
          </a:p>
        </p:txBody>
      </p:sp>
      <p:sp>
        <p:nvSpPr>
          <p:cNvPr id="65" name="object 65"/>
          <p:cNvSpPr/>
          <p:nvPr/>
        </p:nvSpPr>
        <p:spPr>
          <a:xfrm>
            <a:off x="1036257" y="2622981"/>
            <a:ext cx="188599" cy="188585"/>
          </a:xfrm>
          <a:custGeom>
            <a:avLst/>
            <a:gdLst/>
            <a:ahLst/>
            <a:cxnLst/>
            <a:rect l="l" t="t" r="r" b="b"/>
            <a:pathLst>
              <a:path w="414655" h="414654">
                <a:moveTo>
                  <a:pt x="207072" y="0"/>
                </a:moveTo>
                <a:lnTo>
                  <a:pt x="159592" y="5468"/>
                </a:lnTo>
                <a:lnTo>
                  <a:pt x="116007" y="21047"/>
                </a:lnTo>
                <a:lnTo>
                  <a:pt x="77559" y="45491"/>
                </a:lnTo>
                <a:lnTo>
                  <a:pt x="45491" y="77559"/>
                </a:lnTo>
                <a:lnTo>
                  <a:pt x="21047" y="116007"/>
                </a:lnTo>
                <a:lnTo>
                  <a:pt x="5468" y="159592"/>
                </a:lnTo>
                <a:lnTo>
                  <a:pt x="0" y="207072"/>
                </a:lnTo>
                <a:lnTo>
                  <a:pt x="5468" y="254552"/>
                </a:lnTo>
                <a:lnTo>
                  <a:pt x="21047" y="298137"/>
                </a:lnTo>
                <a:lnTo>
                  <a:pt x="45491" y="336585"/>
                </a:lnTo>
                <a:lnTo>
                  <a:pt x="77559" y="368653"/>
                </a:lnTo>
                <a:lnTo>
                  <a:pt x="116007" y="393097"/>
                </a:lnTo>
                <a:lnTo>
                  <a:pt x="159592" y="408675"/>
                </a:lnTo>
                <a:lnTo>
                  <a:pt x="207072" y="414144"/>
                </a:lnTo>
                <a:lnTo>
                  <a:pt x="254552" y="408675"/>
                </a:lnTo>
                <a:lnTo>
                  <a:pt x="298137" y="393097"/>
                </a:lnTo>
                <a:lnTo>
                  <a:pt x="321523" y="378229"/>
                </a:lnTo>
                <a:lnTo>
                  <a:pt x="207072" y="378229"/>
                </a:lnTo>
                <a:lnTo>
                  <a:pt x="161570" y="372115"/>
                </a:lnTo>
                <a:lnTo>
                  <a:pt x="120684" y="354862"/>
                </a:lnTo>
                <a:lnTo>
                  <a:pt x="86044" y="328099"/>
                </a:lnTo>
                <a:lnTo>
                  <a:pt x="59282" y="293460"/>
                </a:lnTo>
                <a:lnTo>
                  <a:pt x="42028" y="252573"/>
                </a:lnTo>
                <a:lnTo>
                  <a:pt x="35915" y="207072"/>
                </a:lnTo>
                <a:lnTo>
                  <a:pt x="42028" y="161570"/>
                </a:lnTo>
                <a:lnTo>
                  <a:pt x="59282" y="120684"/>
                </a:lnTo>
                <a:lnTo>
                  <a:pt x="86044" y="86044"/>
                </a:lnTo>
                <a:lnTo>
                  <a:pt x="120684" y="59282"/>
                </a:lnTo>
                <a:lnTo>
                  <a:pt x="161570" y="42028"/>
                </a:lnTo>
                <a:lnTo>
                  <a:pt x="207072" y="35915"/>
                </a:lnTo>
                <a:lnTo>
                  <a:pt x="321523" y="35915"/>
                </a:lnTo>
                <a:lnTo>
                  <a:pt x="298137" y="21047"/>
                </a:lnTo>
                <a:lnTo>
                  <a:pt x="254552" y="5468"/>
                </a:lnTo>
                <a:lnTo>
                  <a:pt x="207072" y="0"/>
                </a:lnTo>
                <a:close/>
              </a:path>
              <a:path w="414655" h="414654">
                <a:moveTo>
                  <a:pt x="321523" y="35915"/>
                </a:moveTo>
                <a:lnTo>
                  <a:pt x="207072" y="35915"/>
                </a:lnTo>
                <a:lnTo>
                  <a:pt x="252573" y="42028"/>
                </a:lnTo>
                <a:lnTo>
                  <a:pt x="293460" y="59282"/>
                </a:lnTo>
                <a:lnTo>
                  <a:pt x="328099" y="86044"/>
                </a:lnTo>
                <a:lnTo>
                  <a:pt x="354862" y="120684"/>
                </a:lnTo>
                <a:lnTo>
                  <a:pt x="372115" y="161570"/>
                </a:lnTo>
                <a:lnTo>
                  <a:pt x="378229" y="207072"/>
                </a:lnTo>
                <a:lnTo>
                  <a:pt x="372115" y="252573"/>
                </a:lnTo>
                <a:lnTo>
                  <a:pt x="354862" y="293460"/>
                </a:lnTo>
                <a:lnTo>
                  <a:pt x="328099" y="328099"/>
                </a:lnTo>
                <a:lnTo>
                  <a:pt x="293460" y="354862"/>
                </a:lnTo>
                <a:lnTo>
                  <a:pt x="252573" y="372115"/>
                </a:lnTo>
                <a:lnTo>
                  <a:pt x="207072" y="378229"/>
                </a:lnTo>
                <a:lnTo>
                  <a:pt x="321523" y="378229"/>
                </a:lnTo>
                <a:lnTo>
                  <a:pt x="368653" y="336585"/>
                </a:lnTo>
                <a:lnTo>
                  <a:pt x="393097" y="298137"/>
                </a:lnTo>
                <a:lnTo>
                  <a:pt x="408675" y="254552"/>
                </a:lnTo>
                <a:lnTo>
                  <a:pt x="414144" y="207072"/>
                </a:lnTo>
                <a:lnTo>
                  <a:pt x="408675" y="159592"/>
                </a:lnTo>
                <a:lnTo>
                  <a:pt x="393097" y="116007"/>
                </a:lnTo>
                <a:lnTo>
                  <a:pt x="368653" y="77559"/>
                </a:lnTo>
                <a:lnTo>
                  <a:pt x="336585" y="45491"/>
                </a:lnTo>
                <a:lnTo>
                  <a:pt x="321523" y="35915"/>
                </a:lnTo>
                <a:close/>
              </a:path>
            </a:pathLst>
          </a:custGeom>
          <a:solidFill>
            <a:srgbClr val="50BD86"/>
          </a:solidFill>
        </p:spPr>
        <p:txBody>
          <a:bodyPr wrap="square" lIns="0" tIns="0" rIns="0" bIns="0" rtlCol="0"/>
          <a:lstStyle/>
          <a:p>
            <a:endParaRPr/>
          </a:p>
        </p:txBody>
      </p:sp>
      <p:sp>
        <p:nvSpPr>
          <p:cNvPr id="66" name="object 66"/>
          <p:cNvSpPr/>
          <p:nvPr/>
        </p:nvSpPr>
        <p:spPr>
          <a:xfrm>
            <a:off x="1056442" y="2631887"/>
            <a:ext cx="153940" cy="102235"/>
          </a:xfrm>
          <a:custGeom>
            <a:avLst/>
            <a:gdLst/>
            <a:ahLst/>
            <a:cxnLst/>
            <a:rect l="l" t="t" r="r" b="b"/>
            <a:pathLst>
              <a:path w="338455" h="224789">
                <a:moveTo>
                  <a:pt x="236865" y="16334"/>
                </a:moveTo>
                <a:lnTo>
                  <a:pt x="162696" y="16334"/>
                </a:lnTo>
                <a:lnTo>
                  <a:pt x="208198" y="22448"/>
                </a:lnTo>
                <a:lnTo>
                  <a:pt x="249084" y="39701"/>
                </a:lnTo>
                <a:lnTo>
                  <a:pt x="283724" y="66463"/>
                </a:lnTo>
                <a:lnTo>
                  <a:pt x="310486" y="101103"/>
                </a:lnTo>
                <a:lnTo>
                  <a:pt x="327740" y="141990"/>
                </a:lnTo>
                <a:lnTo>
                  <a:pt x="333853" y="187491"/>
                </a:lnTo>
                <a:lnTo>
                  <a:pt x="333595" y="196937"/>
                </a:lnTo>
                <a:lnTo>
                  <a:pt x="332830" y="206246"/>
                </a:lnTo>
                <a:lnTo>
                  <a:pt x="331574" y="215408"/>
                </a:lnTo>
                <a:lnTo>
                  <a:pt x="329843" y="224412"/>
                </a:lnTo>
                <a:lnTo>
                  <a:pt x="333480" y="211633"/>
                </a:lnTo>
                <a:lnTo>
                  <a:pt x="336131" y="198471"/>
                </a:lnTo>
                <a:lnTo>
                  <a:pt x="337753" y="184966"/>
                </a:lnTo>
                <a:lnTo>
                  <a:pt x="338303" y="171157"/>
                </a:lnTo>
                <a:lnTo>
                  <a:pt x="332190" y="125659"/>
                </a:lnTo>
                <a:lnTo>
                  <a:pt x="314936" y="84773"/>
                </a:lnTo>
                <a:lnTo>
                  <a:pt x="288174" y="50133"/>
                </a:lnTo>
                <a:lnTo>
                  <a:pt x="253534" y="23369"/>
                </a:lnTo>
                <a:lnTo>
                  <a:pt x="236865" y="16334"/>
                </a:lnTo>
                <a:close/>
              </a:path>
              <a:path w="338455" h="224789">
                <a:moveTo>
                  <a:pt x="167146" y="0"/>
                </a:moveTo>
                <a:lnTo>
                  <a:pt x="119953" y="6590"/>
                </a:lnTo>
                <a:lnTo>
                  <a:pt x="77812" y="25140"/>
                </a:lnTo>
                <a:lnTo>
                  <a:pt x="42554" y="53819"/>
                </a:lnTo>
                <a:lnTo>
                  <a:pt x="16007" y="90795"/>
                </a:lnTo>
                <a:lnTo>
                  <a:pt x="0" y="134236"/>
                </a:lnTo>
                <a:lnTo>
                  <a:pt x="18227" y="95690"/>
                </a:lnTo>
                <a:lnTo>
                  <a:pt x="45071" y="63165"/>
                </a:lnTo>
                <a:lnTo>
                  <a:pt x="79070" y="38123"/>
                </a:lnTo>
                <a:lnTo>
                  <a:pt x="118766" y="22025"/>
                </a:lnTo>
                <a:lnTo>
                  <a:pt x="162696" y="16334"/>
                </a:lnTo>
                <a:lnTo>
                  <a:pt x="236865" y="16334"/>
                </a:lnTo>
                <a:lnTo>
                  <a:pt x="212648" y="6114"/>
                </a:lnTo>
                <a:lnTo>
                  <a:pt x="167146" y="0"/>
                </a:lnTo>
                <a:close/>
              </a:path>
            </a:pathLst>
          </a:custGeom>
          <a:solidFill>
            <a:srgbClr val="50BD86"/>
          </a:solidFill>
        </p:spPr>
        <p:txBody>
          <a:bodyPr wrap="square" lIns="0" tIns="0" rIns="0" bIns="0" rtlCol="0"/>
          <a:lstStyle/>
          <a:p>
            <a:endParaRPr/>
          </a:p>
        </p:txBody>
      </p:sp>
      <p:sp>
        <p:nvSpPr>
          <p:cNvPr id="67" name="object 67"/>
          <p:cNvSpPr/>
          <p:nvPr/>
        </p:nvSpPr>
        <p:spPr>
          <a:xfrm>
            <a:off x="1036256" y="2688661"/>
            <a:ext cx="185999" cy="122739"/>
          </a:xfrm>
          <a:custGeom>
            <a:avLst/>
            <a:gdLst/>
            <a:ahLst/>
            <a:cxnLst/>
            <a:rect l="l" t="t" r="r" b="b"/>
            <a:pathLst>
              <a:path w="408939" h="269875">
                <a:moveTo>
                  <a:pt x="9664" y="0"/>
                </a:moveTo>
                <a:lnTo>
                  <a:pt x="5508" y="15054"/>
                </a:lnTo>
                <a:lnTo>
                  <a:pt x="2480" y="30547"/>
                </a:lnTo>
                <a:lnTo>
                  <a:pt x="628" y="46431"/>
                </a:lnTo>
                <a:lnTo>
                  <a:pt x="0" y="62657"/>
                </a:lnTo>
                <a:lnTo>
                  <a:pt x="5468" y="110137"/>
                </a:lnTo>
                <a:lnTo>
                  <a:pt x="21047" y="153722"/>
                </a:lnTo>
                <a:lnTo>
                  <a:pt x="45491" y="192170"/>
                </a:lnTo>
                <a:lnTo>
                  <a:pt x="77559" y="224238"/>
                </a:lnTo>
                <a:lnTo>
                  <a:pt x="116007" y="248682"/>
                </a:lnTo>
                <a:lnTo>
                  <a:pt x="159592" y="264261"/>
                </a:lnTo>
                <a:lnTo>
                  <a:pt x="207072" y="269730"/>
                </a:lnTo>
                <a:lnTo>
                  <a:pt x="254743" y="264216"/>
                </a:lnTo>
                <a:lnTo>
                  <a:pt x="284856" y="253405"/>
                </a:lnTo>
                <a:lnTo>
                  <a:pt x="211532" y="253405"/>
                </a:lnTo>
                <a:lnTo>
                  <a:pt x="184108" y="251606"/>
                </a:lnTo>
                <a:lnTo>
                  <a:pt x="132757" y="237896"/>
                </a:lnTo>
                <a:lnTo>
                  <a:pt x="74341" y="201445"/>
                </a:lnTo>
                <a:lnTo>
                  <a:pt x="45337" y="169885"/>
                </a:lnTo>
                <a:lnTo>
                  <a:pt x="23321" y="132813"/>
                </a:lnTo>
                <a:lnTo>
                  <a:pt x="9342" y="91279"/>
                </a:lnTo>
                <a:lnTo>
                  <a:pt x="4450" y="46333"/>
                </a:lnTo>
                <a:lnTo>
                  <a:pt x="4786" y="34464"/>
                </a:lnTo>
                <a:lnTo>
                  <a:pt x="5781" y="22774"/>
                </a:lnTo>
                <a:lnTo>
                  <a:pt x="7414" y="11280"/>
                </a:lnTo>
                <a:lnTo>
                  <a:pt x="9664" y="0"/>
                </a:lnTo>
                <a:close/>
              </a:path>
              <a:path w="408939" h="269875">
                <a:moveTo>
                  <a:pt x="408940" y="108991"/>
                </a:moveTo>
                <a:lnTo>
                  <a:pt x="391522" y="148763"/>
                </a:lnTo>
                <a:lnTo>
                  <a:pt x="366518" y="183648"/>
                </a:lnTo>
                <a:lnTo>
                  <a:pt x="334974" y="212599"/>
                </a:lnTo>
                <a:lnTo>
                  <a:pt x="297931" y="234573"/>
                </a:lnTo>
                <a:lnTo>
                  <a:pt x="256436" y="248523"/>
                </a:lnTo>
                <a:lnTo>
                  <a:pt x="211532" y="253405"/>
                </a:lnTo>
                <a:lnTo>
                  <a:pt x="284856" y="253405"/>
                </a:lnTo>
                <a:lnTo>
                  <a:pt x="298481" y="248514"/>
                </a:lnTo>
                <a:lnTo>
                  <a:pt x="337027" y="223883"/>
                </a:lnTo>
                <a:lnTo>
                  <a:pt x="369125" y="191579"/>
                </a:lnTo>
                <a:lnTo>
                  <a:pt x="393515" y="152863"/>
                </a:lnTo>
                <a:lnTo>
                  <a:pt x="408940" y="108991"/>
                </a:lnTo>
                <a:close/>
              </a:path>
            </a:pathLst>
          </a:custGeom>
          <a:solidFill>
            <a:srgbClr val="50BD86"/>
          </a:solidFill>
        </p:spPr>
        <p:txBody>
          <a:bodyPr wrap="square" lIns="0" tIns="0" rIns="0" bIns="0" rtlCol="0"/>
          <a:lstStyle/>
          <a:p>
            <a:endParaRPr/>
          </a:p>
        </p:txBody>
      </p:sp>
      <p:sp>
        <p:nvSpPr>
          <p:cNvPr id="68" name="object 68"/>
          <p:cNvSpPr/>
          <p:nvPr/>
        </p:nvSpPr>
        <p:spPr>
          <a:xfrm>
            <a:off x="1122555" y="2652397"/>
            <a:ext cx="13574" cy="13574"/>
          </a:xfrm>
          <a:custGeom>
            <a:avLst/>
            <a:gdLst/>
            <a:ahLst/>
            <a:cxnLst/>
            <a:rect l="l" t="t" r="r" b="b"/>
            <a:pathLst>
              <a:path w="29844" h="29845">
                <a:moveTo>
                  <a:pt x="22868" y="0"/>
                </a:moveTo>
                <a:lnTo>
                  <a:pt x="6596" y="0"/>
                </a:lnTo>
                <a:lnTo>
                  <a:pt x="0" y="6596"/>
                </a:lnTo>
                <a:lnTo>
                  <a:pt x="0" y="22868"/>
                </a:lnTo>
                <a:lnTo>
                  <a:pt x="6596" y="29465"/>
                </a:lnTo>
                <a:lnTo>
                  <a:pt x="22868" y="29465"/>
                </a:lnTo>
                <a:lnTo>
                  <a:pt x="29465" y="22868"/>
                </a:lnTo>
                <a:lnTo>
                  <a:pt x="29465" y="6596"/>
                </a:lnTo>
                <a:lnTo>
                  <a:pt x="22868" y="0"/>
                </a:lnTo>
                <a:close/>
              </a:path>
            </a:pathLst>
          </a:custGeom>
          <a:solidFill>
            <a:srgbClr val="000000">
              <a:alpha val="16998"/>
            </a:srgbClr>
          </a:solidFill>
        </p:spPr>
        <p:txBody>
          <a:bodyPr wrap="square" lIns="0" tIns="0" rIns="0" bIns="0" rtlCol="0"/>
          <a:lstStyle/>
          <a:p>
            <a:endParaRPr/>
          </a:p>
        </p:txBody>
      </p:sp>
      <p:sp>
        <p:nvSpPr>
          <p:cNvPr id="69" name="object 69"/>
          <p:cNvSpPr/>
          <p:nvPr/>
        </p:nvSpPr>
        <p:spPr>
          <a:xfrm>
            <a:off x="1123598" y="2650960"/>
            <a:ext cx="13574" cy="13574"/>
          </a:xfrm>
          <a:custGeom>
            <a:avLst/>
            <a:gdLst/>
            <a:ahLst/>
            <a:cxnLst/>
            <a:rect l="l" t="t" r="r" b="b"/>
            <a:pathLst>
              <a:path w="29844" h="29845">
                <a:moveTo>
                  <a:pt x="22868" y="0"/>
                </a:moveTo>
                <a:lnTo>
                  <a:pt x="6596" y="0"/>
                </a:lnTo>
                <a:lnTo>
                  <a:pt x="0" y="6596"/>
                </a:lnTo>
                <a:lnTo>
                  <a:pt x="0" y="22868"/>
                </a:lnTo>
                <a:lnTo>
                  <a:pt x="6596" y="29465"/>
                </a:lnTo>
                <a:lnTo>
                  <a:pt x="22868" y="29465"/>
                </a:lnTo>
                <a:lnTo>
                  <a:pt x="29465" y="22868"/>
                </a:lnTo>
                <a:lnTo>
                  <a:pt x="29465" y="6596"/>
                </a:lnTo>
                <a:lnTo>
                  <a:pt x="22868" y="0"/>
                </a:lnTo>
                <a:close/>
              </a:path>
            </a:pathLst>
          </a:custGeom>
          <a:solidFill>
            <a:srgbClr val="676767"/>
          </a:solidFill>
        </p:spPr>
        <p:txBody>
          <a:bodyPr wrap="square" lIns="0" tIns="0" rIns="0" bIns="0" rtlCol="0"/>
          <a:lstStyle/>
          <a:p>
            <a:endParaRPr/>
          </a:p>
        </p:txBody>
      </p:sp>
      <p:sp>
        <p:nvSpPr>
          <p:cNvPr id="70" name="object 70"/>
          <p:cNvSpPr/>
          <p:nvPr/>
        </p:nvSpPr>
        <p:spPr>
          <a:xfrm>
            <a:off x="1156406" y="2662763"/>
            <a:ext cx="6932" cy="6931"/>
          </a:xfrm>
          <a:custGeom>
            <a:avLst/>
            <a:gdLst/>
            <a:ahLst/>
            <a:cxnLst/>
            <a:rect l="l" t="t" r="r" b="b"/>
            <a:pathLst>
              <a:path w="15239" h="15239">
                <a:moveTo>
                  <a:pt x="11601" y="0"/>
                </a:moveTo>
                <a:lnTo>
                  <a:pt x="3350" y="0"/>
                </a:lnTo>
                <a:lnTo>
                  <a:pt x="0" y="3340"/>
                </a:lnTo>
                <a:lnTo>
                  <a:pt x="0" y="11601"/>
                </a:lnTo>
                <a:lnTo>
                  <a:pt x="3350" y="14952"/>
                </a:lnTo>
                <a:lnTo>
                  <a:pt x="11601" y="14952"/>
                </a:lnTo>
                <a:lnTo>
                  <a:pt x="14952" y="11601"/>
                </a:lnTo>
                <a:lnTo>
                  <a:pt x="14952" y="3340"/>
                </a:lnTo>
                <a:lnTo>
                  <a:pt x="11601" y="0"/>
                </a:lnTo>
                <a:close/>
              </a:path>
            </a:pathLst>
          </a:custGeom>
          <a:solidFill>
            <a:srgbClr val="000000">
              <a:alpha val="16998"/>
            </a:srgbClr>
          </a:solidFill>
        </p:spPr>
        <p:txBody>
          <a:bodyPr wrap="square" lIns="0" tIns="0" rIns="0" bIns="0" rtlCol="0"/>
          <a:lstStyle/>
          <a:p>
            <a:endParaRPr/>
          </a:p>
        </p:txBody>
      </p:sp>
      <p:sp>
        <p:nvSpPr>
          <p:cNvPr id="71" name="object 71"/>
          <p:cNvSpPr/>
          <p:nvPr/>
        </p:nvSpPr>
        <p:spPr>
          <a:xfrm>
            <a:off x="1156934" y="2662032"/>
            <a:ext cx="6932" cy="6931"/>
          </a:xfrm>
          <a:custGeom>
            <a:avLst/>
            <a:gdLst/>
            <a:ahLst/>
            <a:cxnLst/>
            <a:rect l="l" t="t" r="r" b="b"/>
            <a:pathLst>
              <a:path w="15239" h="15239">
                <a:moveTo>
                  <a:pt x="11612" y="0"/>
                </a:moveTo>
                <a:lnTo>
                  <a:pt x="3350" y="0"/>
                </a:lnTo>
                <a:lnTo>
                  <a:pt x="0" y="3350"/>
                </a:lnTo>
                <a:lnTo>
                  <a:pt x="0" y="11612"/>
                </a:lnTo>
                <a:lnTo>
                  <a:pt x="3350" y="14952"/>
                </a:lnTo>
                <a:lnTo>
                  <a:pt x="11612" y="14952"/>
                </a:lnTo>
                <a:lnTo>
                  <a:pt x="14952" y="11612"/>
                </a:lnTo>
                <a:lnTo>
                  <a:pt x="14952" y="3350"/>
                </a:lnTo>
                <a:lnTo>
                  <a:pt x="11612" y="0"/>
                </a:lnTo>
                <a:close/>
              </a:path>
            </a:pathLst>
          </a:custGeom>
          <a:solidFill>
            <a:srgbClr val="676767"/>
          </a:solidFill>
        </p:spPr>
        <p:txBody>
          <a:bodyPr wrap="square" lIns="0" tIns="0" rIns="0" bIns="0" rtlCol="0"/>
          <a:lstStyle/>
          <a:p>
            <a:endParaRPr/>
          </a:p>
        </p:txBody>
      </p:sp>
      <p:sp>
        <p:nvSpPr>
          <p:cNvPr id="72" name="object 72"/>
          <p:cNvSpPr/>
          <p:nvPr/>
        </p:nvSpPr>
        <p:spPr>
          <a:xfrm>
            <a:off x="1176038" y="2681857"/>
            <a:ext cx="6932" cy="6931"/>
          </a:xfrm>
          <a:custGeom>
            <a:avLst/>
            <a:gdLst/>
            <a:ahLst/>
            <a:cxnLst/>
            <a:rect l="l" t="t" r="r" b="b"/>
            <a:pathLst>
              <a:path w="15239" h="15239">
                <a:moveTo>
                  <a:pt x="11601" y="0"/>
                </a:moveTo>
                <a:lnTo>
                  <a:pt x="3350" y="0"/>
                </a:lnTo>
                <a:lnTo>
                  <a:pt x="0" y="3340"/>
                </a:lnTo>
                <a:lnTo>
                  <a:pt x="0" y="11601"/>
                </a:lnTo>
                <a:lnTo>
                  <a:pt x="3350" y="14952"/>
                </a:lnTo>
                <a:lnTo>
                  <a:pt x="11601" y="14952"/>
                </a:lnTo>
                <a:lnTo>
                  <a:pt x="14952" y="11601"/>
                </a:lnTo>
                <a:lnTo>
                  <a:pt x="14952" y="3340"/>
                </a:lnTo>
                <a:lnTo>
                  <a:pt x="11601" y="0"/>
                </a:lnTo>
                <a:close/>
              </a:path>
            </a:pathLst>
          </a:custGeom>
          <a:solidFill>
            <a:srgbClr val="000000">
              <a:alpha val="16998"/>
            </a:srgbClr>
          </a:solidFill>
        </p:spPr>
        <p:txBody>
          <a:bodyPr wrap="square" lIns="0" tIns="0" rIns="0" bIns="0" rtlCol="0"/>
          <a:lstStyle/>
          <a:p>
            <a:endParaRPr/>
          </a:p>
        </p:txBody>
      </p:sp>
      <p:sp>
        <p:nvSpPr>
          <p:cNvPr id="73" name="object 73"/>
          <p:cNvSpPr/>
          <p:nvPr/>
        </p:nvSpPr>
        <p:spPr>
          <a:xfrm>
            <a:off x="1176565" y="2681129"/>
            <a:ext cx="6932" cy="6931"/>
          </a:xfrm>
          <a:custGeom>
            <a:avLst/>
            <a:gdLst/>
            <a:ahLst/>
            <a:cxnLst/>
            <a:rect l="l" t="t" r="r" b="b"/>
            <a:pathLst>
              <a:path w="15239" h="15239">
                <a:moveTo>
                  <a:pt x="11612" y="0"/>
                </a:moveTo>
                <a:lnTo>
                  <a:pt x="3350" y="0"/>
                </a:lnTo>
                <a:lnTo>
                  <a:pt x="0" y="3350"/>
                </a:lnTo>
                <a:lnTo>
                  <a:pt x="0" y="11601"/>
                </a:lnTo>
                <a:lnTo>
                  <a:pt x="3350" y="14952"/>
                </a:lnTo>
                <a:lnTo>
                  <a:pt x="11612" y="14952"/>
                </a:lnTo>
                <a:lnTo>
                  <a:pt x="14952" y="11601"/>
                </a:lnTo>
                <a:lnTo>
                  <a:pt x="14952" y="3350"/>
                </a:lnTo>
                <a:lnTo>
                  <a:pt x="11612" y="0"/>
                </a:lnTo>
                <a:close/>
              </a:path>
            </a:pathLst>
          </a:custGeom>
          <a:solidFill>
            <a:srgbClr val="676767"/>
          </a:solidFill>
        </p:spPr>
        <p:txBody>
          <a:bodyPr wrap="square" lIns="0" tIns="0" rIns="0" bIns="0" rtlCol="0"/>
          <a:lstStyle/>
          <a:p>
            <a:endParaRPr/>
          </a:p>
        </p:txBody>
      </p:sp>
      <p:sp>
        <p:nvSpPr>
          <p:cNvPr id="74" name="object 74"/>
          <p:cNvSpPr/>
          <p:nvPr/>
        </p:nvSpPr>
        <p:spPr>
          <a:xfrm>
            <a:off x="1175775" y="2742390"/>
            <a:ext cx="6932" cy="6931"/>
          </a:xfrm>
          <a:custGeom>
            <a:avLst/>
            <a:gdLst/>
            <a:ahLst/>
            <a:cxnLst/>
            <a:rect l="l" t="t" r="r" b="b"/>
            <a:pathLst>
              <a:path w="15239" h="15239">
                <a:moveTo>
                  <a:pt x="11601" y="0"/>
                </a:moveTo>
                <a:lnTo>
                  <a:pt x="3340" y="0"/>
                </a:lnTo>
                <a:lnTo>
                  <a:pt x="0" y="3350"/>
                </a:lnTo>
                <a:lnTo>
                  <a:pt x="0" y="11612"/>
                </a:lnTo>
                <a:lnTo>
                  <a:pt x="3340" y="14952"/>
                </a:lnTo>
                <a:lnTo>
                  <a:pt x="11601" y="14952"/>
                </a:lnTo>
                <a:lnTo>
                  <a:pt x="14952" y="11612"/>
                </a:lnTo>
                <a:lnTo>
                  <a:pt x="14952" y="3350"/>
                </a:lnTo>
                <a:lnTo>
                  <a:pt x="11601" y="0"/>
                </a:lnTo>
                <a:close/>
              </a:path>
            </a:pathLst>
          </a:custGeom>
          <a:solidFill>
            <a:srgbClr val="000000">
              <a:alpha val="16998"/>
            </a:srgbClr>
          </a:solidFill>
        </p:spPr>
        <p:txBody>
          <a:bodyPr wrap="square" lIns="0" tIns="0" rIns="0" bIns="0" rtlCol="0"/>
          <a:lstStyle/>
          <a:p>
            <a:endParaRPr/>
          </a:p>
        </p:txBody>
      </p:sp>
      <p:sp>
        <p:nvSpPr>
          <p:cNvPr id="75" name="object 75"/>
          <p:cNvSpPr/>
          <p:nvPr/>
        </p:nvSpPr>
        <p:spPr>
          <a:xfrm>
            <a:off x="1176303" y="2741663"/>
            <a:ext cx="6932" cy="6931"/>
          </a:xfrm>
          <a:custGeom>
            <a:avLst/>
            <a:gdLst/>
            <a:ahLst/>
            <a:cxnLst/>
            <a:rect l="l" t="t" r="r" b="b"/>
            <a:pathLst>
              <a:path w="15239" h="15239">
                <a:moveTo>
                  <a:pt x="11601" y="0"/>
                </a:moveTo>
                <a:lnTo>
                  <a:pt x="3350" y="0"/>
                </a:lnTo>
                <a:lnTo>
                  <a:pt x="0" y="3340"/>
                </a:lnTo>
                <a:lnTo>
                  <a:pt x="0" y="11601"/>
                </a:lnTo>
                <a:lnTo>
                  <a:pt x="3350" y="14952"/>
                </a:lnTo>
                <a:lnTo>
                  <a:pt x="11601" y="14952"/>
                </a:lnTo>
                <a:lnTo>
                  <a:pt x="14952" y="11601"/>
                </a:lnTo>
                <a:lnTo>
                  <a:pt x="14952" y="3340"/>
                </a:lnTo>
                <a:lnTo>
                  <a:pt x="11601" y="0"/>
                </a:lnTo>
                <a:close/>
              </a:path>
            </a:pathLst>
          </a:custGeom>
          <a:solidFill>
            <a:srgbClr val="676767"/>
          </a:solidFill>
        </p:spPr>
        <p:txBody>
          <a:bodyPr wrap="square" lIns="0" tIns="0" rIns="0" bIns="0" rtlCol="0"/>
          <a:lstStyle/>
          <a:p>
            <a:endParaRPr/>
          </a:p>
        </p:txBody>
      </p:sp>
      <p:sp>
        <p:nvSpPr>
          <p:cNvPr id="76" name="object 76"/>
          <p:cNvSpPr/>
          <p:nvPr/>
        </p:nvSpPr>
        <p:spPr>
          <a:xfrm>
            <a:off x="1156934" y="2764414"/>
            <a:ext cx="6932" cy="6931"/>
          </a:xfrm>
          <a:custGeom>
            <a:avLst/>
            <a:gdLst/>
            <a:ahLst/>
            <a:cxnLst/>
            <a:rect l="l" t="t" r="r" b="b"/>
            <a:pathLst>
              <a:path w="15239" h="15239">
                <a:moveTo>
                  <a:pt x="11612" y="0"/>
                </a:moveTo>
                <a:lnTo>
                  <a:pt x="3350" y="0"/>
                </a:lnTo>
                <a:lnTo>
                  <a:pt x="0" y="3350"/>
                </a:lnTo>
                <a:lnTo>
                  <a:pt x="0" y="11612"/>
                </a:lnTo>
                <a:lnTo>
                  <a:pt x="3350" y="14952"/>
                </a:lnTo>
                <a:lnTo>
                  <a:pt x="11612" y="14952"/>
                </a:lnTo>
                <a:lnTo>
                  <a:pt x="14952" y="11612"/>
                </a:lnTo>
                <a:lnTo>
                  <a:pt x="14952" y="3350"/>
                </a:lnTo>
                <a:lnTo>
                  <a:pt x="11612" y="0"/>
                </a:lnTo>
                <a:close/>
              </a:path>
            </a:pathLst>
          </a:custGeom>
          <a:solidFill>
            <a:srgbClr val="000000">
              <a:alpha val="16998"/>
            </a:srgbClr>
          </a:solidFill>
        </p:spPr>
        <p:txBody>
          <a:bodyPr wrap="square" lIns="0" tIns="0" rIns="0" bIns="0" rtlCol="0"/>
          <a:lstStyle/>
          <a:p>
            <a:endParaRPr/>
          </a:p>
        </p:txBody>
      </p:sp>
      <p:sp>
        <p:nvSpPr>
          <p:cNvPr id="77" name="object 77"/>
          <p:cNvSpPr/>
          <p:nvPr/>
        </p:nvSpPr>
        <p:spPr>
          <a:xfrm>
            <a:off x="1157464" y="2763686"/>
            <a:ext cx="6932" cy="6931"/>
          </a:xfrm>
          <a:custGeom>
            <a:avLst/>
            <a:gdLst/>
            <a:ahLst/>
            <a:cxnLst/>
            <a:rect l="l" t="t" r="r" b="b"/>
            <a:pathLst>
              <a:path w="15239" h="15239">
                <a:moveTo>
                  <a:pt x="11601" y="0"/>
                </a:moveTo>
                <a:lnTo>
                  <a:pt x="3340" y="0"/>
                </a:lnTo>
                <a:lnTo>
                  <a:pt x="0" y="3340"/>
                </a:lnTo>
                <a:lnTo>
                  <a:pt x="0" y="11601"/>
                </a:lnTo>
                <a:lnTo>
                  <a:pt x="3340" y="14952"/>
                </a:lnTo>
                <a:lnTo>
                  <a:pt x="11601" y="14952"/>
                </a:lnTo>
                <a:lnTo>
                  <a:pt x="14952" y="11601"/>
                </a:lnTo>
                <a:lnTo>
                  <a:pt x="14952" y="3340"/>
                </a:lnTo>
                <a:lnTo>
                  <a:pt x="11601" y="0"/>
                </a:lnTo>
                <a:close/>
              </a:path>
            </a:pathLst>
          </a:custGeom>
          <a:solidFill>
            <a:srgbClr val="676767"/>
          </a:solidFill>
        </p:spPr>
        <p:txBody>
          <a:bodyPr wrap="square" lIns="0" tIns="0" rIns="0" bIns="0" rtlCol="0"/>
          <a:lstStyle/>
          <a:p>
            <a:endParaRPr/>
          </a:p>
        </p:txBody>
      </p:sp>
      <p:sp>
        <p:nvSpPr>
          <p:cNvPr id="78" name="object 78"/>
          <p:cNvSpPr/>
          <p:nvPr/>
        </p:nvSpPr>
        <p:spPr>
          <a:xfrm>
            <a:off x="1094806" y="2764050"/>
            <a:ext cx="6932" cy="6931"/>
          </a:xfrm>
          <a:custGeom>
            <a:avLst/>
            <a:gdLst/>
            <a:ahLst/>
            <a:cxnLst/>
            <a:rect l="l" t="t" r="r" b="b"/>
            <a:pathLst>
              <a:path w="15239" h="15239">
                <a:moveTo>
                  <a:pt x="11601" y="0"/>
                </a:moveTo>
                <a:lnTo>
                  <a:pt x="3340" y="0"/>
                </a:lnTo>
                <a:lnTo>
                  <a:pt x="0" y="3350"/>
                </a:lnTo>
                <a:lnTo>
                  <a:pt x="0" y="11601"/>
                </a:lnTo>
                <a:lnTo>
                  <a:pt x="3340" y="14952"/>
                </a:lnTo>
                <a:lnTo>
                  <a:pt x="11601" y="14952"/>
                </a:lnTo>
                <a:lnTo>
                  <a:pt x="14952" y="11601"/>
                </a:lnTo>
                <a:lnTo>
                  <a:pt x="14952" y="3350"/>
                </a:lnTo>
                <a:lnTo>
                  <a:pt x="11601" y="0"/>
                </a:lnTo>
                <a:close/>
              </a:path>
            </a:pathLst>
          </a:custGeom>
          <a:solidFill>
            <a:srgbClr val="000000">
              <a:alpha val="16998"/>
            </a:srgbClr>
          </a:solidFill>
        </p:spPr>
        <p:txBody>
          <a:bodyPr wrap="square" lIns="0" tIns="0" rIns="0" bIns="0" rtlCol="0"/>
          <a:lstStyle/>
          <a:p>
            <a:endParaRPr/>
          </a:p>
        </p:txBody>
      </p:sp>
      <p:sp>
        <p:nvSpPr>
          <p:cNvPr id="79" name="object 79"/>
          <p:cNvSpPr/>
          <p:nvPr/>
        </p:nvSpPr>
        <p:spPr>
          <a:xfrm>
            <a:off x="1095333" y="2763321"/>
            <a:ext cx="6932" cy="6931"/>
          </a:xfrm>
          <a:custGeom>
            <a:avLst/>
            <a:gdLst/>
            <a:ahLst/>
            <a:cxnLst/>
            <a:rect l="l" t="t" r="r" b="b"/>
            <a:pathLst>
              <a:path w="15239" h="15239">
                <a:moveTo>
                  <a:pt x="11601" y="0"/>
                </a:moveTo>
                <a:lnTo>
                  <a:pt x="3350" y="0"/>
                </a:lnTo>
                <a:lnTo>
                  <a:pt x="0" y="3340"/>
                </a:lnTo>
                <a:lnTo>
                  <a:pt x="0" y="11601"/>
                </a:lnTo>
                <a:lnTo>
                  <a:pt x="3350" y="14952"/>
                </a:lnTo>
                <a:lnTo>
                  <a:pt x="11601" y="14952"/>
                </a:lnTo>
                <a:lnTo>
                  <a:pt x="14952" y="11601"/>
                </a:lnTo>
                <a:lnTo>
                  <a:pt x="14952" y="3340"/>
                </a:lnTo>
                <a:lnTo>
                  <a:pt x="11601" y="0"/>
                </a:lnTo>
                <a:close/>
              </a:path>
            </a:pathLst>
          </a:custGeom>
          <a:solidFill>
            <a:srgbClr val="676767"/>
          </a:solidFill>
        </p:spPr>
        <p:txBody>
          <a:bodyPr wrap="square" lIns="0" tIns="0" rIns="0" bIns="0" rtlCol="0"/>
          <a:lstStyle/>
          <a:p>
            <a:endParaRPr/>
          </a:p>
        </p:txBody>
      </p:sp>
      <p:sp>
        <p:nvSpPr>
          <p:cNvPr id="80" name="object 80"/>
          <p:cNvSpPr/>
          <p:nvPr/>
        </p:nvSpPr>
        <p:spPr>
          <a:xfrm>
            <a:off x="1074879" y="2741174"/>
            <a:ext cx="6932" cy="6931"/>
          </a:xfrm>
          <a:custGeom>
            <a:avLst/>
            <a:gdLst/>
            <a:ahLst/>
            <a:cxnLst/>
            <a:rect l="l" t="t" r="r" b="b"/>
            <a:pathLst>
              <a:path w="15239" h="15239">
                <a:moveTo>
                  <a:pt x="11601" y="0"/>
                </a:moveTo>
                <a:lnTo>
                  <a:pt x="3340" y="0"/>
                </a:lnTo>
                <a:lnTo>
                  <a:pt x="0" y="3350"/>
                </a:lnTo>
                <a:lnTo>
                  <a:pt x="0" y="11612"/>
                </a:lnTo>
                <a:lnTo>
                  <a:pt x="3340" y="14952"/>
                </a:lnTo>
                <a:lnTo>
                  <a:pt x="11601" y="14952"/>
                </a:lnTo>
                <a:lnTo>
                  <a:pt x="14952" y="11612"/>
                </a:lnTo>
                <a:lnTo>
                  <a:pt x="14952" y="3350"/>
                </a:lnTo>
                <a:lnTo>
                  <a:pt x="11601" y="0"/>
                </a:lnTo>
                <a:close/>
              </a:path>
            </a:pathLst>
          </a:custGeom>
          <a:solidFill>
            <a:srgbClr val="000000">
              <a:alpha val="16998"/>
            </a:srgbClr>
          </a:solidFill>
        </p:spPr>
        <p:txBody>
          <a:bodyPr wrap="square" lIns="0" tIns="0" rIns="0" bIns="0" rtlCol="0"/>
          <a:lstStyle/>
          <a:p>
            <a:endParaRPr/>
          </a:p>
        </p:txBody>
      </p:sp>
      <p:sp>
        <p:nvSpPr>
          <p:cNvPr id="81" name="object 81"/>
          <p:cNvSpPr/>
          <p:nvPr/>
        </p:nvSpPr>
        <p:spPr>
          <a:xfrm>
            <a:off x="1075406" y="2740445"/>
            <a:ext cx="6932" cy="6931"/>
          </a:xfrm>
          <a:custGeom>
            <a:avLst/>
            <a:gdLst/>
            <a:ahLst/>
            <a:cxnLst/>
            <a:rect l="l" t="t" r="r" b="b"/>
            <a:pathLst>
              <a:path w="15239" h="15239">
                <a:moveTo>
                  <a:pt x="11601" y="0"/>
                </a:moveTo>
                <a:lnTo>
                  <a:pt x="3350" y="0"/>
                </a:lnTo>
                <a:lnTo>
                  <a:pt x="0" y="3350"/>
                </a:lnTo>
                <a:lnTo>
                  <a:pt x="0" y="11612"/>
                </a:lnTo>
                <a:lnTo>
                  <a:pt x="3350" y="14952"/>
                </a:lnTo>
                <a:lnTo>
                  <a:pt x="11601" y="14952"/>
                </a:lnTo>
                <a:lnTo>
                  <a:pt x="14952" y="11612"/>
                </a:lnTo>
                <a:lnTo>
                  <a:pt x="14952" y="3350"/>
                </a:lnTo>
                <a:lnTo>
                  <a:pt x="11601" y="0"/>
                </a:lnTo>
                <a:close/>
              </a:path>
            </a:pathLst>
          </a:custGeom>
          <a:solidFill>
            <a:srgbClr val="676767"/>
          </a:solidFill>
        </p:spPr>
        <p:txBody>
          <a:bodyPr wrap="square" lIns="0" tIns="0" rIns="0" bIns="0" rtlCol="0"/>
          <a:lstStyle/>
          <a:p>
            <a:endParaRPr/>
          </a:p>
        </p:txBody>
      </p:sp>
      <p:sp>
        <p:nvSpPr>
          <p:cNvPr id="82" name="object 82"/>
          <p:cNvSpPr/>
          <p:nvPr/>
        </p:nvSpPr>
        <p:spPr>
          <a:xfrm>
            <a:off x="1071741" y="2685622"/>
            <a:ext cx="6932" cy="6931"/>
          </a:xfrm>
          <a:custGeom>
            <a:avLst/>
            <a:gdLst/>
            <a:ahLst/>
            <a:cxnLst/>
            <a:rect l="l" t="t" r="r" b="b"/>
            <a:pathLst>
              <a:path w="15239" h="15239">
                <a:moveTo>
                  <a:pt x="11601" y="0"/>
                </a:moveTo>
                <a:lnTo>
                  <a:pt x="3350" y="0"/>
                </a:lnTo>
                <a:lnTo>
                  <a:pt x="0" y="3350"/>
                </a:lnTo>
                <a:lnTo>
                  <a:pt x="0" y="11612"/>
                </a:lnTo>
                <a:lnTo>
                  <a:pt x="3350" y="14952"/>
                </a:lnTo>
                <a:lnTo>
                  <a:pt x="11601" y="14952"/>
                </a:lnTo>
                <a:lnTo>
                  <a:pt x="14952" y="11612"/>
                </a:lnTo>
                <a:lnTo>
                  <a:pt x="14952" y="3350"/>
                </a:lnTo>
                <a:lnTo>
                  <a:pt x="11601" y="0"/>
                </a:lnTo>
                <a:close/>
              </a:path>
            </a:pathLst>
          </a:custGeom>
          <a:solidFill>
            <a:srgbClr val="000000">
              <a:alpha val="16998"/>
            </a:srgbClr>
          </a:solidFill>
        </p:spPr>
        <p:txBody>
          <a:bodyPr wrap="square" lIns="0" tIns="0" rIns="0" bIns="0" rtlCol="0"/>
          <a:lstStyle/>
          <a:p>
            <a:endParaRPr/>
          </a:p>
        </p:txBody>
      </p:sp>
      <p:sp>
        <p:nvSpPr>
          <p:cNvPr id="83" name="object 83"/>
          <p:cNvSpPr/>
          <p:nvPr/>
        </p:nvSpPr>
        <p:spPr>
          <a:xfrm>
            <a:off x="1072269" y="2684893"/>
            <a:ext cx="6932" cy="6931"/>
          </a:xfrm>
          <a:custGeom>
            <a:avLst/>
            <a:gdLst/>
            <a:ahLst/>
            <a:cxnLst/>
            <a:rect l="l" t="t" r="r" b="b"/>
            <a:pathLst>
              <a:path w="15239" h="15239">
                <a:moveTo>
                  <a:pt x="11601" y="0"/>
                </a:moveTo>
                <a:lnTo>
                  <a:pt x="3350" y="0"/>
                </a:lnTo>
                <a:lnTo>
                  <a:pt x="0" y="3350"/>
                </a:lnTo>
                <a:lnTo>
                  <a:pt x="0" y="11612"/>
                </a:lnTo>
                <a:lnTo>
                  <a:pt x="3350" y="14952"/>
                </a:lnTo>
                <a:lnTo>
                  <a:pt x="11601" y="14952"/>
                </a:lnTo>
                <a:lnTo>
                  <a:pt x="14952" y="11612"/>
                </a:lnTo>
                <a:lnTo>
                  <a:pt x="14952" y="3350"/>
                </a:lnTo>
                <a:lnTo>
                  <a:pt x="11601" y="0"/>
                </a:lnTo>
                <a:close/>
              </a:path>
            </a:pathLst>
          </a:custGeom>
          <a:solidFill>
            <a:srgbClr val="676767"/>
          </a:solidFill>
        </p:spPr>
        <p:txBody>
          <a:bodyPr wrap="square" lIns="0" tIns="0" rIns="0" bIns="0" rtlCol="0"/>
          <a:lstStyle/>
          <a:p>
            <a:endParaRPr/>
          </a:p>
        </p:txBody>
      </p:sp>
      <p:sp>
        <p:nvSpPr>
          <p:cNvPr id="84" name="object 84"/>
          <p:cNvSpPr/>
          <p:nvPr/>
        </p:nvSpPr>
        <p:spPr>
          <a:xfrm>
            <a:off x="1091766" y="2662032"/>
            <a:ext cx="6932" cy="6931"/>
          </a:xfrm>
          <a:custGeom>
            <a:avLst/>
            <a:gdLst/>
            <a:ahLst/>
            <a:cxnLst/>
            <a:rect l="l" t="t" r="r" b="b"/>
            <a:pathLst>
              <a:path w="15239" h="15239">
                <a:moveTo>
                  <a:pt x="11612" y="0"/>
                </a:moveTo>
                <a:lnTo>
                  <a:pt x="3350" y="0"/>
                </a:lnTo>
                <a:lnTo>
                  <a:pt x="0" y="3350"/>
                </a:lnTo>
                <a:lnTo>
                  <a:pt x="0" y="11612"/>
                </a:lnTo>
                <a:lnTo>
                  <a:pt x="3350" y="14952"/>
                </a:lnTo>
                <a:lnTo>
                  <a:pt x="11612" y="14952"/>
                </a:lnTo>
                <a:lnTo>
                  <a:pt x="14952" y="11612"/>
                </a:lnTo>
                <a:lnTo>
                  <a:pt x="14952" y="3350"/>
                </a:lnTo>
                <a:lnTo>
                  <a:pt x="11612" y="0"/>
                </a:lnTo>
                <a:close/>
              </a:path>
            </a:pathLst>
          </a:custGeom>
          <a:solidFill>
            <a:srgbClr val="000000">
              <a:alpha val="16998"/>
            </a:srgbClr>
          </a:solidFill>
        </p:spPr>
        <p:txBody>
          <a:bodyPr wrap="square" lIns="0" tIns="0" rIns="0" bIns="0" rtlCol="0"/>
          <a:lstStyle/>
          <a:p>
            <a:endParaRPr/>
          </a:p>
        </p:txBody>
      </p:sp>
      <p:sp>
        <p:nvSpPr>
          <p:cNvPr id="85" name="object 85"/>
          <p:cNvSpPr/>
          <p:nvPr/>
        </p:nvSpPr>
        <p:spPr>
          <a:xfrm>
            <a:off x="1092029" y="2661305"/>
            <a:ext cx="7220" cy="7220"/>
          </a:xfrm>
          <a:custGeom>
            <a:avLst/>
            <a:gdLst/>
            <a:ahLst/>
            <a:cxnLst/>
            <a:rect l="l" t="t" r="r" b="b"/>
            <a:pathLst>
              <a:path w="15875" h="15875">
                <a:moveTo>
                  <a:pt x="12062" y="0"/>
                </a:moveTo>
                <a:lnTo>
                  <a:pt x="3476" y="0"/>
                </a:lnTo>
                <a:lnTo>
                  <a:pt x="0" y="3476"/>
                </a:lnTo>
                <a:lnTo>
                  <a:pt x="0" y="12062"/>
                </a:lnTo>
                <a:lnTo>
                  <a:pt x="3476" y="15538"/>
                </a:lnTo>
                <a:lnTo>
                  <a:pt x="12062" y="15538"/>
                </a:lnTo>
                <a:lnTo>
                  <a:pt x="15538" y="12062"/>
                </a:lnTo>
                <a:lnTo>
                  <a:pt x="15538" y="3476"/>
                </a:lnTo>
                <a:lnTo>
                  <a:pt x="12062" y="0"/>
                </a:lnTo>
                <a:close/>
              </a:path>
            </a:pathLst>
          </a:custGeom>
          <a:solidFill>
            <a:srgbClr val="676767"/>
          </a:solidFill>
        </p:spPr>
        <p:txBody>
          <a:bodyPr wrap="square" lIns="0" tIns="0" rIns="0" bIns="0" rtlCol="0"/>
          <a:lstStyle/>
          <a:p>
            <a:endParaRPr/>
          </a:p>
        </p:txBody>
      </p:sp>
      <p:sp>
        <p:nvSpPr>
          <p:cNvPr id="86" name="object 86"/>
          <p:cNvSpPr/>
          <p:nvPr/>
        </p:nvSpPr>
        <p:spPr>
          <a:xfrm>
            <a:off x="1122555" y="2776215"/>
            <a:ext cx="13574" cy="13574"/>
          </a:xfrm>
          <a:custGeom>
            <a:avLst/>
            <a:gdLst/>
            <a:ahLst/>
            <a:cxnLst/>
            <a:rect l="l" t="t" r="r" b="b"/>
            <a:pathLst>
              <a:path w="29844" h="29845">
                <a:moveTo>
                  <a:pt x="22868" y="0"/>
                </a:moveTo>
                <a:lnTo>
                  <a:pt x="6596" y="0"/>
                </a:lnTo>
                <a:lnTo>
                  <a:pt x="0" y="6596"/>
                </a:lnTo>
                <a:lnTo>
                  <a:pt x="0" y="22868"/>
                </a:lnTo>
                <a:lnTo>
                  <a:pt x="6596" y="29465"/>
                </a:lnTo>
                <a:lnTo>
                  <a:pt x="22868" y="29465"/>
                </a:lnTo>
                <a:lnTo>
                  <a:pt x="29465" y="22868"/>
                </a:lnTo>
                <a:lnTo>
                  <a:pt x="29465" y="6596"/>
                </a:lnTo>
                <a:lnTo>
                  <a:pt x="22868" y="0"/>
                </a:lnTo>
                <a:close/>
              </a:path>
            </a:pathLst>
          </a:custGeom>
          <a:solidFill>
            <a:srgbClr val="000000">
              <a:alpha val="16998"/>
            </a:srgbClr>
          </a:solidFill>
        </p:spPr>
        <p:txBody>
          <a:bodyPr wrap="square" lIns="0" tIns="0" rIns="0" bIns="0" rtlCol="0"/>
          <a:lstStyle/>
          <a:p>
            <a:endParaRPr/>
          </a:p>
        </p:txBody>
      </p:sp>
      <p:sp>
        <p:nvSpPr>
          <p:cNvPr id="87" name="object 87"/>
          <p:cNvSpPr/>
          <p:nvPr/>
        </p:nvSpPr>
        <p:spPr>
          <a:xfrm>
            <a:off x="1123883" y="2775018"/>
            <a:ext cx="13574" cy="13574"/>
          </a:xfrm>
          <a:custGeom>
            <a:avLst/>
            <a:gdLst/>
            <a:ahLst/>
            <a:cxnLst/>
            <a:rect l="l" t="t" r="r" b="b"/>
            <a:pathLst>
              <a:path w="29844" h="29845">
                <a:moveTo>
                  <a:pt x="22868" y="0"/>
                </a:moveTo>
                <a:lnTo>
                  <a:pt x="6596" y="0"/>
                </a:lnTo>
                <a:lnTo>
                  <a:pt x="0" y="6596"/>
                </a:lnTo>
                <a:lnTo>
                  <a:pt x="0" y="22868"/>
                </a:lnTo>
                <a:lnTo>
                  <a:pt x="6596" y="29465"/>
                </a:lnTo>
                <a:lnTo>
                  <a:pt x="22868" y="29465"/>
                </a:lnTo>
                <a:lnTo>
                  <a:pt x="29465" y="22868"/>
                </a:lnTo>
                <a:lnTo>
                  <a:pt x="29465" y="6596"/>
                </a:lnTo>
                <a:lnTo>
                  <a:pt x="22868" y="0"/>
                </a:lnTo>
                <a:close/>
              </a:path>
            </a:pathLst>
          </a:custGeom>
          <a:solidFill>
            <a:srgbClr val="676767"/>
          </a:solidFill>
        </p:spPr>
        <p:txBody>
          <a:bodyPr wrap="square" lIns="0" tIns="0" rIns="0" bIns="0" rtlCol="0"/>
          <a:lstStyle/>
          <a:p>
            <a:endParaRPr/>
          </a:p>
        </p:txBody>
      </p:sp>
      <p:sp>
        <p:nvSpPr>
          <p:cNvPr id="88" name="object 88"/>
          <p:cNvSpPr/>
          <p:nvPr/>
        </p:nvSpPr>
        <p:spPr>
          <a:xfrm>
            <a:off x="1184218" y="2710302"/>
            <a:ext cx="13574" cy="13574"/>
          </a:xfrm>
          <a:custGeom>
            <a:avLst/>
            <a:gdLst/>
            <a:ahLst/>
            <a:cxnLst/>
            <a:rect l="l" t="t" r="r" b="b"/>
            <a:pathLst>
              <a:path w="29844" h="29845">
                <a:moveTo>
                  <a:pt x="7057" y="0"/>
                </a:moveTo>
                <a:lnTo>
                  <a:pt x="335" y="6471"/>
                </a:lnTo>
                <a:lnTo>
                  <a:pt x="0" y="22742"/>
                </a:lnTo>
                <a:lnTo>
                  <a:pt x="6471" y="29465"/>
                </a:lnTo>
                <a:lnTo>
                  <a:pt x="22742" y="29789"/>
                </a:lnTo>
                <a:lnTo>
                  <a:pt x="29465" y="23329"/>
                </a:lnTo>
                <a:lnTo>
                  <a:pt x="29789" y="7057"/>
                </a:lnTo>
                <a:lnTo>
                  <a:pt x="23329" y="335"/>
                </a:lnTo>
                <a:lnTo>
                  <a:pt x="7057" y="0"/>
                </a:lnTo>
                <a:close/>
              </a:path>
            </a:pathLst>
          </a:custGeom>
          <a:solidFill>
            <a:srgbClr val="000000">
              <a:alpha val="16998"/>
            </a:srgbClr>
          </a:solidFill>
        </p:spPr>
        <p:txBody>
          <a:bodyPr wrap="square" lIns="0" tIns="0" rIns="0" bIns="0" rtlCol="0"/>
          <a:lstStyle/>
          <a:p>
            <a:endParaRPr/>
          </a:p>
        </p:txBody>
      </p:sp>
      <p:sp>
        <p:nvSpPr>
          <p:cNvPr id="89" name="object 89"/>
          <p:cNvSpPr/>
          <p:nvPr/>
        </p:nvSpPr>
        <p:spPr>
          <a:xfrm>
            <a:off x="1185546" y="2709105"/>
            <a:ext cx="13574" cy="13574"/>
          </a:xfrm>
          <a:custGeom>
            <a:avLst/>
            <a:gdLst/>
            <a:ahLst/>
            <a:cxnLst/>
            <a:rect l="l" t="t" r="r" b="b"/>
            <a:pathLst>
              <a:path w="29844" h="29845">
                <a:moveTo>
                  <a:pt x="7057" y="0"/>
                </a:moveTo>
                <a:lnTo>
                  <a:pt x="335" y="6471"/>
                </a:lnTo>
                <a:lnTo>
                  <a:pt x="0" y="22742"/>
                </a:lnTo>
                <a:lnTo>
                  <a:pt x="6471" y="29465"/>
                </a:lnTo>
                <a:lnTo>
                  <a:pt x="22732" y="29789"/>
                </a:lnTo>
                <a:lnTo>
                  <a:pt x="29465" y="23329"/>
                </a:lnTo>
                <a:lnTo>
                  <a:pt x="29789" y="7057"/>
                </a:lnTo>
                <a:lnTo>
                  <a:pt x="23329" y="324"/>
                </a:lnTo>
                <a:lnTo>
                  <a:pt x="7057" y="0"/>
                </a:lnTo>
                <a:close/>
              </a:path>
            </a:pathLst>
          </a:custGeom>
          <a:solidFill>
            <a:srgbClr val="676767"/>
          </a:solidFill>
        </p:spPr>
        <p:txBody>
          <a:bodyPr wrap="square" lIns="0" tIns="0" rIns="0" bIns="0" rtlCol="0"/>
          <a:lstStyle/>
          <a:p>
            <a:endParaRPr/>
          </a:p>
        </p:txBody>
      </p:sp>
      <p:sp>
        <p:nvSpPr>
          <p:cNvPr id="90" name="object 90"/>
          <p:cNvSpPr/>
          <p:nvPr/>
        </p:nvSpPr>
        <p:spPr>
          <a:xfrm>
            <a:off x="1059422" y="2708182"/>
            <a:ext cx="13574" cy="13574"/>
          </a:xfrm>
          <a:custGeom>
            <a:avLst/>
            <a:gdLst/>
            <a:ahLst/>
            <a:cxnLst/>
            <a:rect l="l" t="t" r="r" b="b"/>
            <a:pathLst>
              <a:path w="29844" h="29845">
                <a:moveTo>
                  <a:pt x="7057" y="0"/>
                </a:moveTo>
                <a:lnTo>
                  <a:pt x="335" y="6471"/>
                </a:lnTo>
                <a:lnTo>
                  <a:pt x="0" y="22742"/>
                </a:lnTo>
                <a:lnTo>
                  <a:pt x="6471" y="29465"/>
                </a:lnTo>
                <a:lnTo>
                  <a:pt x="22742" y="29789"/>
                </a:lnTo>
                <a:lnTo>
                  <a:pt x="29465" y="23329"/>
                </a:lnTo>
                <a:lnTo>
                  <a:pt x="29789" y="7057"/>
                </a:lnTo>
                <a:lnTo>
                  <a:pt x="23329" y="335"/>
                </a:lnTo>
                <a:lnTo>
                  <a:pt x="7057" y="0"/>
                </a:lnTo>
                <a:close/>
              </a:path>
            </a:pathLst>
          </a:custGeom>
          <a:solidFill>
            <a:srgbClr val="000000">
              <a:alpha val="16998"/>
            </a:srgbClr>
          </a:solidFill>
        </p:spPr>
        <p:txBody>
          <a:bodyPr wrap="square" lIns="0" tIns="0" rIns="0" bIns="0" rtlCol="0"/>
          <a:lstStyle/>
          <a:p>
            <a:endParaRPr/>
          </a:p>
        </p:txBody>
      </p:sp>
      <p:sp>
        <p:nvSpPr>
          <p:cNvPr id="91" name="object 91"/>
          <p:cNvSpPr/>
          <p:nvPr/>
        </p:nvSpPr>
        <p:spPr>
          <a:xfrm>
            <a:off x="1061497" y="2706905"/>
            <a:ext cx="13574" cy="13574"/>
          </a:xfrm>
          <a:custGeom>
            <a:avLst/>
            <a:gdLst/>
            <a:ahLst/>
            <a:cxnLst/>
            <a:rect l="l" t="t" r="r" b="b"/>
            <a:pathLst>
              <a:path w="29844" h="29845">
                <a:moveTo>
                  <a:pt x="7057" y="0"/>
                </a:moveTo>
                <a:lnTo>
                  <a:pt x="335" y="6471"/>
                </a:lnTo>
                <a:lnTo>
                  <a:pt x="0" y="22742"/>
                </a:lnTo>
                <a:lnTo>
                  <a:pt x="6471" y="29465"/>
                </a:lnTo>
                <a:lnTo>
                  <a:pt x="22742" y="29789"/>
                </a:lnTo>
                <a:lnTo>
                  <a:pt x="29465" y="23329"/>
                </a:lnTo>
                <a:lnTo>
                  <a:pt x="29800" y="7057"/>
                </a:lnTo>
                <a:lnTo>
                  <a:pt x="23329" y="324"/>
                </a:lnTo>
                <a:lnTo>
                  <a:pt x="7057" y="0"/>
                </a:lnTo>
                <a:close/>
              </a:path>
            </a:pathLst>
          </a:custGeom>
          <a:solidFill>
            <a:srgbClr val="676767"/>
          </a:solidFill>
        </p:spPr>
        <p:txBody>
          <a:bodyPr wrap="square" lIns="0" tIns="0" rIns="0" bIns="0" rtlCol="0"/>
          <a:lstStyle/>
          <a:p>
            <a:endParaRPr/>
          </a:p>
        </p:txBody>
      </p:sp>
      <p:sp>
        <p:nvSpPr>
          <p:cNvPr id="92" name="object 92"/>
          <p:cNvSpPr/>
          <p:nvPr/>
        </p:nvSpPr>
        <p:spPr>
          <a:xfrm>
            <a:off x="1123762" y="2689699"/>
            <a:ext cx="24838" cy="37255"/>
          </a:xfrm>
          <a:custGeom>
            <a:avLst/>
            <a:gdLst/>
            <a:ahLst/>
            <a:cxnLst/>
            <a:rect l="l" t="t" r="r" b="b"/>
            <a:pathLst>
              <a:path w="54610" h="81914">
                <a:moveTo>
                  <a:pt x="48103" y="0"/>
                </a:moveTo>
                <a:lnTo>
                  <a:pt x="0" y="69076"/>
                </a:lnTo>
                <a:lnTo>
                  <a:pt x="18711" y="81683"/>
                </a:lnTo>
                <a:lnTo>
                  <a:pt x="54500" y="12575"/>
                </a:lnTo>
                <a:lnTo>
                  <a:pt x="48103" y="0"/>
                </a:lnTo>
                <a:close/>
              </a:path>
            </a:pathLst>
          </a:custGeom>
          <a:solidFill>
            <a:srgbClr val="000000">
              <a:alpha val="16998"/>
            </a:srgbClr>
          </a:solidFill>
        </p:spPr>
        <p:txBody>
          <a:bodyPr wrap="square" lIns="0" tIns="0" rIns="0" bIns="0" rtlCol="0"/>
          <a:lstStyle/>
          <a:p>
            <a:endParaRPr/>
          </a:p>
        </p:txBody>
      </p:sp>
      <p:sp>
        <p:nvSpPr>
          <p:cNvPr id="93" name="object 93"/>
          <p:cNvSpPr/>
          <p:nvPr/>
        </p:nvSpPr>
        <p:spPr>
          <a:xfrm>
            <a:off x="1083064" y="2669844"/>
            <a:ext cx="50543" cy="65846"/>
          </a:xfrm>
          <a:custGeom>
            <a:avLst/>
            <a:gdLst/>
            <a:ahLst/>
            <a:cxnLst/>
            <a:rect l="l" t="t" r="r" b="b"/>
            <a:pathLst>
              <a:path w="111125" h="144779">
                <a:moveTo>
                  <a:pt x="0" y="0"/>
                </a:moveTo>
                <a:lnTo>
                  <a:pt x="0" y="6313"/>
                </a:lnTo>
                <a:lnTo>
                  <a:pt x="99421" y="144655"/>
                </a:lnTo>
                <a:lnTo>
                  <a:pt x="110876" y="120153"/>
                </a:lnTo>
                <a:lnTo>
                  <a:pt x="0" y="0"/>
                </a:lnTo>
                <a:close/>
              </a:path>
            </a:pathLst>
          </a:custGeom>
          <a:solidFill>
            <a:srgbClr val="000000">
              <a:alpha val="16998"/>
            </a:srgbClr>
          </a:solidFill>
        </p:spPr>
        <p:txBody>
          <a:bodyPr wrap="square" lIns="0" tIns="0" rIns="0" bIns="0" rtlCol="0"/>
          <a:lstStyle/>
          <a:p>
            <a:endParaRPr/>
          </a:p>
        </p:txBody>
      </p:sp>
      <p:sp>
        <p:nvSpPr>
          <p:cNvPr id="94" name="object 94"/>
          <p:cNvSpPr/>
          <p:nvPr/>
        </p:nvSpPr>
        <p:spPr>
          <a:xfrm>
            <a:off x="1084820" y="2668372"/>
            <a:ext cx="50543" cy="65846"/>
          </a:xfrm>
          <a:custGeom>
            <a:avLst/>
            <a:gdLst/>
            <a:ahLst/>
            <a:cxnLst/>
            <a:rect l="l" t="t" r="r" b="b"/>
            <a:pathLst>
              <a:path w="111125" h="144779">
                <a:moveTo>
                  <a:pt x="0" y="0"/>
                </a:moveTo>
                <a:lnTo>
                  <a:pt x="0" y="6313"/>
                </a:lnTo>
                <a:lnTo>
                  <a:pt x="99421" y="144655"/>
                </a:lnTo>
                <a:lnTo>
                  <a:pt x="110876" y="120153"/>
                </a:lnTo>
                <a:lnTo>
                  <a:pt x="0" y="0"/>
                </a:lnTo>
                <a:close/>
              </a:path>
            </a:pathLst>
          </a:custGeom>
          <a:solidFill>
            <a:srgbClr val="676767"/>
          </a:solidFill>
        </p:spPr>
        <p:txBody>
          <a:bodyPr wrap="square" lIns="0" tIns="0" rIns="0" bIns="0" rtlCol="0"/>
          <a:lstStyle/>
          <a:p>
            <a:endParaRPr/>
          </a:p>
        </p:txBody>
      </p:sp>
      <p:sp>
        <p:nvSpPr>
          <p:cNvPr id="95" name="object 95"/>
          <p:cNvSpPr/>
          <p:nvPr/>
        </p:nvSpPr>
        <p:spPr>
          <a:xfrm>
            <a:off x="1125517" y="2688230"/>
            <a:ext cx="24838" cy="37255"/>
          </a:xfrm>
          <a:custGeom>
            <a:avLst/>
            <a:gdLst/>
            <a:ahLst/>
            <a:cxnLst/>
            <a:rect l="l" t="t" r="r" b="b"/>
            <a:pathLst>
              <a:path w="54610" h="81914">
                <a:moveTo>
                  <a:pt x="48103" y="0"/>
                </a:moveTo>
                <a:lnTo>
                  <a:pt x="0" y="69065"/>
                </a:lnTo>
                <a:lnTo>
                  <a:pt x="18711" y="81672"/>
                </a:lnTo>
                <a:lnTo>
                  <a:pt x="54500" y="12565"/>
                </a:lnTo>
                <a:lnTo>
                  <a:pt x="48103" y="0"/>
                </a:lnTo>
                <a:close/>
              </a:path>
            </a:pathLst>
          </a:custGeom>
          <a:solidFill>
            <a:srgbClr val="676767"/>
          </a:solidFill>
        </p:spPr>
        <p:txBody>
          <a:bodyPr wrap="square" lIns="0" tIns="0" rIns="0" bIns="0" rtlCol="0"/>
          <a:lstStyle/>
          <a:p>
            <a:endParaRPr/>
          </a:p>
        </p:txBody>
      </p:sp>
      <p:sp>
        <p:nvSpPr>
          <p:cNvPr id="96" name="object 96"/>
          <p:cNvSpPr/>
          <p:nvPr/>
        </p:nvSpPr>
        <p:spPr>
          <a:xfrm>
            <a:off x="1125378" y="2719491"/>
            <a:ext cx="6354" cy="6354"/>
          </a:xfrm>
          <a:custGeom>
            <a:avLst/>
            <a:gdLst/>
            <a:ahLst/>
            <a:cxnLst/>
            <a:rect l="l" t="t" r="r" b="b"/>
            <a:pathLst>
              <a:path w="13969" h="13970">
                <a:moveTo>
                  <a:pt x="10627" y="0"/>
                </a:moveTo>
                <a:lnTo>
                  <a:pt x="3067" y="0"/>
                </a:lnTo>
                <a:lnTo>
                  <a:pt x="0" y="3067"/>
                </a:lnTo>
                <a:lnTo>
                  <a:pt x="0" y="10627"/>
                </a:lnTo>
                <a:lnTo>
                  <a:pt x="3067" y="13695"/>
                </a:lnTo>
                <a:lnTo>
                  <a:pt x="10627" y="13695"/>
                </a:lnTo>
                <a:lnTo>
                  <a:pt x="13685" y="10627"/>
                </a:lnTo>
                <a:lnTo>
                  <a:pt x="13685" y="3067"/>
                </a:lnTo>
                <a:lnTo>
                  <a:pt x="10627" y="0"/>
                </a:lnTo>
                <a:close/>
              </a:path>
            </a:pathLst>
          </a:custGeom>
          <a:solidFill>
            <a:srgbClr val="000000">
              <a:alpha val="16998"/>
            </a:srgbClr>
          </a:solidFill>
        </p:spPr>
        <p:txBody>
          <a:bodyPr wrap="square" lIns="0" tIns="0" rIns="0" bIns="0" rtlCol="0"/>
          <a:lstStyle/>
          <a:p>
            <a:endParaRPr/>
          </a:p>
        </p:txBody>
      </p:sp>
      <p:sp>
        <p:nvSpPr>
          <p:cNvPr id="97" name="object 97"/>
          <p:cNvSpPr/>
          <p:nvPr/>
        </p:nvSpPr>
        <p:spPr>
          <a:xfrm>
            <a:off x="1126101" y="2718773"/>
            <a:ext cx="6354" cy="6354"/>
          </a:xfrm>
          <a:custGeom>
            <a:avLst/>
            <a:gdLst/>
            <a:ahLst/>
            <a:cxnLst/>
            <a:rect l="l" t="t" r="r" b="b"/>
            <a:pathLst>
              <a:path w="13969" h="13970">
                <a:moveTo>
                  <a:pt x="10627" y="0"/>
                </a:moveTo>
                <a:lnTo>
                  <a:pt x="3057" y="0"/>
                </a:lnTo>
                <a:lnTo>
                  <a:pt x="0" y="3067"/>
                </a:lnTo>
                <a:lnTo>
                  <a:pt x="0" y="10627"/>
                </a:lnTo>
                <a:lnTo>
                  <a:pt x="3057" y="13695"/>
                </a:lnTo>
                <a:lnTo>
                  <a:pt x="10627" y="13695"/>
                </a:lnTo>
                <a:lnTo>
                  <a:pt x="13685" y="10627"/>
                </a:lnTo>
                <a:lnTo>
                  <a:pt x="13685" y="3067"/>
                </a:lnTo>
                <a:lnTo>
                  <a:pt x="10627" y="0"/>
                </a:lnTo>
                <a:close/>
              </a:path>
            </a:pathLst>
          </a:custGeom>
          <a:solidFill>
            <a:srgbClr val="797979"/>
          </a:solidFill>
        </p:spPr>
        <p:txBody>
          <a:bodyPr wrap="square" lIns="0" tIns="0" rIns="0" bIns="0" rtlCol="0"/>
          <a:lstStyle/>
          <a:p>
            <a:endParaRPr/>
          </a:p>
        </p:txBody>
      </p:sp>
      <p:sp>
        <p:nvSpPr>
          <p:cNvPr id="98" name="object 98"/>
          <p:cNvSpPr/>
          <p:nvPr/>
        </p:nvSpPr>
        <p:spPr>
          <a:xfrm>
            <a:off x="7782" y="3663205"/>
            <a:ext cx="3354052" cy="78842"/>
          </a:xfrm>
          <a:custGeom>
            <a:avLst/>
            <a:gdLst/>
            <a:ahLst/>
            <a:cxnLst/>
            <a:rect l="l" t="t" r="r" b="b"/>
            <a:pathLst>
              <a:path w="7374255" h="173354">
                <a:moveTo>
                  <a:pt x="0" y="172832"/>
                </a:moveTo>
                <a:lnTo>
                  <a:pt x="7374257" y="172832"/>
                </a:lnTo>
                <a:lnTo>
                  <a:pt x="7374257" y="0"/>
                </a:lnTo>
                <a:lnTo>
                  <a:pt x="0" y="0"/>
                </a:lnTo>
                <a:lnTo>
                  <a:pt x="0" y="172832"/>
                </a:lnTo>
                <a:close/>
              </a:path>
            </a:pathLst>
          </a:custGeom>
          <a:solidFill>
            <a:srgbClr val="060A0E">
              <a:alpha val="8998"/>
            </a:srgbClr>
          </a:solidFill>
        </p:spPr>
        <p:txBody>
          <a:bodyPr wrap="square" lIns="0" tIns="0" rIns="0" bIns="0" rtlCol="0"/>
          <a:lstStyle/>
          <a:p>
            <a:endParaRPr/>
          </a:p>
        </p:txBody>
      </p:sp>
      <p:sp>
        <p:nvSpPr>
          <p:cNvPr id="99" name="object 99"/>
          <p:cNvSpPr/>
          <p:nvPr/>
        </p:nvSpPr>
        <p:spPr>
          <a:xfrm>
            <a:off x="7782" y="3618198"/>
            <a:ext cx="3354052" cy="45053"/>
          </a:xfrm>
          <a:custGeom>
            <a:avLst/>
            <a:gdLst/>
            <a:ahLst/>
            <a:cxnLst/>
            <a:rect l="l" t="t" r="r" b="b"/>
            <a:pathLst>
              <a:path w="7374255" h="99059">
                <a:moveTo>
                  <a:pt x="0" y="98960"/>
                </a:moveTo>
                <a:lnTo>
                  <a:pt x="7374257" y="98960"/>
                </a:lnTo>
                <a:lnTo>
                  <a:pt x="7374257" y="0"/>
                </a:lnTo>
                <a:lnTo>
                  <a:pt x="0" y="0"/>
                </a:lnTo>
                <a:lnTo>
                  <a:pt x="0" y="98960"/>
                </a:lnTo>
                <a:close/>
              </a:path>
            </a:pathLst>
          </a:custGeom>
          <a:solidFill>
            <a:srgbClr val="060A0E">
              <a:alpha val="6999"/>
            </a:srgbClr>
          </a:solidFill>
        </p:spPr>
        <p:txBody>
          <a:bodyPr wrap="square" lIns="0" tIns="0" rIns="0" bIns="0" rtlCol="0"/>
          <a:lstStyle/>
          <a:p>
            <a:endParaRPr/>
          </a:p>
        </p:txBody>
      </p:sp>
      <p:sp>
        <p:nvSpPr>
          <p:cNvPr id="100" name="object 100"/>
          <p:cNvSpPr/>
          <p:nvPr/>
        </p:nvSpPr>
        <p:spPr>
          <a:xfrm>
            <a:off x="2364567" y="3510699"/>
            <a:ext cx="951080" cy="0"/>
          </a:xfrm>
          <a:custGeom>
            <a:avLst/>
            <a:gdLst/>
            <a:ahLst/>
            <a:cxnLst/>
            <a:rect l="l" t="t" r="r" b="b"/>
            <a:pathLst>
              <a:path w="2091054">
                <a:moveTo>
                  <a:pt x="0" y="0"/>
                </a:moveTo>
                <a:lnTo>
                  <a:pt x="2090826" y="0"/>
                </a:lnTo>
              </a:path>
            </a:pathLst>
          </a:custGeom>
          <a:ln w="47443">
            <a:solidFill>
              <a:srgbClr val="060A0E"/>
            </a:solidFill>
          </a:ln>
        </p:spPr>
        <p:txBody>
          <a:bodyPr wrap="square" lIns="0" tIns="0" rIns="0" bIns="0" rtlCol="0"/>
          <a:lstStyle/>
          <a:p>
            <a:endParaRPr/>
          </a:p>
        </p:txBody>
      </p:sp>
      <p:sp>
        <p:nvSpPr>
          <p:cNvPr id="101" name="object 101"/>
          <p:cNvSpPr/>
          <p:nvPr/>
        </p:nvSpPr>
        <p:spPr>
          <a:xfrm>
            <a:off x="1256490" y="3510318"/>
            <a:ext cx="951080" cy="0"/>
          </a:xfrm>
          <a:custGeom>
            <a:avLst/>
            <a:gdLst/>
            <a:ahLst/>
            <a:cxnLst/>
            <a:rect l="l" t="t" r="r" b="b"/>
            <a:pathLst>
              <a:path w="2091054">
                <a:moveTo>
                  <a:pt x="0" y="0"/>
                </a:moveTo>
                <a:lnTo>
                  <a:pt x="2090826" y="0"/>
                </a:lnTo>
              </a:path>
            </a:pathLst>
          </a:custGeom>
          <a:ln w="47443">
            <a:solidFill>
              <a:srgbClr val="060A0E"/>
            </a:solidFill>
          </a:ln>
        </p:spPr>
        <p:txBody>
          <a:bodyPr wrap="square" lIns="0" tIns="0" rIns="0" bIns="0" rtlCol="0"/>
          <a:lstStyle/>
          <a:p>
            <a:endParaRPr/>
          </a:p>
        </p:txBody>
      </p:sp>
      <p:sp>
        <p:nvSpPr>
          <p:cNvPr id="102" name="object 102"/>
          <p:cNvSpPr/>
          <p:nvPr/>
        </p:nvSpPr>
        <p:spPr>
          <a:xfrm>
            <a:off x="95388" y="3500299"/>
            <a:ext cx="951080" cy="0"/>
          </a:xfrm>
          <a:custGeom>
            <a:avLst/>
            <a:gdLst/>
            <a:ahLst/>
            <a:cxnLst/>
            <a:rect l="l" t="t" r="r" b="b"/>
            <a:pathLst>
              <a:path w="2091055">
                <a:moveTo>
                  <a:pt x="0" y="0"/>
                </a:moveTo>
                <a:lnTo>
                  <a:pt x="2090836" y="0"/>
                </a:lnTo>
              </a:path>
            </a:pathLst>
          </a:custGeom>
          <a:ln w="47443">
            <a:solidFill>
              <a:srgbClr val="060A0E"/>
            </a:solidFill>
          </a:ln>
        </p:spPr>
        <p:txBody>
          <a:bodyPr wrap="square" lIns="0" tIns="0" rIns="0" bIns="0" rtlCol="0"/>
          <a:lstStyle/>
          <a:p>
            <a:endParaRPr/>
          </a:p>
        </p:txBody>
      </p:sp>
      <p:sp>
        <p:nvSpPr>
          <p:cNvPr id="103" name="object 103"/>
          <p:cNvSpPr/>
          <p:nvPr/>
        </p:nvSpPr>
        <p:spPr>
          <a:xfrm>
            <a:off x="248353" y="3430684"/>
            <a:ext cx="67295" cy="354067"/>
          </a:xfrm>
          <a:custGeom>
            <a:avLst/>
            <a:gdLst/>
            <a:ahLst/>
            <a:cxnLst/>
            <a:rect l="l" t="t" r="r" b="b"/>
            <a:pathLst>
              <a:path w="147954" h="778509">
                <a:moveTo>
                  <a:pt x="44553" y="0"/>
                </a:moveTo>
                <a:lnTo>
                  <a:pt x="22145" y="0"/>
                </a:lnTo>
                <a:lnTo>
                  <a:pt x="13526" y="1740"/>
                </a:lnTo>
                <a:lnTo>
                  <a:pt x="6486" y="6485"/>
                </a:lnTo>
                <a:lnTo>
                  <a:pt x="1740" y="13521"/>
                </a:lnTo>
                <a:lnTo>
                  <a:pt x="0" y="22135"/>
                </a:lnTo>
                <a:lnTo>
                  <a:pt x="0" y="746992"/>
                </a:lnTo>
                <a:lnTo>
                  <a:pt x="2434" y="759050"/>
                </a:lnTo>
                <a:lnTo>
                  <a:pt x="9074" y="768895"/>
                </a:lnTo>
                <a:lnTo>
                  <a:pt x="18919" y="775532"/>
                </a:lnTo>
                <a:lnTo>
                  <a:pt x="30972" y="777965"/>
                </a:lnTo>
                <a:lnTo>
                  <a:pt x="116446" y="777965"/>
                </a:lnTo>
                <a:lnTo>
                  <a:pt x="128499" y="775532"/>
                </a:lnTo>
                <a:lnTo>
                  <a:pt x="138345" y="768895"/>
                </a:lnTo>
                <a:lnTo>
                  <a:pt x="144984" y="759050"/>
                </a:lnTo>
                <a:lnTo>
                  <a:pt x="147419" y="746992"/>
                </a:lnTo>
                <a:lnTo>
                  <a:pt x="147419" y="102855"/>
                </a:lnTo>
                <a:lnTo>
                  <a:pt x="139336" y="62819"/>
                </a:lnTo>
                <a:lnTo>
                  <a:pt x="117292" y="30126"/>
                </a:lnTo>
                <a:lnTo>
                  <a:pt x="84595" y="8083"/>
                </a:lnTo>
                <a:lnTo>
                  <a:pt x="44553" y="0"/>
                </a:lnTo>
                <a:close/>
              </a:path>
            </a:pathLst>
          </a:custGeom>
          <a:solidFill>
            <a:srgbClr val="333333"/>
          </a:solidFill>
        </p:spPr>
        <p:txBody>
          <a:bodyPr wrap="square" lIns="0" tIns="0" rIns="0" bIns="0" rtlCol="0"/>
          <a:lstStyle/>
          <a:p>
            <a:endParaRPr/>
          </a:p>
        </p:txBody>
      </p:sp>
      <p:sp>
        <p:nvSpPr>
          <p:cNvPr id="104" name="object 104"/>
          <p:cNvSpPr/>
          <p:nvPr/>
        </p:nvSpPr>
        <p:spPr>
          <a:xfrm>
            <a:off x="239684" y="3507864"/>
            <a:ext cx="0" cy="650663"/>
          </a:xfrm>
          <a:custGeom>
            <a:avLst/>
            <a:gdLst/>
            <a:ahLst/>
            <a:cxnLst/>
            <a:rect l="l" t="t" r="r" b="b"/>
            <a:pathLst>
              <a:path h="1430654">
                <a:moveTo>
                  <a:pt x="0" y="0"/>
                </a:moveTo>
                <a:lnTo>
                  <a:pt x="0" y="1430417"/>
                </a:lnTo>
              </a:path>
            </a:pathLst>
          </a:custGeom>
          <a:ln w="40658">
            <a:solidFill>
              <a:srgbClr val="888888"/>
            </a:solidFill>
          </a:ln>
        </p:spPr>
        <p:txBody>
          <a:bodyPr wrap="square" lIns="0" tIns="0" rIns="0" bIns="0" rtlCol="0"/>
          <a:lstStyle/>
          <a:p>
            <a:endParaRPr/>
          </a:p>
        </p:txBody>
      </p:sp>
      <p:sp>
        <p:nvSpPr>
          <p:cNvPr id="105" name="object 105"/>
          <p:cNvSpPr/>
          <p:nvPr/>
        </p:nvSpPr>
        <p:spPr>
          <a:xfrm>
            <a:off x="483712" y="3908183"/>
            <a:ext cx="0" cy="250388"/>
          </a:xfrm>
          <a:custGeom>
            <a:avLst/>
            <a:gdLst/>
            <a:ahLst/>
            <a:cxnLst/>
            <a:rect l="l" t="t" r="r" b="b"/>
            <a:pathLst>
              <a:path h="550545">
                <a:moveTo>
                  <a:pt x="0" y="0"/>
                </a:moveTo>
                <a:lnTo>
                  <a:pt x="0" y="550203"/>
                </a:lnTo>
              </a:path>
            </a:pathLst>
          </a:custGeom>
          <a:ln w="40815">
            <a:solidFill>
              <a:srgbClr val="888888"/>
            </a:solidFill>
          </a:ln>
        </p:spPr>
        <p:txBody>
          <a:bodyPr wrap="square" lIns="0" tIns="0" rIns="0" bIns="0" rtlCol="0"/>
          <a:lstStyle/>
          <a:p>
            <a:endParaRPr/>
          </a:p>
        </p:txBody>
      </p:sp>
      <p:sp>
        <p:nvSpPr>
          <p:cNvPr id="106" name="object 106"/>
          <p:cNvSpPr/>
          <p:nvPr/>
        </p:nvSpPr>
        <p:spPr>
          <a:xfrm>
            <a:off x="248356" y="3860439"/>
            <a:ext cx="259648" cy="71333"/>
          </a:xfrm>
          <a:custGeom>
            <a:avLst/>
            <a:gdLst/>
            <a:ahLst/>
            <a:cxnLst/>
            <a:rect l="l" t="t" r="r" b="b"/>
            <a:pathLst>
              <a:path w="570865" h="156845">
                <a:moveTo>
                  <a:pt x="520455" y="0"/>
                </a:moveTo>
                <a:lnTo>
                  <a:pt x="50103" y="0"/>
                </a:lnTo>
                <a:lnTo>
                  <a:pt x="30599" y="3936"/>
                </a:lnTo>
                <a:lnTo>
                  <a:pt x="14673" y="14673"/>
                </a:lnTo>
                <a:lnTo>
                  <a:pt x="3936" y="30599"/>
                </a:lnTo>
                <a:lnTo>
                  <a:pt x="0" y="50103"/>
                </a:lnTo>
                <a:lnTo>
                  <a:pt x="0" y="114300"/>
                </a:lnTo>
                <a:lnTo>
                  <a:pt x="3310" y="130697"/>
                </a:lnTo>
                <a:lnTo>
                  <a:pt x="12337" y="144087"/>
                </a:lnTo>
                <a:lnTo>
                  <a:pt x="25726" y="153114"/>
                </a:lnTo>
                <a:lnTo>
                  <a:pt x="42124" y="156424"/>
                </a:lnTo>
                <a:lnTo>
                  <a:pt x="528444" y="156424"/>
                </a:lnTo>
                <a:lnTo>
                  <a:pt x="544842" y="153114"/>
                </a:lnTo>
                <a:lnTo>
                  <a:pt x="558231" y="144087"/>
                </a:lnTo>
                <a:lnTo>
                  <a:pt x="567258" y="130697"/>
                </a:lnTo>
                <a:lnTo>
                  <a:pt x="570569" y="114300"/>
                </a:lnTo>
                <a:lnTo>
                  <a:pt x="570569" y="50103"/>
                </a:lnTo>
                <a:lnTo>
                  <a:pt x="566630" y="30599"/>
                </a:lnTo>
                <a:lnTo>
                  <a:pt x="555890" y="14673"/>
                </a:lnTo>
                <a:lnTo>
                  <a:pt x="539960" y="3936"/>
                </a:lnTo>
                <a:lnTo>
                  <a:pt x="520455" y="0"/>
                </a:lnTo>
                <a:close/>
              </a:path>
            </a:pathLst>
          </a:custGeom>
          <a:solidFill>
            <a:srgbClr val="333333"/>
          </a:solidFill>
        </p:spPr>
        <p:txBody>
          <a:bodyPr wrap="square" lIns="0" tIns="0" rIns="0" bIns="0" rtlCol="0"/>
          <a:lstStyle/>
          <a:p>
            <a:endParaRPr/>
          </a:p>
        </p:txBody>
      </p:sp>
      <p:sp>
        <p:nvSpPr>
          <p:cNvPr id="107" name="object 107"/>
          <p:cNvSpPr/>
          <p:nvPr/>
        </p:nvSpPr>
        <p:spPr>
          <a:xfrm>
            <a:off x="474436" y="4139360"/>
            <a:ext cx="18773" cy="19061"/>
          </a:xfrm>
          <a:custGeom>
            <a:avLst/>
            <a:gdLst/>
            <a:ahLst/>
            <a:cxnLst/>
            <a:rect l="l" t="t" r="r" b="b"/>
            <a:pathLst>
              <a:path w="41275" h="41909">
                <a:moveTo>
                  <a:pt x="0" y="0"/>
                </a:moveTo>
                <a:lnTo>
                  <a:pt x="40647" y="0"/>
                </a:lnTo>
                <a:lnTo>
                  <a:pt x="40647" y="41894"/>
                </a:lnTo>
                <a:lnTo>
                  <a:pt x="0" y="41894"/>
                </a:lnTo>
                <a:lnTo>
                  <a:pt x="0" y="0"/>
                </a:lnTo>
                <a:close/>
              </a:path>
            </a:pathLst>
          </a:custGeom>
          <a:solidFill>
            <a:srgbClr val="707780"/>
          </a:solidFill>
        </p:spPr>
        <p:txBody>
          <a:bodyPr wrap="square" lIns="0" tIns="0" rIns="0" bIns="0" rtlCol="0"/>
          <a:lstStyle/>
          <a:p>
            <a:endParaRPr/>
          </a:p>
        </p:txBody>
      </p:sp>
      <p:sp>
        <p:nvSpPr>
          <p:cNvPr id="108" name="object 108"/>
          <p:cNvSpPr/>
          <p:nvPr/>
        </p:nvSpPr>
        <p:spPr>
          <a:xfrm>
            <a:off x="230558" y="4139360"/>
            <a:ext cx="18484" cy="19061"/>
          </a:xfrm>
          <a:custGeom>
            <a:avLst/>
            <a:gdLst/>
            <a:ahLst/>
            <a:cxnLst/>
            <a:rect l="l" t="t" r="r" b="b"/>
            <a:pathLst>
              <a:path w="40640" h="41909">
                <a:moveTo>
                  <a:pt x="0" y="0"/>
                </a:moveTo>
                <a:lnTo>
                  <a:pt x="40396" y="0"/>
                </a:lnTo>
                <a:lnTo>
                  <a:pt x="40396" y="41894"/>
                </a:lnTo>
                <a:lnTo>
                  <a:pt x="0" y="41894"/>
                </a:lnTo>
                <a:lnTo>
                  <a:pt x="0" y="0"/>
                </a:lnTo>
                <a:close/>
              </a:path>
            </a:pathLst>
          </a:custGeom>
          <a:solidFill>
            <a:srgbClr val="707780"/>
          </a:solidFill>
        </p:spPr>
        <p:txBody>
          <a:bodyPr wrap="square" lIns="0" tIns="0" rIns="0" bIns="0" rtlCol="0"/>
          <a:lstStyle/>
          <a:p>
            <a:endParaRPr/>
          </a:p>
        </p:txBody>
      </p:sp>
      <p:sp>
        <p:nvSpPr>
          <p:cNvPr id="109" name="object 109"/>
          <p:cNvSpPr/>
          <p:nvPr/>
        </p:nvSpPr>
        <p:spPr>
          <a:xfrm>
            <a:off x="1392176" y="3431212"/>
            <a:ext cx="67295" cy="354067"/>
          </a:xfrm>
          <a:custGeom>
            <a:avLst/>
            <a:gdLst/>
            <a:ahLst/>
            <a:cxnLst/>
            <a:rect l="l" t="t" r="r" b="b"/>
            <a:pathLst>
              <a:path w="147955" h="778509">
                <a:moveTo>
                  <a:pt x="44553" y="0"/>
                </a:moveTo>
                <a:lnTo>
                  <a:pt x="22145" y="0"/>
                </a:lnTo>
                <a:lnTo>
                  <a:pt x="13526" y="1740"/>
                </a:lnTo>
                <a:lnTo>
                  <a:pt x="6486" y="6485"/>
                </a:lnTo>
                <a:lnTo>
                  <a:pt x="1740" y="13521"/>
                </a:lnTo>
                <a:lnTo>
                  <a:pt x="0" y="22135"/>
                </a:lnTo>
                <a:lnTo>
                  <a:pt x="0" y="746992"/>
                </a:lnTo>
                <a:lnTo>
                  <a:pt x="2434" y="759050"/>
                </a:lnTo>
                <a:lnTo>
                  <a:pt x="9074" y="768895"/>
                </a:lnTo>
                <a:lnTo>
                  <a:pt x="18919" y="775532"/>
                </a:lnTo>
                <a:lnTo>
                  <a:pt x="30972" y="777965"/>
                </a:lnTo>
                <a:lnTo>
                  <a:pt x="116446" y="777965"/>
                </a:lnTo>
                <a:lnTo>
                  <a:pt x="128499" y="775532"/>
                </a:lnTo>
                <a:lnTo>
                  <a:pt x="138345" y="768895"/>
                </a:lnTo>
                <a:lnTo>
                  <a:pt x="144984" y="759050"/>
                </a:lnTo>
                <a:lnTo>
                  <a:pt x="147419" y="746992"/>
                </a:lnTo>
                <a:lnTo>
                  <a:pt x="147419" y="102855"/>
                </a:lnTo>
                <a:lnTo>
                  <a:pt x="139336" y="62819"/>
                </a:lnTo>
                <a:lnTo>
                  <a:pt x="117292" y="30126"/>
                </a:lnTo>
                <a:lnTo>
                  <a:pt x="84595" y="8083"/>
                </a:lnTo>
                <a:lnTo>
                  <a:pt x="44553" y="0"/>
                </a:lnTo>
                <a:close/>
              </a:path>
            </a:pathLst>
          </a:custGeom>
          <a:solidFill>
            <a:srgbClr val="333333"/>
          </a:solidFill>
        </p:spPr>
        <p:txBody>
          <a:bodyPr wrap="square" lIns="0" tIns="0" rIns="0" bIns="0" rtlCol="0"/>
          <a:lstStyle/>
          <a:p>
            <a:endParaRPr/>
          </a:p>
        </p:txBody>
      </p:sp>
      <p:sp>
        <p:nvSpPr>
          <p:cNvPr id="110" name="object 110"/>
          <p:cNvSpPr/>
          <p:nvPr/>
        </p:nvSpPr>
        <p:spPr>
          <a:xfrm>
            <a:off x="1383511" y="3508387"/>
            <a:ext cx="0" cy="382947"/>
          </a:xfrm>
          <a:custGeom>
            <a:avLst/>
            <a:gdLst/>
            <a:ahLst/>
            <a:cxnLst/>
            <a:rect l="l" t="t" r="r" b="b"/>
            <a:pathLst>
              <a:path h="842009">
                <a:moveTo>
                  <a:pt x="0" y="0"/>
                </a:moveTo>
                <a:lnTo>
                  <a:pt x="0" y="841785"/>
                </a:lnTo>
              </a:path>
            </a:pathLst>
          </a:custGeom>
          <a:ln w="40668">
            <a:solidFill>
              <a:srgbClr val="888888"/>
            </a:solidFill>
          </a:ln>
        </p:spPr>
        <p:txBody>
          <a:bodyPr wrap="square" lIns="0" tIns="0" rIns="0" bIns="0" rtlCol="0"/>
          <a:lstStyle/>
          <a:p>
            <a:endParaRPr/>
          </a:p>
        </p:txBody>
      </p:sp>
      <p:sp>
        <p:nvSpPr>
          <p:cNvPr id="111" name="object 111"/>
          <p:cNvSpPr/>
          <p:nvPr/>
        </p:nvSpPr>
        <p:spPr>
          <a:xfrm>
            <a:off x="1383511" y="3957864"/>
            <a:ext cx="0" cy="201293"/>
          </a:xfrm>
          <a:custGeom>
            <a:avLst/>
            <a:gdLst/>
            <a:ahLst/>
            <a:cxnLst/>
            <a:rect l="l" t="t" r="r" b="b"/>
            <a:pathLst>
              <a:path h="442595">
                <a:moveTo>
                  <a:pt x="0" y="0"/>
                </a:moveTo>
                <a:lnTo>
                  <a:pt x="0" y="442122"/>
                </a:lnTo>
              </a:path>
            </a:pathLst>
          </a:custGeom>
          <a:ln w="40668">
            <a:solidFill>
              <a:srgbClr val="888888"/>
            </a:solidFill>
          </a:ln>
        </p:spPr>
        <p:txBody>
          <a:bodyPr wrap="square" lIns="0" tIns="0" rIns="0" bIns="0" rtlCol="0"/>
          <a:lstStyle/>
          <a:p>
            <a:endParaRPr/>
          </a:p>
        </p:txBody>
      </p:sp>
      <p:sp>
        <p:nvSpPr>
          <p:cNvPr id="112" name="object 112"/>
          <p:cNvSpPr/>
          <p:nvPr/>
        </p:nvSpPr>
        <p:spPr>
          <a:xfrm>
            <a:off x="1618253" y="4158809"/>
            <a:ext cx="18773" cy="0"/>
          </a:xfrm>
          <a:custGeom>
            <a:avLst/>
            <a:gdLst/>
            <a:ahLst/>
            <a:cxnLst/>
            <a:rect l="l" t="t" r="r" b="b"/>
            <a:pathLst>
              <a:path w="41275">
                <a:moveTo>
                  <a:pt x="0" y="0"/>
                </a:moveTo>
                <a:lnTo>
                  <a:pt x="40815" y="0"/>
                </a:lnTo>
              </a:path>
            </a:pathLst>
          </a:custGeom>
          <a:ln w="3175">
            <a:solidFill>
              <a:srgbClr val="888888"/>
            </a:solidFill>
          </a:ln>
        </p:spPr>
        <p:txBody>
          <a:bodyPr wrap="square" lIns="0" tIns="0" rIns="0" bIns="0" rtlCol="0"/>
          <a:lstStyle/>
          <a:p>
            <a:endParaRPr/>
          </a:p>
        </p:txBody>
      </p:sp>
      <p:sp>
        <p:nvSpPr>
          <p:cNvPr id="113" name="object 113"/>
          <p:cNvSpPr/>
          <p:nvPr/>
        </p:nvSpPr>
        <p:spPr>
          <a:xfrm>
            <a:off x="1392180" y="3860965"/>
            <a:ext cx="259648" cy="71333"/>
          </a:xfrm>
          <a:custGeom>
            <a:avLst/>
            <a:gdLst/>
            <a:ahLst/>
            <a:cxnLst/>
            <a:rect l="l" t="t" r="r" b="b"/>
            <a:pathLst>
              <a:path w="570864" h="156845">
                <a:moveTo>
                  <a:pt x="520455" y="0"/>
                </a:moveTo>
                <a:lnTo>
                  <a:pt x="50113" y="0"/>
                </a:lnTo>
                <a:lnTo>
                  <a:pt x="30608" y="3937"/>
                </a:lnTo>
                <a:lnTo>
                  <a:pt x="14678" y="14674"/>
                </a:lnTo>
                <a:lnTo>
                  <a:pt x="3938" y="30603"/>
                </a:lnTo>
                <a:lnTo>
                  <a:pt x="0" y="50113"/>
                </a:lnTo>
                <a:lnTo>
                  <a:pt x="0" y="114300"/>
                </a:lnTo>
                <a:lnTo>
                  <a:pt x="3310" y="130697"/>
                </a:lnTo>
                <a:lnTo>
                  <a:pt x="12337" y="144087"/>
                </a:lnTo>
                <a:lnTo>
                  <a:pt x="25726" y="153114"/>
                </a:lnTo>
                <a:lnTo>
                  <a:pt x="42124" y="156424"/>
                </a:lnTo>
                <a:lnTo>
                  <a:pt x="528444" y="156424"/>
                </a:lnTo>
                <a:lnTo>
                  <a:pt x="544842" y="153114"/>
                </a:lnTo>
                <a:lnTo>
                  <a:pt x="558231" y="144087"/>
                </a:lnTo>
                <a:lnTo>
                  <a:pt x="567258" y="130697"/>
                </a:lnTo>
                <a:lnTo>
                  <a:pt x="570569" y="114300"/>
                </a:lnTo>
                <a:lnTo>
                  <a:pt x="570569" y="50113"/>
                </a:lnTo>
                <a:lnTo>
                  <a:pt x="566631" y="30603"/>
                </a:lnTo>
                <a:lnTo>
                  <a:pt x="555894" y="14674"/>
                </a:lnTo>
                <a:lnTo>
                  <a:pt x="539965" y="3937"/>
                </a:lnTo>
                <a:lnTo>
                  <a:pt x="520455" y="0"/>
                </a:lnTo>
                <a:close/>
              </a:path>
            </a:pathLst>
          </a:custGeom>
          <a:solidFill>
            <a:srgbClr val="333333"/>
          </a:solidFill>
        </p:spPr>
        <p:txBody>
          <a:bodyPr wrap="square" lIns="0" tIns="0" rIns="0" bIns="0" rtlCol="0"/>
          <a:lstStyle/>
          <a:p>
            <a:endParaRPr/>
          </a:p>
        </p:txBody>
      </p:sp>
      <p:sp>
        <p:nvSpPr>
          <p:cNvPr id="114" name="object 114"/>
          <p:cNvSpPr/>
          <p:nvPr/>
        </p:nvSpPr>
        <p:spPr>
          <a:xfrm>
            <a:off x="1618260" y="4158675"/>
            <a:ext cx="18773" cy="289"/>
          </a:xfrm>
          <a:custGeom>
            <a:avLst/>
            <a:gdLst/>
            <a:ahLst/>
            <a:cxnLst/>
            <a:rect l="l" t="t" r="r" b="b"/>
            <a:pathLst>
              <a:path w="41275" h="634">
                <a:moveTo>
                  <a:pt x="0" y="586"/>
                </a:moveTo>
                <a:lnTo>
                  <a:pt x="40647" y="586"/>
                </a:lnTo>
                <a:lnTo>
                  <a:pt x="40647" y="0"/>
                </a:lnTo>
                <a:lnTo>
                  <a:pt x="0" y="0"/>
                </a:lnTo>
                <a:lnTo>
                  <a:pt x="0" y="586"/>
                </a:lnTo>
                <a:close/>
              </a:path>
            </a:pathLst>
          </a:custGeom>
          <a:solidFill>
            <a:srgbClr val="707780"/>
          </a:solidFill>
        </p:spPr>
        <p:txBody>
          <a:bodyPr wrap="square" lIns="0" tIns="0" rIns="0" bIns="0" rtlCol="0"/>
          <a:lstStyle/>
          <a:p>
            <a:endParaRPr/>
          </a:p>
        </p:txBody>
      </p:sp>
      <p:sp>
        <p:nvSpPr>
          <p:cNvPr id="115" name="object 115"/>
          <p:cNvSpPr/>
          <p:nvPr/>
        </p:nvSpPr>
        <p:spPr>
          <a:xfrm>
            <a:off x="1374381" y="4139888"/>
            <a:ext cx="18484" cy="19061"/>
          </a:xfrm>
          <a:custGeom>
            <a:avLst/>
            <a:gdLst/>
            <a:ahLst/>
            <a:cxnLst/>
            <a:rect l="l" t="t" r="r" b="b"/>
            <a:pathLst>
              <a:path w="40639" h="41909">
                <a:moveTo>
                  <a:pt x="0" y="0"/>
                </a:moveTo>
                <a:lnTo>
                  <a:pt x="40396" y="0"/>
                </a:lnTo>
                <a:lnTo>
                  <a:pt x="40396" y="41894"/>
                </a:lnTo>
                <a:lnTo>
                  <a:pt x="0" y="41894"/>
                </a:lnTo>
                <a:lnTo>
                  <a:pt x="0" y="0"/>
                </a:lnTo>
                <a:close/>
              </a:path>
            </a:pathLst>
          </a:custGeom>
          <a:solidFill>
            <a:srgbClr val="707780"/>
          </a:solidFill>
        </p:spPr>
        <p:txBody>
          <a:bodyPr wrap="square" lIns="0" tIns="0" rIns="0" bIns="0" rtlCol="0"/>
          <a:lstStyle/>
          <a:p>
            <a:endParaRPr/>
          </a:p>
        </p:txBody>
      </p:sp>
      <p:sp>
        <p:nvSpPr>
          <p:cNvPr id="116" name="object 116"/>
          <p:cNvSpPr/>
          <p:nvPr/>
        </p:nvSpPr>
        <p:spPr>
          <a:xfrm>
            <a:off x="2484103" y="3430684"/>
            <a:ext cx="67295" cy="354067"/>
          </a:xfrm>
          <a:custGeom>
            <a:avLst/>
            <a:gdLst/>
            <a:ahLst/>
            <a:cxnLst/>
            <a:rect l="l" t="t" r="r" b="b"/>
            <a:pathLst>
              <a:path w="147954" h="778509">
                <a:moveTo>
                  <a:pt x="44553" y="0"/>
                </a:moveTo>
                <a:lnTo>
                  <a:pt x="22135" y="0"/>
                </a:lnTo>
                <a:lnTo>
                  <a:pt x="13517" y="1740"/>
                </a:lnTo>
                <a:lnTo>
                  <a:pt x="6481" y="6485"/>
                </a:lnTo>
                <a:lnTo>
                  <a:pt x="1738" y="13521"/>
                </a:lnTo>
                <a:lnTo>
                  <a:pt x="0" y="22135"/>
                </a:lnTo>
                <a:lnTo>
                  <a:pt x="0" y="746992"/>
                </a:lnTo>
                <a:lnTo>
                  <a:pt x="2433" y="759050"/>
                </a:lnTo>
                <a:lnTo>
                  <a:pt x="9069" y="768895"/>
                </a:lnTo>
                <a:lnTo>
                  <a:pt x="18910" y="775532"/>
                </a:lnTo>
                <a:lnTo>
                  <a:pt x="30962" y="777965"/>
                </a:lnTo>
                <a:lnTo>
                  <a:pt x="116436" y="777965"/>
                </a:lnTo>
                <a:lnTo>
                  <a:pt x="128489" y="775532"/>
                </a:lnTo>
                <a:lnTo>
                  <a:pt x="138334" y="768895"/>
                </a:lnTo>
                <a:lnTo>
                  <a:pt x="144974" y="759050"/>
                </a:lnTo>
                <a:lnTo>
                  <a:pt x="147409" y="746992"/>
                </a:lnTo>
                <a:lnTo>
                  <a:pt x="147409" y="102855"/>
                </a:lnTo>
                <a:lnTo>
                  <a:pt x="139326" y="62819"/>
                </a:lnTo>
                <a:lnTo>
                  <a:pt x="117283" y="30126"/>
                </a:lnTo>
                <a:lnTo>
                  <a:pt x="84589" y="8083"/>
                </a:lnTo>
                <a:lnTo>
                  <a:pt x="44553" y="0"/>
                </a:lnTo>
                <a:close/>
              </a:path>
            </a:pathLst>
          </a:custGeom>
          <a:solidFill>
            <a:srgbClr val="333333"/>
          </a:solidFill>
        </p:spPr>
        <p:txBody>
          <a:bodyPr wrap="square" lIns="0" tIns="0" rIns="0" bIns="0" rtlCol="0"/>
          <a:lstStyle/>
          <a:p>
            <a:endParaRPr/>
          </a:p>
        </p:txBody>
      </p:sp>
      <p:sp>
        <p:nvSpPr>
          <p:cNvPr id="117" name="object 117"/>
          <p:cNvSpPr/>
          <p:nvPr/>
        </p:nvSpPr>
        <p:spPr>
          <a:xfrm>
            <a:off x="2475430" y="3507864"/>
            <a:ext cx="0" cy="650663"/>
          </a:xfrm>
          <a:custGeom>
            <a:avLst/>
            <a:gdLst/>
            <a:ahLst/>
            <a:cxnLst/>
            <a:rect l="l" t="t" r="r" b="b"/>
            <a:pathLst>
              <a:path h="1430654">
                <a:moveTo>
                  <a:pt x="0" y="0"/>
                </a:moveTo>
                <a:lnTo>
                  <a:pt x="0" y="1430417"/>
                </a:lnTo>
              </a:path>
            </a:pathLst>
          </a:custGeom>
          <a:ln w="40658">
            <a:solidFill>
              <a:srgbClr val="888888"/>
            </a:solidFill>
          </a:ln>
        </p:spPr>
        <p:txBody>
          <a:bodyPr wrap="square" lIns="0" tIns="0" rIns="0" bIns="0" rtlCol="0"/>
          <a:lstStyle/>
          <a:p>
            <a:endParaRPr/>
          </a:p>
        </p:txBody>
      </p:sp>
      <p:sp>
        <p:nvSpPr>
          <p:cNvPr id="118" name="object 118"/>
          <p:cNvSpPr/>
          <p:nvPr/>
        </p:nvSpPr>
        <p:spPr>
          <a:xfrm>
            <a:off x="2719459" y="3908183"/>
            <a:ext cx="0" cy="250388"/>
          </a:xfrm>
          <a:custGeom>
            <a:avLst/>
            <a:gdLst/>
            <a:ahLst/>
            <a:cxnLst/>
            <a:rect l="l" t="t" r="r" b="b"/>
            <a:pathLst>
              <a:path h="550545">
                <a:moveTo>
                  <a:pt x="0" y="0"/>
                </a:moveTo>
                <a:lnTo>
                  <a:pt x="0" y="550203"/>
                </a:lnTo>
              </a:path>
            </a:pathLst>
          </a:custGeom>
          <a:ln w="40825">
            <a:solidFill>
              <a:srgbClr val="888888"/>
            </a:solidFill>
          </a:ln>
        </p:spPr>
        <p:txBody>
          <a:bodyPr wrap="square" lIns="0" tIns="0" rIns="0" bIns="0" rtlCol="0"/>
          <a:lstStyle/>
          <a:p>
            <a:endParaRPr/>
          </a:p>
        </p:txBody>
      </p:sp>
      <p:sp>
        <p:nvSpPr>
          <p:cNvPr id="119" name="object 119"/>
          <p:cNvSpPr/>
          <p:nvPr/>
        </p:nvSpPr>
        <p:spPr>
          <a:xfrm>
            <a:off x="2484101" y="3860439"/>
            <a:ext cx="259648" cy="71333"/>
          </a:xfrm>
          <a:custGeom>
            <a:avLst/>
            <a:gdLst/>
            <a:ahLst/>
            <a:cxnLst/>
            <a:rect l="l" t="t" r="r" b="b"/>
            <a:pathLst>
              <a:path w="570864" h="156845">
                <a:moveTo>
                  <a:pt x="520465" y="0"/>
                </a:moveTo>
                <a:lnTo>
                  <a:pt x="50113" y="0"/>
                </a:lnTo>
                <a:lnTo>
                  <a:pt x="30608" y="3936"/>
                </a:lnTo>
                <a:lnTo>
                  <a:pt x="14678" y="14673"/>
                </a:lnTo>
                <a:lnTo>
                  <a:pt x="3938" y="30599"/>
                </a:lnTo>
                <a:lnTo>
                  <a:pt x="0" y="50103"/>
                </a:lnTo>
                <a:lnTo>
                  <a:pt x="0" y="114300"/>
                </a:lnTo>
                <a:lnTo>
                  <a:pt x="3310" y="130697"/>
                </a:lnTo>
                <a:lnTo>
                  <a:pt x="12337" y="144087"/>
                </a:lnTo>
                <a:lnTo>
                  <a:pt x="25726" y="153114"/>
                </a:lnTo>
                <a:lnTo>
                  <a:pt x="42124" y="156424"/>
                </a:lnTo>
                <a:lnTo>
                  <a:pt x="528444" y="156424"/>
                </a:lnTo>
                <a:lnTo>
                  <a:pt x="544842" y="153114"/>
                </a:lnTo>
                <a:lnTo>
                  <a:pt x="558231" y="144087"/>
                </a:lnTo>
                <a:lnTo>
                  <a:pt x="567258" y="130697"/>
                </a:lnTo>
                <a:lnTo>
                  <a:pt x="570569" y="114300"/>
                </a:lnTo>
                <a:lnTo>
                  <a:pt x="570569" y="50103"/>
                </a:lnTo>
                <a:lnTo>
                  <a:pt x="566632" y="30599"/>
                </a:lnTo>
                <a:lnTo>
                  <a:pt x="555895" y="14673"/>
                </a:lnTo>
                <a:lnTo>
                  <a:pt x="539969" y="3936"/>
                </a:lnTo>
                <a:lnTo>
                  <a:pt x="520465" y="0"/>
                </a:lnTo>
                <a:close/>
              </a:path>
            </a:pathLst>
          </a:custGeom>
          <a:solidFill>
            <a:srgbClr val="333333"/>
          </a:solidFill>
        </p:spPr>
        <p:txBody>
          <a:bodyPr wrap="square" lIns="0" tIns="0" rIns="0" bIns="0" rtlCol="0"/>
          <a:lstStyle/>
          <a:p>
            <a:endParaRPr/>
          </a:p>
        </p:txBody>
      </p:sp>
      <p:sp>
        <p:nvSpPr>
          <p:cNvPr id="120" name="object 120"/>
          <p:cNvSpPr/>
          <p:nvPr/>
        </p:nvSpPr>
        <p:spPr>
          <a:xfrm>
            <a:off x="2710177" y="4139360"/>
            <a:ext cx="18773" cy="19061"/>
          </a:xfrm>
          <a:custGeom>
            <a:avLst/>
            <a:gdLst/>
            <a:ahLst/>
            <a:cxnLst/>
            <a:rect l="l" t="t" r="r" b="b"/>
            <a:pathLst>
              <a:path w="41275" h="41909">
                <a:moveTo>
                  <a:pt x="0" y="0"/>
                </a:moveTo>
                <a:lnTo>
                  <a:pt x="40658" y="0"/>
                </a:lnTo>
                <a:lnTo>
                  <a:pt x="40658" y="41894"/>
                </a:lnTo>
                <a:lnTo>
                  <a:pt x="0" y="41894"/>
                </a:lnTo>
                <a:lnTo>
                  <a:pt x="0" y="0"/>
                </a:lnTo>
                <a:close/>
              </a:path>
            </a:pathLst>
          </a:custGeom>
          <a:solidFill>
            <a:srgbClr val="707780"/>
          </a:solidFill>
        </p:spPr>
        <p:txBody>
          <a:bodyPr wrap="square" lIns="0" tIns="0" rIns="0" bIns="0" rtlCol="0"/>
          <a:lstStyle/>
          <a:p>
            <a:endParaRPr/>
          </a:p>
        </p:txBody>
      </p:sp>
      <p:sp>
        <p:nvSpPr>
          <p:cNvPr id="121" name="object 121"/>
          <p:cNvSpPr/>
          <p:nvPr/>
        </p:nvSpPr>
        <p:spPr>
          <a:xfrm>
            <a:off x="2466304" y="4139360"/>
            <a:ext cx="18484" cy="19061"/>
          </a:xfrm>
          <a:custGeom>
            <a:avLst/>
            <a:gdLst/>
            <a:ahLst/>
            <a:cxnLst/>
            <a:rect l="l" t="t" r="r" b="b"/>
            <a:pathLst>
              <a:path w="40639" h="41909">
                <a:moveTo>
                  <a:pt x="0" y="0"/>
                </a:moveTo>
                <a:lnTo>
                  <a:pt x="40396" y="0"/>
                </a:lnTo>
                <a:lnTo>
                  <a:pt x="40396" y="41894"/>
                </a:lnTo>
                <a:lnTo>
                  <a:pt x="0" y="41894"/>
                </a:lnTo>
                <a:lnTo>
                  <a:pt x="0" y="0"/>
                </a:lnTo>
                <a:close/>
              </a:path>
            </a:pathLst>
          </a:custGeom>
          <a:solidFill>
            <a:srgbClr val="707780"/>
          </a:solidFill>
        </p:spPr>
        <p:txBody>
          <a:bodyPr wrap="square" lIns="0" tIns="0" rIns="0" bIns="0" rtlCol="0"/>
          <a:lstStyle/>
          <a:p>
            <a:endParaRPr/>
          </a:p>
        </p:txBody>
      </p:sp>
      <p:sp>
        <p:nvSpPr>
          <p:cNvPr id="122" name="object 122"/>
          <p:cNvSpPr/>
          <p:nvPr/>
        </p:nvSpPr>
        <p:spPr>
          <a:xfrm>
            <a:off x="2272740" y="2115928"/>
            <a:ext cx="177335" cy="246923"/>
          </a:xfrm>
          <a:custGeom>
            <a:avLst/>
            <a:gdLst/>
            <a:ahLst/>
            <a:cxnLst/>
            <a:rect l="l" t="t" r="r" b="b"/>
            <a:pathLst>
              <a:path w="389889" h="542925">
                <a:moveTo>
                  <a:pt x="194716" y="0"/>
                </a:moveTo>
                <a:lnTo>
                  <a:pt x="150070" y="5142"/>
                </a:lnTo>
                <a:lnTo>
                  <a:pt x="109086" y="19791"/>
                </a:lnTo>
                <a:lnTo>
                  <a:pt x="72932" y="42777"/>
                </a:lnTo>
                <a:lnTo>
                  <a:pt x="42777" y="72932"/>
                </a:lnTo>
                <a:lnTo>
                  <a:pt x="19791" y="109086"/>
                </a:lnTo>
                <a:lnTo>
                  <a:pt x="5142" y="150070"/>
                </a:lnTo>
                <a:lnTo>
                  <a:pt x="0" y="194716"/>
                </a:lnTo>
                <a:lnTo>
                  <a:pt x="0" y="542747"/>
                </a:lnTo>
                <a:lnTo>
                  <a:pt x="389433" y="542747"/>
                </a:lnTo>
                <a:lnTo>
                  <a:pt x="389433" y="194716"/>
                </a:lnTo>
                <a:lnTo>
                  <a:pt x="384290" y="150070"/>
                </a:lnTo>
                <a:lnTo>
                  <a:pt x="369641" y="109086"/>
                </a:lnTo>
                <a:lnTo>
                  <a:pt x="346655" y="72932"/>
                </a:lnTo>
                <a:lnTo>
                  <a:pt x="316500" y="42777"/>
                </a:lnTo>
                <a:lnTo>
                  <a:pt x="280346" y="19791"/>
                </a:lnTo>
                <a:lnTo>
                  <a:pt x="239362" y="5142"/>
                </a:lnTo>
                <a:lnTo>
                  <a:pt x="194716" y="0"/>
                </a:lnTo>
                <a:close/>
              </a:path>
            </a:pathLst>
          </a:custGeom>
          <a:solidFill>
            <a:srgbClr val="FFFFFF"/>
          </a:solidFill>
        </p:spPr>
        <p:txBody>
          <a:bodyPr wrap="square" lIns="0" tIns="0" rIns="0" bIns="0" rtlCol="0"/>
          <a:lstStyle/>
          <a:p>
            <a:endParaRPr/>
          </a:p>
        </p:txBody>
      </p:sp>
      <p:sp>
        <p:nvSpPr>
          <p:cNvPr id="123" name="object 123"/>
          <p:cNvSpPr/>
          <p:nvPr/>
        </p:nvSpPr>
        <p:spPr>
          <a:xfrm>
            <a:off x="2361959" y="1181622"/>
            <a:ext cx="0" cy="949858"/>
          </a:xfrm>
          <a:custGeom>
            <a:avLst/>
            <a:gdLst/>
            <a:ahLst/>
            <a:cxnLst/>
            <a:rect l="l" t="t" r="r" b="b"/>
            <a:pathLst>
              <a:path h="2088514">
                <a:moveTo>
                  <a:pt x="0" y="0"/>
                </a:moveTo>
                <a:lnTo>
                  <a:pt x="0" y="2088198"/>
                </a:lnTo>
              </a:path>
            </a:pathLst>
          </a:custGeom>
          <a:ln w="35862">
            <a:solidFill>
              <a:srgbClr val="FFFFFF"/>
            </a:solidFill>
          </a:ln>
        </p:spPr>
        <p:txBody>
          <a:bodyPr wrap="square" lIns="0" tIns="0" rIns="0" bIns="0" rtlCol="0"/>
          <a:lstStyle/>
          <a:p>
            <a:endParaRPr/>
          </a:p>
        </p:txBody>
      </p:sp>
      <p:sp>
        <p:nvSpPr>
          <p:cNvPr id="124" name="object 124"/>
          <p:cNvSpPr/>
          <p:nvPr/>
        </p:nvSpPr>
        <p:spPr>
          <a:xfrm>
            <a:off x="1138582" y="2115928"/>
            <a:ext cx="177335" cy="246923"/>
          </a:xfrm>
          <a:custGeom>
            <a:avLst/>
            <a:gdLst/>
            <a:ahLst/>
            <a:cxnLst/>
            <a:rect l="l" t="t" r="r" b="b"/>
            <a:pathLst>
              <a:path w="389889" h="542925">
                <a:moveTo>
                  <a:pt x="194716" y="0"/>
                </a:moveTo>
                <a:lnTo>
                  <a:pt x="150070" y="5142"/>
                </a:lnTo>
                <a:lnTo>
                  <a:pt x="109086" y="19791"/>
                </a:lnTo>
                <a:lnTo>
                  <a:pt x="72932" y="42777"/>
                </a:lnTo>
                <a:lnTo>
                  <a:pt x="42777" y="72932"/>
                </a:lnTo>
                <a:lnTo>
                  <a:pt x="19791" y="109086"/>
                </a:lnTo>
                <a:lnTo>
                  <a:pt x="5142" y="150070"/>
                </a:lnTo>
                <a:lnTo>
                  <a:pt x="0" y="194716"/>
                </a:lnTo>
                <a:lnTo>
                  <a:pt x="0" y="542747"/>
                </a:lnTo>
                <a:lnTo>
                  <a:pt x="389422" y="542747"/>
                </a:lnTo>
                <a:lnTo>
                  <a:pt x="389422" y="194716"/>
                </a:lnTo>
                <a:lnTo>
                  <a:pt x="384280" y="150070"/>
                </a:lnTo>
                <a:lnTo>
                  <a:pt x="369633" y="109086"/>
                </a:lnTo>
                <a:lnTo>
                  <a:pt x="346648" y="72932"/>
                </a:lnTo>
                <a:lnTo>
                  <a:pt x="316496" y="42777"/>
                </a:lnTo>
                <a:lnTo>
                  <a:pt x="280344" y="19791"/>
                </a:lnTo>
                <a:lnTo>
                  <a:pt x="239361" y="5142"/>
                </a:lnTo>
                <a:lnTo>
                  <a:pt x="194716" y="0"/>
                </a:lnTo>
                <a:close/>
              </a:path>
            </a:pathLst>
          </a:custGeom>
          <a:solidFill>
            <a:srgbClr val="FFFFFF"/>
          </a:solidFill>
        </p:spPr>
        <p:txBody>
          <a:bodyPr wrap="square" lIns="0" tIns="0" rIns="0" bIns="0" rtlCol="0"/>
          <a:lstStyle/>
          <a:p>
            <a:endParaRPr/>
          </a:p>
        </p:txBody>
      </p:sp>
      <p:sp>
        <p:nvSpPr>
          <p:cNvPr id="125" name="object 125"/>
          <p:cNvSpPr/>
          <p:nvPr/>
        </p:nvSpPr>
        <p:spPr>
          <a:xfrm>
            <a:off x="1226484" y="1181622"/>
            <a:ext cx="0" cy="949858"/>
          </a:xfrm>
          <a:custGeom>
            <a:avLst/>
            <a:gdLst/>
            <a:ahLst/>
            <a:cxnLst/>
            <a:rect l="l" t="t" r="r" b="b"/>
            <a:pathLst>
              <a:path h="2088514">
                <a:moveTo>
                  <a:pt x="0" y="0"/>
                </a:moveTo>
                <a:lnTo>
                  <a:pt x="0" y="2088198"/>
                </a:lnTo>
              </a:path>
            </a:pathLst>
          </a:custGeom>
          <a:ln w="35862">
            <a:solidFill>
              <a:srgbClr val="FFFFFF"/>
            </a:solidFill>
          </a:ln>
        </p:spPr>
        <p:txBody>
          <a:bodyPr wrap="square" lIns="0" tIns="0" rIns="0" bIns="0" rtlCol="0"/>
          <a:lstStyle/>
          <a:p>
            <a:endParaRPr/>
          </a:p>
        </p:txBody>
      </p:sp>
      <p:sp>
        <p:nvSpPr>
          <p:cNvPr id="126" name="object 126"/>
          <p:cNvSpPr/>
          <p:nvPr/>
        </p:nvSpPr>
        <p:spPr>
          <a:xfrm>
            <a:off x="1307553" y="3327908"/>
            <a:ext cx="298639" cy="204180"/>
          </a:xfrm>
          <a:custGeom>
            <a:avLst/>
            <a:gdLst/>
            <a:ahLst/>
            <a:cxnLst/>
            <a:rect l="l" t="t" r="r" b="b"/>
            <a:pathLst>
              <a:path w="656589" h="448945">
                <a:moveTo>
                  <a:pt x="630598" y="0"/>
                </a:moveTo>
                <a:lnTo>
                  <a:pt x="0" y="422772"/>
                </a:lnTo>
                <a:lnTo>
                  <a:pt x="2017" y="432910"/>
                </a:lnTo>
                <a:lnTo>
                  <a:pt x="7519" y="441188"/>
                </a:lnTo>
                <a:lnTo>
                  <a:pt x="15677" y="446767"/>
                </a:lnTo>
                <a:lnTo>
                  <a:pt x="25664" y="448813"/>
                </a:lnTo>
                <a:lnTo>
                  <a:pt x="630598" y="448813"/>
                </a:lnTo>
                <a:lnTo>
                  <a:pt x="640583" y="446767"/>
                </a:lnTo>
                <a:lnTo>
                  <a:pt x="648738" y="441188"/>
                </a:lnTo>
                <a:lnTo>
                  <a:pt x="654236" y="432910"/>
                </a:lnTo>
                <a:lnTo>
                  <a:pt x="656252" y="422772"/>
                </a:lnTo>
                <a:lnTo>
                  <a:pt x="656252" y="26041"/>
                </a:lnTo>
                <a:lnTo>
                  <a:pt x="654236" y="15902"/>
                </a:lnTo>
                <a:lnTo>
                  <a:pt x="648738" y="7625"/>
                </a:lnTo>
                <a:lnTo>
                  <a:pt x="640583" y="2045"/>
                </a:lnTo>
                <a:lnTo>
                  <a:pt x="630598" y="0"/>
                </a:lnTo>
                <a:close/>
              </a:path>
            </a:pathLst>
          </a:custGeom>
          <a:solidFill>
            <a:srgbClr val="211E1F">
              <a:alpha val="16000"/>
            </a:srgbClr>
          </a:solidFill>
        </p:spPr>
        <p:txBody>
          <a:bodyPr wrap="square" lIns="0" tIns="0" rIns="0" bIns="0" rtlCol="0"/>
          <a:lstStyle/>
          <a:p>
            <a:endParaRPr/>
          </a:p>
        </p:txBody>
      </p:sp>
      <p:sp>
        <p:nvSpPr>
          <p:cNvPr id="127" name="object 127"/>
          <p:cNvSpPr/>
          <p:nvPr/>
        </p:nvSpPr>
        <p:spPr>
          <a:xfrm>
            <a:off x="1426520" y="3440107"/>
            <a:ext cx="60652" cy="132270"/>
          </a:xfrm>
          <a:custGeom>
            <a:avLst/>
            <a:gdLst/>
            <a:ahLst/>
            <a:cxnLst/>
            <a:rect l="l" t="t" r="r" b="b"/>
            <a:pathLst>
              <a:path w="133350" h="290829">
                <a:moveTo>
                  <a:pt x="100174" y="0"/>
                </a:moveTo>
                <a:lnTo>
                  <a:pt x="32962" y="0"/>
                </a:lnTo>
                <a:lnTo>
                  <a:pt x="0" y="290588"/>
                </a:lnTo>
                <a:lnTo>
                  <a:pt x="133137" y="290588"/>
                </a:lnTo>
                <a:lnTo>
                  <a:pt x="100174" y="0"/>
                </a:lnTo>
                <a:close/>
              </a:path>
            </a:pathLst>
          </a:custGeom>
          <a:solidFill>
            <a:srgbClr val="C4C8D3"/>
          </a:solidFill>
        </p:spPr>
        <p:txBody>
          <a:bodyPr wrap="square" lIns="0" tIns="0" rIns="0" bIns="0" rtlCol="0"/>
          <a:lstStyle/>
          <a:p>
            <a:endParaRPr/>
          </a:p>
        </p:txBody>
      </p:sp>
      <p:sp>
        <p:nvSpPr>
          <p:cNvPr id="128" name="object 128"/>
          <p:cNvSpPr/>
          <p:nvPr/>
        </p:nvSpPr>
        <p:spPr>
          <a:xfrm>
            <a:off x="1426448" y="3567184"/>
            <a:ext cx="60652" cy="0"/>
          </a:xfrm>
          <a:custGeom>
            <a:avLst/>
            <a:gdLst/>
            <a:ahLst/>
            <a:cxnLst/>
            <a:rect l="l" t="t" r="r" b="b"/>
            <a:pathLst>
              <a:path w="133350">
                <a:moveTo>
                  <a:pt x="0" y="0"/>
                </a:moveTo>
                <a:lnTo>
                  <a:pt x="133294" y="0"/>
                </a:lnTo>
              </a:path>
            </a:pathLst>
          </a:custGeom>
          <a:ln w="22355">
            <a:solidFill>
              <a:srgbClr val="685F80"/>
            </a:solidFill>
          </a:ln>
        </p:spPr>
        <p:txBody>
          <a:bodyPr wrap="square" lIns="0" tIns="0" rIns="0" bIns="0" rtlCol="0"/>
          <a:lstStyle/>
          <a:p>
            <a:endParaRPr/>
          </a:p>
        </p:txBody>
      </p:sp>
      <p:sp>
        <p:nvSpPr>
          <p:cNvPr id="129" name="object 129"/>
          <p:cNvSpPr/>
          <p:nvPr/>
        </p:nvSpPr>
        <p:spPr>
          <a:xfrm>
            <a:off x="1692635" y="3240796"/>
            <a:ext cx="105419" cy="149309"/>
          </a:xfrm>
          <a:custGeom>
            <a:avLst/>
            <a:gdLst/>
            <a:ahLst/>
            <a:cxnLst/>
            <a:rect l="l" t="t" r="r" b="b"/>
            <a:pathLst>
              <a:path w="231775" h="328295">
                <a:moveTo>
                  <a:pt x="0" y="0"/>
                </a:moveTo>
                <a:lnTo>
                  <a:pt x="231458" y="0"/>
                </a:lnTo>
                <a:lnTo>
                  <a:pt x="231458" y="327843"/>
                </a:lnTo>
                <a:lnTo>
                  <a:pt x="0" y="327843"/>
                </a:lnTo>
                <a:lnTo>
                  <a:pt x="0" y="0"/>
                </a:lnTo>
                <a:close/>
              </a:path>
            </a:pathLst>
          </a:custGeom>
          <a:solidFill>
            <a:srgbClr val="DDDCD3"/>
          </a:solidFill>
        </p:spPr>
        <p:txBody>
          <a:bodyPr wrap="square" lIns="0" tIns="0" rIns="0" bIns="0" rtlCol="0"/>
          <a:lstStyle/>
          <a:p>
            <a:endParaRPr/>
          </a:p>
        </p:txBody>
      </p:sp>
      <p:sp>
        <p:nvSpPr>
          <p:cNvPr id="130" name="object 130"/>
          <p:cNvSpPr/>
          <p:nvPr/>
        </p:nvSpPr>
        <p:spPr>
          <a:xfrm>
            <a:off x="1705703" y="3318639"/>
            <a:ext cx="80292" cy="0"/>
          </a:xfrm>
          <a:custGeom>
            <a:avLst/>
            <a:gdLst/>
            <a:ahLst/>
            <a:cxnLst/>
            <a:rect l="l" t="t" r="r" b="b"/>
            <a:pathLst>
              <a:path w="176529">
                <a:moveTo>
                  <a:pt x="0" y="0"/>
                </a:moveTo>
                <a:lnTo>
                  <a:pt x="176015" y="0"/>
                </a:lnTo>
              </a:path>
            </a:pathLst>
          </a:custGeom>
          <a:ln w="14470">
            <a:solidFill>
              <a:srgbClr val="788080"/>
            </a:solidFill>
          </a:ln>
        </p:spPr>
        <p:txBody>
          <a:bodyPr wrap="square" lIns="0" tIns="0" rIns="0" bIns="0" rtlCol="0"/>
          <a:lstStyle/>
          <a:p>
            <a:endParaRPr/>
          </a:p>
        </p:txBody>
      </p:sp>
      <p:sp>
        <p:nvSpPr>
          <p:cNvPr id="131" name="object 131"/>
          <p:cNvSpPr/>
          <p:nvPr/>
        </p:nvSpPr>
        <p:spPr>
          <a:xfrm>
            <a:off x="1705703" y="3333259"/>
            <a:ext cx="80292" cy="0"/>
          </a:xfrm>
          <a:custGeom>
            <a:avLst/>
            <a:gdLst/>
            <a:ahLst/>
            <a:cxnLst/>
            <a:rect l="l" t="t" r="r" b="b"/>
            <a:pathLst>
              <a:path w="176529">
                <a:moveTo>
                  <a:pt x="0" y="0"/>
                </a:moveTo>
                <a:lnTo>
                  <a:pt x="176015" y="0"/>
                </a:lnTo>
              </a:path>
            </a:pathLst>
          </a:custGeom>
          <a:ln w="14470">
            <a:solidFill>
              <a:srgbClr val="788080"/>
            </a:solidFill>
          </a:ln>
        </p:spPr>
        <p:txBody>
          <a:bodyPr wrap="square" lIns="0" tIns="0" rIns="0" bIns="0" rtlCol="0"/>
          <a:lstStyle/>
          <a:p>
            <a:endParaRPr/>
          </a:p>
        </p:txBody>
      </p:sp>
      <p:sp>
        <p:nvSpPr>
          <p:cNvPr id="132" name="object 132"/>
          <p:cNvSpPr/>
          <p:nvPr/>
        </p:nvSpPr>
        <p:spPr>
          <a:xfrm>
            <a:off x="1706618" y="3348064"/>
            <a:ext cx="80292" cy="0"/>
          </a:xfrm>
          <a:custGeom>
            <a:avLst/>
            <a:gdLst/>
            <a:ahLst/>
            <a:cxnLst/>
            <a:rect l="l" t="t" r="r" b="b"/>
            <a:pathLst>
              <a:path w="176529">
                <a:moveTo>
                  <a:pt x="0" y="0"/>
                </a:moveTo>
                <a:lnTo>
                  <a:pt x="176015" y="0"/>
                </a:lnTo>
              </a:path>
            </a:pathLst>
          </a:custGeom>
          <a:ln w="14470">
            <a:solidFill>
              <a:srgbClr val="788080"/>
            </a:solidFill>
          </a:ln>
        </p:spPr>
        <p:txBody>
          <a:bodyPr wrap="square" lIns="0" tIns="0" rIns="0" bIns="0" rtlCol="0"/>
          <a:lstStyle/>
          <a:p>
            <a:endParaRPr/>
          </a:p>
        </p:txBody>
      </p:sp>
      <p:sp>
        <p:nvSpPr>
          <p:cNvPr id="133" name="object 133"/>
          <p:cNvSpPr/>
          <p:nvPr/>
        </p:nvSpPr>
        <p:spPr>
          <a:xfrm>
            <a:off x="1706618" y="3362684"/>
            <a:ext cx="80292" cy="0"/>
          </a:xfrm>
          <a:custGeom>
            <a:avLst/>
            <a:gdLst/>
            <a:ahLst/>
            <a:cxnLst/>
            <a:rect l="l" t="t" r="r" b="b"/>
            <a:pathLst>
              <a:path w="176529">
                <a:moveTo>
                  <a:pt x="0" y="0"/>
                </a:moveTo>
                <a:lnTo>
                  <a:pt x="176015" y="0"/>
                </a:lnTo>
              </a:path>
            </a:pathLst>
          </a:custGeom>
          <a:ln w="14470">
            <a:solidFill>
              <a:srgbClr val="788080"/>
            </a:solidFill>
          </a:ln>
        </p:spPr>
        <p:txBody>
          <a:bodyPr wrap="square" lIns="0" tIns="0" rIns="0" bIns="0" rtlCol="0"/>
          <a:lstStyle/>
          <a:p>
            <a:endParaRPr/>
          </a:p>
        </p:txBody>
      </p:sp>
      <p:sp>
        <p:nvSpPr>
          <p:cNvPr id="134" name="object 134"/>
          <p:cNvSpPr/>
          <p:nvPr/>
        </p:nvSpPr>
        <p:spPr>
          <a:xfrm>
            <a:off x="1706618" y="3254716"/>
            <a:ext cx="78848" cy="50250"/>
          </a:xfrm>
          <a:custGeom>
            <a:avLst/>
            <a:gdLst/>
            <a:ahLst/>
            <a:cxnLst/>
            <a:rect l="l" t="t" r="r" b="b"/>
            <a:pathLst>
              <a:path w="173354" h="110490">
                <a:moveTo>
                  <a:pt x="0" y="110038"/>
                </a:moveTo>
                <a:lnTo>
                  <a:pt x="172989" y="110038"/>
                </a:lnTo>
                <a:lnTo>
                  <a:pt x="172989" y="0"/>
                </a:lnTo>
                <a:lnTo>
                  <a:pt x="0" y="0"/>
                </a:lnTo>
                <a:lnTo>
                  <a:pt x="0" y="110038"/>
                </a:lnTo>
                <a:close/>
              </a:path>
            </a:pathLst>
          </a:custGeom>
          <a:solidFill>
            <a:srgbClr val="788080">
              <a:alpha val="23999"/>
            </a:srgbClr>
          </a:solidFill>
        </p:spPr>
        <p:txBody>
          <a:bodyPr wrap="square" lIns="0" tIns="0" rIns="0" bIns="0" rtlCol="0"/>
          <a:lstStyle/>
          <a:p>
            <a:endParaRPr/>
          </a:p>
        </p:txBody>
      </p:sp>
      <p:sp>
        <p:nvSpPr>
          <p:cNvPr id="135" name="object 135"/>
          <p:cNvSpPr/>
          <p:nvPr/>
        </p:nvSpPr>
        <p:spPr>
          <a:xfrm>
            <a:off x="1621008" y="3877755"/>
            <a:ext cx="246940" cy="281001"/>
          </a:xfrm>
          <a:custGeom>
            <a:avLst/>
            <a:gdLst/>
            <a:ahLst/>
            <a:cxnLst/>
            <a:rect l="l" t="t" r="r" b="b"/>
            <a:pathLst>
              <a:path w="542925" h="617854">
                <a:moveTo>
                  <a:pt x="542653" y="0"/>
                </a:moveTo>
                <a:lnTo>
                  <a:pt x="159293" y="0"/>
                </a:lnTo>
                <a:lnTo>
                  <a:pt x="108944" y="8120"/>
                </a:lnTo>
                <a:lnTo>
                  <a:pt x="65216" y="30734"/>
                </a:lnTo>
                <a:lnTo>
                  <a:pt x="30734" y="65216"/>
                </a:lnTo>
                <a:lnTo>
                  <a:pt x="8120" y="108944"/>
                </a:lnTo>
                <a:lnTo>
                  <a:pt x="0" y="159293"/>
                </a:lnTo>
                <a:lnTo>
                  <a:pt x="0" y="617782"/>
                </a:lnTo>
                <a:lnTo>
                  <a:pt x="481650" y="617782"/>
                </a:lnTo>
                <a:lnTo>
                  <a:pt x="481650" y="443578"/>
                </a:lnTo>
                <a:lnTo>
                  <a:pt x="542653" y="0"/>
                </a:lnTo>
                <a:close/>
              </a:path>
            </a:pathLst>
          </a:custGeom>
          <a:solidFill>
            <a:srgbClr val="060A0E">
              <a:alpha val="17999"/>
            </a:srgbClr>
          </a:solidFill>
        </p:spPr>
        <p:txBody>
          <a:bodyPr wrap="square" lIns="0" tIns="0" rIns="0" bIns="0" rtlCol="0"/>
          <a:lstStyle/>
          <a:p>
            <a:endParaRPr/>
          </a:p>
        </p:txBody>
      </p:sp>
      <p:sp>
        <p:nvSpPr>
          <p:cNvPr id="136" name="object 136"/>
          <p:cNvSpPr/>
          <p:nvPr/>
        </p:nvSpPr>
        <p:spPr>
          <a:xfrm>
            <a:off x="1627651" y="3957865"/>
            <a:ext cx="0" cy="201003"/>
          </a:xfrm>
          <a:custGeom>
            <a:avLst/>
            <a:gdLst/>
            <a:ahLst/>
            <a:cxnLst/>
            <a:rect l="l" t="t" r="r" b="b"/>
            <a:pathLst>
              <a:path h="441959">
                <a:moveTo>
                  <a:pt x="0" y="0"/>
                </a:moveTo>
                <a:lnTo>
                  <a:pt x="0" y="441536"/>
                </a:lnTo>
              </a:path>
            </a:pathLst>
          </a:custGeom>
          <a:ln w="75055">
            <a:solidFill>
              <a:srgbClr val="96999C"/>
            </a:solidFill>
          </a:ln>
        </p:spPr>
        <p:txBody>
          <a:bodyPr wrap="square" lIns="0" tIns="0" rIns="0" bIns="0" rtlCol="0"/>
          <a:lstStyle/>
          <a:p>
            <a:endParaRPr/>
          </a:p>
        </p:txBody>
      </p:sp>
      <p:sp>
        <p:nvSpPr>
          <p:cNvPr id="137" name="object 137"/>
          <p:cNvSpPr/>
          <p:nvPr/>
        </p:nvSpPr>
        <p:spPr>
          <a:xfrm>
            <a:off x="1244203" y="3903585"/>
            <a:ext cx="441026" cy="0"/>
          </a:xfrm>
          <a:custGeom>
            <a:avLst/>
            <a:gdLst/>
            <a:ahLst/>
            <a:cxnLst/>
            <a:rect l="l" t="t" r="r" b="b"/>
            <a:pathLst>
              <a:path w="969645">
                <a:moveTo>
                  <a:pt x="0" y="0"/>
                </a:moveTo>
                <a:lnTo>
                  <a:pt x="969164" y="0"/>
                </a:lnTo>
              </a:path>
            </a:pathLst>
          </a:custGeom>
          <a:ln w="54322">
            <a:solidFill>
              <a:srgbClr val="E4E4E4"/>
            </a:solidFill>
          </a:ln>
        </p:spPr>
        <p:txBody>
          <a:bodyPr wrap="square" lIns="0" tIns="0" rIns="0" bIns="0" rtlCol="0"/>
          <a:lstStyle/>
          <a:p>
            <a:endParaRPr/>
          </a:p>
        </p:txBody>
      </p:sp>
      <p:sp>
        <p:nvSpPr>
          <p:cNvPr id="138" name="object 138"/>
          <p:cNvSpPr/>
          <p:nvPr/>
        </p:nvSpPr>
        <p:spPr>
          <a:xfrm>
            <a:off x="1285756" y="3915943"/>
            <a:ext cx="359002" cy="42165"/>
          </a:xfrm>
          <a:custGeom>
            <a:avLst/>
            <a:gdLst/>
            <a:ahLst/>
            <a:cxnLst/>
            <a:rect l="l" t="t" r="r" b="b"/>
            <a:pathLst>
              <a:path w="789304" h="92709">
                <a:moveTo>
                  <a:pt x="0" y="92175"/>
                </a:moveTo>
                <a:lnTo>
                  <a:pt x="789232" y="92175"/>
                </a:lnTo>
                <a:lnTo>
                  <a:pt x="789232" y="0"/>
                </a:lnTo>
                <a:lnTo>
                  <a:pt x="0" y="0"/>
                </a:lnTo>
                <a:lnTo>
                  <a:pt x="0" y="92175"/>
                </a:lnTo>
                <a:close/>
              </a:path>
            </a:pathLst>
          </a:custGeom>
          <a:solidFill>
            <a:srgbClr val="060A0E">
              <a:alpha val="17999"/>
            </a:srgbClr>
          </a:solidFill>
        </p:spPr>
        <p:txBody>
          <a:bodyPr wrap="square" lIns="0" tIns="0" rIns="0" bIns="0" rtlCol="0"/>
          <a:lstStyle/>
          <a:p>
            <a:endParaRPr/>
          </a:p>
        </p:txBody>
      </p:sp>
      <p:sp>
        <p:nvSpPr>
          <p:cNvPr id="139" name="object 139"/>
          <p:cNvSpPr/>
          <p:nvPr/>
        </p:nvSpPr>
        <p:spPr>
          <a:xfrm>
            <a:off x="1374862" y="4653204"/>
            <a:ext cx="232210" cy="490091"/>
          </a:xfrm>
          <a:custGeom>
            <a:avLst/>
            <a:gdLst/>
            <a:ahLst/>
            <a:cxnLst/>
            <a:rect l="l" t="t" r="r" b="b"/>
            <a:pathLst>
              <a:path w="510539" h="1077595">
                <a:moveTo>
                  <a:pt x="510340" y="0"/>
                </a:moveTo>
                <a:lnTo>
                  <a:pt x="0" y="0"/>
                </a:lnTo>
                <a:lnTo>
                  <a:pt x="20386" y="1077255"/>
                </a:lnTo>
                <a:lnTo>
                  <a:pt x="510340" y="1077255"/>
                </a:lnTo>
                <a:lnTo>
                  <a:pt x="510340" y="0"/>
                </a:lnTo>
                <a:close/>
              </a:path>
            </a:pathLst>
          </a:custGeom>
          <a:solidFill>
            <a:srgbClr val="333333"/>
          </a:solidFill>
        </p:spPr>
        <p:txBody>
          <a:bodyPr wrap="square" lIns="0" tIns="0" rIns="0" bIns="0" rtlCol="0"/>
          <a:lstStyle/>
          <a:p>
            <a:endParaRPr/>
          </a:p>
        </p:txBody>
      </p:sp>
      <p:sp>
        <p:nvSpPr>
          <p:cNvPr id="140" name="object 140"/>
          <p:cNvSpPr/>
          <p:nvPr/>
        </p:nvSpPr>
        <p:spPr>
          <a:xfrm>
            <a:off x="1674795" y="4653204"/>
            <a:ext cx="232210" cy="490091"/>
          </a:xfrm>
          <a:custGeom>
            <a:avLst/>
            <a:gdLst/>
            <a:ahLst/>
            <a:cxnLst/>
            <a:rect l="l" t="t" r="r" b="b"/>
            <a:pathLst>
              <a:path w="510539" h="1077595">
                <a:moveTo>
                  <a:pt x="510330" y="0"/>
                </a:moveTo>
                <a:lnTo>
                  <a:pt x="0" y="0"/>
                </a:lnTo>
                <a:lnTo>
                  <a:pt x="0" y="1077255"/>
                </a:lnTo>
                <a:lnTo>
                  <a:pt x="489953" y="1077255"/>
                </a:lnTo>
                <a:lnTo>
                  <a:pt x="510330" y="0"/>
                </a:lnTo>
                <a:close/>
              </a:path>
            </a:pathLst>
          </a:custGeom>
          <a:solidFill>
            <a:srgbClr val="333333"/>
          </a:solidFill>
        </p:spPr>
        <p:txBody>
          <a:bodyPr wrap="square" lIns="0" tIns="0" rIns="0" bIns="0" rtlCol="0"/>
          <a:lstStyle/>
          <a:p>
            <a:endParaRPr/>
          </a:p>
        </p:txBody>
      </p:sp>
      <p:sp>
        <p:nvSpPr>
          <p:cNvPr id="141" name="object 141"/>
          <p:cNvSpPr/>
          <p:nvPr/>
        </p:nvSpPr>
        <p:spPr>
          <a:xfrm>
            <a:off x="1451624" y="4653203"/>
            <a:ext cx="361890" cy="112053"/>
          </a:xfrm>
          <a:custGeom>
            <a:avLst/>
            <a:gdLst/>
            <a:ahLst/>
            <a:cxnLst/>
            <a:rect l="l" t="t" r="r" b="b"/>
            <a:pathLst>
              <a:path w="795654" h="246379">
                <a:moveTo>
                  <a:pt x="795462" y="0"/>
                </a:moveTo>
                <a:lnTo>
                  <a:pt x="0" y="0"/>
                </a:lnTo>
                <a:lnTo>
                  <a:pt x="0" y="246317"/>
                </a:lnTo>
                <a:lnTo>
                  <a:pt x="795462" y="246317"/>
                </a:lnTo>
                <a:lnTo>
                  <a:pt x="795462" y="0"/>
                </a:lnTo>
                <a:close/>
              </a:path>
            </a:pathLst>
          </a:custGeom>
          <a:solidFill>
            <a:srgbClr val="333333"/>
          </a:solidFill>
        </p:spPr>
        <p:txBody>
          <a:bodyPr wrap="square" lIns="0" tIns="0" rIns="0" bIns="0" rtlCol="0"/>
          <a:lstStyle/>
          <a:p>
            <a:endParaRPr/>
          </a:p>
        </p:txBody>
      </p:sp>
      <p:sp>
        <p:nvSpPr>
          <p:cNvPr id="142" name="object 142"/>
          <p:cNvSpPr/>
          <p:nvPr/>
        </p:nvSpPr>
        <p:spPr>
          <a:xfrm>
            <a:off x="1298143" y="3389102"/>
            <a:ext cx="668904" cy="1307679"/>
          </a:xfrm>
          <a:custGeom>
            <a:avLst/>
            <a:gdLst/>
            <a:ahLst/>
            <a:cxnLst/>
            <a:rect l="l" t="t" r="r" b="b"/>
            <a:pathLst>
              <a:path w="1470660" h="2875279">
                <a:moveTo>
                  <a:pt x="1078239" y="0"/>
                </a:moveTo>
                <a:lnTo>
                  <a:pt x="392113" y="0"/>
                </a:lnTo>
                <a:lnTo>
                  <a:pt x="342925" y="3054"/>
                </a:lnTo>
                <a:lnTo>
                  <a:pt x="295561" y="11974"/>
                </a:lnTo>
                <a:lnTo>
                  <a:pt x="250388" y="26392"/>
                </a:lnTo>
                <a:lnTo>
                  <a:pt x="207774" y="45939"/>
                </a:lnTo>
                <a:lnTo>
                  <a:pt x="168085" y="70250"/>
                </a:lnTo>
                <a:lnTo>
                  <a:pt x="131691" y="98955"/>
                </a:lnTo>
                <a:lnTo>
                  <a:pt x="98956" y="131689"/>
                </a:lnTo>
                <a:lnTo>
                  <a:pt x="70250" y="168083"/>
                </a:lnTo>
                <a:lnTo>
                  <a:pt x="45940" y="207770"/>
                </a:lnTo>
                <a:lnTo>
                  <a:pt x="26392" y="250383"/>
                </a:lnTo>
                <a:lnTo>
                  <a:pt x="11974" y="295555"/>
                </a:lnTo>
                <a:lnTo>
                  <a:pt x="3054" y="342917"/>
                </a:lnTo>
                <a:lnTo>
                  <a:pt x="0" y="392103"/>
                </a:lnTo>
                <a:lnTo>
                  <a:pt x="71526" y="2874833"/>
                </a:lnTo>
                <a:lnTo>
                  <a:pt x="1422668" y="2874833"/>
                </a:lnTo>
                <a:lnTo>
                  <a:pt x="1470353" y="392103"/>
                </a:lnTo>
                <a:lnTo>
                  <a:pt x="1467298" y="342917"/>
                </a:lnTo>
                <a:lnTo>
                  <a:pt x="1458377" y="295555"/>
                </a:lnTo>
                <a:lnTo>
                  <a:pt x="1443959" y="250383"/>
                </a:lnTo>
                <a:lnTo>
                  <a:pt x="1424410" y="207770"/>
                </a:lnTo>
                <a:lnTo>
                  <a:pt x="1400099" y="168083"/>
                </a:lnTo>
                <a:lnTo>
                  <a:pt x="1371392" y="131689"/>
                </a:lnTo>
                <a:lnTo>
                  <a:pt x="1338657" y="98955"/>
                </a:lnTo>
                <a:lnTo>
                  <a:pt x="1302262" y="70250"/>
                </a:lnTo>
                <a:lnTo>
                  <a:pt x="1262574" y="45939"/>
                </a:lnTo>
                <a:lnTo>
                  <a:pt x="1219960" y="26392"/>
                </a:lnTo>
                <a:lnTo>
                  <a:pt x="1174788" y="11974"/>
                </a:lnTo>
                <a:lnTo>
                  <a:pt x="1127425" y="3054"/>
                </a:lnTo>
                <a:lnTo>
                  <a:pt x="1078239" y="0"/>
                </a:lnTo>
                <a:close/>
              </a:path>
            </a:pathLst>
          </a:custGeom>
          <a:solidFill>
            <a:srgbClr val="000000"/>
          </a:solidFill>
        </p:spPr>
        <p:txBody>
          <a:bodyPr wrap="square" lIns="0" tIns="0" rIns="0" bIns="0" rtlCol="0"/>
          <a:lstStyle/>
          <a:p>
            <a:endParaRPr/>
          </a:p>
        </p:txBody>
      </p:sp>
      <p:sp>
        <p:nvSpPr>
          <p:cNvPr id="143" name="object 143"/>
          <p:cNvSpPr/>
          <p:nvPr/>
        </p:nvSpPr>
        <p:spPr>
          <a:xfrm>
            <a:off x="1649185" y="3389100"/>
            <a:ext cx="179068" cy="806325"/>
          </a:xfrm>
          <a:custGeom>
            <a:avLst/>
            <a:gdLst/>
            <a:ahLst/>
            <a:cxnLst/>
            <a:rect l="l" t="t" r="r" b="b"/>
            <a:pathLst>
              <a:path w="393700" h="1772920">
                <a:moveTo>
                  <a:pt x="194999" y="0"/>
                </a:moveTo>
                <a:lnTo>
                  <a:pt x="0" y="1772616"/>
                </a:lnTo>
                <a:lnTo>
                  <a:pt x="393673" y="537397"/>
                </a:lnTo>
                <a:lnTo>
                  <a:pt x="248233" y="418186"/>
                </a:lnTo>
                <a:lnTo>
                  <a:pt x="352973" y="277049"/>
                </a:lnTo>
                <a:lnTo>
                  <a:pt x="194999" y="0"/>
                </a:lnTo>
                <a:close/>
              </a:path>
            </a:pathLst>
          </a:custGeom>
          <a:solidFill>
            <a:srgbClr val="333333"/>
          </a:solidFill>
        </p:spPr>
        <p:txBody>
          <a:bodyPr wrap="square" lIns="0" tIns="0" rIns="0" bIns="0" rtlCol="0"/>
          <a:lstStyle/>
          <a:p>
            <a:endParaRPr/>
          </a:p>
        </p:txBody>
      </p:sp>
      <p:sp>
        <p:nvSpPr>
          <p:cNvPr id="144" name="object 144"/>
          <p:cNvSpPr/>
          <p:nvPr/>
        </p:nvSpPr>
        <p:spPr>
          <a:xfrm>
            <a:off x="1445679" y="3389100"/>
            <a:ext cx="203617" cy="806325"/>
          </a:xfrm>
          <a:custGeom>
            <a:avLst/>
            <a:gdLst/>
            <a:ahLst/>
            <a:cxnLst/>
            <a:rect l="l" t="t" r="r" b="b"/>
            <a:pathLst>
              <a:path w="447675" h="1772920">
                <a:moveTo>
                  <a:pt x="198685" y="0"/>
                </a:moveTo>
                <a:lnTo>
                  <a:pt x="40700" y="277049"/>
                </a:lnTo>
                <a:lnTo>
                  <a:pt x="145440" y="418186"/>
                </a:lnTo>
                <a:lnTo>
                  <a:pt x="0" y="537397"/>
                </a:lnTo>
                <a:lnTo>
                  <a:pt x="447431" y="1772616"/>
                </a:lnTo>
                <a:lnTo>
                  <a:pt x="198685" y="0"/>
                </a:lnTo>
                <a:close/>
              </a:path>
            </a:pathLst>
          </a:custGeom>
          <a:solidFill>
            <a:srgbClr val="333333"/>
          </a:solidFill>
        </p:spPr>
        <p:txBody>
          <a:bodyPr wrap="square" lIns="0" tIns="0" rIns="0" bIns="0" rtlCol="0"/>
          <a:lstStyle/>
          <a:p>
            <a:endParaRPr/>
          </a:p>
        </p:txBody>
      </p:sp>
      <p:sp>
        <p:nvSpPr>
          <p:cNvPr id="145" name="object 145"/>
          <p:cNvSpPr/>
          <p:nvPr/>
        </p:nvSpPr>
        <p:spPr>
          <a:xfrm>
            <a:off x="1524324" y="3389101"/>
            <a:ext cx="213726" cy="806325"/>
          </a:xfrm>
          <a:custGeom>
            <a:avLst/>
            <a:gdLst/>
            <a:ahLst/>
            <a:cxnLst/>
            <a:rect l="l" t="t" r="r" b="b"/>
            <a:pathLst>
              <a:path w="469900" h="1772920">
                <a:moveTo>
                  <a:pt x="469514" y="0"/>
                </a:moveTo>
                <a:lnTo>
                  <a:pt x="0" y="0"/>
                </a:lnTo>
                <a:lnTo>
                  <a:pt x="274525" y="1772616"/>
                </a:lnTo>
                <a:lnTo>
                  <a:pt x="469514" y="0"/>
                </a:lnTo>
                <a:close/>
              </a:path>
            </a:pathLst>
          </a:custGeom>
          <a:solidFill>
            <a:srgbClr val="E3DDE1"/>
          </a:solidFill>
        </p:spPr>
        <p:txBody>
          <a:bodyPr wrap="square" lIns="0" tIns="0" rIns="0" bIns="0" rtlCol="0"/>
          <a:lstStyle/>
          <a:p>
            <a:endParaRPr/>
          </a:p>
        </p:txBody>
      </p:sp>
      <p:sp>
        <p:nvSpPr>
          <p:cNvPr id="146" name="object 146"/>
          <p:cNvSpPr/>
          <p:nvPr/>
        </p:nvSpPr>
        <p:spPr>
          <a:xfrm>
            <a:off x="1561049" y="3289062"/>
            <a:ext cx="142965" cy="172413"/>
          </a:xfrm>
          <a:custGeom>
            <a:avLst/>
            <a:gdLst/>
            <a:ahLst/>
            <a:cxnLst/>
            <a:rect l="l" t="t" r="r" b="b"/>
            <a:pathLst>
              <a:path w="314325" h="379095">
                <a:moveTo>
                  <a:pt x="314294" y="0"/>
                </a:moveTo>
                <a:lnTo>
                  <a:pt x="0" y="0"/>
                </a:lnTo>
                <a:lnTo>
                  <a:pt x="0" y="221794"/>
                </a:lnTo>
                <a:lnTo>
                  <a:pt x="8011" y="271466"/>
                </a:lnTo>
                <a:lnTo>
                  <a:pt x="30319" y="314604"/>
                </a:lnTo>
                <a:lnTo>
                  <a:pt x="64336" y="348622"/>
                </a:lnTo>
                <a:lnTo>
                  <a:pt x="107475" y="370930"/>
                </a:lnTo>
                <a:lnTo>
                  <a:pt x="157147" y="378941"/>
                </a:lnTo>
                <a:lnTo>
                  <a:pt x="206818" y="370930"/>
                </a:lnTo>
                <a:lnTo>
                  <a:pt x="249957" y="348622"/>
                </a:lnTo>
                <a:lnTo>
                  <a:pt x="283974" y="314604"/>
                </a:lnTo>
                <a:lnTo>
                  <a:pt x="306282" y="271466"/>
                </a:lnTo>
                <a:lnTo>
                  <a:pt x="314294" y="221794"/>
                </a:lnTo>
                <a:lnTo>
                  <a:pt x="314294" y="0"/>
                </a:lnTo>
                <a:close/>
              </a:path>
            </a:pathLst>
          </a:custGeom>
          <a:solidFill>
            <a:srgbClr val="E4C0A2"/>
          </a:solidFill>
        </p:spPr>
        <p:txBody>
          <a:bodyPr wrap="square" lIns="0" tIns="0" rIns="0" bIns="0" rtlCol="0"/>
          <a:lstStyle/>
          <a:p>
            <a:endParaRPr/>
          </a:p>
        </p:txBody>
      </p:sp>
      <p:sp>
        <p:nvSpPr>
          <p:cNvPr id="147" name="object 147"/>
          <p:cNvSpPr/>
          <p:nvPr/>
        </p:nvSpPr>
        <p:spPr>
          <a:xfrm>
            <a:off x="1807497" y="3432000"/>
            <a:ext cx="1271091" cy="372550"/>
          </a:xfrm>
          <a:custGeom>
            <a:avLst/>
            <a:gdLst/>
            <a:ahLst/>
            <a:cxnLst/>
            <a:rect l="l" t="t" r="r" b="b"/>
            <a:pathLst>
              <a:path w="2794634" h="819150">
                <a:moveTo>
                  <a:pt x="189143" y="0"/>
                </a:moveTo>
                <a:lnTo>
                  <a:pt x="53784" y="140652"/>
                </a:lnTo>
                <a:lnTo>
                  <a:pt x="0" y="227758"/>
                </a:lnTo>
                <a:lnTo>
                  <a:pt x="19992" y="297519"/>
                </a:lnTo>
                <a:lnTo>
                  <a:pt x="105962" y="386134"/>
                </a:lnTo>
                <a:lnTo>
                  <a:pt x="153601" y="428668"/>
                </a:lnTo>
                <a:lnTo>
                  <a:pt x="207577" y="471527"/>
                </a:lnTo>
                <a:lnTo>
                  <a:pt x="268324" y="514220"/>
                </a:lnTo>
                <a:lnTo>
                  <a:pt x="301190" y="535234"/>
                </a:lnTo>
                <a:lnTo>
                  <a:pt x="335942" y="556041"/>
                </a:lnTo>
                <a:lnTo>
                  <a:pt x="372540" y="576522"/>
                </a:lnTo>
                <a:lnTo>
                  <a:pt x="411029" y="596606"/>
                </a:lnTo>
                <a:lnTo>
                  <a:pt x="451453" y="616227"/>
                </a:lnTo>
                <a:lnTo>
                  <a:pt x="493854" y="635316"/>
                </a:lnTo>
                <a:lnTo>
                  <a:pt x="538276" y="653806"/>
                </a:lnTo>
                <a:lnTo>
                  <a:pt x="584764" y="671627"/>
                </a:lnTo>
                <a:lnTo>
                  <a:pt x="633361" y="688711"/>
                </a:lnTo>
                <a:lnTo>
                  <a:pt x="684111" y="704992"/>
                </a:lnTo>
                <a:lnTo>
                  <a:pt x="737058" y="720400"/>
                </a:lnTo>
                <a:lnTo>
                  <a:pt x="792244" y="734868"/>
                </a:lnTo>
                <a:lnTo>
                  <a:pt x="849715" y="748326"/>
                </a:lnTo>
                <a:lnTo>
                  <a:pt x="909513" y="760708"/>
                </a:lnTo>
                <a:lnTo>
                  <a:pt x="971683" y="771945"/>
                </a:lnTo>
                <a:lnTo>
                  <a:pt x="1036267" y="781969"/>
                </a:lnTo>
                <a:lnTo>
                  <a:pt x="1103311" y="790712"/>
                </a:lnTo>
                <a:lnTo>
                  <a:pt x="1172857" y="798106"/>
                </a:lnTo>
                <a:lnTo>
                  <a:pt x="1244950" y="804081"/>
                </a:lnTo>
                <a:lnTo>
                  <a:pt x="1319632" y="808572"/>
                </a:lnTo>
                <a:lnTo>
                  <a:pt x="1456615" y="814224"/>
                </a:lnTo>
                <a:lnTo>
                  <a:pt x="1587871" y="817564"/>
                </a:lnTo>
                <a:lnTo>
                  <a:pt x="1713273" y="818809"/>
                </a:lnTo>
                <a:lnTo>
                  <a:pt x="1832695" y="818172"/>
                </a:lnTo>
                <a:lnTo>
                  <a:pt x="1946010" y="815870"/>
                </a:lnTo>
                <a:lnTo>
                  <a:pt x="2053093" y="812117"/>
                </a:lnTo>
                <a:lnTo>
                  <a:pt x="2153816" y="807129"/>
                </a:lnTo>
                <a:lnTo>
                  <a:pt x="2248054" y="801121"/>
                </a:lnTo>
                <a:lnTo>
                  <a:pt x="2335681" y="794308"/>
                </a:lnTo>
                <a:lnTo>
                  <a:pt x="2416569" y="786905"/>
                </a:lnTo>
                <a:lnTo>
                  <a:pt x="2490593" y="779128"/>
                </a:lnTo>
                <a:lnTo>
                  <a:pt x="2557626" y="771191"/>
                </a:lnTo>
                <a:lnTo>
                  <a:pt x="2641281" y="759941"/>
                </a:lnTo>
                <a:lnTo>
                  <a:pt x="2714326" y="740511"/>
                </a:lnTo>
                <a:lnTo>
                  <a:pt x="2753440" y="710904"/>
                </a:lnTo>
                <a:lnTo>
                  <a:pt x="2780923" y="670847"/>
                </a:lnTo>
                <a:lnTo>
                  <a:pt x="2794497" y="623679"/>
                </a:lnTo>
                <a:lnTo>
                  <a:pt x="2791880" y="572736"/>
                </a:lnTo>
                <a:lnTo>
                  <a:pt x="2775050" y="529397"/>
                </a:lnTo>
                <a:lnTo>
                  <a:pt x="2762951" y="514220"/>
                </a:lnTo>
                <a:lnTo>
                  <a:pt x="1724137" y="514220"/>
                </a:lnTo>
                <a:lnTo>
                  <a:pt x="1600162" y="513221"/>
                </a:lnTo>
                <a:lnTo>
                  <a:pt x="1470224" y="510076"/>
                </a:lnTo>
                <a:lnTo>
                  <a:pt x="1334490" y="504550"/>
                </a:lnTo>
                <a:lnTo>
                  <a:pt x="1237334" y="498240"/>
                </a:lnTo>
                <a:lnTo>
                  <a:pt x="1145652" y="489249"/>
                </a:lnTo>
                <a:lnTo>
                  <a:pt x="1059294" y="477787"/>
                </a:lnTo>
                <a:lnTo>
                  <a:pt x="978109" y="464064"/>
                </a:lnTo>
                <a:lnTo>
                  <a:pt x="901947" y="448290"/>
                </a:lnTo>
                <a:lnTo>
                  <a:pt x="830657" y="430674"/>
                </a:lnTo>
                <a:lnTo>
                  <a:pt x="764089" y="411427"/>
                </a:lnTo>
                <a:lnTo>
                  <a:pt x="702091" y="390758"/>
                </a:lnTo>
                <a:lnTo>
                  <a:pt x="644514" y="368877"/>
                </a:lnTo>
                <a:lnTo>
                  <a:pt x="591205" y="345994"/>
                </a:lnTo>
                <a:lnTo>
                  <a:pt x="542016" y="322319"/>
                </a:lnTo>
                <a:lnTo>
                  <a:pt x="496794" y="298062"/>
                </a:lnTo>
                <a:lnTo>
                  <a:pt x="455390" y="273433"/>
                </a:lnTo>
                <a:lnTo>
                  <a:pt x="417652" y="248641"/>
                </a:lnTo>
                <a:lnTo>
                  <a:pt x="383431" y="223897"/>
                </a:lnTo>
                <a:lnTo>
                  <a:pt x="352575" y="199410"/>
                </a:lnTo>
                <a:lnTo>
                  <a:pt x="300356" y="152048"/>
                </a:lnTo>
                <a:lnTo>
                  <a:pt x="259791" y="108235"/>
                </a:lnTo>
                <a:lnTo>
                  <a:pt x="229674" y="69648"/>
                </a:lnTo>
                <a:lnTo>
                  <a:pt x="201453" y="25242"/>
                </a:lnTo>
                <a:lnTo>
                  <a:pt x="189960" y="2041"/>
                </a:lnTo>
                <a:lnTo>
                  <a:pt x="189143" y="0"/>
                </a:lnTo>
                <a:close/>
              </a:path>
              <a:path w="2794634" h="819150">
                <a:moveTo>
                  <a:pt x="2620933" y="454991"/>
                </a:moveTo>
                <a:lnTo>
                  <a:pt x="2570895" y="462099"/>
                </a:lnTo>
                <a:lnTo>
                  <a:pt x="2481216" y="473333"/>
                </a:lnTo>
                <a:lnTo>
                  <a:pt x="2410961" y="480991"/>
                </a:lnTo>
                <a:lnTo>
                  <a:pt x="2333406" y="488394"/>
                </a:lnTo>
                <a:lnTo>
                  <a:pt x="2248718" y="495305"/>
                </a:lnTo>
                <a:lnTo>
                  <a:pt x="2157065" y="501489"/>
                </a:lnTo>
                <a:lnTo>
                  <a:pt x="2058613" y="506708"/>
                </a:lnTo>
                <a:lnTo>
                  <a:pt x="1953530" y="510728"/>
                </a:lnTo>
                <a:lnTo>
                  <a:pt x="1841982" y="513310"/>
                </a:lnTo>
                <a:lnTo>
                  <a:pt x="1724137" y="514220"/>
                </a:lnTo>
                <a:lnTo>
                  <a:pt x="2762951" y="514220"/>
                </a:lnTo>
                <a:lnTo>
                  <a:pt x="2746998" y="494207"/>
                </a:lnTo>
                <a:lnTo>
                  <a:pt x="2710266" y="468911"/>
                </a:lnTo>
                <a:lnTo>
                  <a:pt x="2667397" y="455256"/>
                </a:lnTo>
                <a:lnTo>
                  <a:pt x="2620933" y="454991"/>
                </a:lnTo>
                <a:close/>
              </a:path>
            </a:pathLst>
          </a:custGeom>
          <a:solidFill>
            <a:srgbClr val="000000"/>
          </a:solidFill>
        </p:spPr>
        <p:txBody>
          <a:bodyPr wrap="square" lIns="0" tIns="0" rIns="0" bIns="0" rtlCol="0"/>
          <a:lstStyle/>
          <a:p>
            <a:endParaRPr/>
          </a:p>
        </p:txBody>
      </p:sp>
      <p:sp>
        <p:nvSpPr>
          <p:cNvPr id="148" name="object 148"/>
          <p:cNvSpPr/>
          <p:nvPr/>
        </p:nvSpPr>
        <p:spPr>
          <a:xfrm>
            <a:off x="1082467" y="3406658"/>
            <a:ext cx="363334" cy="1319520"/>
          </a:xfrm>
          <a:custGeom>
            <a:avLst/>
            <a:gdLst/>
            <a:ahLst/>
            <a:cxnLst/>
            <a:rect l="l" t="t" r="r" b="b"/>
            <a:pathLst>
              <a:path w="798830" h="2901315">
                <a:moveTo>
                  <a:pt x="697628" y="0"/>
                </a:moveTo>
                <a:lnTo>
                  <a:pt x="657041" y="17782"/>
                </a:lnTo>
                <a:lnTo>
                  <a:pt x="608528" y="44656"/>
                </a:lnTo>
                <a:lnTo>
                  <a:pt x="568449" y="70774"/>
                </a:lnTo>
                <a:lnTo>
                  <a:pt x="523485" y="104266"/>
                </a:lnTo>
                <a:lnTo>
                  <a:pt x="474753" y="145829"/>
                </a:lnTo>
                <a:lnTo>
                  <a:pt x="423372" y="196158"/>
                </a:lnTo>
                <a:lnTo>
                  <a:pt x="397037" y="224828"/>
                </a:lnTo>
                <a:lnTo>
                  <a:pt x="370460" y="255950"/>
                </a:lnTo>
                <a:lnTo>
                  <a:pt x="343779" y="289612"/>
                </a:lnTo>
                <a:lnTo>
                  <a:pt x="317135" y="325901"/>
                </a:lnTo>
                <a:lnTo>
                  <a:pt x="290667" y="364904"/>
                </a:lnTo>
                <a:lnTo>
                  <a:pt x="264515" y="406707"/>
                </a:lnTo>
                <a:lnTo>
                  <a:pt x="238820" y="451399"/>
                </a:lnTo>
                <a:lnTo>
                  <a:pt x="213719" y="499065"/>
                </a:lnTo>
                <a:lnTo>
                  <a:pt x="189354" y="549793"/>
                </a:lnTo>
                <a:lnTo>
                  <a:pt x="165864" y="603670"/>
                </a:lnTo>
                <a:lnTo>
                  <a:pt x="143389" y="660783"/>
                </a:lnTo>
                <a:lnTo>
                  <a:pt x="122069" y="721219"/>
                </a:lnTo>
                <a:lnTo>
                  <a:pt x="102043" y="785064"/>
                </a:lnTo>
                <a:lnTo>
                  <a:pt x="83452" y="852407"/>
                </a:lnTo>
                <a:lnTo>
                  <a:pt x="66434" y="923334"/>
                </a:lnTo>
                <a:lnTo>
                  <a:pt x="51130" y="997932"/>
                </a:lnTo>
                <a:lnTo>
                  <a:pt x="37680" y="1076288"/>
                </a:lnTo>
                <a:lnTo>
                  <a:pt x="26223" y="1158490"/>
                </a:lnTo>
                <a:lnTo>
                  <a:pt x="16899" y="1244623"/>
                </a:lnTo>
                <a:lnTo>
                  <a:pt x="9848" y="1334776"/>
                </a:lnTo>
                <a:lnTo>
                  <a:pt x="5209" y="1429035"/>
                </a:lnTo>
                <a:lnTo>
                  <a:pt x="3059" y="1498156"/>
                </a:lnTo>
                <a:lnTo>
                  <a:pt x="1493" y="1565859"/>
                </a:lnTo>
                <a:lnTo>
                  <a:pt x="482" y="1632129"/>
                </a:lnTo>
                <a:lnTo>
                  <a:pt x="0" y="1696949"/>
                </a:lnTo>
                <a:lnTo>
                  <a:pt x="49" y="1764108"/>
                </a:lnTo>
                <a:lnTo>
                  <a:pt x="513" y="1822181"/>
                </a:lnTo>
                <a:lnTo>
                  <a:pt x="1480" y="1883688"/>
                </a:lnTo>
                <a:lnTo>
                  <a:pt x="2816" y="1941432"/>
                </a:lnTo>
                <a:lnTo>
                  <a:pt x="4570" y="1998775"/>
                </a:lnTo>
                <a:lnTo>
                  <a:pt x="6691" y="2054576"/>
                </a:lnTo>
                <a:lnTo>
                  <a:pt x="9151" y="2108819"/>
                </a:lnTo>
                <a:lnTo>
                  <a:pt x="11922" y="2161490"/>
                </a:lnTo>
                <a:lnTo>
                  <a:pt x="14979" y="2212572"/>
                </a:lnTo>
                <a:lnTo>
                  <a:pt x="18292" y="2262050"/>
                </a:lnTo>
                <a:lnTo>
                  <a:pt x="21837" y="2309909"/>
                </a:lnTo>
                <a:lnTo>
                  <a:pt x="25585" y="2356133"/>
                </a:lnTo>
                <a:lnTo>
                  <a:pt x="29509" y="2400706"/>
                </a:lnTo>
                <a:lnTo>
                  <a:pt x="33582" y="2443614"/>
                </a:lnTo>
                <a:lnTo>
                  <a:pt x="37777" y="2484840"/>
                </a:lnTo>
                <a:lnTo>
                  <a:pt x="42068" y="2524369"/>
                </a:lnTo>
                <a:lnTo>
                  <a:pt x="50825" y="2598274"/>
                </a:lnTo>
                <a:lnTo>
                  <a:pt x="59637" y="2665206"/>
                </a:lnTo>
                <a:lnTo>
                  <a:pt x="68095" y="2723250"/>
                </a:lnTo>
                <a:lnTo>
                  <a:pt x="76191" y="2774533"/>
                </a:lnTo>
                <a:lnTo>
                  <a:pt x="92691" y="2822741"/>
                </a:lnTo>
                <a:lnTo>
                  <a:pt x="122851" y="2861411"/>
                </a:lnTo>
                <a:lnTo>
                  <a:pt x="163290" y="2888311"/>
                </a:lnTo>
                <a:lnTo>
                  <a:pt x="210631" y="2901208"/>
                </a:lnTo>
                <a:lnTo>
                  <a:pt x="261494" y="2897869"/>
                </a:lnTo>
                <a:lnTo>
                  <a:pt x="304662" y="2880489"/>
                </a:lnTo>
                <a:lnTo>
                  <a:pt x="339512" y="2851977"/>
                </a:lnTo>
                <a:lnTo>
                  <a:pt x="364334" y="2814902"/>
                </a:lnTo>
                <a:lnTo>
                  <a:pt x="377414" y="2771837"/>
                </a:lnTo>
                <a:lnTo>
                  <a:pt x="377041" y="2725351"/>
                </a:lnTo>
                <a:lnTo>
                  <a:pt x="372922" y="2699331"/>
                </a:lnTo>
                <a:lnTo>
                  <a:pt x="368629" y="2671168"/>
                </a:lnTo>
                <a:lnTo>
                  <a:pt x="359753" y="2608590"/>
                </a:lnTo>
                <a:lnTo>
                  <a:pt x="351230" y="2541968"/>
                </a:lnTo>
                <a:lnTo>
                  <a:pt x="342770" y="2468178"/>
                </a:lnTo>
                <a:lnTo>
                  <a:pt x="338635" y="2428645"/>
                </a:lnTo>
                <a:lnTo>
                  <a:pt x="334603" y="2387378"/>
                </a:lnTo>
                <a:lnTo>
                  <a:pt x="330701" y="2344397"/>
                </a:lnTo>
                <a:lnTo>
                  <a:pt x="326958" y="2299723"/>
                </a:lnTo>
                <a:lnTo>
                  <a:pt x="323404" y="2253374"/>
                </a:lnTo>
                <a:lnTo>
                  <a:pt x="320066" y="2205370"/>
                </a:lnTo>
                <a:lnTo>
                  <a:pt x="316974" y="2155731"/>
                </a:lnTo>
                <a:lnTo>
                  <a:pt x="314157" y="2104475"/>
                </a:lnTo>
                <a:lnTo>
                  <a:pt x="311642" y="2051624"/>
                </a:lnTo>
                <a:lnTo>
                  <a:pt x="309459" y="1997196"/>
                </a:lnTo>
                <a:lnTo>
                  <a:pt x="307636" y="1941211"/>
                </a:lnTo>
                <a:lnTo>
                  <a:pt x="306183" y="1882562"/>
                </a:lnTo>
                <a:lnTo>
                  <a:pt x="305186" y="1824648"/>
                </a:lnTo>
                <a:lnTo>
                  <a:pt x="304617" y="1764108"/>
                </a:lnTo>
                <a:lnTo>
                  <a:pt x="304556" y="1696949"/>
                </a:lnTo>
                <a:lnTo>
                  <a:pt x="304932" y="1638613"/>
                </a:lnTo>
                <a:lnTo>
                  <a:pt x="305875" y="1573696"/>
                </a:lnTo>
                <a:lnTo>
                  <a:pt x="307378" y="1507359"/>
                </a:lnTo>
                <a:lnTo>
                  <a:pt x="309472" y="1439621"/>
                </a:lnTo>
                <a:lnTo>
                  <a:pt x="313017" y="1364807"/>
                </a:lnTo>
                <a:lnTo>
                  <a:pt x="318213" y="1293258"/>
                </a:lnTo>
                <a:lnTo>
                  <a:pt x="324952" y="1224910"/>
                </a:lnTo>
                <a:lnTo>
                  <a:pt x="333130" y="1159699"/>
                </a:lnTo>
                <a:lnTo>
                  <a:pt x="342638" y="1097560"/>
                </a:lnTo>
                <a:lnTo>
                  <a:pt x="353371" y="1038429"/>
                </a:lnTo>
                <a:lnTo>
                  <a:pt x="365222" y="982241"/>
                </a:lnTo>
                <a:lnTo>
                  <a:pt x="378085" y="928933"/>
                </a:lnTo>
                <a:lnTo>
                  <a:pt x="391853" y="878440"/>
                </a:lnTo>
                <a:lnTo>
                  <a:pt x="406419" y="830698"/>
                </a:lnTo>
                <a:lnTo>
                  <a:pt x="421678" y="785642"/>
                </a:lnTo>
                <a:lnTo>
                  <a:pt x="437523" y="743209"/>
                </a:lnTo>
                <a:lnTo>
                  <a:pt x="453846" y="703333"/>
                </a:lnTo>
                <a:lnTo>
                  <a:pt x="470543" y="665951"/>
                </a:lnTo>
                <a:lnTo>
                  <a:pt x="487505" y="630998"/>
                </a:lnTo>
                <a:lnTo>
                  <a:pt x="521803" y="568124"/>
                </a:lnTo>
                <a:lnTo>
                  <a:pt x="555888" y="514195"/>
                </a:lnTo>
                <a:lnTo>
                  <a:pt x="625611" y="424287"/>
                </a:lnTo>
                <a:lnTo>
                  <a:pt x="675459" y="373298"/>
                </a:lnTo>
                <a:lnTo>
                  <a:pt x="719905" y="335784"/>
                </a:lnTo>
                <a:lnTo>
                  <a:pt x="756720" y="310069"/>
                </a:lnTo>
                <a:lnTo>
                  <a:pt x="798295" y="287467"/>
                </a:lnTo>
                <a:lnTo>
                  <a:pt x="798075" y="287467"/>
                </a:lnTo>
                <a:lnTo>
                  <a:pt x="697628" y="0"/>
                </a:lnTo>
                <a:close/>
              </a:path>
              <a:path w="798830" h="2901315">
                <a:moveTo>
                  <a:pt x="798557" y="287342"/>
                </a:moveTo>
                <a:lnTo>
                  <a:pt x="798075" y="287467"/>
                </a:lnTo>
                <a:lnTo>
                  <a:pt x="798295" y="287467"/>
                </a:lnTo>
                <a:lnTo>
                  <a:pt x="798557" y="287342"/>
                </a:lnTo>
                <a:close/>
              </a:path>
            </a:pathLst>
          </a:custGeom>
          <a:solidFill>
            <a:srgbClr val="000000"/>
          </a:solidFill>
        </p:spPr>
        <p:txBody>
          <a:bodyPr wrap="square" lIns="0" tIns="0" rIns="0" bIns="0" rtlCol="0"/>
          <a:lstStyle/>
          <a:p>
            <a:endParaRPr/>
          </a:p>
        </p:txBody>
      </p:sp>
      <p:sp>
        <p:nvSpPr>
          <p:cNvPr id="149" name="object 149"/>
          <p:cNvSpPr/>
          <p:nvPr/>
        </p:nvSpPr>
        <p:spPr>
          <a:xfrm>
            <a:off x="2950743" y="3638931"/>
            <a:ext cx="127947" cy="143822"/>
          </a:xfrm>
          <a:custGeom>
            <a:avLst/>
            <a:gdLst/>
            <a:ahLst/>
            <a:cxnLst/>
            <a:rect l="l" t="t" r="r" b="b"/>
            <a:pathLst>
              <a:path w="281304" h="316229">
                <a:moveTo>
                  <a:pt x="107378" y="0"/>
                </a:moveTo>
                <a:lnTo>
                  <a:pt x="83273" y="3514"/>
                </a:lnTo>
                <a:lnTo>
                  <a:pt x="0" y="14491"/>
                </a:lnTo>
                <a:lnTo>
                  <a:pt x="44071" y="316199"/>
                </a:lnTo>
                <a:lnTo>
                  <a:pt x="127727" y="304950"/>
                </a:lnTo>
                <a:lnTo>
                  <a:pt x="200772" y="285520"/>
                </a:lnTo>
                <a:lnTo>
                  <a:pt x="239885" y="255913"/>
                </a:lnTo>
                <a:lnTo>
                  <a:pt x="267369" y="215856"/>
                </a:lnTo>
                <a:lnTo>
                  <a:pt x="280943" y="168688"/>
                </a:lnTo>
                <a:lnTo>
                  <a:pt x="278326" y="117745"/>
                </a:lnTo>
                <a:lnTo>
                  <a:pt x="261495" y="74406"/>
                </a:lnTo>
                <a:lnTo>
                  <a:pt x="233443" y="39215"/>
                </a:lnTo>
                <a:lnTo>
                  <a:pt x="196711" y="13919"/>
                </a:lnTo>
                <a:lnTo>
                  <a:pt x="153843" y="265"/>
                </a:lnTo>
                <a:lnTo>
                  <a:pt x="107378" y="0"/>
                </a:lnTo>
                <a:close/>
              </a:path>
            </a:pathLst>
          </a:custGeom>
          <a:solidFill>
            <a:srgbClr val="E4C0A2"/>
          </a:solidFill>
        </p:spPr>
        <p:txBody>
          <a:bodyPr wrap="square" lIns="0" tIns="0" rIns="0" bIns="0" rtlCol="0"/>
          <a:lstStyle/>
          <a:p>
            <a:endParaRPr/>
          </a:p>
        </p:txBody>
      </p:sp>
      <p:sp>
        <p:nvSpPr>
          <p:cNvPr id="150" name="object 150"/>
          <p:cNvSpPr/>
          <p:nvPr/>
        </p:nvSpPr>
        <p:spPr>
          <a:xfrm>
            <a:off x="1109590" y="4593044"/>
            <a:ext cx="144698" cy="133136"/>
          </a:xfrm>
          <a:custGeom>
            <a:avLst/>
            <a:gdLst/>
            <a:ahLst/>
            <a:cxnLst/>
            <a:rect l="l" t="t" r="r" b="b"/>
            <a:pathLst>
              <a:path w="318135" h="292734">
                <a:moveTo>
                  <a:pt x="300126" y="0"/>
                </a:moveTo>
                <a:lnTo>
                  <a:pt x="0" y="56616"/>
                </a:lnTo>
                <a:lnTo>
                  <a:pt x="4266" y="86473"/>
                </a:lnTo>
                <a:lnTo>
                  <a:pt x="8461" y="114665"/>
                </a:lnTo>
                <a:lnTo>
                  <a:pt x="16554" y="165953"/>
                </a:lnTo>
                <a:lnTo>
                  <a:pt x="33058" y="214161"/>
                </a:lnTo>
                <a:lnTo>
                  <a:pt x="63219" y="252831"/>
                </a:lnTo>
                <a:lnTo>
                  <a:pt x="103659" y="279731"/>
                </a:lnTo>
                <a:lnTo>
                  <a:pt x="151000" y="292628"/>
                </a:lnTo>
                <a:lnTo>
                  <a:pt x="201868" y="289289"/>
                </a:lnTo>
                <a:lnTo>
                  <a:pt x="245035" y="271908"/>
                </a:lnTo>
                <a:lnTo>
                  <a:pt x="279885" y="243393"/>
                </a:lnTo>
                <a:lnTo>
                  <a:pt x="304707" y="206315"/>
                </a:lnTo>
                <a:lnTo>
                  <a:pt x="317787" y="163247"/>
                </a:lnTo>
                <a:lnTo>
                  <a:pt x="317414" y="116760"/>
                </a:lnTo>
                <a:lnTo>
                  <a:pt x="313290" y="90745"/>
                </a:lnTo>
                <a:lnTo>
                  <a:pt x="308998" y="62581"/>
                </a:lnTo>
                <a:lnTo>
                  <a:pt x="304592" y="32317"/>
                </a:lnTo>
                <a:lnTo>
                  <a:pt x="300126" y="0"/>
                </a:lnTo>
                <a:close/>
              </a:path>
            </a:pathLst>
          </a:custGeom>
          <a:solidFill>
            <a:srgbClr val="EBC592"/>
          </a:solidFill>
        </p:spPr>
        <p:txBody>
          <a:bodyPr wrap="square" lIns="0" tIns="0" rIns="0" bIns="0" rtlCol="0"/>
          <a:lstStyle/>
          <a:p>
            <a:endParaRPr/>
          </a:p>
        </p:txBody>
      </p:sp>
      <p:sp>
        <p:nvSpPr>
          <p:cNvPr id="151" name="object 151"/>
          <p:cNvSpPr/>
          <p:nvPr/>
        </p:nvSpPr>
        <p:spPr>
          <a:xfrm>
            <a:off x="1513977" y="4589833"/>
            <a:ext cx="258782" cy="123317"/>
          </a:xfrm>
          <a:custGeom>
            <a:avLst/>
            <a:gdLst/>
            <a:ahLst/>
            <a:cxnLst/>
            <a:rect l="l" t="t" r="r" b="b"/>
            <a:pathLst>
              <a:path w="568960" h="271145">
                <a:moveTo>
                  <a:pt x="284452" y="0"/>
                </a:moveTo>
                <a:lnTo>
                  <a:pt x="0" y="270714"/>
                </a:lnTo>
                <a:lnTo>
                  <a:pt x="568914" y="270714"/>
                </a:lnTo>
                <a:lnTo>
                  <a:pt x="284452" y="0"/>
                </a:lnTo>
                <a:close/>
              </a:path>
            </a:pathLst>
          </a:custGeom>
          <a:solidFill>
            <a:srgbClr val="333333"/>
          </a:solidFill>
        </p:spPr>
        <p:txBody>
          <a:bodyPr wrap="square" lIns="0" tIns="0" rIns="0" bIns="0" rtlCol="0"/>
          <a:lstStyle/>
          <a:p>
            <a:endParaRPr/>
          </a:p>
        </p:txBody>
      </p:sp>
      <p:sp>
        <p:nvSpPr>
          <p:cNvPr id="152" name="object 152"/>
          <p:cNvSpPr/>
          <p:nvPr/>
        </p:nvSpPr>
        <p:spPr>
          <a:xfrm>
            <a:off x="1629621" y="3349143"/>
            <a:ext cx="142965" cy="188874"/>
          </a:xfrm>
          <a:custGeom>
            <a:avLst/>
            <a:gdLst/>
            <a:ahLst/>
            <a:cxnLst/>
            <a:rect l="l" t="t" r="r" b="b"/>
            <a:pathLst>
              <a:path w="314325" h="415290">
                <a:moveTo>
                  <a:pt x="163293" y="0"/>
                </a:moveTo>
                <a:lnTo>
                  <a:pt x="0" y="247112"/>
                </a:lnTo>
                <a:lnTo>
                  <a:pt x="160393" y="414940"/>
                </a:lnTo>
                <a:lnTo>
                  <a:pt x="313938" y="146560"/>
                </a:lnTo>
                <a:lnTo>
                  <a:pt x="163293" y="0"/>
                </a:lnTo>
                <a:close/>
              </a:path>
            </a:pathLst>
          </a:custGeom>
          <a:solidFill>
            <a:srgbClr val="FFFFFF"/>
          </a:solidFill>
        </p:spPr>
        <p:txBody>
          <a:bodyPr wrap="square" lIns="0" tIns="0" rIns="0" bIns="0" rtlCol="0"/>
          <a:lstStyle/>
          <a:p>
            <a:endParaRPr/>
          </a:p>
        </p:txBody>
      </p:sp>
      <p:sp>
        <p:nvSpPr>
          <p:cNvPr id="153" name="object 153"/>
          <p:cNvSpPr/>
          <p:nvPr/>
        </p:nvSpPr>
        <p:spPr>
          <a:xfrm>
            <a:off x="1492006" y="3350568"/>
            <a:ext cx="137767" cy="187430"/>
          </a:xfrm>
          <a:custGeom>
            <a:avLst/>
            <a:gdLst/>
            <a:ahLst/>
            <a:cxnLst/>
            <a:rect l="l" t="t" r="r" b="b"/>
            <a:pathLst>
              <a:path w="302895" h="412115">
                <a:moveTo>
                  <a:pt x="150644" y="0"/>
                </a:moveTo>
                <a:lnTo>
                  <a:pt x="0" y="146560"/>
                </a:lnTo>
                <a:lnTo>
                  <a:pt x="145409" y="411809"/>
                </a:lnTo>
                <a:lnTo>
                  <a:pt x="302556" y="243982"/>
                </a:lnTo>
                <a:lnTo>
                  <a:pt x="150644" y="0"/>
                </a:lnTo>
                <a:close/>
              </a:path>
            </a:pathLst>
          </a:custGeom>
          <a:solidFill>
            <a:srgbClr val="FFFFFF"/>
          </a:solidFill>
        </p:spPr>
        <p:txBody>
          <a:bodyPr wrap="square" lIns="0" tIns="0" rIns="0" bIns="0" rtlCol="0"/>
          <a:lstStyle/>
          <a:p>
            <a:endParaRPr/>
          </a:p>
        </p:txBody>
      </p:sp>
      <p:sp>
        <p:nvSpPr>
          <p:cNvPr id="154" name="object 154"/>
          <p:cNvSpPr/>
          <p:nvPr/>
        </p:nvSpPr>
        <p:spPr>
          <a:xfrm>
            <a:off x="1593377" y="3461529"/>
            <a:ext cx="95599" cy="733837"/>
          </a:xfrm>
          <a:custGeom>
            <a:avLst/>
            <a:gdLst/>
            <a:ahLst/>
            <a:cxnLst/>
            <a:rect l="l" t="t" r="r" b="b"/>
            <a:pathLst>
              <a:path w="210185" h="1613534">
                <a:moveTo>
                  <a:pt x="79683" y="0"/>
                </a:moveTo>
                <a:lnTo>
                  <a:pt x="0" y="821032"/>
                </a:lnTo>
                <a:lnTo>
                  <a:pt x="122697" y="1613364"/>
                </a:lnTo>
                <a:lnTo>
                  <a:pt x="209763" y="821859"/>
                </a:lnTo>
                <a:lnTo>
                  <a:pt x="79683" y="0"/>
                </a:lnTo>
                <a:close/>
              </a:path>
            </a:pathLst>
          </a:custGeom>
          <a:solidFill>
            <a:srgbClr val="50BD86"/>
          </a:solidFill>
        </p:spPr>
        <p:txBody>
          <a:bodyPr wrap="square" lIns="0" tIns="0" rIns="0" bIns="0" rtlCol="0"/>
          <a:lstStyle/>
          <a:p>
            <a:endParaRPr/>
          </a:p>
        </p:txBody>
      </p:sp>
      <p:sp>
        <p:nvSpPr>
          <p:cNvPr id="155" name="object 155"/>
          <p:cNvSpPr/>
          <p:nvPr/>
        </p:nvSpPr>
        <p:spPr>
          <a:xfrm>
            <a:off x="1575636" y="3461529"/>
            <a:ext cx="111773" cy="128804"/>
          </a:xfrm>
          <a:custGeom>
            <a:avLst/>
            <a:gdLst/>
            <a:ahLst/>
            <a:cxnLst/>
            <a:rect l="l" t="t" r="r" b="b"/>
            <a:pathLst>
              <a:path w="245745" h="283209">
                <a:moveTo>
                  <a:pt x="118687" y="0"/>
                </a:moveTo>
                <a:lnTo>
                  <a:pt x="0" y="126760"/>
                </a:lnTo>
                <a:lnTo>
                  <a:pt x="131451" y="283059"/>
                </a:lnTo>
                <a:lnTo>
                  <a:pt x="245594" y="132058"/>
                </a:lnTo>
                <a:lnTo>
                  <a:pt x="118687" y="0"/>
                </a:lnTo>
                <a:close/>
              </a:path>
            </a:pathLst>
          </a:custGeom>
          <a:solidFill>
            <a:srgbClr val="50BD86"/>
          </a:solidFill>
        </p:spPr>
        <p:txBody>
          <a:bodyPr wrap="square" lIns="0" tIns="0" rIns="0" bIns="0" rtlCol="0"/>
          <a:lstStyle/>
          <a:p>
            <a:endParaRPr/>
          </a:p>
        </p:txBody>
      </p:sp>
      <p:sp>
        <p:nvSpPr>
          <p:cNvPr id="156" name="object 156"/>
          <p:cNvSpPr/>
          <p:nvPr/>
        </p:nvSpPr>
        <p:spPr>
          <a:xfrm>
            <a:off x="1750476" y="2916973"/>
            <a:ext cx="152785" cy="162594"/>
          </a:xfrm>
          <a:custGeom>
            <a:avLst/>
            <a:gdLst/>
            <a:ahLst/>
            <a:cxnLst/>
            <a:rect l="l" t="t" r="r" b="b"/>
            <a:pathLst>
              <a:path w="335914" h="357504">
                <a:moveTo>
                  <a:pt x="167816" y="0"/>
                </a:moveTo>
                <a:lnTo>
                  <a:pt x="123206" y="6380"/>
                </a:lnTo>
                <a:lnTo>
                  <a:pt x="83118" y="24388"/>
                </a:lnTo>
                <a:lnTo>
                  <a:pt x="49154" y="52320"/>
                </a:lnTo>
                <a:lnTo>
                  <a:pt x="22913" y="88473"/>
                </a:lnTo>
                <a:lnTo>
                  <a:pt x="5994" y="131145"/>
                </a:lnTo>
                <a:lnTo>
                  <a:pt x="0" y="178633"/>
                </a:lnTo>
                <a:lnTo>
                  <a:pt x="5994" y="226121"/>
                </a:lnTo>
                <a:lnTo>
                  <a:pt x="22913" y="268793"/>
                </a:lnTo>
                <a:lnTo>
                  <a:pt x="49154" y="304946"/>
                </a:lnTo>
                <a:lnTo>
                  <a:pt x="83118" y="332877"/>
                </a:lnTo>
                <a:lnTo>
                  <a:pt x="123206" y="350885"/>
                </a:lnTo>
                <a:lnTo>
                  <a:pt x="167816" y="357266"/>
                </a:lnTo>
                <a:lnTo>
                  <a:pt x="212431" y="350885"/>
                </a:lnTo>
                <a:lnTo>
                  <a:pt x="252519" y="332877"/>
                </a:lnTo>
                <a:lnTo>
                  <a:pt x="286483" y="304946"/>
                </a:lnTo>
                <a:lnTo>
                  <a:pt x="312723" y="268793"/>
                </a:lnTo>
                <a:lnTo>
                  <a:pt x="329639" y="226121"/>
                </a:lnTo>
                <a:lnTo>
                  <a:pt x="335633" y="178633"/>
                </a:lnTo>
                <a:lnTo>
                  <a:pt x="329639" y="131145"/>
                </a:lnTo>
                <a:lnTo>
                  <a:pt x="312723" y="88473"/>
                </a:lnTo>
                <a:lnTo>
                  <a:pt x="286483" y="52320"/>
                </a:lnTo>
                <a:lnTo>
                  <a:pt x="252519" y="24388"/>
                </a:lnTo>
                <a:lnTo>
                  <a:pt x="212431" y="6380"/>
                </a:lnTo>
                <a:lnTo>
                  <a:pt x="167816" y="0"/>
                </a:lnTo>
                <a:close/>
              </a:path>
            </a:pathLst>
          </a:custGeom>
          <a:solidFill>
            <a:srgbClr val="E4C0A2"/>
          </a:solidFill>
        </p:spPr>
        <p:txBody>
          <a:bodyPr wrap="square" lIns="0" tIns="0" rIns="0" bIns="0" rtlCol="0"/>
          <a:lstStyle/>
          <a:p>
            <a:endParaRPr/>
          </a:p>
        </p:txBody>
      </p:sp>
      <p:sp>
        <p:nvSpPr>
          <p:cNvPr id="157" name="object 157"/>
          <p:cNvSpPr/>
          <p:nvPr/>
        </p:nvSpPr>
        <p:spPr>
          <a:xfrm>
            <a:off x="1434426" y="2607129"/>
            <a:ext cx="401458" cy="711888"/>
          </a:xfrm>
          <a:custGeom>
            <a:avLst/>
            <a:gdLst/>
            <a:ahLst/>
            <a:cxnLst/>
            <a:rect l="l" t="t" r="r" b="b"/>
            <a:pathLst>
              <a:path w="882650" h="1565275">
                <a:moveTo>
                  <a:pt x="631593" y="0"/>
                </a:moveTo>
                <a:lnTo>
                  <a:pt x="250631" y="0"/>
                </a:lnTo>
                <a:lnTo>
                  <a:pt x="205730" y="4056"/>
                </a:lnTo>
                <a:lnTo>
                  <a:pt x="163407" y="15745"/>
                </a:lnTo>
                <a:lnTo>
                  <a:pt x="124386" y="34345"/>
                </a:lnTo>
                <a:lnTo>
                  <a:pt x="89387" y="59134"/>
                </a:lnTo>
                <a:lnTo>
                  <a:pt x="59133" y="89389"/>
                </a:lnTo>
                <a:lnTo>
                  <a:pt x="34345" y="124389"/>
                </a:lnTo>
                <a:lnTo>
                  <a:pt x="15745" y="163412"/>
                </a:lnTo>
                <a:lnTo>
                  <a:pt x="4056" y="205737"/>
                </a:lnTo>
                <a:lnTo>
                  <a:pt x="0" y="250641"/>
                </a:lnTo>
                <a:lnTo>
                  <a:pt x="0" y="1314494"/>
                </a:lnTo>
                <a:lnTo>
                  <a:pt x="4056" y="1359398"/>
                </a:lnTo>
                <a:lnTo>
                  <a:pt x="15745" y="1401722"/>
                </a:lnTo>
                <a:lnTo>
                  <a:pt x="34345" y="1440746"/>
                </a:lnTo>
                <a:lnTo>
                  <a:pt x="59133" y="1475746"/>
                </a:lnTo>
                <a:lnTo>
                  <a:pt x="89387" y="1506001"/>
                </a:lnTo>
                <a:lnTo>
                  <a:pt x="124386" y="1530789"/>
                </a:lnTo>
                <a:lnTo>
                  <a:pt x="163407" y="1549389"/>
                </a:lnTo>
                <a:lnTo>
                  <a:pt x="205730" y="1561078"/>
                </a:lnTo>
                <a:lnTo>
                  <a:pt x="250631" y="1565135"/>
                </a:lnTo>
                <a:lnTo>
                  <a:pt x="631593" y="1565135"/>
                </a:lnTo>
                <a:lnTo>
                  <a:pt x="676494" y="1561078"/>
                </a:lnTo>
                <a:lnTo>
                  <a:pt x="718817" y="1549389"/>
                </a:lnTo>
                <a:lnTo>
                  <a:pt x="757840" y="1530789"/>
                </a:lnTo>
                <a:lnTo>
                  <a:pt x="792841" y="1506001"/>
                </a:lnTo>
                <a:lnTo>
                  <a:pt x="823097" y="1475746"/>
                </a:lnTo>
                <a:lnTo>
                  <a:pt x="847886" y="1440746"/>
                </a:lnTo>
                <a:lnTo>
                  <a:pt x="866487" y="1401722"/>
                </a:lnTo>
                <a:lnTo>
                  <a:pt x="878177" y="1359398"/>
                </a:lnTo>
                <a:lnTo>
                  <a:pt x="882234" y="1314494"/>
                </a:lnTo>
                <a:lnTo>
                  <a:pt x="882234" y="250641"/>
                </a:lnTo>
                <a:lnTo>
                  <a:pt x="878177" y="205737"/>
                </a:lnTo>
                <a:lnTo>
                  <a:pt x="866487" y="163412"/>
                </a:lnTo>
                <a:lnTo>
                  <a:pt x="847886" y="124389"/>
                </a:lnTo>
                <a:lnTo>
                  <a:pt x="823097" y="89389"/>
                </a:lnTo>
                <a:lnTo>
                  <a:pt x="792841" y="59134"/>
                </a:lnTo>
                <a:lnTo>
                  <a:pt x="757840" y="34345"/>
                </a:lnTo>
                <a:lnTo>
                  <a:pt x="718817" y="15745"/>
                </a:lnTo>
                <a:lnTo>
                  <a:pt x="676494" y="4056"/>
                </a:lnTo>
                <a:lnTo>
                  <a:pt x="631593" y="0"/>
                </a:lnTo>
                <a:close/>
              </a:path>
            </a:pathLst>
          </a:custGeom>
          <a:solidFill>
            <a:srgbClr val="E4C0A2"/>
          </a:solidFill>
        </p:spPr>
        <p:txBody>
          <a:bodyPr wrap="square" lIns="0" tIns="0" rIns="0" bIns="0" rtlCol="0"/>
          <a:lstStyle/>
          <a:p>
            <a:endParaRPr/>
          </a:p>
        </p:txBody>
      </p:sp>
      <p:sp>
        <p:nvSpPr>
          <p:cNvPr id="158" name="object 158"/>
          <p:cNvSpPr/>
          <p:nvPr/>
        </p:nvSpPr>
        <p:spPr>
          <a:xfrm>
            <a:off x="1366983" y="2908084"/>
            <a:ext cx="152785" cy="162594"/>
          </a:xfrm>
          <a:custGeom>
            <a:avLst/>
            <a:gdLst/>
            <a:ahLst/>
            <a:cxnLst/>
            <a:rect l="l" t="t" r="r" b="b"/>
            <a:pathLst>
              <a:path w="335914" h="357504">
                <a:moveTo>
                  <a:pt x="167816" y="0"/>
                </a:moveTo>
                <a:lnTo>
                  <a:pt x="123206" y="6380"/>
                </a:lnTo>
                <a:lnTo>
                  <a:pt x="83118" y="24388"/>
                </a:lnTo>
                <a:lnTo>
                  <a:pt x="49154" y="52320"/>
                </a:lnTo>
                <a:lnTo>
                  <a:pt x="22913" y="88473"/>
                </a:lnTo>
                <a:lnTo>
                  <a:pt x="5994" y="131145"/>
                </a:lnTo>
                <a:lnTo>
                  <a:pt x="0" y="178633"/>
                </a:lnTo>
                <a:lnTo>
                  <a:pt x="5994" y="226121"/>
                </a:lnTo>
                <a:lnTo>
                  <a:pt x="22913" y="268793"/>
                </a:lnTo>
                <a:lnTo>
                  <a:pt x="49154" y="304946"/>
                </a:lnTo>
                <a:lnTo>
                  <a:pt x="83118" y="332877"/>
                </a:lnTo>
                <a:lnTo>
                  <a:pt x="123206" y="350885"/>
                </a:lnTo>
                <a:lnTo>
                  <a:pt x="167816" y="357266"/>
                </a:lnTo>
                <a:lnTo>
                  <a:pt x="212431" y="350885"/>
                </a:lnTo>
                <a:lnTo>
                  <a:pt x="252519" y="332877"/>
                </a:lnTo>
                <a:lnTo>
                  <a:pt x="286483" y="304946"/>
                </a:lnTo>
                <a:lnTo>
                  <a:pt x="312723" y="268793"/>
                </a:lnTo>
                <a:lnTo>
                  <a:pt x="329639" y="226121"/>
                </a:lnTo>
                <a:lnTo>
                  <a:pt x="335633" y="178633"/>
                </a:lnTo>
                <a:lnTo>
                  <a:pt x="329639" y="131145"/>
                </a:lnTo>
                <a:lnTo>
                  <a:pt x="312723" y="88473"/>
                </a:lnTo>
                <a:lnTo>
                  <a:pt x="286483" y="52320"/>
                </a:lnTo>
                <a:lnTo>
                  <a:pt x="252519" y="24388"/>
                </a:lnTo>
                <a:lnTo>
                  <a:pt x="212431" y="6380"/>
                </a:lnTo>
                <a:lnTo>
                  <a:pt x="167816" y="0"/>
                </a:lnTo>
                <a:close/>
              </a:path>
            </a:pathLst>
          </a:custGeom>
          <a:solidFill>
            <a:srgbClr val="E4C0A2"/>
          </a:solidFill>
        </p:spPr>
        <p:txBody>
          <a:bodyPr wrap="square" lIns="0" tIns="0" rIns="0" bIns="0" rtlCol="0"/>
          <a:lstStyle/>
          <a:p>
            <a:endParaRPr/>
          </a:p>
        </p:txBody>
      </p:sp>
      <p:sp>
        <p:nvSpPr>
          <p:cNvPr id="159" name="object 159"/>
          <p:cNvSpPr/>
          <p:nvPr/>
        </p:nvSpPr>
        <p:spPr>
          <a:xfrm>
            <a:off x="1415540" y="2902565"/>
            <a:ext cx="439293" cy="442728"/>
          </a:xfrm>
          <a:custGeom>
            <a:avLst/>
            <a:gdLst/>
            <a:ahLst/>
            <a:cxnLst/>
            <a:rect l="l" t="t" r="r" b="b"/>
            <a:pathLst>
              <a:path w="965835" h="973454">
                <a:moveTo>
                  <a:pt x="97138" y="0"/>
                </a:moveTo>
                <a:lnTo>
                  <a:pt x="61800" y="44840"/>
                </a:lnTo>
                <a:lnTo>
                  <a:pt x="39903" y="114487"/>
                </a:lnTo>
                <a:lnTo>
                  <a:pt x="22338" y="258172"/>
                </a:lnTo>
                <a:lnTo>
                  <a:pt x="0" y="525125"/>
                </a:lnTo>
                <a:lnTo>
                  <a:pt x="2483" y="573788"/>
                </a:lnTo>
                <a:lnTo>
                  <a:pt x="9757" y="620978"/>
                </a:lnTo>
                <a:lnTo>
                  <a:pt x="21561" y="666414"/>
                </a:lnTo>
                <a:lnTo>
                  <a:pt x="37632" y="709818"/>
                </a:lnTo>
                <a:lnTo>
                  <a:pt x="57708" y="750912"/>
                </a:lnTo>
                <a:lnTo>
                  <a:pt x="81528" y="789416"/>
                </a:lnTo>
                <a:lnTo>
                  <a:pt x="108829" y="825051"/>
                </a:lnTo>
                <a:lnTo>
                  <a:pt x="139349" y="857538"/>
                </a:lnTo>
                <a:lnTo>
                  <a:pt x="172826" y="886599"/>
                </a:lnTo>
                <a:lnTo>
                  <a:pt x="208998" y="911954"/>
                </a:lnTo>
                <a:lnTo>
                  <a:pt x="247604" y="933325"/>
                </a:lnTo>
                <a:lnTo>
                  <a:pt x="288381" y="950432"/>
                </a:lnTo>
                <a:lnTo>
                  <a:pt x="331067" y="962997"/>
                </a:lnTo>
                <a:lnTo>
                  <a:pt x="375400" y="970740"/>
                </a:lnTo>
                <a:lnTo>
                  <a:pt x="421118" y="973383"/>
                </a:lnTo>
                <a:lnTo>
                  <a:pt x="544150" y="973383"/>
                </a:lnTo>
                <a:lnTo>
                  <a:pt x="589869" y="970740"/>
                </a:lnTo>
                <a:lnTo>
                  <a:pt x="634202" y="962997"/>
                </a:lnTo>
                <a:lnTo>
                  <a:pt x="676888" y="950432"/>
                </a:lnTo>
                <a:lnTo>
                  <a:pt x="717666" y="933325"/>
                </a:lnTo>
                <a:lnTo>
                  <a:pt x="756272" y="911954"/>
                </a:lnTo>
                <a:lnTo>
                  <a:pt x="792446" y="886599"/>
                </a:lnTo>
                <a:lnTo>
                  <a:pt x="825924" y="857538"/>
                </a:lnTo>
                <a:lnTo>
                  <a:pt x="856445" y="825051"/>
                </a:lnTo>
                <a:lnTo>
                  <a:pt x="883747" y="789416"/>
                </a:lnTo>
                <a:lnTo>
                  <a:pt x="907568" y="750912"/>
                </a:lnTo>
                <a:lnTo>
                  <a:pt x="927645" y="709818"/>
                </a:lnTo>
                <a:lnTo>
                  <a:pt x="943717" y="666414"/>
                </a:lnTo>
                <a:lnTo>
                  <a:pt x="955521" y="620978"/>
                </a:lnTo>
                <a:lnTo>
                  <a:pt x="962564" y="575291"/>
                </a:lnTo>
                <a:lnTo>
                  <a:pt x="309446" y="575291"/>
                </a:lnTo>
                <a:lnTo>
                  <a:pt x="260917" y="569295"/>
                </a:lnTo>
                <a:lnTo>
                  <a:pt x="216289" y="552231"/>
                </a:lnTo>
                <a:lnTo>
                  <a:pt x="176861" y="525481"/>
                </a:lnTo>
                <a:lnTo>
                  <a:pt x="143932" y="490430"/>
                </a:lnTo>
                <a:lnTo>
                  <a:pt x="118802" y="448460"/>
                </a:lnTo>
                <a:lnTo>
                  <a:pt x="102770" y="400954"/>
                </a:lnTo>
                <a:lnTo>
                  <a:pt x="97138" y="349298"/>
                </a:lnTo>
                <a:lnTo>
                  <a:pt x="97138" y="0"/>
                </a:lnTo>
                <a:close/>
              </a:path>
              <a:path w="965835" h="973454">
                <a:moveTo>
                  <a:pt x="868130" y="0"/>
                </a:moveTo>
                <a:lnTo>
                  <a:pt x="868130" y="349298"/>
                </a:lnTo>
                <a:lnTo>
                  <a:pt x="862498" y="400954"/>
                </a:lnTo>
                <a:lnTo>
                  <a:pt x="846466" y="448460"/>
                </a:lnTo>
                <a:lnTo>
                  <a:pt x="821336" y="490430"/>
                </a:lnTo>
                <a:lnTo>
                  <a:pt x="788407" y="525481"/>
                </a:lnTo>
                <a:lnTo>
                  <a:pt x="748979" y="552231"/>
                </a:lnTo>
                <a:lnTo>
                  <a:pt x="704351" y="569295"/>
                </a:lnTo>
                <a:lnTo>
                  <a:pt x="655822" y="575291"/>
                </a:lnTo>
                <a:lnTo>
                  <a:pt x="962564" y="575291"/>
                </a:lnTo>
                <a:lnTo>
                  <a:pt x="962796" y="573788"/>
                </a:lnTo>
                <a:lnTo>
                  <a:pt x="965279" y="525125"/>
                </a:lnTo>
                <a:lnTo>
                  <a:pt x="958556" y="452233"/>
                </a:lnTo>
                <a:lnTo>
                  <a:pt x="939255" y="286986"/>
                </a:lnTo>
                <a:lnTo>
                  <a:pt x="908679" y="109527"/>
                </a:lnTo>
                <a:lnTo>
                  <a:pt x="868130" y="0"/>
                </a:lnTo>
                <a:close/>
              </a:path>
            </a:pathLst>
          </a:custGeom>
          <a:solidFill>
            <a:srgbClr val="61342C"/>
          </a:solidFill>
        </p:spPr>
        <p:txBody>
          <a:bodyPr wrap="square" lIns="0" tIns="0" rIns="0" bIns="0" rtlCol="0"/>
          <a:lstStyle/>
          <a:p>
            <a:endParaRPr/>
          </a:p>
        </p:txBody>
      </p:sp>
      <p:sp>
        <p:nvSpPr>
          <p:cNvPr id="160" name="object 160"/>
          <p:cNvSpPr/>
          <p:nvPr/>
        </p:nvSpPr>
        <p:spPr>
          <a:xfrm>
            <a:off x="1415540" y="2580699"/>
            <a:ext cx="439293" cy="455435"/>
          </a:xfrm>
          <a:custGeom>
            <a:avLst/>
            <a:gdLst/>
            <a:ahLst/>
            <a:cxnLst/>
            <a:rect l="l" t="t" r="r" b="b"/>
            <a:pathLst>
              <a:path w="965835" h="1001395">
                <a:moveTo>
                  <a:pt x="626483" y="0"/>
                </a:moveTo>
                <a:lnTo>
                  <a:pt x="338795" y="0"/>
                </a:lnTo>
                <a:lnTo>
                  <a:pt x="292989" y="2448"/>
                </a:lnTo>
                <a:lnTo>
                  <a:pt x="249005" y="9745"/>
                </a:lnTo>
                <a:lnTo>
                  <a:pt x="207255" y="21821"/>
                </a:lnTo>
                <a:lnTo>
                  <a:pt x="168151" y="38607"/>
                </a:lnTo>
                <a:lnTo>
                  <a:pt x="132105" y="60031"/>
                </a:lnTo>
                <a:lnTo>
                  <a:pt x="99528" y="86023"/>
                </a:lnTo>
                <a:lnTo>
                  <a:pt x="70833" y="116513"/>
                </a:lnTo>
                <a:lnTo>
                  <a:pt x="46431" y="151432"/>
                </a:lnTo>
                <a:lnTo>
                  <a:pt x="26735" y="190708"/>
                </a:lnTo>
                <a:lnTo>
                  <a:pt x="12157" y="234271"/>
                </a:lnTo>
                <a:lnTo>
                  <a:pt x="3107" y="282051"/>
                </a:lnTo>
                <a:lnTo>
                  <a:pt x="0" y="333979"/>
                </a:lnTo>
                <a:lnTo>
                  <a:pt x="6722" y="428240"/>
                </a:lnTo>
                <a:lnTo>
                  <a:pt x="26022" y="640932"/>
                </a:lnTo>
                <a:lnTo>
                  <a:pt x="56595" y="866917"/>
                </a:lnTo>
                <a:lnTo>
                  <a:pt x="97138" y="1001058"/>
                </a:lnTo>
                <a:lnTo>
                  <a:pt x="97138" y="620787"/>
                </a:lnTo>
                <a:lnTo>
                  <a:pt x="101470" y="571356"/>
                </a:lnTo>
                <a:lnTo>
                  <a:pt x="113887" y="525246"/>
                </a:lnTo>
                <a:lnTo>
                  <a:pt x="133519" y="483465"/>
                </a:lnTo>
                <a:lnTo>
                  <a:pt x="159495" y="447020"/>
                </a:lnTo>
                <a:lnTo>
                  <a:pt x="190945" y="416919"/>
                </a:lnTo>
                <a:lnTo>
                  <a:pt x="227001" y="394171"/>
                </a:lnTo>
                <a:lnTo>
                  <a:pt x="266791" y="379783"/>
                </a:lnTo>
                <a:lnTo>
                  <a:pt x="309446" y="374763"/>
                </a:lnTo>
                <a:lnTo>
                  <a:pt x="962644" y="374763"/>
                </a:lnTo>
                <a:lnTo>
                  <a:pt x="965279" y="333979"/>
                </a:lnTo>
                <a:lnTo>
                  <a:pt x="962171" y="282051"/>
                </a:lnTo>
                <a:lnTo>
                  <a:pt x="953122" y="234271"/>
                </a:lnTo>
                <a:lnTo>
                  <a:pt x="938543" y="190708"/>
                </a:lnTo>
                <a:lnTo>
                  <a:pt x="918847" y="151432"/>
                </a:lnTo>
                <a:lnTo>
                  <a:pt x="894446" y="116513"/>
                </a:lnTo>
                <a:lnTo>
                  <a:pt x="865751" y="86023"/>
                </a:lnTo>
                <a:lnTo>
                  <a:pt x="833174" y="60031"/>
                </a:lnTo>
                <a:lnTo>
                  <a:pt x="797127" y="38607"/>
                </a:lnTo>
                <a:lnTo>
                  <a:pt x="758023" y="21821"/>
                </a:lnTo>
                <a:lnTo>
                  <a:pt x="716273" y="9745"/>
                </a:lnTo>
                <a:lnTo>
                  <a:pt x="672289" y="2448"/>
                </a:lnTo>
                <a:lnTo>
                  <a:pt x="626483" y="0"/>
                </a:lnTo>
                <a:close/>
              </a:path>
              <a:path w="965835" h="1001395">
                <a:moveTo>
                  <a:pt x="962644" y="374763"/>
                </a:moveTo>
                <a:lnTo>
                  <a:pt x="655822" y="374763"/>
                </a:lnTo>
                <a:lnTo>
                  <a:pt x="698480" y="379783"/>
                </a:lnTo>
                <a:lnTo>
                  <a:pt x="738272" y="394171"/>
                </a:lnTo>
                <a:lnTo>
                  <a:pt x="774327" y="416919"/>
                </a:lnTo>
                <a:lnTo>
                  <a:pt x="805777" y="447020"/>
                </a:lnTo>
                <a:lnTo>
                  <a:pt x="831752" y="483465"/>
                </a:lnTo>
                <a:lnTo>
                  <a:pt x="851382" y="525246"/>
                </a:lnTo>
                <a:lnTo>
                  <a:pt x="863798" y="571356"/>
                </a:lnTo>
                <a:lnTo>
                  <a:pt x="868130" y="620787"/>
                </a:lnTo>
                <a:lnTo>
                  <a:pt x="868130" y="1001058"/>
                </a:lnTo>
                <a:lnTo>
                  <a:pt x="903474" y="950755"/>
                </a:lnTo>
                <a:lnTo>
                  <a:pt x="925374" y="864499"/>
                </a:lnTo>
                <a:lnTo>
                  <a:pt x="942940" y="679754"/>
                </a:lnTo>
                <a:lnTo>
                  <a:pt x="962644" y="374763"/>
                </a:lnTo>
                <a:close/>
              </a:path>
            </a:pathLst>
          </a:custGeom>
          <a:solidFill>
            <a:srgbClr val="61342C"/>
          </a:solidFill>
        </p:spPr>
        <p:txBody>
          <a:bodyPr wrap="square" lIns="0" tIns="0" rIns="0" bIns="0" rtlCol="0"/>
          <a:lstStyle/>
          <a:p>
            <a:endParaRPr/>
          </a:p>
        </p:txBody>
      </p:sp>
      <p:sp>
        <p:nvSpPr>
          <p:cNvPr id="161" name="object 161"/>
          <p:cNvSpPr/>
          <p:nvPr/>
        </p:nvSpPr>
        <p:spPr>
          <a:xfrm>
            <a:off x="1533222" y="2536199"/>
            <a:ext cx="305570" cy="310458"/>
          </a:xfrm>
          <a:custGeom>
            <a:avLst/>
            <a:gdLst/>
            <a:ahLst/>
            <a:cxnLst/>
            <a:rect l="l" t="t" r="r" b="b"/>
            <a:pathLst>
              <a:path w="671829" h="682625">
                <a:moveTo>
                  <a:pt x="335769" y="0"/>
                </a:moveTo>
                <a:lnTo>
                  <a:pt x="290208" y="3114"/>
                </a:lnTo>
                <a:lnTo>
                  <a:pt x="246509" y="12185"/>
                </a:lnTo>
                <a:lnTo>
                  <a:pt x="205073" y="26807"/>
                </a:lnTo>
                <a:lnTo>
                  <a:pt x="166300" y="46573"/>
                </a:lnTo>
                <a:lnTo>
                  <a:pt x="130591" y="71077"/>
                </a:lnTo>
                <a:lnTo>
                  <a:pt x="98345" y="99913"/>
                </a:lnTo>
                <a:lnTo>
                  <a:pt x="69962" y="132673"/>
                </a:lnTo>
                <a:lnTo>
                  <a:pt x="45842" y="168952"/>
                </a:lnTo>
                <a:lnTo>
                  <a:pt x="26386" y="208342"/>
                </a:lnTo>
                <a:lnTo>
                  <a:pt x="11994" y="250438"/>
                </a:lnTo>
                <a:lnTo>
                  <a:pt x="3065" y="294833"/>
                </a:lnTo>
                <a:lnTo>
                  <a:pt x="0" y="341120"/>
                </a:lnTo>
                <a:lnTo>
                  <a:pt x="83535" y="352095"/>
                </a:lnTo>
                <a:lnTo>
                  <a:pt x="154693" y="367617"/>
                </a:lnTo>
                <a:lnTo>
                  <a:pt x="214311" y="387025"/>
                </a:lnTo>
                <a:lnTo>
                  <a:pt x="263233" y="409656"/>
                </a:lnTo>
                <a:lnTo>
                  <a:pt x="302297" y="434850"/>
                </a:lnTo>
                <a:lnTo>
                  <a:pt x="332346" y="461945"/>
                </a:lnTo>
                <a:lnTo>
                  <a:pt x="368757" y="519195"/>
                </a:lnTo>
                <a:lnTo>
                  <a:pt x="379192" y="576113"/>
                </a:lnTo>
                <a:lnTo>
                  <a:pt x="376770" y="602795"/>
                </a:lnTo>
                <a:lnTo>
                  <a:pt x="370376" y="627410"/>
                </a:lnTo>
                <a:lnTo>
                  <a:pt x="360851" y="649297"/>
                </a:lnTo>
                <a:lnTo>
                  <a:pt x="349035" y="667794"/>
                </a:lnTo>
                <a:lnTo>
                  <a:pt x="335769" y="682241"/>
                </a:lnTo>
                <a:lnTo>
                  <a:pt x="381331" y="679126"/>
                </a:lnTo>
                <a:lnTo>
                  <a:pt x="425029" y="670055"/>
                </a:lnTo>
                <a:lnTo>
                  <a:pt x="466464" y="655433"/>
                </a:lnTo>
                <a:lnTo>
                  <a:pt x="505236" y="635667"/>
                </a:lnTo>
                <a:lnTo>
                  <a:pt x="540944" y="611163"/>
                </a:lnTo>
                <a:lnTo>
                  <a:pt x="573189" y="582327"/>
                </a:lnTo>
                <a:lnTo>
                  <a:pt x="601570" y="549567"/>
                </a:lnTo>
                <a:lnTo>
                  <a:pt x="625689" y="513289"/>
                </a:lnTo>
                <a:lnTo>
                  <a:pt x="645144" y="473898"/>
                </a:lnTo>
                <a:lnTo>
                  <a:pt x="659535" y="431802"/>
                </a:lnTo>
                <a:lnTo>
                  <a:pt x="668464" y="387407"/>
                </a:lnTo>
                <a:lnTo>
                  <a:pt x="671529" y="341120"/>
                </a:lnTo>
                <a:lnTo>
                  <a:pt x="668464" y="294833"/>
                </a:lnTo>
                <a:lnTo>
                  <a:pt x="659535" y="250438"/>
                </a:lnTo>
                <a:lnTo>
                  <a:pt x="645144" y="208342"/>
                </a:lnTo>
                <a:lnTo>
                  <a:pt x="625689" y="168952"/>
                </a:lnTo>
                <a:lnTo>
                  <a:pt x="601570" y="132673"/>
                </a:lnTo>
                <a:lnTo>
                  <a:pt x="573189" y="99913"/>
                </a:lnTo>
                <a:lnTo>
                  <a:pt x="540944" y="71077"/>
                </a:lnTo>
                <a:lnTo>
                  <a:pt x="505236" y="46573"/>
                </a:lnTo>
                <a:lnTo>
                  <a:pt x="466464" y="26807"/>
                </a:lnTo>
                <a:lnTo>
                  <a:pt x="425029" y="12185"/>
                </a:lnTo>
                <a:lnTo>
                  <a:pt x="381331" y="3114"/>
                </a:lnTo>
                <a:lnTo>
                  <a:pt x="335769" y="0"/>
                </a:lnTo>
                <a:close/>
              </a:path>
            </a:pathLst>
          </a:custGeom>
          <a:solidFill>
            <a:srgbClr val="61342C"/>
          </a:solidFill>
        </p:spPr>
        <p:txBody>
          <a:bodyPr wrap="square" lIns="0" tIns="0" rIns="0" bIns="0" rtlCol="0"/>
          <a:lstStyle/>
          <a:p>
            <a:endParaRPr/>
          </a:p>
        </p:txBody>
      </p:sp>
      <p:sp>
        <p:nvSpPr>
          <p:cNvPr id="162" name="object 162"/>
          <p:cNvSpPr/>
          <p:nvPr/>
        </p:nvSpPr>
        <p:spPr>
          <a:xfrm>
            <a:off x="1500326" y="3079813"/>
            <a:ext cx="269468" cy="214866"/>
          </a:xfrm>
          <a:custGeom>
            <a:avLst/>
            <a:gdLst/>
            <a:ahLst/>
            <a:cxnLst/>
            <a:rect l="l" t="t" r="r" b="b"/>
            <a:pathLst>
              <a:path w="592454" h="472440">
                <a:moveTo>
                  <a:pt x="296221" y="0"/>
                </a:moveTo>
                <a:lnTo>
                  <a:pt x="242975" y="727"/>
                </a:lnTo>
                <a:lnTo>
                  <a:pt x="192860" y="3643"/>
                </a:lnTo>
                <a:lnTo>
                  <a:pt x="146713" y="9843"/>
                </a:lnTo>
                <a:lnTo>
                  <a:pt x="105370" y="20426"/>
                </a:lnTo>
                <a:lnTo>
                  <a:pt x="69668" y="36490"/>
                </a:lnTo>
                <a:lnTo>
                  <a:pt x="18532" y="89449"/>
                </a:lnTo>
                <a:lnTo>
                  <a:pt x="4772" y="128540"/>
                </a:lnTo>
                <a:lnTo>
                  <a:pt x="0" y="177502"/>
                </a:lnTo>
                <a:lnTo>
                  <a:pt x="3877" y="225313"/>
                </a:lnTo>
                <a:lnTo>
                  <a:pt x="15101" y="270668"/>
                </a:lnTo>
                <a:lnTo>
                  <a:pt x="33063" y="312960"/>
                </a:lnTo>
                <a:lnTo>
                  <a:pt x="57153" y="351582"/>
                </a:lnTo>
                <a:lnTo>
                  <a:pt x="86761" y="385926"/>
                </a:lnTo>
                <a:lnTo>
                  <a:pt x="121277" y="415387"/>
                </a:lnTo>
                <a:lnTo>
                  <a:pt x="160091" y="439358"/>
                </a:lnTo>
                <a:lnTo>
                  <a:pt x="202593" y="457231"/>
                </a:lnTo>
                <a:lnTo>
                  <a:pt x="248173" y="468400"/>
                </a:lnTo>
                <a:lnTo>
                  <a:pt x="296221" y="472257"/>
                </a:lnTo>
                <a:lnTo>
                  <a:pt x="344272" y="468400"/>
                </a:lnTo>
                <a:lnTo>
                  <a:pt x="389854" y="457231"/>
                </a:lnTo>
                <a:lnTo>
                  <a:pt x="432358" y="439358"/>
                </a:lnTo>
                <a:lnTo>
                  <a:pt x="471173" y="415387"/>
                </a:lnTo>
                <a:lnTo>
                  <a:pt x="505690" y="385926"/>
                </a:lnTo>
                <a:lnTo>
                  <a:pt x="535298" y="351582"/>
                </a:lnTo>
                <a:lnTo>
                  <a:pt x="559388" y="312960"/>
                </a:lnTo>
                <a:lnTo>
                  <a:pt x="577351" y="270668"/>
                </a:lnTo>
                <a:lnTo>
                  <a:pt x="588576" y="225313"/>
                </a:lnTo>
                <a:lnTo>
                  <a:pt x="592453" y="177502"/>
                </a:lnTo>
                <a:lnTo>
                  <a:pt x="587680" y="128540"/>
                </a:lnTo>
                <a:lnTo>
                  <a:pt x="573920" y="89449"/>
                </a:lnTo>
                <a:lnTo>
                  <a:pt x="522784" y="36490"/>
                </a:lnTo>
                <a:lnTo>
                  <a:pt x="487081" y="20426"/>
                </a:lnTo>
                <a:lnTo>
                  <a:pt x="445736" y="9843"/>
                </a:lnTo>
                <a:lnTo>
                  <a:pt x="399587" y="3643"/>
                </a:lnTo>
                <a:lnTo>
                  <a:pt x="349470" y="727"/>
                </a:lnTo>
                <a:lnTo>
                  <a:pt x="296221" y="0"/>
                </a:lnTo>
                <a:close/>
              </a:path>
            </a:pathLst>
          </a:custGeom>
          <a:solidFill>
            <a:srgbClr val="61342C"/>
          </a:solidFill>
        </p:spPr>
        <p:txBody>
          <a:bodyPr wrap="square" lIns="0" tIns="0" rIns="0" bIns="0" rtlCol="0"/>
          <a:lstStyle/>
          <a:p>
            <a:endParaRPr/>
          </a:p>
        </p:txBody>
      </p:sp>
      <p:sp>
        <p:nvSpPr>
          <p:cNvPr id="163" name="object 163"/>
          <p:cNvSpPr/>
          <p:nvPr/>
        </p:nvSpPr>
        <p:spPr>
          <a:xfrm>
            <a:off x="1557279" y="3133406"/>
            <a:ext cx="167226" cy="68734"/>
          </a:xfrm>
          <a:custGeom>
            <a:avLst/>
            <a:gdLst/>
            <a:ahLst/>
            <a:cxnLst/>
            <a:rect l="l" t="t" r="r" b="b"/>
            <a:pathLst>
              <a:path w="367664" h="151129">
                <a:moveTo>
                  <a:pt x="183795" y="0"/>
                </a:moveTo>
                <a:lnTo>
                  <a:pt x="161145" y="43675"/>
                </a:lnTo>
                <a:lnTo>
                  <a:pt x="134450" y="66104"/>
                </a:lnTo>
                <a:lnTo>
                  <a:pt x="86478" y="74367"/>
                </a:lnTo>
                <a:lnTo>
                  <a:pt x="0" y="75547"/>
                </a:lnTo>
                <a:lnTo>
                  <a:pt x="9369" y="99422"/>
                </a:lnTo>
                <a:lnTo>
                  <a:pt x="35459" y="120157"/>
                </a:lnTo>
                <a:lnTo>
                  <a:pt x="75244" y="136509"/>
                </a:lnTo>
                <a:lnTo>
                  <a:pt x="125698" y="147233"/>
                </a:lnTo>
                <a:lnTo>
                  <a:pt x="183795" y="151084"/>
                </a:lnTo>
                <a:lnTo>
                  <a:pt x="241888" y="147233"/>
                </a:lnTo>
                <a:lnTo>
                  <a:pt x="292341" y="136509"/>
                </a:lnTo>
                <a:lnTo>
                  <a:pt x="332128" y="120157"/>
                </a:lnTo>
                <a:lnTo>
                  <a:pt x="358220" y="99422"/>
                </a:lnTo>
                <a:lnTo>
                  <a:pt x="367590" y="75547"/>
                </a:lnTo>
                <a:lnTo>
                  <a:pt x="345166" y="74367"/>
                </a:lnTo>
                <a:lnTo>
                  <a:pt x="292475" y="66104"/>
                </a:lnTo>
                <a:lnTo>
                  <a:pt x="231393" y="43675"/>
                </a:lnTo>
                <a:lnTo>
                  <a:pt x="183795" y="0"/>
                </a:lnTo>
                <a:close/>
              </a:path>
            </a:pathLst>
          </a:custGeom>
          <a:solidFill>
            <a:srgbClr val="E4C0A2"/>
          </a:solidFill>
        </p:spPr>
        <p:txBody>
          <a:bodyPr wrap="square" lIns="0" tIns="0" rIns="0" bIns="0" rtlCol="0"/>
          <a:lstStyle/>
          <a:p>
            <a:endParaRPr/>
          </a:p>
        </p:txBody>
      </p:sp>
      <p:sp>
        <p:nvSpPr>
          <p:cNvPr id="164" name="object 164"/>
          <p:cNvSpPr txBox="1"/>
          <p:nvPr/>
        </p:nvSpPr>
        <p:spPr>
          <a:xfrm>
            <a:off x="4939929" y="2570346"/>
            <a:ext cx="322610" cy="98749"/>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6" dirty="0">
                <a:latin typeface="Helvetica Neue"/>
                <a:cs typeface="Helvetica Neue"/>
              </a:rPr>
              <a:t> </a:t>
            </a:r>
            <a:r>
              <a:rPr sz="600" spc="2" dirty="0">
                <a:latin typeface="Helvetica Neue"/>
                <a:cs typeface="Helvetica Neue"/>
              </a:rPr>
              <a:t>1986</a:t>
            </a:r>
            <a:endParaRPr sz="600">
              <a:latin typeface="Helvetica Neue"/>
              <a:cs typeface="Helvetica Neue"/>
            </a:endParaRPr>
          </a:p>
        </p:txBody>
      </p:sp>
      <p:sp>
        <p:nvSpPr>
          <p:cNvPr id="165" name="object 165"/>
          <p:cNvSpPr/>
          <p:nvPr/>
        </p:nvSpPr>
        <p:spPr>
          <a:xfrm>
            <a:off x="5156858" y="2265023"/>
            <a:ext cx="101375" cy="288221"/>
          </a:xfrm>
          <a:custGeom>
            <a:avLst/>
            <a:gdLst/>
            <a:ahLst/>
            <a:cxnLst/>
            <a:rect l="l" t="t" r="r" b="b"/>
            <a:pathLst>
              <a:path w="222884" h="633729">
                <a:moveTo>
                  <a:pt x="0" y="0"/>
                </a:moveTo>
                <a:lnTo>
                  <a:pt x="0" y="633666"/>
                </a:lnTo>
                <a:lnTo>
                  <a:pt x="41750" y="615195"/>
                </a:lnTo>
                <a:lnTo>
                  <a:pt x="80311" y="591488"/>
                </a:lnTo>
                <a:lnTo>
                  <a:pt x="115222" y="562997"/>
                </a:lnTo>
                <a:lnTo>
                  <a:pt x="146023" y="530171"/>
                </a:lnTo>
                <a:lnTo>
                  <a:pt x="172256" y="493463"/>
                </a:lnTo>
                <a:lnTo>
                  <a:pt x="193459" y="453324"/>
                </a:lnTo>
                <a:lnTo>
                  <a:pt x="209173" y="410204"/>
                </a:lnTo>
                <a:lnTo>
                  <a:pt x="218939" y="364555"/>
                </a:lnTo>
                <a:lnTo>
                  <a:pt x="222296" y="316828"/>
                </a:lnTo>
                <a:lnTo>
                  <a:pt x="218939" y="269100"/>
                </a:lnTo>
                <a:lnTo>
                  <a:pt x="209173" y="223451"/>
                </a:lnTo>
                <a:lnTo>
                  <a:pt x="193459" y="180331"/>
                </a:lnTo>
                <a:lnTo>
                  <a:pt x="172256" y="140193"/>
                </a:lnTo>
                <a:lnTo>
                  <a:pt x="146023" y="103486"/>
                </a:lnTo>
                <a:lnTo>
                  <a:pt x="115222" y="70662"/>
                </a:lnTo>
                <a:lnTo>
                  <a:pt x="80311" y="42172"/>
                </a:lnTo>
                <a:lnTo>
                  <a:pt x="41750" y="18467"/>
                </a:lnTo>
                <a:lnTo>
                  <a:pt x="0" y="0"/>
                </a:lnTo>
                <a:close/>
              </a:path>
            </a:pathLst>
          </a:custGeom>
          <a:solidFill>
            <a:srgbClr val="C60E33"/>
          </a:solidFill>
        </p:spPr>
        <p:txBody>
          <a:bodyPr wrap="square" lIns="0" tIns="0" rIns="0" bIns="0" rtlCol="0"/>
          <a:lstStyle/>
          <a:p>
            <a:endParaRPr/>
          </a:p>
        </p:txBody>
      </p:sp>
      <p:sp>
        <p:nvSpPr>
          <p:cNvPr id="166" name="object 166"/>
          <p:cNvSpPr/>
          <p:nvPr/>
        </p:nvSpPr>
        <p:spPr>
          <a:xfrm>
            <a:off x="4951033" y="2265023"/>
            <a:ext cx="101375" cy="288221"/>
          </a:xfrm>
          <a:custGeom>
            <a:avLst/>
            <a:gdLst/>
            <a:ahLst/>
            <a:cxnLst/>
            <a:rect l="l" t="t" r="r" b="b"/>
            <a:pathLst>
              <a:path w="222884" h="633729">
                <a:moveTo>
                  <a:pt x="222296" y="0"/>
                </a:moveTo>
                <a:lnTo>
                  <a:pt x="180546" y="18467"/>
                </a:lnTo>
                <a:lnTo>
                  <a:pt x="141985" y="42172"/>
                </a:lnTo>
                <a:lnTo>
                  <a:pt x="107074" y="70662"/>
                </a:lnTo>
                <a:lnTo>
                  <a:pt x="76273" y="103486"/>
                </a:lnTo>
                <a:lnTo>
                  <a:pt x="50040" y="140193"/>
                </a:lnTo>
                <a:lnTo>
                  <a:pt x="28837" y="180331"/>
                </a:lnTo>
                <a:lnTo>
                  <a:pt x="13123" y="223451"/>
                </a:lnTo>
                <a:lnTo>
                  <a:pt x="3357" y="269100"/>
                </a:lnTo>
                <a:lnTo>
                  <a:pt x="0" y="316828"/>
                </a:lnTo>
                <a:lnTo>
                  <a:pt x="3357" y="364555"/>
                </a:lnTo>
                <a:lnTo>
                  <a:pt x="13123" y="410204"/>
                </a:lnTo>
                <a:lnTo>
                  <a:pt x="28837" y="453324"/>
                </a:lnTo>
                <a:lnTo>
                  <a:pt x="50040" y="493463"/>
                </a:lnTo>
                <a:lnTo>
                  <a:pt x="76273" y="530171"/>
                </a:lnTo>
                <a:lnTo>
                  <a:pt x="107074" y="562997"/>
                </a:lnTo>
                <a:lnTo>
                  <a:pt x="141985" y="591488"/>
                </a:lnTo>
                <a:lnTo>
                  <a:pt x="180546" y="615195"/>
                </a:lnTo>
                <a:lnTo>
                  <a:pt x="222296" y="633666"/>
                </a:lnTo>
                <a:lnTo>
                  <a:pt x="222296" y="0"/>
                </a:lnTo>
                <a:close/>
              </a:path>
            </a:pathLst>
          </a:custGeom>
          <a:solidFill>
            <a:srgbClr val="354083"/>
          </a:solidFill>
        </p:spPr>
        <p:txBody>
          <a:bodyPr wrap="square" lIns="0" tIns="0" rIns="0" bIns="0" rtlCol="0"/>
          <a:lstStyle/>
          <a:p>
            <a:endParaRPr/>
          </a:p>
        </p:txBody>
      </p:sp>
      <p:sp>
        <p:nvSpPr>
          <p:cNvPr id="167" name="object 167"/>
          <p:cNvSpPr/>
          <p:nvPr/>
        </p:nvSpPr>
        <p:spPr>
          <a:xfrm>
            <a:off x="5052139" y="2255661"/>
            <a:ext cx="104841" cy="306993"/>
          </a:xfrm>
          <a:custGeom>
            <a:avLst/>
            <a:gdLst/>
            <a:ahLst/>
            <a:cxnLst/>
            <a:rect l="l" t="t" r="r" b="b"/>
            <a:pathLst>
              <a:path w="230504" h="675004">
                <a:moveTo>
                  <a:pt x="115116" y="0"/>
                </a:moveTo>
                <a:lnTo>
                  <a:pt x="85107" y="1377"/>
                </a:lnTo>
                <a:lnTo>
                  <a:pt x="55866" y="5388"/>
                </a:lnTo>
                <a:lnTo>
                  <a:pt x="27471" y="11851"/>
                </a:lnTo>
                <a:lnTo>
                  <a:pt x="0" y="20585"/>
                </a:lnTo>
                <a:lnTo>
                  <a:pt x="0" y="654241"/>
                </a:lnTo>
                <a:lnTo>
                  <a:pt x="27471" y="662975"/>
                </a:lnTo>
                <a:lnTo>
                  <a:pt x="55866" y="669439"/>
                </a:lnTo>
                <a:lnTo>
                  <a:pt x="85107" y="673450"/>
                </a:lnTo>
                <a:lnTo>
                  <a:pt x="115116" y="674827"/>
                </a:lnTo>
                <a:lnTo>
                  <a:pt x="145132" y="673450"/>
                </a:lnTo>
                <a:lnTo>
                  <a:pt x="174375" y="669439"/>
                </a:lnTo>
                <a:lnTo>
                  <a:pt x="202768" y="662975"/>
                </a:lnTo>
                <a:lnTo>
                  <a:pt x="230233" y="654241"/>
                </a:lnTo>
                <a:lnTo>
                  <a:pt x="230233" y="20585"/>
                </a:lnTo>
                <a:lnTo>
                  <a:pt x="202768" y="11851"/>
                </a:lnTo>
                <a:lnTo>
                  <a:pt x="174375" y="5388"/>
                </a:lnTo>
                <a:lnTo>
                  <a:pt x="145132" y="1377"/>
                </a:lnTo>
                <a:lnTo>
                  <a:pt x="115116" y="0"/>
                </a:lnTo>
                <a:close/>
              </a:path>
            </a:pathLst>
          </a:custGeom>
          <a:solidFill>
            <a:srgbClr val="FFFFFF"/>
          </a:solidFill>
        </p:spPr>
        <p:txBody>
          <a:bodyPr wrap="square" lIns="0" tIns="0" rIns="0" bIns="0" rtlCol="0"/>
          <a:lstStyle/>
          <a:p>
            <a:endParaRPr/>
          </a:p>
        </p:txBody>
      </p:sp>
      <p:sp>
        <p:nvSpPr>
          <p:cNvPr id="168" name="object 168"/>
          <p:cNvSpPr txBox="1"/>
          <p:nvPr/>
        </p:nvSpPr>
        <p:spPr>
          <a:xfrm>
            <a:off x="6443531" y="2559292"/>
            <a:ext cx="322610" cy="98749"/>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6" dirty="0">
                <a:latin typeface="Helvetica Neue"/>
                <a:cs typeface="Helvetica Neue"/>
              </a:rPr>
              <a:t> </a:t>
            </a:r>
            <a:r>
              <a:rPr sz="600" spc="2" dirty="0">
                <a:latin typeface="Helvetica Neue"/>
                <a:cs typeface="Helvetica Neue"/>
              </a:rPr>
              <a:t>1992</a:t>
            </a:r>
            <a:endParaRPr sz="600">
              <a:latin typeface="Helvetica Neue"/>
              <a:cs typeface="Helvetica Neue"/>
            </a:endParaRPr>
          </a:p>
        </p:txBody>
      </p:sp>
      <p:sp>
        <p:nvSpPr>
          <p:cNvPr id="169" name="object 169"/>
          <p:cNvSpPr/>
          <p:nvPr/>
        </p:nvSpPr>
        <p:spPr>
          <a:xfrm>
            <a:off x="6446467" y="2244614"/>
            <a:ext cx="306029" cy="306002"/>
          </a:xfrm>
          <a:prstGeom prst="rect">
            <a:avLst/>
          </a:prstGeom>
          <a:blipFill>
            <a:blip r:embed="rId2" cstate="print"/>
            <a:stretch>
              <a:fillRect/>
            </a:stretch>
          </a:blipFill>
        </p:spPr>
        <p:txBody>
          <a:bodyPr wrap="square" lIns="0" tIns="0" rIns="0" bIns="0" rtlCol="0"/>
          <a:lstStyle/>
          <a:p>
            <a:endParaRPr/>
          </a:p>
        </p:txBody>
      </p:sp>
      <p:sp>
        <p:nvSpPr>
          <p:cNvPr id="170" name="object 170"/>
          <p:cNvSpPr txBox="1"/>
          <p:nvPr/>
        </p:nvSpPr>
        <p:spPr>
          <a:xfrm>
            <a:off x="4834656" y="2941588"/>
            <a:ext cx="3094981" cy="869861"/>
          </a:xfrm>
          <a:prstGeom prst="rect">
            <a:avLst/>
          </a:prstGeom>
        </p:spPr>
        <p:txBody>
          <a:bodyPr vert="horz" wrap="square" lIns="0" tIns="5487" rIns="0" bIns="0" rtlCol="0">
            <a:spAutoFit/>
          </a:bodyPr>
          <a:lstStyle/>
          <a:p>
            <a:pPr marL="12996">
              <a:lnSpc>
                <a:spcPts val="3563"/>
              </a:lnSpc>
              <a:spcBef>
                <a:spcPts val="43"/>
              </a:spcBef>
              <a:tabLst>
                <a:tab pos="1532073" algn="l"/>
              </a:tabLst>
            </a:pPr>
            <a:r>
              <a:rPr sz="3000" b="1" spc="-23" dirty="0">
                <a:solidFill>
                  <a:srgbClr val="FF7900"/>
                </a:solidFill>
                <a:latin typeface="Helvetica Neue"/>
                <a:cs typeface="Helvetica Neue"/>
              </a:rPr>
              <a:t>43%	</a:t>
            </a:r>
            <a:r>
              <a:rPr sz="3000" b="1" spc="-34" dirty="0">
                <a:solidFill>
                  <a:srgbClr val="FF7900"/>
                </a:solidFill>
                <a:latin typeface="Helvetica Neue"/>
                <a:cs typeface="Helvetica Neue"/>
              </a:rPr>
              <a:t>51%</a:t>
            </a:r>
            <a:endParaRPr sz="3000">
              <a:latin typeface="Helvetica Neue"/>
              <a:cs typeface="Helvetica Neue"/>
            </a:endParaRPr>
          </a:p>
          <a:p>
            <a:pPr marL="5776" marR="2310">
              <a:lnSpc>
                <a:spcPts val="1619"/>
              </a:lnSpc>
              <a:spcBef>
                <a:spcPts val="9"/>
              </a:spcBef>
            </a:pPr>
            <a:r>
              <a:rPr sz="1300" b="1" spc="2" dirty="0">
                <a:solidFill>
                  <a:srgbClr val="1D1D1B"/>
                </a:solidFill>
                <a:latin typeface="Helvetica Neue"/>
                <a:cs typeface="Helvetica Neue"/>
              </a:rPr>
              <a:t>n’ont jamais </a:t>
            </a:r>
            <a:r>
              <a:rPr sz="1300" b="1" dirty="0">
                <a:solidFill>
                  <a:srgbClr val="1D1D1B"/>
                </a:solidFill>
                <a:latin typeface="Helvetica Neue"/>
                <a:cs typeface="Helvetica Neue"/>
              </a:rPr>
              <a:t>rencontré </a:t>
            </a:r>
            <a:r>
              <a:rPr sz="1300" b="1" spc="2" dirty="0">
                <a:solidFill>
                  <a:srgbClr val="1D1D1B"/>
                </a:solidFill>
                <a:latin typeface="Helvetica Neue"/>
                <a:cs typeface="Helvetica Neue"/>
              </a:rPr>
              <a:t>leur </a:t>
            </a:r>
            <a:r>
              <a:rPr sz="1300" b="1" spc="-9" dirty="0">
                <a:solidFill>
                  <a:srgbClr val="1D1D1B"/>
                </a:solidFill>
                <a:latin typeface="Helvetica Neue"/>
                <a:cs typeface="Helvetica Neue"/>
              </a:rPr>
              <a:t>conseiller,  </a:t>
            </a:r>
            <a:r>
              <a:rPr sz="1300" b="1" spc="5" dirty="0">
                <a:solidFill>
                  <a:srgbClr val="1D1D1B"/>
                </a:solidFill>
                <a:latin typeface="Helvetica Neue"/>
                <a:cs typeface="Helvetica Neue"/>
              </a:rPr>
              <a:t>ne </a:t>
            </a:r>
            <a:r>
              <a:rPr sz="1300" b="1" spc="2" dirty="0">
                <a:solidFill>
                  <a:srgbClr val="1D1D1B"/>
                </a:solidFill>
                <a:latin typeface="Helvetica Neue"/>
                <a:cs typeface="Helvetica Neue"/>
              </a:rPr>
              <a:t>le connaissent </a:t>
            </a:r>
            <a:r>
              <a:rPr sz="1300" b="1" spc="5" dirty="0">
                <a:solidFill>
                  <a:srgbClr val="1D1D1B"/>
                </a:solidFill>
                <a:latin typeface="Helvetica Neue"/>
                <a:cs typeface="Helvetica Neue"/>
              </a:rPr>
              <a:t>pas ou </a:t>
            </a:r>
            <a:r>
              <a:rPr sz="1300" b="1" spc="2" dirty="0">
                <a:solidFill>
                  <a:srgbClr val="1D1D1B"/>
                </a:solidFill>
                <a:latin typeface="Helvetica Neue"/>
                <a:cs typeface="Helvetica Neue"/>
              </a:rPr>
              <a:t>n’en ont</a:t>
            </a:r>
            <a:r>
              <a:rPr sz="1300" b="1" spc="-9" dirty="0">
                <a:solidFill>
                  <a:srgbClr val="1D1D1B"/>
                </a:solidFill>
                <a:latin typeface="Helvetica Neue"/>
                <a:cs typeface="Helvetica Neue"/>
              </a:rPr>
              <a:t> </a:t>
            </a:r>
            <a:r>
              <a:rPr sz="1300" b="1" spc="5" dirty="0">
                <a:solidFill>
                  <a:srgbClr val="1D1D1B"/>
                </a:solidFill>
                <a:latin typeface="Helvetica Neue"/>
                <a:cs typeface="Helvetica Neue"/>
              </a:rPr>
              <a:t>pas</a:t>
            </a:r>
            <a:endParaRPr sz="1300">
              <a:latin typeface="Helvetica Neue"/>
              <a:cs typeface="Helvetica Neue"/>
            </a:endParaRPr>
          </a:p>
        </p:txBody>
      </p:sp>
      <p:sp>
        <p:nvSpPr>
          <p:cNvPr id="171" name="object 171"/>
          <p:cNvSpPr/>
          <p:nvPr/>
        </p:nvSpPr>
        <p:spPr>
          <a:xfrm>
            <a:off x="190895" y="214492"/>
            <a:ext cx="422542" cy="422512"/>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4"/>
                </a:lnTo>
                <a:lnTo>
                  <a:pt x="20875" y="602434"/>
                </a:lnTo>
                <a:lnTo>
                  <a:pt x="36489" y="645096"/>
                </a:lnTo>
                <a:lnTo>
                  <a:pt x="56042" y="685687"/>
                </a:lnTo>
                <a:lnTo>
                  <a:pt x="79301" y="723972"/>
                </a:lnTo>
                <a:lnTo>
                  <a:pt x="106031" y="759718"/>
                </a:lnTo>
                <a:lnTo>
                  <a:pt x="136001" y="792693"/>
                </a:lnTo>
                <a:lnTo>
                  <a:pt x="168975" y="822662"/>
                </a:lnTo>
                <a:lnTo>
                  <a:pt x="204722" y="849392"/>
                </a:lnTo>
                <a:lnTo>
                  <a:pt x="243007" y="872651"/>
                </a:lnTo>
                <a:lnTo>
                  <a:pt x="283597" y="892204"/>
                </a:lnTo>
                <a:lnTo>
                  <a:pt x="326259" y="907818"/>
                </a:lnTo>
                <a:lnTo>
                  <a:pt x="370759" y="919260"/>
                </a:lnTo>
                <a:lnTo>
                  <a:pt x="416864" y="926296"/>
                </a:lnTo>
                <a:lnTo>
                  <a:pt x="464341" y="928694"/>
                </a:lnTo>
                <a:lnTo>
                  <a:pt x="511818" y="926296"/>
                </a:lnTo>
                <a:lnTo>
                  <a:pt x="557924" y="919260"/>
                </a:lnTo>
                <a:lnTo>
                  <a:pt x="602425" y="907818"/>
                </a:lnTo>
                <a:lnTo>
                  <a:pt x="645088" y="892204"/>
                </a:lnTo>
                <a:lnTo>
                  <a:pt x="685678" y="872651"/>
                </a:lnTo>
                <a:lnTo>
                  <a:pt x="723964" y="849392"/>
                </a:lnTo>
                <a:lnTo>
                  <a:pt x="759712" y="822662"/>
                </a:lnTo>
                <a:lnTo>
                  <a:pt x="792687" y="792693"/>
                </a:lnTo>
                <a:lnTo>
                  <a:pt x="822658" y="759718"/>
                </a:lnTo>
                <a:lnTo>
                  <a:pt x="849389" y="723972"/>
                </a:lnTo>
                <a:lnTo>
                  <a:pt x="872649" y="685687"/>
                </a:lnTo>
                <a:lnTo>
                  <a:pt x="892202" y="645096"/>
                </a:lnTo>
                <a:lnTo>
                  <a:pt x="907817" y="602434"/>
                </a:lnTo>
                <a:lnTo>
                  <a:pt x="919260" y="557934"/>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FFC203"/>
          </a:solidFill>
        </p:spPr>
        <p:txBody>
          <a:bodyPr wrap="square" lIns="0" tIns="0" rIns="0" bIns="0" rtlCol="0"/>
          <a:lstStyle/>
          <a:p>
            <a:endParaRPr/>
          </a:p>
        </p:txBody>
      </p:sp>
      <p:sp>
        <p:nvSpPr>
          <p:cNvPr id="172" name="object 172"/>
          <p:cNvSpPr/>
          <p:nvPr/>
        </p:nvSpPr>
        <p:spPr>
          <a:xfrm>
            <a:off x="264443" y="300934"/>
            <a:ext cx="275533" cy="252699"/>
          </a:xfrm>
          <a:custGeom>
            <a:avLst/>
            <a:gdLst/>
            <a:ahLst/>
            <a:cxnLst/>
            <a:rect l="l" t="t" r="r" b="b"/>
            <a:pathLst>
              <a:path w="605790" h="555625">
                <a:moveTo>
                  <a:pt x="317922" y="457700"/>
                </a:moveTo>
                <a:lnTo>
                  <a:pt x="263154" y="498730"/>
                </a:lnTo>
                <a:lnTo>
                  <a:pt x="253432" y="522206"/>
                </a:lnTo>
                <a:lnTo>
                  <a:pt x="255862" y="534700"/>
                </a:lnTo>
                <a:lnTo>
                  <a:pt x="263154" y="545682"/>
                </a:lnTo>
                <a:lnTo>
                  <a:pt x="274134" y="552974"/>
                </a:lnTo>
                <a:lnTo>
                  <a:pt x="286624" y="555404"/>
                </a:lnTo>
                <a:lnTo>
                  <a:pt x="299114" y="552974"/>
                </a:lnTo>
                <a:lnTo>
                  <a:pt x="310095" y="545682"/>
                </a:lnTo>
                <a:lnTo>
                  <a:pt x="341392" y="514374"/>
                </a:lnTo>
                <a:lnTo>
                  <a:pt x="348684" y="503392"/>
                </a:lnTo>
                <a:lnTo>
                  <a:pt x="351114" y="490898"/>
                </a:lnTo>
                <a:lnTo>
                  <a:pt x="348684" y="478404"/>
                </a:lnTo>
                <a:lnTo>
                  <a:pt x="341392" y="467422"/>
                </a:lnTo>
                <a:lnTo>
                  <a:pt x="330412" y="460131"/>
                </a:lnTo>
                <a:lnTo>
                  <a:pt x="317922" y="457700"/>
                </a:lnTo>
                <a:close/>
              </a:path>
              <a:path w="605790" h="555625">
                <a:moveTo>
                  <a:pt x="255327" y="395095"/>
                </a:moveTo>
                <a:lnTo>
                  <a:pt x="200555" y="436146"/>
                </a:lnTo>
                <a:lnTo>
                  <a:pt x="190839" y="459595"/>
                </a:lnTo>
                <a:lnTo>
                  <a:pt x="193272" y="472086"/>
                </a:lnTo>
                <a:lnTo>
                  <a:pt x="200569" y="483066"/>
                </a:lnTo>
                <a:lnTo>
                  <a:pt x="211545" y="490363"/>
                </a:lnTo>
                <a:lnTo>
                  <a:pt x="224035" y="492796"/>
                </a:lnTo>
                <a:lnTo>
                  <a:pt x="236524" y="490363"/>
                </a:lnTo>
                <a:lnTo>
                  <a:pt x="247500" y="483066"/>
                </a:lnTo>
                <a:lnTo>
                  <a:pt x="278797" y="451768"/>
                </a:lnTo>
                <a:lnTo>
                  <a:pt x="286089" y="440786"/>
                </a:lnTo>
                <a:lnTo>
                  <a:pt x="288520" y="428293"/>
                </a:lnTo>
                <a:lnTo>
                  <a:pt x="286089" y="415799"/>
                </a:lnTo>
                <a:lnTo>
                  <a:pt x="278797" y="404817"/>
                </a:lnTo>
                <a:lnTo>
                  <a:pt x="267817" y="397525"/>
                </a:lnTo>
                <a:lnTo>
                  <a:pt x="255327" y="395095"/>
                </a:lnTo>
                <a:close/>
              </a:path>
              <a:path w="605790" h="555625">
                <a:moveTo>
                  <a:pt x="427706" y="435476"/>
                </a:moveTo>
                <a:lnTo>
                  <a:pt x="317393" y="435476"/>
                </a:lnTo>
                <a:lnTo>
                  <a:pt x="323162" y="435800"/>
                </a:lnTo>
                <a:lnTo>
                  <a:pt x="325257" y="436031"/>
                </a:lnTo>
                <a:lnTo>
                  <a:pt x="372690" y="467422"/>
                </a:lnTo>
                <a:lnTo>
                  <a:pt x="383670" y="474714"/>
                </a:lnTo>
                <a:lnTo>
                  <a:pt x="396160" y="477145"/>
                </a:lnTo>
                <a:lnTo>
                  <a:pt x="408650" y="474714"/>
                </a:lnTo>
                <a:lnTo>
                  <a:pt x="419631" y="467422"/>
                </a:lnTo>
                <a:lnTo>
                  <a:pt x="426922" y="456440"/>
                </a:lnTo>
                <a:lnTo>
                  <a:pt x="429353" y="443945"/>
                </a:lnTo>
                <a:lnTo>
                  <a:pt x="427706" y="435476"/>
                </a:lnTo>
                <a:close/>
              </a:path>
              <a:path w="605790" h="555625">
                <a:moveTo>
                  <a:pt x="372363" y="373181"/>
                </a:moveTo>
                <a:lnTo>
                  <a:pt x="260044" y="373181"/>
                </a:lnTo>
                <a:lnTo>
                  <a:pt x="272414" y="375666"/>
                </a:lnTo>
                <a:lnTo>
                  <a:pt x="284059" y="380994"/>
                </a:lnTo>
                <a:lnTo>
                  <a:pt x="294451" y="389163"/>
                </a:lnTo>
                <a:lnTo>
                  <a:pt x="302619" y="399555"/>
                </a:lnTo>
                <a:lnTo>
                  <a:pt x="307944" y="411202"/>
                </a:lnTo>
                <a:lnTo>
                  <a:pt x="310429" y="423575"/>
                </a:lnTo>
                <a:lnTo>
                  <a:pt x="310074" y="436146"/>
                </a:lnTo>
                <a:lnTo>
                  <a:pt x="313718" y="435633"/>
                </a:lnTo>
                <a:lnTo>
                  <a:pt x="317393" y="435476"/>
                </a:lnTo>
                <a:lnTo>
                  <a:pt x="427706" y="435476"/>
                </a:lnTo>
                <a:lnTo>
                  <a:pt x="426922" y="431449"/>
                </a:lnTo>
                <a:lnTo>
                  <a:pt x="419631" y="420461"/>
                </a:lnTo>
                <a:lnTo>
                  <a:pt x="372363" y="373181"/>
                </a:lnTo>
                <a:close/>
              </a:path>
              <a:path w="605790" h="555625">
                <a:moveTo>
                  <a:pt x="192742" y="332489"/>
                </a:moveTo>
                <a:lnTo>
                  <a:pt x="137953" y="373540"/>
                </a:lnTo>
                <a:lnTo>
                  <a:pt x="128252" y="396985"/>
                </a:lnTo>
                <a:lnTo>
                  <a:pt x="130683" y="409479"/>
                </a:lnTo>
                <a:lnTo>
                  <a:pt x="137974" y="420461"/>
                </a:lnTo>
                <a:lnTo>
                  <a:pt x="148955" y="427758"/>
                </a:lnTo>
                <a:lnTo>
                  <a:pt x="161445" y="430191"/>
                </a:lnTo>
                <a:lnTo>
                  <a:pt x="173935" y="427758"/>
                </a:lnTo>
                <a:lnTo>
                  <a:pt x="184915" y="420461"/>
                </a:lnTo>
                <a:lnTo>
                  <a:pt x="216213" y="389163"/>
                </a:lnTo>
                <a:lnTo>
                  <a:pt x="223504" y="378181"/>
                </a:lnTo>
                <a:lnTo>
                  <a:pt x="225935" y="365687"/>
                </a:lnTo>
                <a:lnTo>
                  <a:pt x="223504" y="353194"/>
                </a:lnTo>
                <a:lnTo>
                  <a:pt x="216213" y="342212"/>
                </a:lnTo>
                <a:lnTo>
                  <a:pt x="205232" y="334920"/>
                </a:lnTo>
                <a:lnTo>
                  <a:pt x="192742" y="332489"/>
                </a:lnTo>
                <a:close/>
              </a:path>
              <a:path w="605790" h="555625">
                <a:moveTo>
                  <a:pt x="399668" y="275282"/>
                </a:moveTo>
                <a:lnTo>
                  <a:pt x="305770" y="275282"/>
                </a:lnTo>
                <a:lnTo>
                  <a:pt x="435274" y="404817"/>
                </a:lnTo>
                <a:lnTo>
                  <a:pt x="446256" y="412109"/>
                </a:lnTo>
                <a:lnTo>
                  <a:pt x="458749" y="414539"/>
                </a:lnTo>
                <a:lnTo>
                  <a:pt x="471239" y="412109"/>
                </a:lnTo>
                <a:lnTo>
                  <a:pt x="482215" y="404817"/>
                </a:lnTo>
                <a:lnTo>
                  <a:pt x="489507" y="393835"/>
                </a:lnTo>
                <a:lnTo>
                  <a:pt x="491937" y="381340"/>
                </a:lnTo>
                <a:lnTo>
                  <a:pt x="489507" y="368843"/>
                </a:lnTo>
                <a:lnTo>
                  <a:pt x="482215" y="357855"/>
                </a:lnTo>
                <a:lnTo>
                  <a:pt x="399668" y="275282"/>
                </a:lnTo>
                <a:close/>
              </a:path>
              <a:path w="605790" h="555625">
                <a:moveTo>
                  <a:pt x="309772" y="310575"/>
                </a:moveTo>
                <a:lnTo>
                  <a:pt x="197455" y="310575"/>
                </a:lnTo>
                <a:lnTo>
                  <a:pt x="209827" y="313061"/>
                </a:lnTo>
                <a:lnTo>
                  <a:pt x="221470" y="318389"/>
                </a:lnTo>
                <a:lnTo>
                  <a:pt x="231856" y="326558"/>
                </a:lnTo>
                <a:lnTo>
                  <a:pt x="240024" y="336950"/>
                </a:lnTo>
                <a:lnTo>
                  <a:pt x="245349" y="348596"/>
                </a:lnTo>
                <a:lnTo>
                  <a:pt x="247834" y="360969"/>
                </a:lnTo>
                <a:lnTo>
                  <a:pt x="247479" y="373540"/>
                </a:lnTo>
                <a:lnTo>
                  <a:pt x="260044" y="373181"/>
                </a:lnTo>
                <a:lnTo>
                  <a:pt x="372363" y="373181"/>
                </a:lnTo>
                <a:lnTo>
                  <a:pt x="309772" y="310575"/>
                </a:lnTo>
                <a:close/>
              </a:path>
              <a:path w="605790" h="555625">
                <a:moveTo>
                  <a:pt x="130147" y="269873"/>
                </a:moveTo>
                <a:lnTo>
                  <a:pt x="75359" y="310935"/>
                </a:lnTo>
                <a:lnTo>
                  <a:pt x="65657" y="334379"/>
                </a:lnTo>
                <a:lnTo>
                  <a:pt x="68088" y="346873"/>
                </a:lnTo>
                <a:lnTo>
                  <a:pt x="75379" y="357855"/>
                </a:lnTo>
                <a:lnTo>
                  <a:pt x="86361" y="365153"/>
                </a:lnTo>
                <a:lnTo>
                  <a:pt x="98854" y="367585"/>
                </a:lnTo>
                <a:lnTo>
                  <a:pt x="111344" y="365153"/>
                </a:lnTo>
                <a:lnTo>
                  <a:pt x="122320" y="357855"/>
                </a:lnTo>
                <a:lnTo>
                  <a:pt x="153618" y="326558"/>
                </a:lnTo>
                <a:lnTo>
                  <a:pt x="160910" y="315571"/>
                </a:lnTo>
                <a:lnTo>
                  <a:pt x="163340" y="303077"/>
                </a:lnTo>
                <a:lnTo>
                  <a:pt x="160910" y="290582"/>
                </a:lnTo>
                <a:lnTo>
                  <a:pt x="153618" y="279596"/>
                </a:lnTo>
                <a:lnTo>
                  <a:pt x="142637" y="272304"/>
                </a:lnTo>
                <a:lnTo>
                  <a:pt x="130147" y="269873"/>
                </a:lnTo>
                <a:close/>
              </a:path>
              <a:path w="605790" h="555625">
                <a:moveTo>
                  <a:pt x="462254" y="212676"/>
                </a:moveTo>
                <a:lnTo>
                  <a:pt x="368365" y="212676"/>
                </a:lnTo>
                <a:lnTo>
                  <a:pt x="497869" y="342212"/>
                </a:lnTo>
                <a:lnTo>
                  <a:pt x="508850" y="349503"/>
                </a:lnTo>
                <a:lnTo>
                  <a:pt x="521340" y="351934"/>
                </a:lnTo>
                <a:lnTo>
                  <a:pt x="533830" y="349503"/>
                </a:lnTo>
                <a:lnTo>
                  <a:pt x="544810" y="342212"/>
                </a:lnTo>
                <a:lnTo>
                  <a:pt x="552102" y="331229"/>
                </a:lnTo>
                <a:lnTo>
                  <a:pt x="554532" y="318735"/>
                </a:lnTo>
                <a:lnTo>
                  <a:pt x="552102" y="306238"/>
                </a:lnTo>
                <a:lnTo>
                  <a:pt x="544810" y="295250"/>
                </a:lnTo>
                <a:lnTo>
                  <a:pt x="462254" y="212676"/>
                </a:lnTo>
                <a:close/>
              </a:path>
              <a:path w="605790" h="555625">
                <a:moveTo>
                  <a:pt x="372163" y="247767"/>
                </a:moveTo>
                <a:lnTo>
                  <a:pt x="130153" y="247767"/>
                </a:lnTo>
                <a:lnTo>
                  <a:pt x="150981" y="251813"/>
                </a:lnTo>
                <a:lnTo>
                  <a:pt x="169272" y="263952"/>
                </a:lnTo>
                <a:lnTo>
                  <a:pt x="177435" y="274344"/>
                </a:lnTo>
                <a:lnTo>
                  <a:pt x="182760" y="285991"/>
                </a:lnTo>
                <a:lnTo>
                  <a:pt x="185244" y="298364"/>
                </a:lnTo>
                <a:lnTo>
                  <a:pt x="184884" y="310935"/>
                </a:lnTo>
                <a:lnTo>
                  <a:pt x="197455" y="310575"/>
                </a:lnTo>
                <a:lnTo>
                  <a:pt x="309772" y="310575"/>
                </a:lnTo>
                <a:lnTo>
                  <a:pt x="290127" y="290925"/>
                </a:lnTo>
                <a:lnTo>
                  <a:pt x="290127" y="283920"/>
                </a:lnTo>
                <a:lnTo>
                  <a:pt x="298765" y="275282"/>
                </a:lnTo>
                <a:lnTo>
                  <a:pt x="399668" y="275282"/>
                </a:lnTo>
                <a:lnTo>
                  <a:pt x="372163" y="247767"/>
                </a:lnTo>
                <a:close/>
              </a:path>
              <a:path w="605790" h="555625">
                <a:moveTo>
                  <a:pt x="208391" y="735"/>
                </a:moveTo>
                <a:lnTo>
                  <a:pt x="170255" y="8156"/>
                </a:lnTo>
                <a:lnTo>
                  <a:pt x="136728" y="30420"/>
                </a:lnTo>
                <a:lnTo>
                  <a:pt x="29684" y="137485"/>
                </a:lnTo>
                <a:lnTo>
                  <a:pt x="7421" y="171021"/>
                </a:lnTo>
                <a:lnTo>
                  <a:pt x="0" y="209169"/>
                </a:lnTo>
                <a:lnTo>
                  <a:pt x="7421" y="247316"/>
                </a:lnTo>
                <a:lnTo>
                  <a:pt x="29684" y="280852"/>
                </a:lnTo>
                <a:lnTo>
                  <a:pt x="52699" y="303867"/>
                </a:lnTo>
                <a:lnTo>
                  <a:pt x="53705" y="302338"/>
                </a:lnTo>
                <a:lnTo>
                  <a:pt x="54794" y="300862"/>
                </a:lnTo>
                <a:lnTo>
                  <a:pt x="91033" y="263952"/>
                </a:lnTo>
                <a:lnTo>
                  <a:pt x="130153" y="247767"/>
                </a:lnTo>
                <a:lnTo>
                  <a:pt x="372163" y="247767"/>
                </a:lnTo>
                <a:lnTo>
                  <a:pt x="353023" y="228621"/>
                </a:lnTo>
                <a:lnTo>
                  <a:pt x="224035" y="228621"/>
                </a:lnTo>
                <a:lnTo>
                  <a:pt x="199054" y="223758"/>
                </a:lnTo>
                <a:lnTo>
                  <a:pt x="177094" y="209169"/>
                </a:lnTo>
                <a:lnTo>
                  <a:pt x="145796" y="177871"/>
                </a:lnTo>
                <a:lnTo>
                  <a:pt x="286630" y="36996"/>
                </a:lnTo>
                <a:lnTo>
                  <a:pt x="280054" y="30420"/>
                </a:lnTo>
                <a:lnTo>
                  <a:pt x="246527" y="8156"/>
                </a:lnTo>
                <a:lnTo>
                  <a:pt x="208391" y="735"/>
                </a:lnTo>
                <a:close/>
              </a:path>
              <a:path w="605790" h="555625">
                <a:moveTo>
                  <a:pt x="521340" y="83958"/>
                </a:moveTo>
                <a:lnTo>
                  <a:pt x="364858" y="83958"/>
                </a:lnTo>
                <a:lnTo>
                  <a:pt x="568286" y="287428"/>
                </a:lnTo>
                <a:lnTo>
                  <a:pt x="576108" y="279596"/>
                </a:lnTo>
                <a:lnTo>
                  <a:pt x="597983" y="246647"/>
                </a:lnTo>
                <a:lnTo>
                  <a:pt x="605274" y="209169"/>
                </a:lnTo>
                <a:lnTo>
                  <a:pt x="597983" y="171690"/>
                </a:lnTo>
                <a:lnTo>
                  <a:pt x="576108" y="138741"/>
                </a:lnTo>
                <a:lnTo>
                  <a:pt x="521340" y="83958"/>
                </a:lnTo>
                <a:close/>
              </a:path>
              <a:path w="605790" h="555625">
                <a:moveTo>
                  <a:pt x="364858" y="115266"/>
                </a:moveTo>
                <a:lnTo>
                  <a:pt x="270976" y="209169"/>
                </a:lnTo>
                <a:lnTo>
                  <a:pt x="249015" y="223758"/>
                </a:lnTo>
                <a:lnTo>
                  <a:pt x="224035" y="228621"/>
                </a:lnTo>
                <a:lnTo>
                  <a:pt x="353023" y="228621"/>
                </a:lnTo>
                <a:lnTo>
                  <a:pt x="352722" y="228320"/>
                </a:lnTo>
                <a:lnTo>
                  <a:pt x="352722" y="221315"/>
                </a:lnTo>
                <a:lnTo>
                  <a:pt x="361360" y="212676"/>
                </a:lnTo>
                <a:lnTo>
                  <a:pt x="462254" y="212676"/>
                </a:lnTo>
                <a:lnTo>
                  <a:pt x="364858" y="115266"/>
                </a:lnTo>
                <a:close/>
              </a:path>
              <a:path w="605790" h="555625">
                <a:moveTo>
                  <a:pt x="396156" y="0"/>
                </a:moveTo>
                <a:lnTo>
                  <a:pt x="358685" y="7293"/>
                </a:lnTo>
                <a:lnTo>
                  <a:pt x="325749" y="29174"/>
                </a:lnTo>
                <a:lnTo>
                  <a:pt x="177094" y="177871"/>
                </a:lnTo>
                <a:lnTo>
                  <a:pt x="192737" y="193515"/>
                </a:lnTo>
                <a:lnTo>
                  <a:pt x="207380" y="203245"/>
                </a:lnTo>
                <a:lnTo>
                  <a:pt x="224035" y="206488"/>
                </a:lnTo>
                <a:lnTo>
                  <a:pt x="240689" y="203245"/>
                </a:lnTo>
                <a:lnTo>
                  <a:pt x="255332" y="193515"/>
                </a:lnTo>
                <a:lnTo>
                  <a:pt x="364858" y="83958"/>
                </a:lnTo>
                <a:lnTo>
                  <a:pt x="521340" y="83958"/>
                </a:lnTo>
                <a:lnTo>
                  <a:pt x="466572" y="29174"/>
                </a:lnTo>
                <a:lnTo>
                  <a:pt x="433629" y="7293"/>
                </a:lnTo>
                <a:lnTo>
                  <a:pt x="396156" y="0"/>
                </a:lnTo>
                <a:close/>
              </a:path>
            </a:pathLst>
          </a:custGeom>
          <a:solidFill>
            <a:srgbClr val="000000"/>
          </a:solidFill>
        </p:spPr>
        <p:txBody>
          <a:bodyPr wrap="square" lIns="0" tIns="0" rIns="0" bIns="0" rtlCol="0"/>
          <a:lstStyle/>
          <a:p>
            <a:endParaRPr/>
          </a:p>
        </p:txBody>
      </p:sp>
    </p:spTree>
    <p:extLst>
      <p:ext uri="{BB962C8B-B14F-4D97-AF65-F5344CB8AC3E}">
        <p14:creationId xmlns:p14="http://schemas.microsoft.com/office/powerpoint/2010/main" val="11319205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5669" y="109930"/>
            <a:ext cx="5800635" cy="326053"/>
          </a:xfrm>
          <a:prstGeom prst="rect">
            <a:avLst/>
          </a:prstGeom>
        </p:spPr>
        <p:txBody>
          <a:bodyPr vert="horz" wrap="square" lIns="0" tIns="7798" rIns="0" bIns="0" rtlCol="0">
            <a:spAutoFit/>
          </a:bodyPr>
          <a:lstStyle/>
          <a:p>
            <a:pPr marL="5776">
              <a:lnSpc>
                <a:spcPct val="100000"/>
              </a:lnSpc>
              <a:spcBef>
                <a:spcPts val="61"/>
              </a:spcBef>
            </a:pPr>
            <a:r>
              <a:rPr spc="-7" dirty="0"/>
              <a:t>Une </a:t>
            </a:r>
            <a:r>
              <a:rPr spc="-14" dirty="0"/>
              <a:t>relation ambivalente vis-à-vis </a:t>
            </a:r>
            <a:r>
              <a:rPr spc="-2" dirty="0"/>
              <a:t>de </a:t>
            </a:r>
            <a:r>
              <a:rPr spc="-7" dirty="0"/>
              <a:t>la</a:t>
            </a:r>
            <a:r>
              <a:rPr spc="-191" dirty="0"/>
              <a:t> </a:t>
            </a:r>
            <a:r>
              <a:rPr spc="-14" dirty="0"/>
              <a:t>banque</a:t>
            </a:r>
          </a:p>
        </p:txBody>
      </p:sp>
      <p:sp>
        <p:nvSpPr>
          <p:cNvPr id="3" name="object 3"/>
          <p:cNvSpPr txBox="1"/>
          <p:nvPr/>
        </p:nvSpPr>
        <p:spPr>
          <a:xfrm>
            <a:off x="775669" y="567098"/>
            <a:ext cx="2454381" cy="144916"/>
          </a:xfrm>
          <a:prstGeom prst="rect">
            <a:avLst/>
          </a:prstGeom>
        </p:spPr>
        <p:txBody>
          <a:bodyPr vert="horz" wrap="square" lIns="0" tIns="6354" rIns="0" bIns="0" rtlCol="0">
            <a:spAutoFit/>
          </a:bodyPr>
          <a:lstStyle/>
          <a:p>
            <a:pPr marL="5776">
              <a:spcBef>
                <a:spcPts val="50"/>
              </a:spcBef>
            </a:pPr>
            <a:r>
              <a:rPr sz="900" b="1" spc="2" dirty="0">
                <a:latin typeface="Helvetica Neue"/>
                <a:cs typeface="Helvetica Neue"/>
              </a:rPr>
              <a:t>Diriez-vous que votre conseiller</a:t>
            </a:r>
            <a:r>
              <a:rPr sz="900" b="1" spc="-39" dirty="0">
                <a:latin typeface="Helvetica Neue"/>
                <a:cs typeface="Helvetica Neue"/>
              </a:rPr>
              <a:t> </a:t>
            </a:r>
            <a:r>
              <a:rPr sz="900" b="1" spc="2" dirty="0">
                <a:latin typeface="Helvetica Neue"/>
                <a:cs typeface="Helvetica Neue"/>
              </a:rPr>
              <a:t>bancaire…</a:t>
            </a:r>
            <a:endParaRPr sz="900">
              <a:latin typeface="Helvetica Neue"/>
              <a:cs typeface="Helvetica Neue"/>
            </a:endParaRPr>
          </a:p>
        </p:txBody>
      </p:sp>
      <p:sp>
        <p:nvSpPr>
          <p:cNvPr id="4" name="object 4"/>
          <p:cNvSpPr/>
          <p:nvPr/>
        </p:nvSpPr>
        <p:spPr>
          <a:xfrm>
            <a:off x="0" y="870972"/>
            <a:ext cx="9144000" cy="4277105"/>
          </a:xfrm>
          <a:custGeom>
            <a:avLst/>
            <a:gdLst/>
            <a:ahLst/>
            <a:cxnLst/>
            <a:rect l="l" t="t" r="r" b="b"/>
            <a:pathLst>
              <a:path w="20104100" h="9404350">
                <a:moveTo>
                  <a:pt x="0" y="9404038"/>
                </a:moveTo>
                <a:lnTo>
                  <a:pt x="20104099" y="9404038"/>
                </a:lnTo>
                <a:lnTo>
                  <a:pt x="20104099" y="0"/>
                </a:lnTo>
                <a:lnTo>
                  <a:pt x="0" y="0"/>
                </a:lnTo>
                <a:lnTo>
                  <a:pt x="0" y="9404038"/>
                </a:lnTo>
                <a:close/>
              </a:path>
            </a:pathLst>
          </a:custGeom>
          <a:solidFill>
            <a:srgbClr val="D5D5D5"/>
          </a:solidFill>
        </p:spPr>
        <p:txBody>
          <a:bodyPr wrap="square" lIns="0" tIns="0" rIns="0" bIns="0" rtlCol="0"/>
          <a:lstStyle/>
          <a:p>
            <a:endParaRPr/>
          </a:p>
        </p:txBody>
      </p:sp>
      <p:sp>
        <p:nvSpPr>
          <p:cNvPr id="5" name="object 5"/>
          <p:cNvSpPr/>
          <p:nvPr/>
        </p:nvSpPr>
        <p:spPr>
          <a:xfrm>
            <a:off x="8844074" y="489339"/>
            <a:ext cx="101375" cy="288221"/>
          </a:xfrm>
          <a:custGeom>
            <a:avLst/>
            <a:gdLst/>
            <a:ahLst/>
            <a:cxnLst/>
            <a:rect l="l" t="t" r="r" b="b"/>
            <a:pathLst>
              <a:path w="222884" h="633730">
                <a:moveTo>
                  <a:pt x="0" y="0"/>
                </a:moveTo>
                <a:lnTo>
                  <a:pt x="0" y="633666"/>
                </a:lnTo>
                <a:lnTo>
                  <a:pt x="41750" y="615195"/>
                </a:lnTo>
                <a:lnTo>
                  <a:pt x="80311" y="591489"/>
                </a:lnTo>
                <a:lnTo>
                  <a:pt x="115222" y="562999"/>
                </a:lnTo>
                <a:lnTo>
                  <a:pt x="146023" y="530175"/>
                </a:lnTo>
                <a:lnTo>
                  <a:pt x="172256" y="493468"/>
                </a:lnTo>
                <a:lnTo>
                  <a:pt x="193459" y="453329"/>
                </a:lnTo>
                <a:lnTo>
                  <a:pt x="209173" y="410208"/>
                </a:lnTo>
                <a:lnTo>
                  <a:pt x="218939" y="364558"/>
                </a:lnTo>
                <a:lnTo>
                  <a:pt x="222296" y="316828"/>
                </a:lnTo>
                <a:lnTo>
                  <a:pt x="218939" y="269100"/>
                </a:lnTo>
                <a:lnTo>
                  <a:pt x="209173" y="223452"/>
                </a:lnTo>
                <a:lnTo>
                  <a:pt x="193459" y="180334"/>
                </a:lnTo>
                <a:lnTo>
                  <a:pt x="172256" y="140196"/>
                </a:lnTo>
                <a:lnTo>
                  <a:pt x="146023" y="103490"/>
                </a:lnTo>
                <a:lnTo>
                  <a:pt x="115222" y="70666"/>
                </a:lnTo>
                <a:lnTo>
                  <a:pt x="80311" y="42176"/>
                </a:lnTo>
                <a:lnTo>
                  <a:pt x="41750" y="18470"/>
                </a:lnTo>
                <a:lnTo>
                  <a:pt x="0" y="0"/>
                </a:lnTo>
                <a:close/>
              </a:path>
            </a:pathLst>
          </a:custGeom>
          <a:solidFill>
            <a:srgbClr val="C60E33"/>
          </a:solidFill>
        </p:spPr>
        <p:txBody>
          <a:bodyPr wrap="square" lIns="0" tIns="0" rIns="0" bIns="0" rtlCol="0"/>
          <a:lstStyle/>
          <a:p>
            <a:endParaRPr/>
          </a:p>
        </p:txBody>
      </p:sp>
      <p:sp>
        <p:nvSpPr>
          <p:cNvPr id="6" name="object 6"/>
          <p:cNvSpPr/>
          <p:nvPr/>
        </p:nvSpPr>
        <p:spPr>
          <a:xfrm>
            <a:off x="8638250" y="489339"/>
            <a:ext cx="101375" cy="288221"/>
          </a:xfrm>
          <a:custGeom>
            <a:avLst/>
            <a:gdLst/>
            <a:ahLst/>
            <a:cxnLst/>
            <a:rect l="l" t="t" r="r" b="b"/>
            <a:pathLst>
              <a:path w="222884" h="633730">
                <a:moveTo>
                  <a:pt x="222296" y="0"/>
                </a:moveTo>
                <a:lnTo>
                  <a:pt x="180546" y="18470"/>
                </a:lnTo>
                <a:lnTo>
                  <a:pt x="141985" y="42176"/>
                </a:lnTo>
                <a:lnTo>
                  <a:pt x="107074" y="70666"/>
                </a:lnTo>
                <a:lnTo>
                  <a:pt x="76273" y="103490"/>
                </a:lnTo>
                <a:lnTo>
                  <a:pt x="50040" y="140196"/>
                </a:lnTo>
                <a:lnTo>
                  <a:pt x="28837" y="180334"/>
                </a:lnTo>
                <a:lnTo>
                  <a:pt x="13123" y="223452"/>
                </a:lnTo>
                <a:lnTo>
                  <a:pt x="3357" y="269100"/>
                </a:lnTo>
                <a:lnTo>
                  <a:pt x="0" y="316828"/>
                </a:lnTo>
                <a:lnTo>
                  <a:pt x="3357" y="364558"/>
                </a:lnTo>
                <a:lnTo>
                  <a:pt x="13123" y="410208"/>
                </a:lnTo>
                <a:lnTo>
                  <a:pt x="28837" y="453329"/>
                </a:lnTo>
                <a:lnTo>
                  <a:pt x="50040" y="493468"/>
                </a:lnTo>
                <a:lnTo>
                  <a:pt x="76273" y="530175"/>
                </a:lnTo>
                <a:lnTo>
                  <a:pt x="107074" y="562999"/>
                </a:lnTo>
                <a:lnTo>
                  <a:pt x="141985" y="591489"/>
                </a:lnTo>
                <a:lnTo>
                  <a:pt x="180546" y="615195"/>
                </a:lnTo>
                <a:lnTo>
                  <a:pt x="222296" y="633666"/>
                </a:lnTo>
                <a:lnTo>
                  <a:pt x="222296" y="0"/>
                </a:lnTo>
                <a:close/>
              </a:path>
            </a:pathLst>
          </a:custGeom>
          <a:solidFill>
            <a:srgbClr val="354083"/>
          </a:solidFill>
        </p:spPr>
        <p:txBody>
          <a:bodyPr wrap="square" lIns="0" tIns="0" rIns="0" bIns="0" rtlCol="0"/>
          <a:lstStyle/>
          <a:p>
            <a:endParaRPr/>
          </a:p>
        </p:txBody>
      </p:sp>
      <p:sp>
        <p:nvSpPr>
          <p:cNvPr id="7" name="object 7"/>
          <p:cNvSpPr/>
          <p:nvPr/>
        </p:nvSpPr>
        <p:spPr>
          <a:xfrm>
            <a:off x="190895" y="214492"/>
            <a:ext cx="422542" cy="422512"/>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5"/>
                </a:lnTo>
                <a:lnTo>
                  <a:pt x="20875" y="602435"/>
                </a:lnTo>
                <a:lnTo>
                  <a:pt x="36489" y="645098"/>
                </a:lnTo>
                <a:lnTo>
                  <a:pt x="56042" y="685689"/>
                </a:lnTo>
                <a:lnTo>
                  <a:pt x="79301" y="723975"/>
                </a:lnTo>
                <a:lnTo>
                  <a:pt x="106031" y="759722"/>
                </a:lnTo>
                <a:lnTo>
                  <a:pt x="136001" y="792698"/>
                </a:lnTo>
                <a:lnTo>
                  <a:pt x="168975" y="822668"/>
                </a:lnTo>
                <a:lnTo>
                  <a:pt x="204722" y="849400"/>
                </a:lnTo>
                <a:lnTo>
                  <a:pt x="243007" y="872659"/>
                </a:lnTo>
                <a:lnTo>
                  <a:pt x="283597" y="892213"/>
                </a:lnTo>
                <a:lnTo>
                  <a:pt x="326259" y="907828"/>
                </a:lnTo>
                <a:lnTo>
                  <a:pt x="370759" y="919270"/>
                </a:lnTo>
                <a:lnTo>
                  <a:pt x="416864" y="926307"/>
                </a:lnTo>
                <a:lnTo>
                  <a:pt x="464341" y="928704"/>
                </a:lnTo>
                <a:lnTo>
                  <a:pt x="511818" y="926307"/>
                </a:lnTo>
                <a:lnTo>
                  <a:pt x="557924" y="919270"/>
                </a:lnTo>
                <a:lnTo>
                  <a:pt x="602425" y="907828"/>
                </a:lnTo>
                <a:lnTo>
                  <a:pt x="645088" y="892213"/>
                </a:lnTo>
                <a:lnTo>
                  <a:pt x="685678" y="872659"/>
                </a:lnTo>
                <a:lnTo>
                  <a:pt x="723964" y="849400"/>
                </a:lnTo>
                <a:lnTo>
                  <a:pt x="759712" y="822668"/>
                </a:lnTo>
                <a:lnTo>
                  <a:pt x="792687" y="792698"/>
                </a:lnTo>
                <a:lnTo>
                  <a:pt x="822658" y="759722"/>
                </a:lnTo>
                <a:lnTo>
                  <a:pt x="849389" y="723975"/>
                </a:lnTo>
                <a:lnTo>
                  <a:pt x="872649" y="685689"/>
                </a:lnTo>
                <a:lnTo>
                  <a:pt x="892202" y="645098"/>
                </a:lnTo>
                <a:lnTo>
                  <a:pt x="907817" y="602435"/>
                </a:lnTo>
                <a:lnTo>
                  <a:pt x="919260" y="557935"/>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FFC203"/>
          </a:solidFill>
        </p:spPr>
        <p:txBody>
          <a:bodyPr wrap="square" lIns="0" tIns="0" rIns="0" bIns="0" rtlCol="0"/>
          <a:lstStyle/>
          <a:p>
            <a:endParaRPr/>
          </a:p>
        </p:txBody>
      </p:sp>
      <p:sp>
        <p:nvSpPr>
          <p:cNvPr id="8" name="object 8"/>
          <p:cNvSpPr/>
          <p:nvPr/>
        </p:nvSpPr>
        <p:spPr>
          <a:xfrm>
            <a:off x="373613" y="400469"/>
            <a:ext cx="78848" cy="107433"/>
          </a:xfrm>
          <a:custGeom>
            <a:avLst/>
            <a:gdLst/>
            <a:ahLst/>
            <a:cxnLst/>
            <a:rect l="l" t="t" r="r" b="b"/>
            <a:pathLst>
              <a:path w="173355" h="236219">
                <a:moveTo>
                  <a:pt x="172780" y="236139"/>
                </a:moveTo>
                <a:lnTo>
                  <a:pt x="0" y="236139"/>
                </a:lnTo>
                <a:lnTo>
                  <a:pt x="0" y="0"/>
                </a:lnTo>
                <a:lnTo>
                  <a:pt x="172780" y="0"/>
                </a:lnTo>
                <a:lnTo>
                  <a:pt x="172780" y="236139"/>
                </a:lnTo>
                <a:close/>
              </a:path>
            </a:pathLst>
          </a:custGeom>
          <a:solidFill>
            <a:srgbClr val="FFFFFF"/>
          </a:solidFill>
        </p:spPr>
        <p:txBody>
          <a:bodyPr wrap="square" lIns="0" tIns="0" rIns="0" bIns="0" rtlCol="0"/>
          <a:lstStyle/>
          <a:p>
            <a:endParaRPr/>
          </a:p>
        </p:txBody>
      </p:sp>
      <p:sp>
        <p:nvSpPr>
          <p:cNvPr id="9" name="object 9"/>
          <p:cNvSpPr/>
          <p:nvPr/>
        </p:nvSpPr>
        <p:spPr>
          <a:xfrm>
            <a:off x="317944" y="269500"/>
            <a:ext cx="163760" cy="261940"/>
          </a:xfrm>
          <a:custGeom>
            <a:avLst/>
            <a:gdLst/>
            <a:ahLst/>
            <a:cxnLst/>
            <a:rect l="l" t="t" r="r" b="b"/>
            <a:pathLst>
              <a:path w="360044" h="575944">
                <a:moveTo>
                  <a:pt x="76604" y="232704"/>
                </a:moveTo>
                <a:lnTo>
                  <a:pt x="45410" y="255026"/>
                </a:lnTo>
                <a:lnTo>
                  <a:pt x="21214" y="284709"/>
                </a:lnTo>
                <a:lnTo>
                  <a:pt x="5561" y="320206"/>
                </a:lnTo>
                <a:lnTo>
                  <a:pt x="0" y="359968"/>
                </a:lnTo>
                <a:lnTo>
                  <a:pt x="0" y="511157"/>
                </a:lnTo>
                <a:lnTo>
                  <a:pt x="5328" y="536402"/>
                </a:lnTo>
                <a:lnTo>
                  <a:pt x="19384" y="556994"/>
                </a:lnTo>
                <a:lnTo>
                  <a:pt x="40111" y="570867"/>
                </a:lnTo>
                <a:lnTo>
                  <a:pt x="65443" y="575951"/>
                </a:lnTo>
                <a:lnTo>
                  <a:pt x="359957" y="575951"/>
                </a:lnTo>
                <a:lnTo>
                  <a:pt x="359957" y="511157"/>
                </a:lnTo>
                <a:lnTo>
                  <a:pt x="179984" y="511157"/>
                </a:lnTo>
                <a:lnTo>
                  <a:pt x="143985" y="464289"/>
                </a:lnTo>
                <a:lnTo>
                  <a:pt x="166246" y="298472"/>
                </a:lnTo>
                <a:lnTo>
                  <a:pt x="193844" y="298472"/>
                </a:lnTo>
                <a:lnTo>
                  <a:pt x="194475" y="298420"/>
                </a:lnTo>
                <a:lnTo>
                  <a:pt x="344790" y="298420"/>
                </a:lnTo>
                <a:lnTo>
                  <a:pt x="338744" y="284708"/>
                </a:lnTo>
                <a:lnTo>
                  <a:pt x="329677" y="273583"/>
                </a:lnTo>
                <a:lnTo>
                  <a:pt x="179984" y="273583"/>
                </a:lnTo>
                <a:lnTo>
                  <a:pt x="150762" y="270759"/>
                </a:lnTo>
                <a:lnTo>
                  <a:pt x="123434" y="262645"/>
                </a:lnTo>
                <a:lnTo>
                  <a:pt x="98534" y="249777"/>
                </a:lnTo>
                <a:lnTo>
                  <a:pt x="76604" y="232704"/>
                </a:lnTo>
                <a:close/>
              </a:path>
              <a:path w="360044" h="575944">
                <a:moveTo>
                  <a:pt x="344790" y="298420"/>
                </a:moveTo>
                <a:lnTo>
                  <a:pt x="194475" y="298420"/>
                </a:lnTo>
                <a:lnTo>
                  <a:pt x="215982" y="464289"/>
                </a:lnTo>
                <a:lnTo>
                  <a:pt x="179984" y="511157"/>
                </a:lnTo>
                <a:lnTo>
                  <a:pt x="359957" y="511157"/>
                </a:lnTo>
                <a:lnTo>
                  <a:pt x="359957" y="359968"/>
                </a:lnTo>
                <a:lnTo>
                  <a:pt x="354396" y="320206"/>
                </a:lnTo>
                <a:lnTo>
                  <a:pt x="344790" y="298420"/>
                </a:lnTo>
                <a:close/>
              </a:path>
              <a:path w="360044" h="575944">
                <a:moveTo>
                  <a:pt x="193844" y="298472"/>
                </a:moveTo>
                <a:lnTo>
                  <a:pt x="166246" y="298472"/>
                </a:lnTo>
                <a:lnTo>
                  <a:pt x="170801" y="298828"/>
                </a:lnTo>
                <a:lnTo>
                  <a:pt x="175376" y="299017"/>
                </a:lnTo>
                <a:lnTo>
                  <a:pt x="184842" y="299017"/>
                </a:lnTo>
                <a:lnTo>
                  <a:pt x="189680" y="298818"/>
                </a:lnTo>
                <a:lnTo>
                  <a:pt x="193844" y="298472"/>
                </a:lnTo>
                <a:close/>
              </a:path>
              <a:path w="360044" h="575944">
                <a:moveTo>
                  <a:pt x="283363" y="232694"/>
                </a:moveTo>
                <a:lnTo>
                  <a:pt x="261413" y="249782"/>
                </a:lnTo>
                <a:lnTo>
                  <a:pt x="236518" y="262646"/>
                </a:lnTo>
                <a:lnTo>
                  <a:pt x="209197" y="270759"/>
                </a:lnTo>
                <a:lnTo>
                  <a:pt x="179984" y="273583"/>
                </a:lnTo>
                <a:lnTo>
                  <a:pt x="329677" y="273583"/>
                </a:lnTo>
                <a:lnTo>
                  <a:pt x="314551" y="255022"/>
                </a:lnTo>
                <a:lnTo>
                  <a:pt x="283363" y="232694"/>
                </a:lnTo>
                <a:close/>
              </a:path>
              <a:path w="360044" h="575944">
                <a:moveTo>
                  <a:pt x="179984" y="0"/>
                </a:moveTo>
                <a:lnTo>
                  <a:pt x="132341" y="9619"/>
                </a:lnTo>
                <a:lnTo>
                  <a:pt x="93436" y="35851"/>
                </a:lnTo>
                <a:lnTo>
                  <a:pt x="67207" y="74755"/>
                </a:lnTo>
                <a:lnTo>
                  <a:pt x="57589" y="122394"/>
                </a:lnTo>
                <a:lnTo>
                  <a:pt x="67207" y="170030"/>
                </a:lnTo>
                <a:lnTo>
                  <a:pt x="93436" y="208932"/>
                </a:lnTo>
                <a:lnTo>
                  <a:pt x="132341" y="235160"/>
                </a:lnTo>
                <a:lnTo>
                  <a:pt x="179984" y="244777"/>
                </a:lnTo>
                <a:lnTo>
                  <a:pt x="227620" y="235160"/>
                </a:lnTo>
                <a:lnTo>
                  <a:pt x="266521" y="208932"/>
                </a:lnTo>
                <a:lnTo>
                  <a:pt x="292750" y="170030"/>
                </a:lnTo>
                <a:lnTo>
                  <a:pt x="302367" y="122394"/>
                </a:lnTo>
                <a:lnTo>
                  <a:pt x="292750" y="74755"/>
                </a:lnTo>
                <a:lnTo>
                  <a:pt x="266521" y="35851"/>
                </a:lnTo>
                <a:lnTo>
                  <a:pt x="227620" y="9619"/>
                </a:lnTo>
                <a:lnTo>
                  <a:pt x="179984" y="0"/>
                </a:lnTo>
                <a:close/>
              </a:path>
            </a:pathLst>
          </a:custGeom>
          <a:solidFill>
            <a:srgbClr val="FF7900"/>
          </a:solidFill>
        </p:spPr>
        <p:txBody>
          <a:bodyPr wrap="square" lIns="0" tIns="0" rIns="0" bIns="0" rtlCol="0"/>
          <a:lstStyle/>
          <a:p>
            <a:endParaRPr/>
          </a:p>
        </p:txBody>
      </p:sp>
      <p:sp>
        <p:nvSpPr>
          <p:cNvPr id="10" name="object 10"/>
          <p:cNvSpPr/>
          <p:nvPr/>
        </p:nvSpPr>
        <p:spPr>
          <a:xfrm>
            <a:off x="7075168" y="1445606"/>
            <a:ext cx="1102421" cy="1102344"/>
          </a:xfrm>
          <a:custGeom>
            <a:avLst/>
            <a:gdLst/>
            <a:ahLst/>
            <a:cxnLst/>
            <a:rect l="l" t="t" r="r" b="b"/>
            <a:pathLst>
              <a:path w="2423794" h="2423795">
                <a:moveTo>
                  <a:pt x="1211785" y="0"/>
                </a:moveTo>
                <a:lnTo>
                  <a:pt x="1163047" y="962"/>
                </a:lnTo>
                <a:lnTo>
                  <a:pt x="1114799" y="3824"/>
                </a:lnTo>
                <a:lnTo>
                  <a:pt x="1067075" y="8551"/>
                </a:lnTo>
                <a:lnTo>
                  <a:pt x="1019912" y="15105"/>
                </a:lnTo>
                <a:lnTo>
                  <a:pt x="973346" y="23451"/>
                </a:lnTo>
                <a:lnTo>
                  <a:pt x="927413" y="33553"/>
                </a:lnTo>
                <a:lnTo>
                  <a:pt x="882150" y="45374"/>
                </a:lnTo>
                <a:lnTo>
                  <a:pt x="837592" y="58878"/>
                </a:lnTo>
                <a:lnTo>
                  <a:pt x="793776" y="74029"/>
                </a:lnTo>
                <a:lnTo>
                  <a:pt x="750738" y="90790"/>
                </a:lnTo>
                <a:lnTo>
                  <a:pt x="708515" y="109126"/>
                </a:lnTo>
                <a:lnTo>
                  <a:pt x="667142" y="129001"/>
                </a:lnTo>
                <a:lnTo>
                  <a:pt x="626656" y="150377"/>
                </a:lnTo>
                <a:lnTo>
                  <a:pt x="587092" y="173219"/>
                </a:lnTo>
                <a:lnTo>
                  <a:pt x="548488" y="197491"/>
                </a:lnTo>
                <a:lnTo>
                  <a:pt x="510879" y="223157"/>
                </a:lnTo>
                <a:lnTo>
                  <a:pt x="474301" y="250179"/>
                </a:lnTo>
                <a:lnTo>
                  <a:pt x="438791" y="278523"/>
                </a:lnTo>
                <a:lnTo>
                  <a:pt x="404385" y="308152"/>
                </a:lnTo>
                <a:lnTo>
                  <a:pt x="371119" y="339029"/>
                </a:lnTo>
                <a:lnTo>
                  <a:pt x="339029" y="371119"/>
                </a:lnTo>
                <a:lnTo>
                  <a:pt x="308152" y="404385"/>
                </a:lnTo>
                <a:lnTo>
                  <a:pt x="278523" y="438791"/>
                </a:lnTo>
                <a:lnTo>
                  <a:pt x="250179" y="474301"/>
                </a:lnTo>
                <a:lnTo>
                  <a:pt x="223157" y="510879"/>
                </a:lnTo>
                <a:lnTo>
                  <a:pt x="197491" y="548488"/>
                </a:lnTo>
                <a:lnTo>
                  <a:pt x="173219" y="587092"/>
                </a:lnTo>
                <a:lnTo>
                  <a:pt x="150377" y="626656"/>
                </a:lnTo>
                <a:lnTo>
                  <a:pt x="129001" y="667142"/>
                </a:lnTo>
                <a:lnTo>
                  <a:pt x="109126" y="708515"/>
                </a:lnTo>
                <a:lnTo>
                  <a:pt x="90790" y="750738"/>
                </a:lnTo>
                <a:lnTo>
                  <a:pt x="74029" y="793776"/>
                </a:lnTo>
                <a:lnTo>
                  <a:pt x="58878" y="837592"/>
                </a:lnTo>
                <a:lnTo>
                  <a:pt x="45374" y="882150"/>
                </a:lnTo>
                <a:lnTo>
                  <a:pt x="33553" y="927413"/>
                </a:lnTo>
                <a:lnTo>
                  <a:pt x="23451" y="973346"/>
                </a:lnTo>
                <a:lnTo>
                  <a:pt x="15105" y="1019912"/>
                </a:lnTo>
                <a:lnTo>
                  <a:pt x="8551" y="1067075"/>
                </a:lnTo>
                <a:lnTo>
                  <a:pt x="3824" y="1114799"/>
                </a:lnTo>
                <a:lnTo>
                  <a:pt x="962" y="1163047"/>
                </a:lnTo>
                <a:lnTo>
                  <a:pt x="0" y="1211785"/>
                </a:lnTo>
                <a:lnTo>
                  <a:pt x="962" y="1260522"/>
                </a:lnTo>
                <a:lnTo>
                  <a:pt x="3824" y="1308770"/>
                </a:lnTo>
                <a:lnTo>
                  <a:pt x="8551" y="1356494"/>
                </a:lnTo>
                <a:lnTo>
                  <a:pt x="15105" y="1403657"/>
                </a:lnTo>
                <a:lnTo>
                  <a:pt x="23451" y="1450223"/>
                </a:lnTo>
                <a:lnTo>
                  <a:pt x="33553" y="1496156"/>
                </a:lnTo>
                <a:lnTo>
                  <a:pt x="45374" y="1541420"/>
                </a:lnTo>
                <a:lnTo>
                  <a:pt x="58878" y="1585977"/>
                </a:lnTo>
                <a:lnTo>
                  <a:pt x="74029" y="1629793"/>
                </a:lnTo>
                <a:lnTo>
                  <a:pt x="90790" y="1672831"/>
                </a:lnTo>
                <a:lnTo>
                  <a:pt x="109126" y="1715054"/>
                </a:lnTo>
                <a:lnTo>
                  <a:pt x="129001" y="1756427"/>
                </a:lnTo>
                <a:lnTo>
                  <a:pt x="150377" y="1796914"/>
                </a:lnTo>
                <a:lnTo>
                  <a:pt x="173219" y="1836477"/>
                </a:lnTo>
                <a:lnTo>
                  <a:pt x="197491" y="1875081"/>
                </a:lnTo>
                <a:lnTo>
                  <a:pt x="223157" y="1912691"/>
                </a:lnTo>
                <a:lnTo>
                  <a:pt x="250179" y="1949268"/>
                </a:lnTo>
                <a:lnTo>
                  <a:pt x="278523" y="1984778"/>
                </a:lnTo>
                <a:lnTo>
                  <a:pt x="308152" y="2019184"/>
                </a:lnTo>
                <a:lnTo>
                  <a:pt x="339029" y="2052450"/>
                </a:lnTo>
                <a:lnTo>
                  <a:pt x="371119" y="2084540"/>
                </a:lnTo>
                <a:lnTo>
                  <a:pt x="404385" y="2115418"/>
                </a:lnTo>
                <a:lnTo>
                  <a:pt x="438791" y="2145046"/>
                </a:lnTo>
                <a:lnTo>
                  <a:pt x="474301" y="2173390"/>
                </a:lnTo>
                <a:lnTo>
                  <a:pt x="510879" y="2200413"/>
                </a:lnTo>
                <a:lnTo>
                  <a:pt x="548488" y="2226078"/>
                </a:lnTo>
                <a:lnTo>
                  <a:pt x="587092" y="2250350"/>
                </a:lnTo>
                <a:lnTo>
                  <a:pt x="626656" y="2273192"/>
                </a:lnTo>
                <a:lnTo>
                  <a:pt x="667142" y="2294569"/>
                </a:lnTo>
                <a:lnTo>
                  <a:pt x="708515" y="2314443"/>
                </a:lnTo>
                <a:lnTo>
                  <a:pt x="750738" y="2332779"/>
                </a:lnTo>
                <a:lnTo>
                  <a:pt x="793776" y="2349540"/>
                </a:lnTo>
                <a:lnTo>
                  <a:pt x="837592" y="2364691"/>
                </a:lnTo>
                <a:lnTo>
                  <a:pt x="882150" y="2378195"/>
                </a:lnTo>
                <a:lnTo>
                  <a:pt x="927413" y="2390016"/>
                </a:lnTo>
                <a:lnTo>
                  <a:pt x="973346" y="2400118"/>
                </a:lnTo>
                <a:lnTo>
                  <a:pt x="1019912" y="2408464"/>
                </a:lnTo>
                <a:lnTo>
                  <a:pt x="1067075" y="2415018"/>
                </a:lnTo>
                <a:lnTo>
                  <a:pt x="1114799" y="2419745"/>
                </a:lnTo>
                <a:lnTo>
                  <a:pt x="1163047" y="2422607"/>
                </a:lnTo>
                <a:lnTo>
                  <a:pt x="1211785" y="2423570"/>
                </a:lnTo>
                <a:lnTo>
                  <a:pt x="1260522" y="2422607"/>
                </a:lnTo>
                <a:lnTo>
                  <a:pt x="1308772" y="2419745"/>
                </a:lnTo>
                <a:lnTo>
                  <a:pt x="1356496" y="2415018"/>
                </a:lnTo>
                <a:lnTo>
                  <a:pt x="1403660" y="2408464"/>
                </a:lnTo>
                <a:lnTo>
                  <a:pt x="1450226" y="2400118"/>
                </a:lnTo>
                <a:lnTo>
                  <a:pt x="1496160" y="2390016"/>
                </a:lnTo>
                <a:lnTo>
                  <a:pt x="1541423" y="2378195"/>
                </a:lnTo>
                <a:lnTo>
                  <a:pt x="1585981" y="2364691"/>
                </a:lnTo>
                <a:lnTo>
                  <a:pt x="1629797" y="2349540"/>
                </a:lnTo>
                <a:lnTo>
                  <a:pt x="1672835" y="2332779"/>
                </a:lnTo>
                <a:lnTo>
                  <a:pt x="1715059" y="2314443"/>
                </a:lnTo>
                <a:lnTo>
                  <a:pt x="1756432" y="2294569"/>
                </a:lnTo>
                <a:lnTo>
                  <a:pt x="1796918" y="2273192"/>
                </a:lnTo>
                <a:lnTo>
                  <a:pt x="1836482" y="2250350"/>
                </a:lnTo>
                <a:lnTo>
                  <a:pt x="1875086" y="2226078"/>
                </a:lnTo>
                <a:lnTo>
                  <a:pt x="1912695" y="2200413"/>
                </a:lnTo>
                <a:lnTo>
                  <a:pt x="1949273" y="2173390"/>
                </a:lnTo>
                <a:lnTo>
                  <a:pt x="1984783" y="2145046"/>
                </a:lnTo>
                <a:lnTo>
                  <a:pt x="2019189" y="2115418"/>
                </a:lnTo>
                <a:lnTo>
                  <a:pt x="2052454" y="2084540"/>
                </a:lnTo>
                <a:lnTo>
                  <a:pt x="2084544" y="2052450"/>
                </a:lnTo>
                <a:lnTo>
                  <a:pt x="2115421" y="2019184"/>
                </a:lnTo>
                <a:lnTo>
                  <a:pt x="2145050" y="1984778"/>
                </a:lnTo>
                <a:lnTo>
                  <a:pt x="2173393" y="1949268"/>
                </a:lnTo>
                <a:lnTo>
                  <a:pt x="2200416" y="1912691"/>
                </a:lnTo>
                <a:lnTo>
                  <a:pt x="2226081" y="1875081"/>
                </a:lnTo>
                <a:lnTo>
                  <a:pt x="2250352" y="1836477"/>
                </a:lnTo>
                <a:lnTo>
                  <a:pt x="2273194" y="1796914"/>
                </a:lnTo>
                <a:lnTo>
                  <a:pt x="2294570" y="1756427"/>
                </a:lnTo>
                <a:lnTo>
                  <a:pt x="2314445" y="1715054"/>
                </a:lnTo>
                <a:lnTo>
                  <a:pt x="2332780" y="1672831"/>
                </a:lnTo>
                <a:lnTo>
                  <a:pt x="2349542" y="1629793"/>
                </a:lnTo>
                <a:lnTo>
                  <a:pt x="2364692" y="1585977"/>
                </a:lnTo>
                <a:lnTo>
                  <a:pt x="2378196" y="1541420"/>
                </a:lnTo>
                <a:lnTo>
                  <a:pt x="2390017" y="1496156"/>
                </a:lnTo>
                <a:lnTo>
                  <a:pt x="2400118" y="1450223"/>
                </a:lnTo>
                <a:lnTo>
                  <a:pt x="2408464" y="1403657"/>
                </a:lnTo>
                <a:lnTo>
                  <a:pt x="2415019" y="1356494"/>
                </a:lnTo>
                <a:lnTo>
                  <a:pt x="2419745" y="1308770"/>
                </a:lnTo>
                <a:lnTo>
                  <a:pt x="2422607" y="1260522"/>
                </a:lnTo>
                <a:lnTo>
                  <a:pt x="2423570" y="1211785"/>
                </a:lnTo>
                <a:lnTo>
                  <a:pt x="2422607" y="1163047"/>
                </a:lnTo>
                <a:lnTo>
                  <a:pt x="2419745" y="1114799"/>
                </a:lnTo>
                <a:lnTo>
                  <a:pt x="2415019" y="1067075"/>
                </a:lnTo>
                <a:lnTo>
                  <a:pt x="2408464" y="1019912"/>
                </a:lnTo>
                <a:lnTo>
                  <a:pt x="2400118" y="973346"/>
                </a:lnTo>
                <a:lnTo>
                  <a:pt x="2390017" y="927413"/>
                </a:lnTo>
                <a:lnTo>
                  <a:pt x="2378196" y="882150"/>
                </a:lnTo>
                <a:lnTo>
                  <a:pt x="2364692" y="837592"/>
                </a:lnTo>
                <a:lnTo>
                  <a:pt x="2349542" y="793776"/>
                </a:lnTo>
                <a:lnTo>
                  <a:pt x="2332780" y="750738"/>
                </a:lnTo>
                <a:lnTo>
                  <a:pt x="2314445" y="708515"/>
                </a:lnTo>
                <a:lnTo>
                  <a:pt x="2294570" y="667142"/>
                </a:lnTo>
                <a:lnTo>
                  <a:pt x="2273194" y="626656"/>
                </a:lnTo>
                <a:lnTo>
                  <a:pt x="2250352" y="587092"/>
                </a:lnTo>
                <a:lnTo>
                  <a:pt x="2226081" y="548488"/>
                </a:lnTo>
                <a:lnTo>
                  <a:pt x="2200416" y="510879"/>
                </a:lnTo>
                <a:lnTo>
                  <a:pt x="2173393" y="474301"/>
                </a:lnTo>
                <a:lnTo>
                  <a:pt x="2145050" y="438791"/>
                </a:lnTo>
                <a:lnTo>
                  <a:pt x="2115421" y="404385"/>
                </a:lnTo>
                <a:lnTo>
                  <a:pt x="2084544" y="371119"/>
                </a:lnTo>
                <a:lnTo>
                  <a:pt x="2052454" y="339029"/>
                </a:lnTo>
                <a:lnTo>
                  <a:pt x="2019189" y="308152"/>
                </a:lnTo>
                <a:lnTo>
                  <a:pt x="1984783" y="278523"/>
                </a:lnTo>
                <a:lnTo>
                  <a:pt x="1949273" y="250179"/>
                </a:lnTo>
                <a:lnTo>
                  <a:pt x="1912695" y="223157"/>
                </a:lnTo>
                <a:lnTo>
                  <a:pt x="1875086" y="197491"/>
                </a:lnTo>
                <a:lnTo>
                  <a:pt x="1836482" y="173219"/>
                </a:lnTo>
                <a:lnTo>
                  <a:pt x="1796918" y="150377"/>
                </a:lnTo>
                <a:lnTo>
                  <a:pt x="1756432" y="129001"/>
                </a:lnTo>
                <a:lnTo>
                  <a:pt x="1715059" y="109126"/>
                </a:lnTo>
                <a:lnTo>
                  <a:pt x="1672835" y="90790"/>
                </a:lnTo>
                <a:lnTo>
                  <a:pt x="1629797" y="74029"/>
                </a:lnTo>
                <a:lnTo>
                  <a:pt x="1585981" y="58878"/>
                </a:lnTo>
                <a:lnTo>
                  <a:pt x="1541423" y="45374"/>
                </a:lnTo>
                <a:lnTo>
                  <a:pt x="1496160" y="33553"/>
                </a:lnTo>
                <a:lnTo>
                  <a:pt x="1450226" y="23451"/>
                </a:lnTo>
                <a:lnTo>
                  <a:pt x="1403660" y="15105"/>
                </a:lnTo>
                <a:lnTo>
                  <a:pt x="1356496" y="8551"/>
                </a:lnTo>
                <a:lnTo>
                  <a:pt x="1308772" y="3824"/>
                </a:lnTo>
                <a:lnTo>
                  <a:pt x="1260522" y="962"/>
                </a:lnTo>
                <a:lnTo>
                  <a:pt x="1211785" y="0"/>
                </a:lnTo>
                <a:close/>
              </a:path>
            </a:pathLst>
          </a:custGeom>
          <a:solidFill>
            <a:srgbClr val="FFFFFF"/>
          </a:solidFill>
        </p:spPr>
        <p:txBody>
          <a:bodyPr wrap="square" lIns="0" tIns="0" rIns="0" bIns="0" rtlCol="0"/>
          <a:lstStyle/>
          <a:p>
            <a:endParaRPr/>
          </a:p>
        </p:txBody>
      </p:sp>
      <p:sp>
        <p:nvSpPr>
          <p:cNvPr id="11" name="object 11"/>
          <p:cNvSpPr/>
          <p:nvPr/>
        </p:nvSpPr>
        <p:spPr>
          <a:xfrm>
            <a:off x="2815521" y="2939105"/>
            <a:ext cx="1102421" cy="1102344"/>
          </a:xfrm>
          <a:custGeom>
            <a:avLst/>
            <a:gdLst/>
            <a:ahLst/>
            <a:cxnLst/>
            <a:rect l="l" t="t" r="r" b="b"/>
            <a:pathLst>
              <a:path w="2423795" h="2423795">
                <a:moveTo>
                  <a:pt x="1211785" y="0"/>
                </a:moveTo>
                <a:lnTo>
                  <a:pt x="1163047" y="962"/>
                </a:lnTo>
                <a:lnTo>
                  <a:pt x="1114799" y="3824"/>
                </a:lnTo>
                <a:lnTo>
                  <a:pt x="1067075" y="8551"/>
                </a:lnTo>
                <a:lnTo>
                  <a:pt x="1019912" y="15105"/>
                </a:lnTo>
                <a:lnTo>
                  <a:pt x="973346" y="23451"/>
                </a:lnTo>
                <a:lnTo>
                  <a:pt x="927413" y="33553"/>
                </a:lnTo>
                <a:lnTo>
                  <a:pt x="882150" y="45374"/>
                </a:lnTo>
                <a:lnTo>
                  <a:pt x="837592" y="58878"/>
                </a:lnTo>
                <a:lnTo>
                  <a:pt x="793776" y="74029"/>
                </a:lnTo>
                <a:lnTo>
                  <a:pt x="750738" y="90790"/>
                </a:lnTo>
                <a:lnTo>
                  <a:pt x="708515" y="109126"/>
                </a:lnTo>
                <a:lnTo>
                  <a:pt x="667142" y="129001"/>
                </a:lnTo>
                <a:lnTo>
                  <a:pt x="626656" y="150377"/>
                </a:lnTo>
                <a:lnTo>
                  <a:pt x="587092" y="173219"/>
                </a:lnTo>
                <a:lnTo>
                  <a:pt x="548488" y="197491"/>
                </a:lnTo>
                <a:lnTo>
                  <a:pt x="510879" y="223157"/>
                </a:lnTo>
                <a:lnTo>
                  <a:pt x="474301" y="250179"/>
                </a:lnTo>
                <a:lnTo>
                  <a:pt x="438791" y="278523"/>
                </a:lnTo>
                <a:lnTo>
                  <a:pt x="404385" y="308152"/>
                </a:lnTo>
                <a:lnTo>
                  <a:pt x="371119" y="339029"/>
                </a:lnTo>
                <a:lnTo>
                  <a:pt x="339029" y="371119"/>
                </a:lnTo>
                <a:lnTo>
                  <a:pt x="308152" y="404385"/>
                </a:lnTo>
                <a:lnTo>
                  <a:pt x="278523" y="438791"/>
                </a:lnTo>
                <a:lnTo>
                  <a:pt x="250179" y="474301"/>
                </a:lnTo>
                <a:lnTo>
                  <a:pt x="223157" y="510879"/>
                </a:lnTo>
                <a:lnTo>
                  <a:pt x="197491" y="548488"/>
                </a:lnTo>
                <a:lnTo>
                  <a:pt x="173219" y="587092"/>
                </a:lnTo>
                <a:lnTo>
                  <a:pt x="150377" y="626656"/>
                </a:lnTo>
                <a:lnTo>
                  <a:pt x="129001" y="667142"/>
                </a:lnTo>
                <a:lnTo>
                  <a:pt x="109126" y="708515"/>
                </a:lnTo>
                <a:lnTo>
                  <a:pt x="90790" y="750738"/>
                </a:lnTo>
                <a:lnTo>
                  <a:pt x="74029" y="793776"/>
                </a:lnTo>
                <a:lnTo>
                  <a:pt x="58878" y="837592"/>
                </a:lnTo>
                <a:lnTo>
                  <a:pt x="45374" y="882150"/>
                </a:lnTo>
                <a:lnTo>
                  <a:pt x="33553" y="927413"/>
                </a:lnTo>
                <a:lnTo>
                  <a:pt x="23451" y="973346"/>
                </a:lnTo>
                <a:lnTo>
                  <a:pt x="15105" y="1019912"/>
                </a:lnTo>
                <a:lnTo>
                  <a:pt x="8551" y="1067075"/>
                </a:lnTo>
                <a:lnTo>
                  <a:pt x="3824" y="1114799"/>
                </a:lnTo>
                <a:lnTo>
                  <a:pt x="962" y="1163047"/>
                </a:lnTo>
                <a:lnTo>
                  <a:pt x="0" y="1211785"/>
                </a:lnTo>
                <a:lnTo>
                  <a:pt x="962" y="1260522"/>
                </a:lnTo>
                <a:lnTo>
                  <a:pt x="3824" y="1308770"/>
                </a:lnTo>
                <a:lnTo>
                  <a:pt x="8551" y="1356494"/>
                </a:lnTo>
                <a:lnTo>
                  <a:pt x="15105" y="1403657"/>
                </a:lnTo>
                <a:lnTo>
                  <a:pt x="23451" y="1450223"/>
                </a:lnTo>
                <a:lnTo>
                  <a:pt x="33553" y="1496156"/>
                </a:lnTo>
                <a:lnTo>
                  <a:pt x="45374" y="1541420"/>
                </a:lnTo>
                <a:lnTo>
                  <a:pt x="58878" y="1585977"/>
                </a:lnTo>
                <a:lnTo>
                  <a:pt x="74029" y="1629793"/>
                </a:lnTo>
                <a:lnTo>
                  <a:pt x="90790" y="1672831"/>
                </a:lnTo>
                <a:lnTo>
                  <a:pt x="109126" y="1715054"/>
                </a:lnTo>
                <a:lnTo>
                  <a:pt x="129001" y="1756427"/>
                </a:lnTo>
                <a:lnTo>
                  <a:pt x="150377" y="1796914"/>
                </a:lnTo>
                <a:lnTo>
                  <a:pt x="173219" y="1836477"/>
                </a:lnTo>
                <a:lnTo>
                  <a:pt x="197491" y="1875081"/>
                </a:lnTo>
                <a:lnTo>
                  <a:pt x="223157" y="1912691"/>
                </a:lnTo>
                <a:lnTo>
                  <a:pt x="250179" y="1949268"/>
                </a:lnTo>
                <a:lnTo>
                  <a:pt x="278523" y="1984778"/>
                </a:lnTo>
                <a:lnTo>
                  <a:pt x="308152" y="2019184"/>
                </a:lnTo>
                <a:lnTo>
                  <a:pt x="339029" y="2052450"/>
                </a:lnTo>
                <a:lnTo>
                  <a:pt x="371119" y="2084540"/>
                </a:lnTo>
                <a:lnTo>
                  <a:pt x="404385" y="2115418"/>
                </a:lnTo>
                <a:lnTo>
                  <a:pt x="438791" y="2145046"/>
                </a:lnTo>
                <a:lnTo>
                  <a:pt x="474301" y="2173390"/>
                </a:lnTo>
                <a:lnTo>
                  <a:pt x="510879" y="2200413"/>
                </a:lnTo>
                <a:lnTo>
                  <a:pt x="548488" y="2226078"/>
                </a:lnTo>
                <a:lnTo>
                  <a:pt x="587092" y="2250350"/>
                </a:lnTo>
                <a:lnTo>
                  <a:pt x="626656" y="2273192"/>
                </a:lnTo>
                <a:lnTo>
                  <a:pt x="667142" y="2294569"/>
                </a:lnTo>
                <a:lnTo>
                  <a:pt x="708515" y="2314443"/>
                </a:lnTo>
                <a:lnTo>
                  <a:pt x="750738" y="2332779"/>
                </a:lnTo>
                <a:lnTo>
                  <a:pt x="793776" y="2349540"/>
                </a:lnTo>
                <a:lnTo>
                  <a:pt x="837592" y="2364691"/>
                </a:lnTo>
                <a:lnTo>
                  <a:pt x="882150" y="2378195"/>
                </a:lnTo>
                <a:lnTo>
                  <a:pt x="927413" y="2390016"/>
                </a:lnTo>
                <a:lnTo>
                  <a:pt x="973346" y="2400118"/>
                </a:lnTo>
                <a:lnTo>
                  <a:pt x="1019912" y="2408464"/>
                </a:lnTo>
                <a:lnTo>
                  <a:pt x="1067075" y="2415018"/>
                </a:lnTo>
                <a:lnTo>
                  <a:pt x="1114799" y="2419745"/>
                </a:lnTo>
                <a:lnTo>
                  <a:pt x="1163047" y="2422607"/>
                </a:lnTo>
                <a:lnTo>
                  <a:pt x="1211785" y="2423570"/>
                </a:lnTo>
                <a:lnTo>
                  <a:pt x="1260522" y="2422607"/>
                </a:lnTo>
                <a:lnTo>
                  <a:pt x="1308772" y="2419745"/>
                </a:lnTo>
                <a:lnTo>
                  <a:pt x="1356496" y="2415018"/>
                </a:lnTo>
                <a:lnTo>
                  <a:pt x="1403660" y="2408464"/>
                </a:lnTo>
                <a:lnTo>
                  <a:pt x="1450226" y="2400118"/>
                </a:lnTo>
                <a:lnTo>
                  <a:pt x="1496160" y="2390016"/>
                </a:lnTo>
                <a:lnTo>
                  <a:pt x="1541423" y="2378195"/>
                </a:lnTo>
                <a:lnTo>
                  <a:pt x="1585981" y="2364691"/>
                </a:lnTo>
                <a:lnTo>
                  <a:pt x="1629797" y="2349540"/>
                </a:lnTo>
                <a:lnTo>
                  <a:pt x="1672835" y="2332779"/>
                </a:lnTo>
                <a:lnTo>
                  <a:pt x="1715059" y="2314443"/>
                </a:lnTo>
                <a:lnTo>
                  <a:pt x="1756432" y="2294569"/>
                </a:lnTo>
                <a:lnTo>
                  <a:pt x="1796918" y="2273192"/>
                </a:lnTo>
                <a:lnTo>
                  <a:pt x="1836482" y="2250350"/>
                </a:lnTo>
                <a:lnTo>
                  <a:pt x="1875086" y="2226078"/>
                </a:lnTo>
                <a:lnTo>
                  <a:pt x="1912695" y="2200413"/>
                </a:lnTo>
                <a:lnTo>
                  <a:pt x="1949273" y="2173390"/>
                </a:lnTo>
                <a:lnTo>
                  <a:pt x="1984783" y="2145046"/>
                </a:lnTo>
                <a:lnTo>
                  <a:pt x="2019189" y="2115418"/>
                </a:lnTo>
                <a:lnTo>
                  <a:pt x="2052454" y="2084540"/>
                </a:lnTo>
                <a:lnTo>
                  <a:pt x="2084544" y="2052450"/>
                </a:lnTo>
                <a:lnTo>
                  <a:pt x="2115421" y="2019184"/>
                </a:lnTo>
                <a:lnTo>
                  <a:pt x="2145050" y="1984778"/>
                </a:lnTo>
                <a:lnTo>
                  <a:pt x="2173393" y="1949268"/>
                </a:lnTo>
                <a:lnTo>
                  <a:pt x="2200416" y="1912691"/>
                </a:lnTo>
                <a:lnTo>
                  <a:pt x="2226081" y="1875081"/>
                </a:lnTo>
                <a:lnTo>
                  <a:pt x="2250352" y="1836477"/>
                </a:lnTo>
                <a:lnTo>
                  <a:pt x="2273194" y="1796914"/>
                </a:lnTo>
                <a:lnTo>
                  <a:pt x="2294570" y="1756427"/>
                </a:lnTo>
                <a:lnTo>
                  <a:pt x="2314445" y="1715054"/>
                </a:lnTo>
                <a:lnTo>
                  <a:pt x="2332780" y="1672831"/>
                </a:lnTo>
                <a:lnTo>
                  <a:pt x="2349542" y="1629793"/>
                </a:lnTo>
                <a:lnTo>
                  <a:pt x="2364692" y="1585977"/>
                </a:lnTo>
                <a:lnTo>
                  <a:pt x="2378196" y="1541420"/>
                </a:lnTo>
                <a:lnTo>
                  <a:pt x="2390017" y="1496156"/>
                </a:lnTo>
                <a:lnTo>
                  <a:pt x="2400118" y="1450223"/>
                </a:lnTo>
                <a:lnTo>
                  <a:pt x="2408464" y="1403657"/>
                </a:lnTo>
                <a:lnTo>
                  <a:pt x="2415019" y="1356494"/>
                </a:lnTo>
                <a:lnTo>
                  <a:pt x="2419745" y="1308770"/>
                </a:lnTo>
                <a:lnTo>
                  <a:pt x="2422607" y="1260522"/>
                </a:lnTo>
                <a:lnTo>
                  <a:pt x="2423570" y="1211785"/>
                </a:lnTo>
                <a:lnTo>
                  <a:pt x="2422607" y="1163047"/>
                </a:lnTo>
                <a:lnTo>
                  <a:pt x="2419745" y="1114799"/>
                </a:lnTo>
                <a:lnTo>
                  <a:pt x="2415019" y="1067075"/>
                </a:lnTo>
                <a:lnTo>
                  <a:pt x="2408464" y="1019912"/>
                </a:lnTo>
                <a:lnTo>
                  <a:pt x="2400118" y="973346"/>
                </a:lnTo>
                <a:lnTo>
                  <a:pt x="2390017" y="927413"/>
                </a:lnTo>
                <a:lnTo>
                  <a:pt x="2378196" y="882150"/>
                </a:lnTo>
                <a:lnTo>
                  <a:pt x="2364692" y="837592"/>
                </a:lnTo>
                <a:lnTo>
                  <a:pt x="2349542" y="793776"/>
                </a:lnTo>
                <a:lnTo>
                  <a:pt x="2332780" y="750738"/>
                </a:lnTo>
                <a:lnTo>
                  <a:pt x="2314445" y="708515"/>
                </a:lnTo>
                <a:lnTo>
                  <a:pt x="2294570" y="667142"/>
                </a:lnTo>
                <a:lnTo>
                  <a:pt x="2273194" y="626656"/>
                </a:lnTo>
                <a:lnTo>
                  <a:pt x="2250352" y="587092"/>
                </a:lnTo>
                <a:lnTo>
                  <a:pt x="2226081" y="548488"/>
                </a:lnTo>
                <a:lnTo>
                  <a:pt x="2200416" y="510879"/>
                </a:lnTo>
                <a:lnTo>
                  <a:pt x="2173393" y="474301"/>
                </a:lnTo>
                <a:lnTo>
                  <a:pt x="2145050" y="438791"/>
                </a:lnTo>
                <a:lnTo>
                  <a:pt x="2115421" y="404385"/>
                </a:lnTo>
                <a:lnTo>
                  <a:pt x="2084544" y="371119"/>
                </a:lnTo>
                <a:lnTo>
                  <a:pt x="2052454" y="339029"/>
                </a:lnTo>
                <a:lnTo>
                  <a:pt x="2019189" y="308152"/>
                </a:lnTo>
                <a:lnTo>
                  <a:pt x="1984783" y="278523"/>
                </a:lnTo>
                <a:lnTo>
                  <a:pt x="1949273" y="250179"/>
                </a:lnTo>
                <a:lnTo>
                  <a:pt x="1912695" y="223157"/>
                </a:lnTo>
                <a:lnTo>
                  <a:pt x="1875086" y="197491"/>
                </a:lnTo>
                <a:lnTo>
                  <a:pt x="1836482" y="173219"/>
                </a:lnTo>
                <a:lnTo>
                  <a:pt x="1796918" y="150377"/>
                </a:lnTo>
                <a:lnTo>
                  <a:pt x="1756432" y="129001"/>
                </a:lnTo>
                <a:lnTo>
                  <a:pt x="1715059" y="109126"/>
                </a:lnTo>
                <a:lnTo>
                  <a:pt x="1672835" y="90790"/>
                </a:lnTo>
                <a:lnTo>
                  <a:pt x="1629797" y="74029"/>
                </a:lnTo>
                <a:lnTo>
                  <a:pt x="1585981" y="58878"/>
                </a:lnTo>
                <a:lnTo>
                  <a:pt x="1541423" y="45374"/>
                </a:lnTo>
                <a:lnTo>
                  <a:pt x="1496160" y="33553"/>
                </a:lnTo>
                <a:lnTo>
                  <a:pt x="1450226" y="23451"/>
                </a:lnTo>
                <a:lnTo>
                  <a:pt x="1403660" y="15105"/>
                </a:lnTo>
                <a:lnTo>
                  <a:pt x="1356496" y="8551"/>
                </a:lnTo>
                <a:lnTo>
                  <a:pt x="1308772" y="3824"/>
                </a:lnTo>
                <a:lnTo>
                  <a:pt x="1260522" y="962"/>
                </a:lnTo>
                <a:lnTo>
                  <a:pt x="1211785" y="0"/>
                </a:lnTo>
                <a:close/>
              </a:path>
            </a:pathLst>
          </a:custGeom>
          <a:solidFill>
            <a:srgbClr val="FFFFFF"/>
          </a:solidFill>
        </p:spPr>
        <p:txBody>
          <a:bodyPr wrap="square" lIns="0" tIns="0" rIns="0" bIns="0" rtlCol="0"/>
          <a:lstStyle/>
          <a:p>
            <a:endParaRPr/>
          </a:p>
        </p:txBody>
      </p:sp>
      <p:sp>
        <p:nvSpPr>
          <p:cNvPr id="12" name="object 12"/>
          <p:cNvSpPr/>
          <p:nvPr/>
        </p:nvSpPr>
        <p:spPr>
          <a:xfrm>
            <a:off x="7075168" y="2938415"/>
            <a:ext cx="1102421" cy="1102344"/>
          </a:xfrm>
          <a:custGeom>
            <a:avLst/>
            <a:gdLst/>
            <a:ahLst/>
            <a:cxnLst/>
            <a:rect l="l" t="t" r="r" b="b"/>
            <a:pathLst>
              <a:path w="2423794" h="2423795">
                <a:moveTo>
                  <a:pt x="1211785" y="0"/>
                </a:moveTo>
                <a:lnTo>
                  <a:pt x="1163047" y="962"/>
                </a:lnTo>
                <a:lnTo>
                  <a:pt x="1114799" y="3824"/>
                </a:lnTo>
                <a:lnTo>
                  <a:pt x="1067075" y="8551"/>
                </a:lnTo>
                <a:lnTo>
                  <a:pt x="1019912" y="15105"/>
                </a:lnTo>
                <a:lnTo>
                  <a:pt x="973346" y="23451"/>
                </a:lnTo>
                <a:lnTo>
                  <a:pt x="927413" y="33553"/>
                </a:lnTo>
                <a:lnTo>
                  <a:pt x="882150" y="45374"/>
                </a:lnTo>
                <a:lnTo>
                  <a:pt x="837592" y="58878"/>
                </a:lnTo>
                <a:lnTo>
                  <a:pt x="793776" y="74029"/>
                </a:lnTo>
                <a:lnTo>
                  <a:pt x="750738" y="90790"/>
                </a:lnTo>
                <a:lnTo>
                  <a:pt x="708515" y="109126"/>
                </a:lnTo>
                <a:lnTo>
                  <a:pt x="667142" y="129001"/>
                </a:lnTo>
                <a:lnTo>
                  <a:pt x="626656" y="150377"/>
                </a:lnTo>
                <a:lnTo>
                  <a:pt x="587092" y="173219"/>
                </a:lnTo>
                <a:lnTo>
                  <a:pt x="548488" y="197491"/>
                </a:lnTo>
                <a:lnTo>
                  <a:pt x="510879" y="223157"/>
                </a:lnTo>
                <a:lnTo>
                  <a:pt x="474301" y="250179"/>
                </a:lnTo>
                <a:lnTo>
                  <a:pt x="438791" y="278523"/>
                </a:lnTo>
                <a:lnTo>
                  <a:pt x="404385" y="308152"/>
                </a:lnTo>
                <a:lnTo>
                  <a:pt x="371119" y="339029"/>
                </a:lnTo>
                <a:lnTo>
                  <a:pt x="339029" y="371119"/>
                </a:lnTo>
                <a:lnTo>
                  <a:pt x="308152" y="404385"/>
                </a:lnTo>
                <a:lnTo>
                  <a:pt x="278523" y="438791"/>
                </a:lnTo>
                <a:lnTo>
                  <a:pt x="250179" y="474301"/>
                </a:lnTo>
                <a:lnTo>
                  <a:pt x="223157" y="510879"/>
                </a:lnTo>
                <a:lnTo>
                  <a:pt x="197491" y="548488"/>
                </a:lnTo>
                <a:lnTo>
                  <a:pt x="173219" y="587092"/>
                </a:lnTo>
                <a:lnTo>
                  <a:pt x="150377" y="626656"/>
                </a:lnTo>
                <a:lnTo>
                  <a:pt x="129001" y="667142"/>
                </a:lnTo>
                <a:lnTo>
                  <a:pt x="109126" y="708515"/>
                </a:lnTo>
                <a:lnTo>
                  <a:pt x="90790" y="750738"/>
                </a:lnTo>
                <a:lnTo>
                  <a:pt x="74029" y="793776"/>
                </a:lnTo>
                <a:lnTo>
                  <a:pt x="58878" y="837592"/>
                </a:lnTo>
                <a:lnTo>
                  <a:pt x="45374" y="882150"/>
                </a:lnTo>
                <a:lnTo>
                  <a:pt x="33553" y="927413"/>
                </a:lnTo>
                <a:lnTo>
                  <a:pt x="23451" y="973346"/>
                </a:lnTo>
                <a:lnTo>
                  <a:pt x="15105" y="1019912"/>
                </a:lnTo>
                <a:lnTo>
                  <a:pt x="8551" y="1067075"/>
                </a:lnTo>
                <a:lnTo>
                  <a:pt x="3824" y="1114799"/>
                </a:lnTo>
                <a:lnTo>
                  <a:pt x="962" y="1163047"/>
                </a:lnTo>
                <a:lnTo>
                  <a:pt x="0" y="1211785"/>
                </a:lnTo>
                <a:lnTo>
                  <a:pt x="962" y="1260522"/>
                </a:lnTo>
                <a:lnTo>
                  <a:pt x="3824" y="1308770"/>
                </a:lnTo>
                <a:lnTo>
                  <a:pt x="8551" y="1356494"/>
                </a:lnTo>
                <a:lnTo>
                  <a:pt x="15105" y="1403657"/>
                </a:lnTo>
                <a:lnTo>
                  <a:pt x="23451" y="1450223"/>
                </a:lnTo>
                <a:lnTo>
                  <a:pt x="33553" y="1496156"/>
                </a:lnTo>
                <a:lnTo>
                  <a:pt x="45374" y="1541420"/>
                </a:lnTo>
                <a:lnTo>
                  <a:pt x="58878" y="1585977"/>
                </a:lnTo>
                <a:lnTo>
                  <a:pt x="74029" y="1629793"/>
                </a:lnTo>
                <a:lnTo>
                  <a:pt x="90790" y="1672831"/>
                </a:lnTo>
                <a:lnTo>
                  <a:pt x="109126" y="1715054"/>
                </a:lnTo>
                <a:lnTo>
                  <a:pt x="129001" y="1756427"/>
                </a:lnTo>
                <a:lnTo>
                  <a:pt x="150377" y="1796914"/>
                </a:lnTo>
                <a:lnTo>
                  <a:pt x="173219" y="1836477"/>
                </a:lnTo>
                <a:lnTo>
                  <a:pt x="197491" y="1875081"/>
                </a:lnTo>
                <a:lnTo>
                  <a:pt x="223157" y="1912691"/>
                </a:lnTo>
                <a:lnTo>
                  <a:pt x="250179" y="1949268"/>
                </a:lnTo>
                <a:lnTo>
                  <a:pt x="278523" y="1984778"/>
                </a:lnTo>
                <a:lnTo>
                  <a:pt x="308152" y="2019184"/>
                </a:lnTo>
                <a:lnTo>
                  <a:pt x="339029" y="2052450"/>
                </a:lnTo>
                <a:lnTo>
                  <a:pt x="371119" y="2084540"/>
                </a:lnTo>
                <a:lnTo>
                  <a:pt x="404385" y="2115418"/>
                </a:lnTo>
                <a:lnTo>
                  <a:pt x="438791" y="2145046"/>
                </a:lnTo>
                <a:lnTo>
                  <a:pt x="474301" y="2173390"/>
                </a:lnTo>
                <a:lnTo>
                  <a:pt x="510879" y="2200413"/>
                </a:lnTo>
                <a:lnTo>
                  <a:pt x="548488" y="2226078"/>
                </a:lnTo>
                <a:lnTo>
                  <a:pt x="587092" y="2250350"/>
                </a:lnTo>
                <a:lnTo>
                  <a:pt x="626656" y="2273192"/>
                </a:lnTo>
                <a:lnTo>
                  <a:pt x="667142" y="2294569"/>
                </a:lnTo>
                <a:lnTo>
                  <a:pt x="708515" y="2314443"/>
                </a:lnTo>
                <a:lnTo>
                  <a:pt x="750738" y="2332779"/>
                </a:lnTo>
                <a:lnTo>
                  <a:pt x="793776" y="2349540"/>
                </a:lnTo>
                <a:lnTo>
                  <a:pt x="837592" y="2364691"/>
                </a:lnTo>
                <a:lnTo>
                  <a:pt x="882150" y="2378195"/>
                </a:lnTo>
                <a:lnTo>
                  <a:pt x="927413" y="2390016"/>
                </a:lnTo>
                <a:lnTo>
                  <a:pt x="973346" y="2400118"/>
                </a:lnTo>
                <a:lnTo>
                  <a:pt x="1019912" y="2408464"/>
                </a:lnTo>
                <a:lnTo>
                  <a:pt x="1067075" y="2415018"/>
                </a:lnTo>
                <a:lnTo>
                  <a:pt x="1114799" y="2419745"/>
                </a:lnTo>
                <a:lnTo>
                  <a:pt x="1163047" y="2422607"/>
                </a:lnTo>
                <a:lnTo>
                  <a:pt x="1211785" y="2423570"/>
                </a:lnTo>
                <a:lnTo>
                  <a:pt x="1260522" y="2422607"/>
                </a:lnTo>
                <a:lnTo>
                  <a:pt x="1308772" y="2419745"/>
                </a:lnTo>
                <a:lnTo>
                  <a:pt x="1356496" y="2415018"/>
                </a:lnTo>
                <a:lnTo>
                  <a:pt x="1403660" y="2408464"/>
                </a:lnTo>
                <a:lnTo>
                  <a:pt x="1450226" y="2400118"/>
                </a:lnTo>
                <a:lnTo>
                  <a:pt x="1496160" y="2390016"/>
                </a:lnTo>
                <a:lnTo>
                  <a:pt x="1541423" y="2378195"/>
                </a:lnTo>
                <a:lnTo>
                  <a:pt x="1585981" y="2364691"/>
                </a:lnTo>
                <a:lnTo>
                  <a:pt x="1629797" y="2349540"/>
                </a:lnTo>
                <a:lnTo>
                  <a:pt x="1672835" y="2332779"/>
                </a:lnTo>
                <a:lnTo>
                  <a:pt x="1715059" y="2314443"/>
                </a:lnTo>
                <a:lnTo>
                  <a:pt x="1756432" y="2294569"/>
                </a:lnTo>
                <a:lnTo>
                  <a:pt x="1796918" y="2273192"/>
                </a:lnTo>
                <a:lnTo>
                  <a:pt x="1836482" y="2250350"/>
                </a:lnTo>
                <a:lnTo>
                  <a:pt x="1875086" y="2226078"/>
                </a:lnTo>
                <a:lnTo>
                  <a:pt x="1912695" y="2200413"/>
                </a:lnTo>
                <a:lnTo>
                  <a:pt x="1949273" y="2173390"/>
                </a:lnTo>
                <a:lnTo>
                  <a:pt x="1984783" y="2145046"/>
                </a:lnTo>
                <a:lnTo>
                  <a:pt x="2019189" y="2115418"/>
                </a:lnTo>
                <a:lnTo>
                  <a:pt x="2052454" y="2084540"/>
                </a:lnTo>
                <a:lnTo>
                  <a:pt x="2084544" y="2052450"/>
                </a:lnTo>
                <a:lnTo>
                  <a:pt x="2115421" y="2019184"/>
                </a:lnTo>
                <a:lnTo>
                  <a:pt x="2145050" y="1984778"/>
                </a:lnTo>
                <a:lnTo>
                  <a:pt x="2173393" y="1949268"/>
                </a:lnTo>
                <a:lnTo>
                  <a:pt x="2200416" y="1912691"/>
                </a:lnTo>
                <a:lnTo>
                  <a:pt x="2226081" y="1875081"/>
                </a:lnTo>
                <a:lnTo>
                  <a:pt x="2250352" y="1836477"/>
                </a:lnTo>
                <a:lnTo>
                  <a:pt x="2273194" y="1796914"/>
                </a:lnTo>
                <a:lnTo>
                  <a:pt x="2294570" y="1756427"/>
                </a:lnTo>
                <a:lnTo>
                  <a:pt x="2314445" y="1715054"/>
                </a:lnTo>
                <a:lnTo>
                  <a:pt x="2332780" y="1672831"/>
                </a:lnTo>
                <a:lnTo>
                  <a:pt x="2349542" y="1629793"/>
                </a:lnTo>
                <a:lnTo>
                  <a:pt x="2364692" y="1585977"/>
                </a:lnTo>
                <a:lnTo>
                  <a:pt x="2378196" y="1541420"/>
                </a:lnTo>
                <a:lnTo>
                  <a:pt x="2390017" y="1496156"/>
                </a:lnTo>
                <a:lnTo>
                  <a:pt x="2400118" y="1450223"/>
                </a:lnTo>
                <a:lnTo>
                  <a:pt x="2408464" y="1403657"/>
                </a:lnTo>
                <a:lnTo>
                  <a:pt x="2415019" y="1356494"/>
                </a:lnTo>
                <a:lnTo>
                  <a:pt x="2419745" y="1308770"/>
                </a:lnTo>
                <a:lnTo>
                  <a:pt x="2422607" y="1260522"/>
                </a:lnTo>
                <a:lnTo>
                  <a:pt x="2423570" y="1211785"/>
                </a:lnTo>
                <a:lnTo>
                  <a:pt x="2422607" y="1163047"/>
                </a:lnTo>
                <a:lnTo>
                  <a:pt x="2419745" y="1114799"/>
                </a:lnTo>
                <a:lnTo>
                  <a:pt x="2415019" y="1067075"/>
                </a:lnTo>
                <a:lnTo>
                  <a:pt x="2408464" y="1019912"/>
                </a:lnTo>
                <a:lnTo>
                  <a:pt x="2400118" y="973346"/>
                </a:lnTo>
                <a:lnTo>
                  <a:pt x="2390017" y="927413"/>
                </a:lnTo>
                <a:lnTo>
                  <a:pt x="2378196" y="882150"/>
                </a:lnTo>
                <a:lnTo>
                  <a:pt x="2364692" y="837592"/>
                </a:lnTo>
                <a:lnTo>
                  <a:pt x="2349542" y="793776"/>
                </a:lnTo>
                <a:lnTo>
                  <a:pt x="2332780" y="750738"/>
                </a:lnTo>
                <a:lnTo>
                  <a:pt x="2314445" y="708515"/>
                </a:lnTo>
                <a:lnTo>
                  <a:pt x="2294570" y="667142"/>
                </a:lnTo>
                <a:lnTo>
                  <a:pt x="2273194" y="626656"/>
                </a:lnTo>
                <a:lnTo>
                  <a:pt x="2250352" y="587092"/>
                </a:lnTo>
                <a:lnTo>
                  <a:pt x="2226081" y="548488"/>
                </a:lnTo>
                <a:lnTo>
                  <a:pt x="2200416" y="510879"/>
                </a:lnTo>
                <a:lnTo>
                  <a:pt x="2173393" y="474301"/>
                </a:lnTo>
                <a:lnTo>
                  <a:pt x="2145050" y="438791"/>
                </a:lnTo>
                <a:lnTo>
                  <a:pt x="2115421" y="404385"/>
                </a:lnTo>
                <a:lnTo>
                  <a:pt x="2084544" y="371119"/>
                </a:lnTo>
                <a:lnTo>
                  <a:pt x="2052454" y="339029"/>
                </a:lnTo>
                <a:lnTo>
                  <a:pt x="2019189" y="308152"/>
                </a:lnTo>
                <a:lnTo>
                  <a:pt x="1984783" y="278523"/>
                </a:lnTo>
                <a:lnTo>
                  <a:pt x="1949273" y="250179"/>
                </a:lnTo>
                <a:lnTo>
                  <a:pt x="1912695" y="223157"/>
                </a:lnTo>
                <a:lnTo>
                  <a:pt x="1875086" y="197491"/>
                </a:lnTo>
                <a:lnTo>
                  <a:pt x="1836482" y="173219"/>
                </a:lnTo>
                <a:lnTo>
                  <a:pt x="1796918" y="150377"/>
                </a:lnTo>
                <a:lnTo>
                  <a:pt x="1756432" y="129001"/>
                </a:lnTo>
                <a:lnTo>
                  <a:pt x="1715059" y="109126"/>
                </a:lnTo>
                <a:lnTo>
                  <a:pt x="1672835" y="90790"/>
                </a:lnTo>
                <a:lnTo>
                  <a:pt x="1629797" y="74029"/>
                </a:lnTo>
                <a:lnTo>
                  <a:pt x="1585981" y="58878"/>
                </a:lnTo>
                <a:lnTo>
                  <a:pt x="1541423" y="45374"/>
                </a:lnTo>
                <a:lnTo>
                  <a:pt x="1496160" y="33553"/>
                </a:lnTo>
                <a:lnTo>
                  <a:pt x="1450226" y="23451"/>
                </a:lnTo>
                <a:lnTo>
                  <a:pt x="1403660" y="15105"/>
                </a:lnTo>
                <a:lnTo>
                  <a:pt x="1356496" y="8551"/>
                </a:lnTo>
                <a:lnTo>
                  <a:pt x="1308772" y="3824"/>
                </a:lnTo>
                <a:lnTo>
                  <a:pt x="1260522" y="962"/>
                </a:lnTo>
                <a:lnTo>
                  <a:pt x="1211785" y="0"/>
                </a:lnTo>
                <a:close/>
              </a:path>
            </a:pathLst>
          </a:custGeom>
          <a:solidFill>
            <a:srgbClr val="FFFFFF"/>
          </a:solidFill>
        </p:spPr>
        <p:txBody>
          <a:bodyPr wrap="square" lIns="0" tIns="0" rIns="0" bIns="0" rtlCol="0"/>
          <a:lstStyle/>
          <a:p>
            <a:endParaRPr/>
          </a:p>
        </p:txBody>
      </p:sp>
      <p:sp>
        <p:nvSpPr>
          <p:cNvPr id="13" name="object 13"/>
          <p:cNvSpPr txBox="1"/>
          <p:nvPr/>
        </p:nvSpPr>
        <p:spPr>
          <a:xfrm>
            <a:off x="7305326" y="1828383"/>
            <a:ext cx="540669" cy="297462"/>
          </a:xfrm>
          <a:prstGeom prst="rect">
            <a:avLst/>
          </a:prstGeom>
        </p:spPr>
        <p:txBody>
          <a:bodyPr vert="horz" wrap="square" lIns="0" tIns="6931" rIns="0" bIns="0" rtlCol="0">
            <a:spAutoFit/>
          </a:bodyPr>
          <a:lstStyle/>
          <a:p>
            <a:pPr marL="5776">
              <a:spcBef>
                <a:spcPts val="55"/>
              </a:spcBef>
            </a:pPr>
            <a:r>
              <a:rPr sz="1900" b="1" spc="75" dirty="0">
                <a:solidFill>
                  <a:srgbClr val="FF7900"/>
                </a:solidFill>
                <a:latin typeface="Helvetica Neue"/>
                <a:cs typeface="Helvetica Neue"/>
              </a:rPr>
              <a:t>46%</a:t>
            </a:r>
            <a:endParaRPr sz="1900">
              <a:latin typeface="Helvetica Neue"/>
              <a:cs typeface="Helvetica Neue"/>
            </a:endParaRPr>
          </a:p>
        </p:txBody>
      </p:sp>
      <p:sp>
        <p:nvSpPr>
          <p:cNvPr id="14" name="object 14"/>
          <p:cNvSpPr/>
          <p:nvPr/>
        </p:nvSpPr>
        <p:spPr>
          <a:xfrm>
            <a:off x="7234047" y="1624811"/>
            <a:ext cx="784720" cy="768781"/>
          </a:xfrm>
          <a:custGeom>
            <a:avLst/>
            <a:gdLst/>
            <a:ahLst/>
            <a:cxnLst/>
            <a:rect l="l" t="t" r="r" b="b"/>
            <a:pathLst>
              <a:path w="1725294" h="1690370">
                <a:moveTo>
                  <a:pt x="1724963" y="845167"/>
                </a:moveTo>
                <a:lnTo>
                  <a:pt x="1723597" y="893127"/>
                </a:lnTo>
                <a:lnTo>
                  <a:pt x="1719550" y="940385"/>
                </a:lnTo>
                <a:lnTo>
                  <a:pt x="1712893" y="986869"/>
                </a:lnTo>
                <a:lnTo>
                  <a:pt x="1703700" y="1032509"/>
                </a:lnTo>
                <a:lnTo>
                  <a:pt x="1692043" y="1077233"/>
                </a:lnTo>
                <a:lnTo>
                  <a:pt x="1677996" y="1120970"/>
                </a:lnTo>
                <a:lnTo>
                  <a:pt x="1661630" y="1163648"/>
                </a:lnTo>
                <a:lnTo>
                  <a:pt x="1643019" y="1205197"/>
                </a:lnTo>
                <a:lnTo>
                  <a:pt x="1622235" y="1245544"/>
                </a:lnTo>
                <a:lnTo>
                  <a:pt x="1599352" y="1284618"/>
                </a:lnTo>
                <a:lnTo>
                  <a:pt x="1574442" y="1322348"/>
                </a:lnTo>
                <a:lnTo>
                  <a:pt x="1547578" y="1358663"/>
                </a:lnTo>
                <a:lnTo>
                  <a:pt x="1518833" y="1393492"/>
                </a:lnTo>
                <a:lnTo>
                  <a:pt x="1488280" y="1426762"/>
                </a:lnTo>
                <a:lnTo>
                  <a:pt x="1455990" y="1458403"/>
                </a:lnTo>
                <a:lnTo>
                  <a:pt x="1422038" y="1488343"/>
                </a:lnTo>
                <a:lnTo>
                  <a:pt x="1386496" y="1516511"/>
                </a:lnTo>
                <a:lnTo>
                  <a:pt x="1349437" y="1542836"/>
                </a:lnTo>
                <a:lnTo>
                  <a:pt x="1310934" y="1567246"/>
                </a:lnTo>
                <a:lnTo>
                  <a:pt x="1271059" y="1589670"/>
                </a:lnTo>
                <a:lnTo>
                  <a:pt x="1229885" y="1610036"/>
                </a:lnTo>
                <a:lnTo>
                  <a:pt x="1187485" y="1628274"/>
                </a:lnTo>
                <a:lnTo>
                  <a:pt x="1143932" y="1644311"/>
                </a:lnTo>
                <a:lnTo>
                  <a:pt x="1099299" y="1658077"/>
                </a:lnTo>
                <a:lnTo>
                  <a:pt x="1053658" y="1669500"/>
                </a:lnTo>
                <a:lnTo>
                  <a:pt x="1007083" y="1678508"/>
                </a:lnTo>
                <a:lnTo>
                  <a:pt x="959645" y="1685031"/>
                </a:lnTo>
                <a:lnTo>
                  <a:pt x="911419" y="1688998"/>
                </a:lnTo>
                <a:lnTo>
                  <a:pt x="862476" y="1690335"/>
                </a:lnTo>
                <a:lnTo>
                  <a:pt x="813534" y="1688998"/>
                </a:lnTo>
                <a:lnTo>
                  <a:pt x="765309" y="1685031"/>
                </a:lnTo>
                <a:lnTo>
                  <a:pt x="717872" y="1678508"/>
                </a:lnTo>
                <a:lnTo>
                  <a:pt x="671297" y="1669500"/>
                </a:lnTo>
                <a:lnTo>
                  <a:pt x="625657" y="1658077"/>
                </a:lnTo>
                <a:lnTo>
                  <a:pt x="581025" y="1644311"/>
                </a:lnTo>
                <a:lnTo>
                  <a:pt x="537473" y="1628274"/>
                </a:lnTo>
                <a:lnTo>
                  <a:pt x="495073" y="1610036"/>
                </a:lnTo>
                <a:lnTo>
                  <a:pt x="453900" y="1589670"/>
                </a:lnTo>
                <a:lnTo>
                  <a:pt x="414025" y="1567246"/>
                </a:lnTo>
                <a:lnTo>
                  <a:pt x="375522" y="1542836"/>
                </a:lnTo>
                <a:lnTo>
                  <a:pt x="338464" y="1516511"/>
                </a:lnTo>
                <a:lnTo>
                  <a:pt x="302922" y="1488343"/>
                </a:lnTo>
                <a:lnTo>
                  <a:pt x="268970" y="1458403"/>
                </a:lnTo>
                <a:lnTo>
                  <a:pt x="236681" y="1426762"/>
                </a:lnTo>
                <a:lnTo>
                  <a:pt x="206128" y="1393492"/>
                </a:lnTo>
                <a:lnTo>
                  <a:pt x="177383" y="1358663"/>
                </a:lnTo>
                <a:lnTo>
                  <a:pt x="150519" y="1322348"/>
                </a:lnTo>
                <a:lnTo>
                  <a:pt x="125610" y="1284618"/>
                </a:lnTo>
                <a:lnTo>
                  <a:pt x="102727" y="1245544"/>
                </a:lnTo>
                <a:lnTo>
                  <a:pt x="81943" y="1205197"/>
                </a:lnTo>
                <a:lnTo>
                  <a:pt x="63332" y="1163648"/>
                </a:lnTo>
                <a:lnTo>
                  <a:pt x="46967" y="1120970"/>
                </a:lnTo>
                <a:lnTo>
                  <a:pt x="32919" y="1077233"/>
                </a:lnTo>
                <a:lnTo>
                  <a:pt x="21262" y="1032509"/>
                </a:lnTo>
                <a:lnTo>
                  <a:pt x="12069" y="986869"/>
                </a:lnTo>
                <a:lnTo>
                  <a:pt x="5412" y="940385"/>
                </a:lnTo>
                <a:lnTo>
                  <a:pt x="1365" y="893127"/>
                </a:lnTo>
                <a:lnTo>
                  <a:pt x="0" y="845167"/>
                </a:lnTo>
                <a:lnTo>
                  <a:pt x="1365" y="797208"/>
                </a:lnTo>
                <a:lnTo>
                  <a:pt x="5412" y="749950"/>
                </a:lnTo>
                <a:lnTo>
                  <a:pt x="12069" y="703466"/>
                </a:lnTo>
                <a:lnTo>
                  <a:pt x="21262" y="657826"/>
                </a:lnTo>
                <a:lnTo>
                  <a:pt x="32919" y="613102"/>
                </a:lnTo>
                <a:lnTo>
                  <a:pt x="46967" y="569365"/>
                </a:lnTo>
                <a:lnTo>
                  <a:pt x="63332" y="526687"/>
                </a:lnTo>
                <a:lnTo>
                  <a:pt x="81943" y="485138"/>
                </a:lnTo>
                <a:lnTo>
                  <a:pt x="102727" y="444791"/>
                </a:lnTo>
                <a:lnTo>
                  <a:pt x="125610" y="405717"/>
                </a:lnTo>
                <a:lnTo>
                  <a:pt x="150519" y="367987"/>
                </a:lnTo>
                <a:lnTo>
                  <a:pt x="177383" y="331672"/>
                </a:lnTo>
                <a:lnTo>
                  <a:pt x="206128" y="296843"/>
                </a:lnTo>
                <a:lnTo>
                  <a:pt x="236681" y="263573"/>
                </a:lnTo>
                <a:lnTo>
                  <a:pt x="268970" y="231932"/>
                </a:lnTo>
                <a:lnTo>
                  <a:pt x="302922" y="201992"/>
                </a:lnTo>
                <a:lnTo>
                  <a:pt x="338464" y="173824"/>
                </a:lnTo>
                <a:lnTo>
                  <a:pt x="375522" y="147499"/>
                </a:lnTo>
                <a:lnTo>
                  <a:pt x="414025" y="123089"/>
                </a:lnTo>
                <a:lnTo>
                  <a:pt x="453900" y="100665"/>
                </a:lnTo>
                <a:lnTo>
                  <a:pt x="495073" y="80299"/>
                </a:lnTo>
                <a:lnTo>
                  <a:pt x="537473" y="62061"/>
                </a:lnTo>
                <a:lnTo>
                  <a:pt x="581025" y="46024"/>
                </a:lnTo>
                <a:lnTo>
                  <a:pt x="625657" y="32258"/>
                </a:lnTo>
                <a:lnTo>
                  <a:pt x="671297" y="20835"/>
                </a:lnTo>
                <a:lnTo>
                  <a:pt x="717872" y="11827"/>
                </a:lnTo>
                <a:lnTo>
                  <a:pt x="765309" y="5304"/>
                </a:lnTo>
                <a:lnTo>
                  <a:pt x="813534" y="1337"/>
                </a:lnTo>
                <a:lnTo>
                  <a:pt x="862476" y="0"/>
                </a:lnTo>
                <a:lnTo>
                  <a:pt x="911419" y="1337"/>
                </a:lnTo>
                <a:lnTo>
                  <a:pt x="959645" y="5304"/>
                </a:lnTo>
                <a:lnTo>
                  <a:pt x="1007083" y="11827"/>
                </a:lnTo>
                <a:lnTo>
                  <a:pt x="1053658" y="20835"/>
                </a:lnTo>
                <a:lnTo>
                  <a:pt x="1099299" y="32258"/>
                </a:lnTo>
                <a:lnTo>
                  <a:pt x="1143932" y="46024"/>
                </a:lnTo>
                <a:lnTo>
                  <a:pt x="1187485" y="62061"/>
                </a:lnTo>
                <a:lnTo>
                  <a:pt x="1229885" y="80299"/>
                </a:lnTo>
                <a:lnTo>
                  <a:pt x="1271059" y="100665"/>
                </a:lnTo>
                <a:lnTo>
                  <a:pt x="1310934" y="123089"/>
                </a:lnTo>
                <a:lnTo>
                  <a:pt x="1349437" y="147499"/>
                </a:lnTo>
                <a:lnTo>
                  <a:pt x="1386496" y="173824"/>
                </a:lnTo>
                <a:lnTo>
                  <a:pt x="1422038" y="201992"/>
                </a:lnTo>
                <a:lnTo>
                  <a:pt x="1455990" y="231932"/>
                </a:lnTo>
                <a:lnTo>
                  <a:pt x="1488280" y="263573"/>
                </a:lnTo>
                <a:lnTo>
                  <a:pt x="1518833" y="296843"/>
                </a:lnTo>
                <a:lnTo>
                  <a:pt x="1547578" y="331672"/>
                </a:lnTo>
                <a:lnTo>
                  <a:pt x="1574442" y="367987"/>
                </a:lnTo>
                <a:lnTo>
                  <a:pt x="1599352" y="405717"/>
                </a:lnTo>
                <a:lnTo>
                  <a:pt x="1622235" y="444791"/>
                </a:lnTo>
                <a:lnTo>
                  <a:pt x="1643019" y="485138"/>
                </a:lnTo>
                <a:lnTo>
                  <a:pt x="1661630" y="526687"/>
                </a:lnTo>
                <a:lnTo>
                  <a:pt x="1677996" y="569365"/>
                </a:lnTo>
                <a:lnTo>
                  <a:pt x="1692043" y="613102"/>
                </a:lnTo>
                <a:lnTo>
                  <a:pt x="1703700" y="657826"/>
                </a:lnTo>
                <a:lnTo>
                  <a:pt x="1712893" y="703466"/>
                </a:lnTo>
                <a:lnTo>
                  <a:pt x="1719550" y="749950"/>
                </a:lnTo>
                <a:lnTo>
                  <a:pt x="1723597" y="797208"/>
                </a:lnTo>
                <a:lnTo>
                  <a:pt x="1724963" y="845167"/>
                </a:lnTo>
                <a:close/>
              </a:path>
            </a:pathLst>
          </a:custGeom>
          <a:ln w="17161">
            <a:solidFill>
              <a:srgbClr val="808080"/>
            </a:solidFill>
          </a:ln>
        </p:spPr>
        <p:txBody>
          <a:bodyPr wrap="square" lIns="0" tIns="0" rIns="0" bIns="0" rtlCol="0"/>
          <a:lstStyle/>
          <a:p>
            <a:endParaRPr/>
          </a:p>
        </p:txBody>
      </p:sp>
      <p:sp>
        <p:nvSpPr>
          <p:cNvPr id="15" name="object 15"/>
          <p:cNvSpPr/>
          <p:nvPr/>
        </p:nvSpPr>
        <p:spPr>
          <a:xfrm>
            <a:off x="7623738" y="1514032"/>
            <a:ext cx="485215" cy="954768"/>
          </a:xfrm>
          <a:custGeom>
            <a:avLst/>
            <a:gdLst/>
            <a:ahLst/>
            <a:cxnLst/>
            <a:rect l="l" t="t" r="r" b="b"/>
            <a:pathLst>
              <a:path w="1066800" h="2099310">
                <a:moveTo>
                  <a:pt x="0" y="0"/>
                </a:moveTo>
                <a:lnTo>
                  <a:pt x="0" y="501126"/>
                </a:lnTo>
                <a:lnTo>
                  <a:pt x="49743" y="503319"/>
                </a:lnTo>
                <a:lnTo>
                  <a:pt x="98957" y="509857"/>
                </a:lnTo>
                <a:lnTo>
                  <a:pt x="147360" y="520676"/>
                </a:lnTo>
                <a:lnTo>
                  <a:pt x="194671" y="535713"/>
                </a:lnTo>
                <a:lnTo>
                  <a:pt x="240610" y="554904"/>
                </a:lnTo>
                <a:lnTo>
                  <a:pt x="283846" y="577543"/>
                </a:lnTo>
                <a:lnTo>
                  <a:pt x="324322" y="603343"/>
                </a:lnTo>
                <a:lnTo>
                  <a:pt x="361956" y="632079"/>
                </a:lnTo>
                <a:lnTo>
                  <a:pt x="396667" y="663523"/>
                </a:lnTo>
                <a:lnTo>
                  <a:pt x="428374" y="697451"/>
                </a:lnTo>
                <a:lnTo>
                  <a:pt x="456996" y="733638"/>
                </a:lnTo>
                <a:lnTo>
                  <a:pt x="482450" y="771856"/>
                </a:lnTo>
                <a:lnTo>
                  <a:pt x="504657" y="811882"/>
                </a:lnTo>
                <a:lnTo>
                  <a:pt x="523534" y="853488"/>
                </a:lnTo>
                <a:lnTo>
                  <a:pt x="539001" y="896449"/>
                </a:lnTo>
                <a:lnTo>
                  <a:pt x="550977" y="940540"/>
                </a:lnTo>
                <a:lnTo>
                  <a:pt x="559379" y="985535"/>
                </a:lnTo>
                <a:lnTo>
                  <a:pt x="564127" y="1031208"/>
                </a:lnTo>
                <a:lnTo>
                  <a:pt x="565139" y="1077334"/>
                </a:lnTo>
                <a:lnTo>
                  <a:pt x="562335" y="1123686"/>
                </a:lnTo>
                <a:lnTo>
                  <a:pt x="555632" y="1170040"/>
                </a:lnTo>
                <a:lnTo>
                  <a:pt x="544950" y="1216168"/>
                </a:lnTo>
                <a:lnTo>
                  <a:pt x="530208" y="1261847"/>
                </a:lnTo>
                <a:lnTo>
                  <a:pt x="511324" y="1306850"/>
                </a:lnTo>
                <a:lnTo>
                  <a:pt x="486893" y="1353156"/>
                </a:lnTo>
                <a:lnTo>
                  <a:pt x="458839" y="1396269"/>
                </a:lnTo>
                <a:lnTo>
                  <a:pt x="427440" y="1436090"/>
                </a:lnTo>
                <a:lnTo>
                  <a:pt x="392976" y="1472517"/>
                </a:lnTo>
                <a:lnTo>
                  <a:pt x="355726" y="1505452"/>
                </a:lnTo>
                <a:lnTo>
                  <a:pt x="315968" y="1534796"/>
                </a:lnTo>
                <a:lnTo>
                  <a:pt x="273983" y="1560447"/>
                </a:lnTo>
                <a:lnTo>
                  <a:pt x="230049" y="1582307"/>
                </a:lnTo>
                <a:lnTo>
                  <a:pt x="184445" y="1600276"/>
                </a:lnTo>
                <a:lnTo>
                  <a:pt x="137451" y="1614254"/>
                </a:lnTo>
                <a:lnTo>
                  <a:pt x="266473" y="2098909"/>
                </a:lnTo>
                <a:lnTo>
                  <a:pt x="312057" y="2086087"/>
                </a:lnTo>
                <a:lnTo>
                  <a:pt x="356792" y="2071320"/>
                </a:lnTo>
                <a:lnTo>
                  <a:pt x="400628" y="2054655"/>
                </a:lnTo>
                <a:lnTo>
                  <a:pt x="443517" y="2036143"/>
                </a:lnTo>
                <a:lnTo>
                  <a:pt x="485411" y="2015832"/>
                </a:lnTo>
                <a:lnTo>
                  <a:pt x="526259" y="1993770"/>
                </a:lnTo>
                <a:lnTo>
                  <a:pt x="566014" y="1970008"/>
                </a:lnTo>
                <a:lnTo>
                  <a:pt x="604627" y="1944593"/>
                </a:lnTo>
                <a:lnTo>
                  <a:pt x="642049" y="1917574"/>
                </a:lnTo>
                <a:lnTo>
                  <a:pt x="678230" y="1889000"/>
                </a:lnTo>
                <a:lnTo>
                  <a:pt x="713123" y="1858921"/>
                </a:lnTo>
                <a:lnTo>
                  <a:pt x="746678" y="1827384"/>
                </a:lnTo>
                <a:lnTo>
                  <a:pt x="778846" y="1794439"/>
                </a:lnTo>
                <a:lnTo>
                  <a:pt x="809579" y="1760135"/>
                </a:lnTo>
                <a:lnTo>
                  <a:pt x="838827" y="1724520"/>
                </a:lnTo>
                <a:lnTo>
                  <a:pt x="866543" y="1687644"/>
                </a:lnTo>
                <a:lnTo>
                  <a:pt x="892677" y="1649554"/>
                </a:lnTo>
                <a:lnTo>
                  <a:pt x="917179" y="1610301"/>
                </a:lnTo>
                <a:lnTo>
                  <a:pt x="940003" y="1569932"/>
                </a:lnTo>
                <a:lnTo>
                  <a:pt x="961098" y="1528497"/>
                </a:lnTo>
                <a:lnTo>
                  <a:pt x="980415" y="1486044"/>
                </a:lnTo>
                <a:lnTo>
                  <a:pt x="997907" y="1442623"/>
                </a:lnTo>
                <a:lnTo>
                  <a:pt x="1013523" y="1398281"/>
                </a:lnTo>
                <a:lnTo>
                  <a:pt x="1027216" y="1353069"/>
                </a:lnTo>
                <a:lnTo>
                  <a:pt x="1038975" y="1306850"/>
                </a:lnTo>
                <a:lnTo>
                  <a:pt x="1048635" y="1260227"/>
                </a:lnTo>
                <a:lnTo>
                  <a:pt x="1056264" y="1212695"/>
                </a:lnTo>
                <a:lnTo>
                  <a:pt x="1061773" y="1164487"/>
                </a:lnTo>
                <a:lnTo>
                  <a:pt x="1065115" y="1115652"/>
                </a:lnTo>
                <a:lnTo>
                  <a:pt x="1066239" y="1066239"/>
                </a:lnTo>
                <a:lnTo>
                  <a:pt x="1065142" y="1017433"/>
                </a:lnTo>
                <a:lnTo>
                  <a:pt x="1061882" y="969189"/>
                </a:lnTo>
                <a:lnTo>
                  <a:pt x="1056506" y="921556"/>
                </a:lnTo>
                <a:lnTo>
                  <a:pt x="1049061" y="874580"/>
                </a:lnTo>
                <a:lnTo>
                  <a:pt x="1039594" y="828309"/>
                </a:lnTo>
                <a:lnTo>
                  <a:pt x="1028152" y="782789"/>
                </a:lnTo>
                <a:lnTo>
                  <a:pt x="1014783" y="738068"/>
                </a:lnTo>
                <a:lnTo>
                  <a:pt x="999533" y="694192"/>
                </a:lnTo>
                <a:lnTo>
                  <a:pt x="982449" y="651209"/>
                </a:lnTo>
                <a:lnTo>
                  <a:pt x="963579" y="609165"/>
                </a:lnTo>
                <a:lnTo>
                  <a:pt x="942969" y="568109"/>
                </a:lnTo>
                <a:lnTo>
                  <a:pt x="920667" y="528086"/>
                </a:lnTo>
                <a:lnTo>
                  <a:pt x="896720" y="489144"/>
                </a:lnTo>
                <a:lnTo>
                  <a:pt x="871173" y="451329"/>
                </a:lnTo>
                <a:lnTo>
                  <a:pt x="844076" y="414690"/>
                </a:lnTo>
                <a:lnTo>
                  <a:pt x="815474" y="379273"/>
                </a:lnTo>
                <a:lnTo>
                  <a:pt x="785416" y="345125"/>
                </a:lnTo>
                <a:lnTo>
                  <a:pt x="753946" y="312292"/>
                </a:lnTo>
                <a:lnTo>
                  <a:pt x="721114" y="280823"/>
                </a:lnTo>
                <a:lnTo>
                  <a:pt x="686966" y="250764"/>
                </a:lnTo>
                <a:lnTo>
                  <a:pt x="651549" y="222163"/>
                </a:lnTo>
                <a:lnTo>
                  <a:pt x="614909" y="195065"/>
                </a:lnTo>
                <a:lnTo>
                  <a:pt x="577095" y="169519"/>
                </a:lnTo>
                <a:lnTo>
                  <a:pt x="538153" y="145572"/>
                </a:lnTo>
                <a:lnTo>
                  <a:pt x="498130" y="123269"/>
                </a:lnTo>
                <a:lnTo>
                  <a:pt x="457073" y="102660"/>
                </a:lnTo>
                <a:lnTo>
                  <a:pt x="415030" y="83789"/>
                </a:lnTo>
                <a:lnTo>
                  <a:pt x="372047" y="66706"/>
                </a:lnTo>
                <a:lnTo>
                  <a:pt x="328171" y="51456"/>
                </a:lnTo>
                <a:lnTo>
                  <a:pt x="283450" y="38086"/>
                </a:lnTo>
                <a:lnTo>
                  <a:pt x="237930" y="26645"/>
                </a:lnTo>
                <a:lnTo>
                  <a:pt x="191659" y="17178"/>
                </a:lnTo>
                <a:lnTo>
                  <a:pt x="144683" y="9733"/>
                </a:lnTo>
                <a:lnTo>
                  <a:pt x="97050" y="4357"/>
                </a:lnTo>
                <a:lnTo>
                  <a:pt x="48806" y="1097"/>
                </a:lnTo>
                <a:lnTo>
                  <a:pt x="0" y="0"/>
                </a:lnTo>
                <a:close/>
              </a:path>
            </a:pathLst>
          </a:custGeom>
          <a:solidFill>
            <a:srgbClr val="FF7900"/>
          </a:solidFill>
        </p:spPr>
        <p:txBody>
          <a:bodyPr wrap="square" lIns="0" tIns="0" rIns="0" bIns="0" rtlCol="0"/>
          <a:lstStyle/>
          <a:p>
            <a:endParaRPr/>
          </a:p>
        </p:txBody>
      </p:sp>
      <p:sp>
        <p:nvSpPr>
          <p:cNvPr id="16" name="object 16"/>
          <p:cNvSpPr txBox="1"/>
          <p:nvPr/>
        </p:nvSpPr>
        <p:spPr>
          <a:xfrm>
            <a:off x="7305326" y="3322262"/>
            <a:ext cx="540669" cy="297462"/>
          </a:xfrm>
          <a:prstGeom prst="rect">
            <a:avLst/>
          </a:prstGeom>
        </p:spPr>
        <p:txBody>
          <a:bodyPr vert="horz" wrap="square" lIns="0" tIns="6931" rIns="0" bIns="0" rtlCol="0">
            <a:spAutoFit/>
          </a:bodyPr>
          <a:lstStyle/>
          <a:p>
            <a:pPr marL="5776">
              <a:spcBef>
                <a:spcPts val="55"/>
              </a:spcBef>
            </a:pPr>
            <a:r>
              <a:rPr sz="1900" b="1" spc="75" dirty="0">
                <a:solidFill>
                  <a:srgbClr val="FF7900"/>
                </a:solidFill>
                <a:latin typeface="Helvetica Neue"/>
                <a:cs typeface="Helvetica Neue"/>
              </a:rPr>
              <a:t>60%</a:t>
            </a:r>
            <a:endParaRPr sz="1900" dirty="0">
              <a:latin typeface="Helvetica Neue"/>
              <a:cs typeface="Helvetica Neue"/>
            </a:endParaRPr>
          </a:p>
        </p:txBody>
      </p:sp>
      <p:sp>
        <p:nvSpPr>
          <p:cNvPr id="17" name="object 17"/>
          <p:cNvSpPr/>
          <p:nvPr/>
        </p:nvSpPr>
        <p:spPr>
          <a:xfrm>
            <a:off x="7254801" y="3116934"/>
            <a:ext cx="777789" cy="762139"/>
          </a:xfrm>
          <a:custGeom>
            <a:avLst/>
            <a:gdLst/>
            <a:ahLst/>
            <a:cxnLst/>
            <a:rect l="l" t="t" r="r" b="b"/>
            <a:pathLst>
              <a:path w="1710055" h="1675765">
                <a:moveTo>
                  <a:pt x="1709937" y="837796"/>
                </a:moveTo>
                <a:lnTo>
                  <a:pt x="1708584" y="885337"/>
                </a:lnTo>
                <a:lnTo>
                  <a:pt x="1704571" y="932182"/>
                </a:lnTo>
                <a:lnTo>
                  <a:pt x="1697973" y="978261"/>
                </a:lnTo>
                <a:lnTo>
                  <a:pt x="1688859" y="1023503"/>
                </a:lnTo>
                <a:lnTo>
                  <a:pt x="1677304" y="1067837"/>
                </a:lnTo>
                <a:lnTo>
                  <a:pt x="1663379" y="1111192"/>
                </a:lnTo>
                <a:lnTo>
                  <a:pt x="1647155" y="1153498"/>
                </a:lnTo>
                <a:lnTo>
                  <a:pt x="1628707" y="1194684"/>
                </a:lnTo>
                <a:lnTo>
                  <a:pt x="1608104" y="1234679"/>
                </a:lnTo>
                <a:lnTo>
                  <a:pt x="1585420" y="1273413"/>
                </a:lnTo>
                <a:lnTo>
                  <a:pt x="1560727" y="1310814"/>
                </a:lnTo>
                <a:lnTo>
                  <a:pt x="1534097" y="1346812"/>
                </a:lnTo>
                <a:lnTo>
                  <a:pt x="1505603" y="1381337"/>
                </a:lnTo>
                <a:lnTo>
                  <a:pt x="1475315" y="1414317"/>
                </a:lnTo>
                <a:lnTo>
                  <a:pt x="1443307" y="1445682"/>
                </a:lnTo>
                <a:lnTo>
                  <a:pt x="1409651" y="1475361"/>
                </a:lnTo>
                <a:lnTo>
                  <a:pt x="1374419" y="1503284"/>
                </a:lnTo>
                <a:lnTo>
                  <a:pt x="1337683" y="1529379"/>
                </a:lnTo>
                <a:lnTo>
                  <a:pt x="1299515" y="1553576"/>
                </a:lnTo>
                <a:lnTo>
                  <a:pt x="1259987" y="1575804"/>
                </a:lnTo>
                <a:lnTo>
                  <a:pt x="1219173" y="1595993"/>
                </a:lnTo>
                <a:lnTo>
                  <a:pt x="1177142" y="1614072"/>
                </a:lnTo>
                <a:lnTo>
                  <a:pt x="1133969" y="1629969"/>
                </a:lnTo>
                <a:lnTo>
                  <a:pt x="1089725" y="1643615"/>
                </a:lnTo>
                <a:lnTo>
                  <a:pt x="1044483" y="1654938"/>
                </a:lnTo>
                <a:lnTo>
                  <a:pt x="998313" y="1663868"/>
                </a:lnTo>
                <a:lnTo>
                  <a:pt x="951290" y="1670335"/>
                </a:lnTo>
                <a:lnTo>
                  <a:pt x="903484" y="1674266"/>
                </a:lnTo>
                <a:lnTo>
                  <a:pt x="854968" y="1675592"/>
                </a:lnTo>
                <a:lnTo>
                  <a:pt x="806452" y="1674266"/>
                </a:lnTo>
                <a:lnTo>
                  <a:pt x="758647" y="1670335"/>
                </a:lnTo>
                <a:lnTo>
                  <a:pt x="711623" y="1663868"/>
                </a:lnTo>
                <a:lnTo>
                  <a:pt x="665454" y="1654938"/>
                </a:lnTo>
                <a:lnTo>
                  <a:pt x="620211" y="1643615"/>
                </a:lnTo>
                <a:lnTo>
                  <a:pt x="575967" y="1629969"/>
                </a:lnTo>
                <a:lnTo>
                  <a:pt x="532794" y="1614072"/>
                </a:lnTo>
                <a:lnTo>
                  <a:pt x="490764" y="1595993"/>
                </a:lnTo>
                <a:lnTo>
                  <a:pt x="449949" y="1575804"/>
                </a:lnTo>
                <a:lnTo>
                  <a:pt x="410422" y="1553576"/>
                </a:lnTo>
                <a:lnTo>
                  <a:pt x="372254" y="1529379"/>
                </a:lnTo>
                <a:lnTo>
                  <a:pt x="335517" y="1503284"/>
                </a:lnTo>
                <a:lnTo>
                  <a:pt x="300285" y="1475361"/>
                </a:lnTo>
                <a:lnTo>
                  <a:pt x="266629" y="1445682"/>
                </a:lnTo>
                <a:lnTo>
                  <a:pt x="234621" y="1414317"/>
                </a:lnTo>
                <a:lnTo>
                  <a:pt x="204334" y="1381337"/>
                </a:lnTo>
                <a:lnTo>
                  <a:pt x="175839" y="1346812"/>
                </a:lnTo>
                <a:lnTo>
                  <a:pt x="149209" y="1310814"/>
                </a:lnTo>
                <a:lnTo>
                  <a:pt x="124516" y="1273413"/>
                </a:lnTo>
                <a:lnTo>
                  <a:pt x="101832" y="1234679"/>
                </a:lnTo>
                <a:lnTo>
                  <a:pt x="81230" y="1194684"/>
                </a:lnTo>
                <a:lnTo>
                  <a:pt x="62781" y="1153498"/>
                </a:lnTo>
                <a:lnTo>
                  <a:pt x="46558" y="1111192"/>
                </a:lnTo>
                <a:lnTo>
                  <a:pt x="32632" y="1067837"/>
                </a:lnTo>
                <a:lnTo>
                  <a:pt x="21077" y="1023503"/>
                </a:lnTo>
                <a:lnTo>
                  <a:pt x="11964" y="978261"/>
                </a:lnTo>
                <a:lnTo>
                  <a:pt x="5365" y="932182"/>
                </a:lnTo>
                <a:lnTo>
                  <a:pt x="1353" y="885337"/>
                </a:lnTo>
                <a:lnTo>
                  <a:pt x="0" y="837796"/>
                </a:lnTo>
                <a:lnTo>
                  <a:pt x="1353" y="790255"/>
                </a:lnTo>
                <a:lnTo>
                  <a:pt x="5365" y="743410"/>
                </a:lnTo>
                <a:lnTo>
                  <a:pt x="11964" y="697331"/>
                </a:lnTo>
                <a:lnTo>
                  <a:pt x="21077" y="652089"/>
                </a:lnTo>
                <a:lnTo>
                  <a:pt x="32632" y="607755"/>
                </a:lnTo>
                <a:lnTo>
                  <a:pt x="46558" y="564400"/>
                </a:lnTo>
                <a:lnTo>
                  <a:pt x="62781" y="522094"/>
                </a:lnTo>
                <a:lnTo>
                  <a:pt x="81230" y="480908"/>
                </a:lnTo>
                <a:lnTo>
                  <a:pt x="101832" y="440913"/>
                </a:lnTo>
                <a:lnTo>
                  <a:pt x="124516" y="402179"/>
                </a:lnTo>
                <a:lnTo>
                  <a:pt x="149209" y="364778"/>
                </a:lnTo>
                <a:lnTo>
                  <a:pt x="175839" y="328780"/>
                </a:lnTo>
                <a:lnTo>
                  <a:pt x="204334" y="294255"/>
                </a:lnTo>
                <a:lnTo>
                  <a:pt x="234621" y="261275"/>
                </a:lnTo>
                <a:lnTo>
                  <a:pt x="266629" y="229910"/>
                </a:lnTo>
                <a:lnTo>
                  <a:pt x="300285" y="200231"/>
                </a:lnTo>
                <a:lnTo>
                  <a:pt x="335517" y="172308"/>
                </a:lnTo>
                <a:lnTo>
                  <a:pt x="372254" y="146213"/>
                </a:lnTo>
                <a:lnTo>
                  <a:pt x="410422" y="122016"/>
                </a:lnTo>
                <a:lnTo>
                  <a:pt x="449949" y="99788"/>
                </a:lnTo>
                <a:lnTo>
                  <a:pt x="490764" y="79599"/>
                </a:lnTo>
                <a:lnTo>
                  <a:pt x="532794" y="61520"/>
                </a:lnTo>
                <a:lnTo>
                  <a:pt x="575967" y="45623"/>
                </a:lnTo>
                <a:lnTo>
                  <a:pt x="620211" y="31977"/>
                </a:lnTo>
                <a:lnTo>
                  <a:pt x="665454" y="20654"/>
                </a:lnTo>
                <a:lnTo>
                  <a:pt x="711623" y="11724"/>
                </a:lnTo>
                <a:lnTo>
                  <a:pt x="758647" y="5257"/>
                </a:lnTo>
                <a:lnTo>
                  <a:pt x="806452" y="1326"/>
                </a:lnTo>
                <a:lnTo>
                  <a:pt x="854968" y="0"/>
                </a:lnTo>
                <a:lnTo>
                  <a:pt x="903484" y="1326"/>
                </a:lnTo>
                <a:lnTo>
                  <a:pt x="951290" y="5257"/>
                </a:lnTo>
                <a:lnTo>
                  <a:pt x="998313" y="11724"/>
                </a:lnTo>
                <a:lnTo>
                  <a:pt x="1044483" y="20654"/>
                </a:lnTo>
                <a:lnTo>
                  <a:pt x="1089725" y="31977"/>
                </a:lnTo>
                <a:lnTo>
                  <a:pt x="1133969" y="45623"/>
                </a:lnTo>
                <a:lnTo>
                  <a:pt x="1177142" y="61520"/>
                </a:lnTo>
                <a:lnTo>
                  <a:pt x="1219173" y="79599"/>
                </a:lnTo>
                <a:lnTo>
                  <a:pt x="1259987" y="99788"/>
                </a:lnTo>
                <a:lnTo>
                  <a:pt x="1299515" y="122016"/>
                </a:lnTo>
                <a:lnTo>
                  <a:pt x="1337683" y="146213"/>
                </a:lnTo>
                <a:lnTo>
                  <a:pt x="1374419" y="172308"/>
                </a:lnTo>
                <a:lnTo>
                  <a:pt x="1409651" y="200231"/>
                </a:lnTo>
                <a:lnTo>
                  <a:pt x="1443307" y="229910"/>
                </a:lnTo>
                <a:lnTo>
                  <a:pt x="1475315" y="261275"/>
                </a:lnTo>
                <a:lnTo>
                  <a:pt x="1505603" y="294255"/>
                </a:lnTo>
                <a:lnTo>
                  <a:pt x="1534097" y="328780"/>
                </a:lnTo>
                <a:lnTo>
                  <a:pt x="1560727" y="364778"/>
                </a:lnTo>
                <a:lnTo>
                  <a:pt x="1585420" y="402179"/>
                </a:lnTo>
                <a:lnTo>
                  <a:pt x="1608104" y="440913"/>
                </a:lnTo>
                <a:lnTo>
                  <a:pt x="1628707" y="480908"/>
                </a:lnTo>
                <a:lnTo>
                  <a:pt x="1647155" y="522094"/>
                </a:lnTo>
                <a:lnTo>
                  <a:pt x="1663379" y="564400"/>
                </a:lnTo>
                <a:lnTo>
                  <a:pt x="1677304" y="607755"/>
                </a:lnTo>
                <a:lnTo>
                  <a:pt x="1688859" y="652089"/>
                </a:lnTo>
                <a:lnTo>
                  <a:pt x="1697973" y="697331"/>
                </a:lnTo>
                <a:lnTo>
                  <a:pt x="1704571" y="743410"/>
                </a:lnTo>
                <a:lnTo>
                  <a:pt x="1708584" y="790255"/>
                </a:lnTo>
                <a:lnTo>
                  <a:pt x="1709937" y="837796"/>
                </a:lnTo>
                <a:close/>
              </a:path>
            </a:pathLst>
          </a:custGeom>
          <a:ln w="17015">
            <a:solidFill>
              <a:srgbClr val="808080"/>
            </a:solidFill>
          </a:ln>
        </p:spPr>
        <p:txBody>
          <a:bodyPr wrap="square" lIns="0" tIns="0" rIns="0" bIns="0" rtlCol="0"/>
          <a:lstStyle/>
          <a:p>
            <a:endParaRPr/>
          </a:p>
        </p:txBody>
      </p:sp>
      <p:sp>
        <p:nvSpPr>
          <p:cNvPr id="18" name="object 18"/>
          <p:cNvSpPr/>
          <p:nvPr/>
        </p:nvSpPr>
        <p:spPr>
          <a:xfrm>
            <a:off x="7341354" y="3009525"/>
            <a:ext cx="767680" cy="961410"/>
          </a:xfrm>
          <a:custGeom>
            <a:avLst/>
            <a:gdLst/>
            <a:ahLst/>
            <a:cxnLst/>
            <a:rect l="l" t="t" r="r" b="b"/>
            <a:pathLst>
              <a:path w="1687830" h="2113915">
                <a:moveTo>
                  <a:pt x="293896" y="1504708"/>
                </a:moveTo>
                <a:lnTo>
                  <a:pt x="0" y="1905229"/>
                </a:lnTo>
                <a:lnTo>
                  <a:pt x="38359" y="1932491"/>
                </a:lnTo>
                <a:lnTo>
                  <a:pt x="77958" y="1958063"/>
                </a:lnTo>
                <a:lnTo>
                  <a:pt x="118743" y="1981892"/>
                </a:lnTo>
                <a:lnTo>
                  <a:pt x="160663" y="2003925"/>
                </a:lnTo>
                <a:lnTo>
                  <a:pt x="203664" y="2024110"/>
                </a:lnTo>
                <a:lnTo>
                  <a:pt x="247693" y="2042393"/>
                </a:lnTo>
                <a:lnTo>
                  <a:pt x="292699" y="2058723"/>
                </a:lnTo>
                <a:lnTo>
                  <a:pt x="338628" y="2073047"/>
                </a:lnTo>
                <a:lnTo>
                  <a:pt x="385427" y="2085312"/>
                </a:lnTo>
                <a:lnTo>
                  <a:pt x="433044" y="2095464"/>
                </a:lnTo>
                <a:lnTo>
                  <a:pt x="481427" y="2103452"/>
                </a:lnTo>
                <a:lnTo>
                  <a:pt x="530522" y="2109224"/>
                </a:lnTo>
                <a:lnTo>
                  <a:pt x="580278" y="2112725"/>
                </a:lnTo>
                <a:lnTo>
                  <a:pt x="630640" y="2113904"/>
                </a:lnTo>
                <a:lnTo>
                  <a:pt x="679021" y="2112816"/>
                </a:lnTo>
                <a:lnTo>
                  <a:pt x="726845" y="2109584"/>
                </a:lnTo>
                <a:lnTo>
                  <a:pt x="774063" y="2104255"/>
                </a:lnTo>
                <a:lnTo>
                  <a:pt x="820629" y="2096875"/>
                </a:lnTo>
                <a:lnTo>
                  <a:pt x="866497" y="2087490"/>
                </a:lnTo>
                <a:lnTo>
                  <a:pt x="911621" y="2076148"/>
                </a:lnTo>
                <a:lnTo>
                  <a:pt x="955952" y="2062895"/>
                </a:lnTo>
                <a:lnTo>
                  <a:pt x="999446" y="2047777"/>
                </a:lnTo>
                <a:lnTo>
                  <a:pt x="1042055" y="2030842"/>
                </a:lnTo>
                <a:lnTo>
                  <a:pt x="1083732" y="2012136"/>
                </a:lnTo>
                <a:lnTo>
                  <a:pt x="1124431" y="1991705"/>
                </a:lnTo>
                <a:lnTo>
                  <a:pt x="1164105" y="1969597"/>
                </a:lnTo>
                <a:lnTo>
                  <a:pt x="1202708" y="1945858"/>
                </a:lnTo>
                <a:lnTo>
                  <a:pt x="1240193" y="1920534"/>
                </a:lnTo>
                <a:lnTo>
                  <a:pt x="1276513" y="1893672"/>
                </a:lnTo>
                <a:lnTo>
                  <a:pt x="1311622" y="1865319"/>
                </a:lnTo>
                <a:lnTo>
                  <a:pt x="1345473" y="1835522"/>
                </a:lnTo>
                <a:lnTo>
                  <a:pt x="1378019" y="1804327"/>
                </a:lnTo>
                <a:lnTo>
                  <a:pt x="1409214" y="1771780"/>
                </a:lnTo>
                <a:lnTo>
                  <a:pt x="1439011" y="1737929"/>
                </a:lnTo>
                <a:lnTo>
                  <a:pt x="1467364" y="1702820"/>
                </a:lnTo>
                <a:lnTo>
                  <a:pt x="1494225" y="1666500"/>
                </a:lnTo>
                <a:lnTo>
                  <a:pt x="1519549" y="1629015"/>
                </a:lnTo>
                <a:lnTo>
                  <a:pt x="1526790" y="1617240"/>
                </a:lnTo>
                <a:lnTo>
                  <a:pt x="630184" y="1617240"/>
                </a:lnTo>
                <a:lnTo>
                  <a:pt x="584489" y="1615371"/>
                </a:lnTo>
                <a:lnTo>
                  <a:pt x="538806" y="1609712"/>
                </a:lnTo>
                <a:lnTo>
                  <a:pt x="493365" y="1600197"/>
                </a:lnTo>
                <a:lnTo>
                  <a:pt x="448394" y="1586758"/>
                </a:lnTo>
                <a:lnTo>
                  <a:pt x="404120" y="1569331"/>
                </a:lnTo>
                <a:lnTo>
                  <a:pt x="360774" y="1547848"/>
                </a:lnTo>
                <a:lnTo>
                  <a:pt x="326338" y="1527299"/>
                </a:lnTo>
                <a:lnTo>
                  <a:pt x="309865" y="1516251"/>
                </a:lnTo>
                <a:lnTo>
                  <a:pt x="293896" y="1504708"/>
                </a:lnTo>
                <a:close/>
              </a:path>
              <a:path w="1687830" h="2113915">
                <a:moveTo>
                  <a:pt x="630640" y="0"/>
                </a:moveTo>
                <a:lnTo>
                  <a:pt x="630640" y="496759"/>
                </a:lnTo>
                <a:lnTo>
                  <a:pt x="677650" y="498736"/>
                </a:lnTo>
                <a:lnTo>
                  <a:pt x="724167" y="504624"/>
                </a:lnTo>
                <a:lnTo>
                  <a:pt x="769952" y="514362"/>
                </a:lnTo>
                <a:lnTo>
                  <a:pt x="814765" y="527888"/>
                </a:lnTo>
                <a:lnTo>
                  <a:pt x="858367" y="545140"/>
                </a:lnTo>
                <a:lnTo>
                  <a:pt x="900517" y="566056"/>
                </a:lnTo>
                <a:lnTo>
                  <a:pt x="941882" y="591142"/>
                </a:lnTo>
                <a:lnTo>
                  <a:pt x="980320" y="619185"/>
                </a:lnTo>
                <a:lnTo>
                  <a:pt x="1015763" y="649955"/>
                </a:lnTo>
                <a:lnTo>
                  <a:pt x="1048146" y="683223"/>
                </a:lnTo>
                <a:lnTo>
                  <a:pt x="1077403" y="718762"/>
                </a:lnTo>
                <a:lnTo>
                  <a:pt x="1103466" y="756343"/>
                </a:lnTo>
                <a:lnTo>
                  <a:pt x="1126270" y="795738"/>
                </a:lnTo>
                <a:lnTo>
                  <a:pt x="1145748" y="836718"/>
                </a:lnTo>
                <a:lnTo>
                  <a:pt x="1161834" y="879055"/>
                </a:lnTo>
                <a:lnTo>
                  <a:pt x="1174462" y="922520"/>
                </a:lnTo>
                <a:lnTo>
                  <a:pt x="1183565" y="966886"/>
                </a:lnTo>
                <a:lnTo>
                  <a:pt x="1189076" y="1011924"/>
                </a:lnTo>
                <a:lnTo>
                  <a:pt x="1190931" y="1057405"/>
                </a:lnTo>
                <a:lnTo>
                  <a:pt x="1189061" y="1103101"/>
                </a:lnTo>
                <a:lnTo>
                  <a:pt x="1183402" y="1148785"/>
                </a:lnTo>
                <a:lnTo>
                  <a:pt x="1173886" y="1194226"/>
                </a:lnTo>
                <a:lnTo>
                  <a:pt x="1160447" y="1239198"/>
                </a:lnTo>
                <a:lnTo>
                  <a:pt x="1143019" y="1283471"/>
                </a:lnTo>
                <a:lnTo>
                  <a:pt x="1121536" y="1326818"/>
                </a:lnTo>
                <a:lnTo>
                  <a:pt x="1096448" y="1368183"/>
                </a:lnTo>
                <a:lnTo>
                  <a:pt x="1068404" y="1406621"/>
                </a:lnTo>
                <a:lnTo>
                  <a:pt x="1037633" y="1442065"/>
                </a:lnTo>
                <a:lnTo>
                  <a:pt x="1004364" y="1474449"/>
                </a:lnTo>
                <a:lnTo>
                  <a:pt x="968825" y="1503706"/>
                </a:lnTo>
                <a:lnTo>
                  <a:pt x="931244" y="1529770"/>
                </a:lnTo>
                <a:lnTo>
                  <a:pt x="891849" y="1552574"/>
                </a:lnTo>
                <a:lnTo>
                  <a:pt x="850870" y="1572053"/>
                </a:lnTo>
                <a:lnTo>
                  <a:pt x="808533" y="1588140"/>
                </a:lnTo>
                <a:lnTo>
                  <a:pt x="765068" y="1600768"/>
                </a:lnTo>
                <a:lnTo>
                  <a:pt x="720702" y="1609872"/>
                </a:lnTo>
                <a:lnTo>
                  <a:pt x="675665" y="1615385"/>
                </a:lnTo>
                <a:lnTo>
                  <a:pt x="630184" y="1617240"/>
                </a:lnTo>
                <a:lnTo>
                  <a:pt x="1526790" y="1617240"/>
                </a:lnTo>
                <a:lnTo>
                  <a:pt x="1565396" y="1550738"/>
                </a:lnTo>
                <a:lnTo>
                  <a:pt x="1585826" y="1510039"/>
                </a:lnTo>
                <a:lnTo>
                  <a:pt x="1604532" y="1468362"/>
                </a:lnTo>
                <a:lnTo>
                  <a:pt x="1621467" y="1425753"/>
                </a:lnTo>
                <a:lnTo>
                  <a:pt x="1636584" y="1382260"/>
                </a:lnTo>
                <a:lnTo>
                  <a:pt x="1649837" y="1337929"/>
                </a:lnTo>
                <a:lnTo>
                  <a:pt x="1661179" y="1292806"/>
                </a:lnTo>
                <a:lnTo>
                  <a:pt x="1670563" y="1246938"/>
                </a:lnTo>
                <a:lnTo>
                  <a:pt x="1677943" y="1200372"/>
                </a:lnTo>
                <a:lnTo>
                  <a:pt x="1683273" y="1153155"/>
                </a:lnTo>
                <a:lnTo>
                  <a:pt x="1686504" y="1105332"/>
                </a:lnTo>
                <a:lnTo>
                  <a:pt x="1687592" y="1056952"/>
                </a:lnTo>
                <a:lnTo>
                  <a:pt x="1686504" y="1008570"/>
                </a:lnTo>
                <a:lnTo>
                  <a:pt x="1683273" y="960747"/>
                </a:lnTo>
                <a:lnTo>
                  <a:pt x="1677943" y="913529"/>
                </a:lnTo>
                <a:lnTo>
                  <a:pt x="1670563" y="866962"/>
                </a:lnTo>
                <a:lnTo>
                  <a:pt x="1661179" y="821094"/>
                </a:lnTo>
                <a:lnTo>
                  <a:pt x="1649837" y="775971"/>
                </a:lnTo>
                <a:lnTo>
                  <a:pt x="1636584" y="731639"/>
                </a:lnTo>
                <a:lnTo>
                  <a:pt x="1621467" y="688146"/>
                </a:lnTo>
                <a:lnTo>
                  <a:pt x="1604532" y="645537"/>
                </a:lnTo>
                <a:lnTo>
                  <a:pt x="1585826" y="603860"/>
                </a:lnTo>
                <a:lnTo>
                  <a:pt x="1565396" y="563161"/>
                </a:lnTo>
                <a:lnTo>
                  <a:pt x="1543288" y="523486"/>
                </a:lnTo>
                <a:lnTo>
                  <a:pt x="1519549" y="484883"/>
                </a:lnTo>
                <a:lnTo>
                  <a:pt x="1494225" y="447399"/>
                </a:lnTo>
                <a:lnTo>
                  <a:pt x="1467364" y="411078"/>
                </a:lnTo>
                <a:lnTo>
                  <a:pt x="1439011" y="375970"/>
                </a:lnTo>
                <a:lnTo>
                  <a:pt x="1409214" y="342119"/>
                </a:lnTo>
                <a:lnTo>
                  <a:pt x="1378019" y="309573"/>
                </a:lnTo>
                <a:lnTo>
                  <a:pt x="1345473" y="278378"/>
                </a:lnTo>
                <a:lnTo>
                  <a:pt x="1311622" y="248580"/>
                </a:lnTo>
                <a:lnTo>
                  <a:pt x="1276513" y="220228"/>
                </a:lnTo>
                <a:lnTo>
                  <a:pt x="1240193" y="193366"/>
                </a:lnTo>
                <a:lnTo>
                  <a:pt x="1202708" y="168043"/>
                </a:lnTo>
                <a:lnTo>
                  <a:pt x="1164105" y="144304"/>
                </a:lnTo>
                <a:lnTo>
                  <a:pt x="1124431" y="122196"/>
                </a:lnTo>
                <a:lnTo>
                  <a:pt x="1083732" y="101766"/>
                </a:lnTo>
                <a:lnTo>
                  <a:pt x="1042055" y="83060"/>
                </a:lnTo>
                <a:lnTo>
                  <a:pt x="999446" y="66125"/>
                </a:lnTo>
                <a:lnTo>
                  <a:pt x="955952" y="51008"/>
                </a:lnTo>
                <a:lnTo>
                  <a:pt x="911621" y="37755"/>
                </a:lnTo>
                <a:lnTo>
                  <a:pt x="866497" y="26413"/>
                </a:lnTo>
                <a:lnTo>
                  <a:pt x="820629" y="17028"/>
                </a:lnTo>
                <a:lnTo>
                  <a:pt x="774063" y="9648"/>
                </a:lnTo>
                <a:lnTo>
                  <a:pt x="726845" y="4319"/>
                </a:lnTo>
                <a:lnTo>
                  <a:pt x="679021" y="1087"/>
                </a:lnTo>
                <a:lnTo>
                  <a:pt x="630640" y="0"/>
                </a:lnTo>
                <a:close/>
              </a:path>
            </a:pathLst>
          </a:custGeom>
          <a:solidFill>
            <a:srgbClr val="FF7900"/>
          </a:solidFill>
        </p:spPr>
        <p:txBody>
          <a:bodyPr wrap="square" lIns="0" tIns="0" rIns="0" bIns="0" rtlCol="0"/>
          <a:lstStyle/>
          <a:p>
            <a:endParaRPr/>
          </a:p>
        </p:txBody>
      </p:sp>
      <p:sp>
        <p:nvSpPr>
          <p:cNvPr id="19" name="object 19"/>
          <p:cNvSpPr txBox="1"/>
          <p:nvPr/>
        </p:nvSpPr>
        <p:spPr>
          <a:xfrm>
            <a:off x="3045679" y="3322259"/>
            <a:ext cx="540669" cy="297462"/>
          </a:xfrm>
          <a:prstGeom prst="rect">
            <a:avLst/>
          </a:prstGeom>
        </p:spPr>
        <p:txBody>
          <a:bodyPr vert="horz" wrap="square" lIns="0" tIns="6931" rIns="0" bIns="0" rtlCol="0">
            <a:spAutoFit/>
          </a:bodyPr>
          <a:lstStyle/>
          <a:p>
            <a:pPr marL="5776">
              <a:spcBef>
                <a:spcPts val="55"/>
              </a:spcBef>
            </a:pPr>
            <a:r>
              <a:rPr sz="1900" b="1" spc="75" dirty="0">
                <a:solidFill>
                  <a:srgbClr val="FF7900"/>
                </a:solidFill>
                <a:latin typeface="Helvetica Neue"/>
                <a:cs typeface="Helvetica Neue"/>
              </a:rPr>
              <a:t>56%</a:t>
            </a:r>
            <a:endParaRPr sz="1900" dirty="0">
              <a:latin typeface="Helvetica Neue"/>
              <a:cs typeface="Helvetica Neue"/>
            </a:endParaRPr>
          </a:p>
        </p:txBody>
      </p:sp>
      <p:sp>
        <p:nvSpPr>
          <p:cNvPr id="20" name="object 20"/>
          <p:cNvSpPr/>
          <p:nvPr/>
        </p:nvSpPr>
        <p:spPr>
          <a:xfrm>
            <a:off x="2995153" y="3116934"/>
            <a:ext cx="777789" cy="762139"/>
          </a:xfrm>
          <a:custGeom>
            <a:avLst/>
            <a:gdLst/>
            <a:ahLst/>
            <a:cxnLst/>
            <a:rect l="l" t="t" r="r" b="b"/>
            <a:pathLst>
              <a:path w="1710054" h="1675765">
                <a:moveTo>
                  <a:pt x="1709937" y="837796"/>
                </a:moveTo>
                <a:lnTo>
                  <a:pt x="1708584" y="885337"/>
                </a:lnTo>
                <a:lnTo>
                  <a:pt x="1704571" y="932182"/>
                </a:lnTo>
                <a:lnTo>
                  <a:pt x="1697973" y="978261"/>
                </a:lnTo>
                <a:lnTo>
                  <a:pt x="1688859" y="1023503"/>
                </a:lnTo>
                <a:lnTo>
                  <a:pt x="1677304" y="1067837"/>
                </a:lnTo>
                <a:lnTo>
                  <a:pt x="1663379" y="1111192"/>
                </a:lnTo>
                <a:lnTo>
                  <a:pt x="1647155" y="1153498"/>
                </a:lnTo>
                <a:lnTo>
                  <a:pt x="1628707" y="1194684"/>
                </a:lnTo>
                <a:lnTo>
                  <a:pt x="1608104" y="1234679"/>
                </a:lnTo>
                <a:lnTo>
                  <a:pt x="1585420" y="1273413"/>
                </a:lnTo>
                <a:lnTo>
                  <a:pt x="1560727" y="1310814"/>
                </a:lnTo>
                <a:lnTo>
                  <a:pt x="1534097" y="1346812"/>
                </a:lnTo>
                <a:lnTo>
                  <a:pt x="1505603" y="1381337"/>
                </a:lnTo>
                <a:lnTo>
                  <a:pt x="1475315" y="1414317"/>
                </a:lnTo>
                <a:lnTo>
                  <a:pt x="1443307" y="1445682"/>
                </a:lnTo>
                <a:lnTo>
                  <a:pt x="1409651" y="1475361"/>
                </a:lnTo>
                <a:lnTo>
                  <a:pt x="1374419" y="1503284"/>
                </a:lnTo>
                <a:lnTo>
                  <a:pt x="1337683" y="1529379"/>
                </a:lnTo>
                <a:lnTo>
                  <a:pt x="1299515" y="1553576"/>
                </a:lnTo>
                <a:lnTo>
                  <a:pt x="1259987" y="1575804"/>
                </a:lnTo>
                <a:lnTo>
                  <a:pt x="1219173" y="1595993"/>
                </a:lnTo>
                <a:lnTo>
                  <a:pt x="1177142" y="1614072"/>
                </a:lnTo>
                <a:lnTo>
                  <a:pt x="1133969" y="1629969"/>
                </a:lnTo>
                <a:lnTo>
                  <a:pt x="1089725" y="1643615"/>
                </a:lnTo>
                <a:lnTo>
                  <a:pt x="1044483" y="1654938"/>
                </a:lnTo>
                <a:lnTo>
                  <a:pt x="998313" y="1663868"/>
                </a:lnTo>
                <a:lnTo>
                  <a:pt x="951290" y="1670335"/>
                </a:lnTo>
                <a:lnTo>
                  <a:pt x="903484" y="1674266"/>
                </a:lnTo>
                <a:lnTo>
                  <a:pt x="854968" y="1675592"/>
                </a:lnTo>
                <a:lnTo>
                  <a:pt x="806452" y="1674266"/>
                </a:lnTo>
                <a:lnTo>
                  <a:pt x="758647" y="1670335"/>
                </a:lnTo>
                <a:lnTo>
                  <a:pt x="711623" y="1663868"/>
                </a:lnTo>
                <a:lnTo>
                  <a:pt x="665454" y="1654938"/>
                </a:lnTo>
                <a:lnTo>
                  <a:pt x="620211" y="1643615"/>
                </a:lnTo>
                <a:lnTo>
                  <a:pt x="575967" y="1629969"/>
                </a:lnTo>
                <a:lnTo>
                  <a:pt x="532794" y="1614072"/>
                </a:lnTo>
                <a:lnTo>
                  <a:pt x="490764" y="1595993"/>
                </a:lnTo>
                <a:lnTo>
                  <a:pt x="449949" y="1575804"/>
                </a:lnTo>
                <a:lnTo>
                  <a:pt x="410422" y="1553576"/>
                </a:lnTo>
                <a:lnTo>
                  <a:pt x="372254" y="1529379"/>
                </a:lnTo>
                <a:lnTo>
                  <a:pt x="335517" y="1503284"/>
                </a:lnTo>
                <a:lnTo>
                  <a:pt x="300285" y="1475361"/>
                </a:lnTo>
                <a:lnTo>
                  <a:pt x="266629" y="1445682"/>
                </a:lnTo>
                <a:lnTo>
                  <a:pt x="234621" y="1414317"/>
                </a:lnTo>
                <a:lnTo>
                  <a:pt x="204334" y="1381337"/>
                </a:lnTo>
                <a:lnTo>
                  <a:pt x="175839" y="1346812"/>
                </a:lnTo>
                <a:lnTo>
                  <a:pt x="149209" y="1310814"/>
                </a:lnTo>
                <a:lnTo>
                  <a:pt x="124516" y="1273413"/>
                </a:lnTo>
                <a:lnTo>
                  <a:pt x="101832" y="1234679"/>
                </a:lnTo>
                <a:lnTo>
                  <a:pt x="81230" y="1194684"/>
                </a:lnTo>
                <a:lnTo>
                  <a:pt x="62781" y="1153498"/>
                </a:lnTo>
                <a:lnTo>
                  <a:pt x="46558" y="1111192"/>
                </a:lnTo>
                <a:lnTo>
                  <a:pt x="32632" y="1067837"/>
                </a:lnTo>
                <a:lnTo>
                  <a:pt x="21077" y="1023503"/>
                </a:lnTo>
                <a:lnTo>
                  <a:pt x="11964" y="978261"/>
                </a:lnTo>
                <a:lnTo>
                  <a:pt x="5365" y="932182"/>
                </a:lnTo>
                <a:lnTo>
                  <a:pt x="1353" y="885337"/>
                </a:lnTo>
                <a:lnTo>
                  <a:pt x="0" y="837796"/>
                </a:lnTo>
                <a:lnTo>
                  <a:pt x="1353" y="790255"/>
                </a:lnTo>
                <a:lnTo>
                  <a:pt x="5365" y="743410"/>
                </a:lnTo>
                <a:lnTo>
                  <a:pt x="11964" y="697331"/>
                </a:lnTo>
                <a:lnTo>
                  <a:pt x="21077" y="652089"/>
                </a:lnTo>
                <a:lnTo>
                  <a:pt x="32632" y="607755"/>
                </a:lnTo>
                <a:lnTo>
                  <a:pt x="46558" y="564400"/>
                </a:lnTo>
                <a:lnTo>
                  <a:pt x="62781" y="522094"/>
                </a:lnTo>
                <a:lnTo>
                  <a:pt x="81230" y="480908"/>
                </a:lnTo>
                <a:lnTo>
                  <a:pt x="101832" y="440913"/>
                </a:lnTo>
                <a:lnTo>
                  <a:pt x="124516" y="402179"/>
                </a:lnTo>
                <a:lnTo>
                  <a:pt x="149209" y="364778"/>
                </a:lnTo>
                <a:lnTo>
                  <a:pt x="175839" y="328780"/>
                </a:lnTo>
                <a:lnTo>
                  <a:pt x="204334" y="294255"/>
                </a:lnTo>
                <a:lnTo>
                  <a:pt x="234621" y="261275"/>
                </a:lnTo>
                <a:lnTo>
                  <a:pt x="266629" y="229910"/>
                </a:lnTo>
                <a:lnTo>
                  <a:pt x="300285" y="200231"/>
                </a:lnTo>
                <a:lnTo>
                  <a:pt x="335517" y="172308"/>
                </a:lnTo>
                <a:lnTo>
                  <a:pt x="372254" y="146213"/>
                </a:lnTo>
                <a:lnTo>
                  <a:pt x="410422" y="122016"/>
                </a:lnTo>
                <a:lnTo>
                  <a:pt x="449949" y="99788"/>
                </a:lnTo>
                <a:lnTo>
                  <a:pt x="490764" y="79599"/>
                </a:lnTo>
                <a:lnTo>
                  <a:pt x="532794" y="61520"/>
                </a:lnTo>
                <a:lnTo>
                  <a:pt x="575967" y="45623"/>
                </a:lnTo>
                <a:lnTo>
                  <a:pt x="620211" y="31977"/>
                </a:lnTo>
                <a:lnTo>
                  <a:pt x="665454" y="20654"/>
                </a:lnTo>
                <a:lnTo>
                  <a:pt x="711623" y="11724"/>
                </a:lnTo>
                <a:lnTo>
                  <a:pt x="758647" y="5257"/>
                </a:lnTo>
                <a:lnTo>
                  <a:pt x="806452" y="1326"/>
                </a:lnTo>
                <a:lnTo>
                  <a:pt x="854968" y="0"/>
                </a:lnTo>
                <a:lnTo>
                  <a:pt x="903484" y="1326"/>
                </a:lnTo>
                <a:lnTo>
                  <a:pt x="951290" y="5257"/>
                </a:lnTo>
                <a:lnTo>
                  <a:pt x="998313" y="11724"/>
                </a:lnTo>
                <a:lnTo>
                  <a:pt x="1044483" y="20654"/>
                </a:lnTo>
                <a:lnTo>
                  <a:pt x="1089725" y="31977"/>
                </a:lnTo>
                <a:lnTo>
                  <a:pt x="1133969" y="45623"/>
                </a:lnTo>
                <a:lnTo>
                  <a:pt x="1177142" y="61520"/>
                </a:lnTo>
                <a:lnTo>
                  <a:pt x="1219173" y="79599"/>
                </a:lnTo>
                <a:lnTo>
                  <a:pt x="1259987" y="99788"/>
                </a:lnTo>
                <a:lnTo>
                  <a:pt x="1299515" y="122016"/>
                </a:lnTo>
                <a:lnTo>
                  <a:pt x="1337683" y="146213"/>
                </a:lnTo>
                <a:lnTo>
                  <a:pt x="1374419" y="172308"/>
                </a:lnTo>
                <a:lnTo>
                  <a:pt x="1409651" y="200231"/>
                </a:lnTo>
                <a:lnTo>
                  <a:pt x="1443307" y="229910"/>
                </a:lnTo>
                <a:lnTo>
                  <a:pt x="1475315" y="261275"/>
                </a:lnTo>
                <a:lnTo>
                  <a:pt x="1505603" y="294255"/>
                </a:lnTo>
                <a:lnTo>
                  <a:pt x="1534097" y="328780"/>
                </a:lnTo>
                <a:lnTo>
                  <a:pt x="1560727" y="364778"/>
                </a:lnTo>
                <a:lnTo>
                  <a:pt x="1585420" y="402179"/>
                </a:lnTo>
                <a:lnTo>
                  <a:pt x="1608104" y="440913"/>
                </a:lnTo>
                <a:lnTo>
                  <a:pt x="1628707" y="480908"/>
                </a:lnTo>
                <a:lnTo>
                  <a:pt x="1647155" y="522094"/>
                </a:lnTo>
                <a:lnTo>
                  <a:pt x="1663379" y="564400"/>
                </a:lnTo>
                <a:lnTo>
                  <a:pt x="1677304" y="607755"/>
                </a:lnTo>
                <a:lnTo>
                  <a:pt x="1688859" y="652089"/>
                </a:lnTo>
                <a:lnTo>
                  <a:pt x="1697973" y="697331"/>
                </a:lnTo>
                <a:lnTo>
                  <a:pt x="1704571" y="743410"/>
                </a:lnTo>
                <a:lnTo>
                  <a:pt x="1708584" y="790255"/>
                </a:lnTo>
                <a:lnTo>
                  <a:pt x="1709937" y="837796"/>
                </a:lnTo>
                <a:close/>
              </a:path>
            </a:pathLst>
          </a:custGeom>
          <a:ln w="17015">
            <a:solidFill>
              <a:srgbClr val="808080"/>
            </a:solidFill>
          </a:ln>
        </p:spPr>
        <p:txBody>
          <a:bodyPr wrap="square" lIns="0" tIns="0" rIns="0" bIns="0" rtlCol="0"/>
          <a:lstStyle/>
          <a:p>
            <a:endParaRPr/>
          </a:p>
        </p:txBody>
      </p:sp>
      <p:sp>
        <p:nvSpPr>
          <p:cNvPr id="21" name="object 21"/>
          <p:cNvSpPr/>
          <p:nvPr/>
        </p:nvSpPr>
        <p:spPr>
          <a:xfrm>
            <a:off x="3187455" y="3009525"/>
            <a:ext cx="661972" cy="961410"/>
          </a:xfrm>
          <a:custGeom>
            <a:avLst/>
            <a:gdLst/>
            <a:ahLst/>
            <a:cxnLst/>
            <a:rect l="l" t="t" r="r" b="b"/>
            <a:pathLst>
              <a:path w="1455420" h="2113915">
                <a:moveTo>
                  <a:pt x="179858" y="1572904"/>
                </a:moveTo>
                <a:lnTo>
                  <a:pt x="0" y="2036346"/>
                </a:lnTo>
                <a:lnTo>
                  <a:pt x="46612" y="2054036"/>
                </a:lnTo>
                <a:lnTo>
                  <a:pt x="94246" y="2069562"/>
                </a:lnTo>
                <a:lnTo>
                  <a:pt x="142841" y="2082862"/>
                </a:lnTo>
                <a:lnTo>
                  <a:pt x="192338" y="2093878"/>
                </a:lnTo>
                <a:lnTo>
                  <a:pt x="242676" y="2102550"/>
                </a:lnTo>
                <a:lnTo>
                  <a:pt x="293797" y="2108818"/>
                </a:lnTo>
                <a:lnTo>
                  <a:pt x="345639" y="2112622"/>
                </a:lnTo>
                <a:lnTo>
                  <a:pt x="398144" y="2113904"/>
                </a:lnTo>
                <a:lnTo>
                  <a:pt x="446526" y="2112816"/>
                </a:lnTo>
                <a:lnTo>
                  <a:pt x="494349" y="2109584"/>
                </a:lnTo>
                <a:lnTo>
                  <a:pt x="541567" y="2104255"/>
                </a:lnTo>
                <a:lnTo>
                  <a:pt x="588134" y="2096875"/>
                </a:lnTo>
                <a:lnTo>
                  <a:pt x="634002" y="2087490"/>
                </a:lnTo>
                <a:lnTo>
                  <a:pt x="679125" y="2076148"/>
                </a:lnTo>
                <a:lnTo>
                  <a:pt x="723457" y="2062895"/>
                </a:lnTo>
                <a:lnTo>
                  <a:pt x="766950" y="2047777"/>
                </a:lnTo>
                <a:lnTo>
                  <a:pt x="809559" y="2030842"/>
                </a:lnTo>
                <a:lnTo>
                  <a:pt x="851236" y="2012136"/>
                </a:lnTo>
                <a:lnTo>
                  <a:pt x="891935" y="1991705"/>
                </a:lnTo>
                <a:lnTo>
                  <a:pt x="931610" y="1969597"/>
                </a:lnTo>
                <a:lnTo>
                  <a:pt x="970213" y="1945858"/>
                </a:lnTo>
                <a:lnTo>
                  <a:pt x="1007697" y="1920534"/>
                </a:lnTo>
                <a:lnTo>
                  <a:pt x="1044018" y="1893672"/>
                </a:lnTo>
                <a:lnTo>
                  <a:pt x="1079126" y="1865319"/>
                </a:lnTo>
                <a:lnTo>
                  <a:pt x="1112977" y="1835522"/>
                </a:lnTo>
                <a:lnTo>
                  <a:pt x="1145524" y="1804327"/>
                </a:lnTo>
                <a:lnTo>
                  <a:pt x="1176719" y="1771780"/>
                </a:lnTo>
                <a:lnTo>
                  <a:pt x="1206516" y="1737929"/>
                </a:lnTo>
                <a:lnTo>
                  <a:pt x="1234868" y="1702820"/>
                </a:lnTo>
                <a:lnTo>
                  <a:pt x="1261730" y="1666500"/>
                </a:lnTo>
                <a:lnTo>
                  <a:pt x="1287053" y="1629015"/>
                </a:lnTo>
                <a:lnTo>
                  <a:pt x="1294317" y="1617203"/>
                </a:lnTo>
                <a:lnTo>
                  <a:pt x="403862" y="1617203"/>
                </a:lnTo>
                <a:lnTo>
                  <a:pt x="358658" y="1615876"/>
                </a:lnTo>
                <a:lnTo>
                  <a:pt x="313434" y="1610847"/>
                </a:lnTo>
                <a:lnTo>
                  <a:pt x="268412" y="1602052"/>
                </a:lnTo>
                <a:lnTo>
                  <a:pt x="223813" y="1589425"/>
                </a:lnTo>
                <a:lnTo>
                  <a:pt x="179858" y="1572904"/>
                </a:lnTo>
                <a:close/>
              </a:path>
              <a:path w="1455420" h="2113915">
                <a:moveTo>
                  <a:pt x="398144" y="0"/>
                </a:moveTo>
                <a:lnTo>
                  <a:pt x="398144" y="496759"/>
                </a:lnTo>
                <a:lnTo>
                  <a:pt x="445155" y="498736"/>
                </a:lnTo>
                <a:lnTo>
                  <a:pt x="491672" y="504624"/>
                </a:lnTo>
                <a:lnTo>
                  <a:pt x="537456" y="514362"/>
                </a:lnTo>
                <a:lnTo>
                  <a:pt x="582267" y="527888"/>
                </a:lnTo>
                <a:lnTo>
                  <a:pt x="625865" y="545140"/>
                </a:lnTo>
                <a:lnTo>
                  <a:pt x="668011" y="566056"/>
                </a:lnTo>
                <a:lnTo>
                  <a:pt x="709376" y="591142"/>
                </a:lnTo>
                <a:lnTo>
                  <a:pt x="747814" y="619185"/>
                </a:lnTo>
                <a:lnTo>
                  <a:pt x="783258" y="649955"/>
                </a:lnTo>
                <a:lnTo>
                  <a:pt x="815642" y="683223"/>
                </a:lnTo>
                <a:lnTo>
                  <a:pt x="844899" y="718762"/>
                </a:lnTo>
                <a:lnTo>
                  <a:pt x="870963" y="756343"/>
                </a:lnTo>
                <a:lnTo>
                  <a:pt x="893767" y="795738"/>
                </a:lnTo>
                <a:lnTo>
                  <a:pt x="913246" y="836718"/>
                </a:lnTo>
                <a:lnTo>
                  <a:pt x="929333" y="879055"/>
                </a:lnTo>
                <a:lnTo>
                  <a:pt x="941961" y="922520"/>
                </a:lnTo>
                <a:lnTo>
                  <a:pt x="951065" y="966886"/>
                </a:lnTo>
                <a:lnTo>
                  <a:pt x="956578" y="1011924"/>
                </a:lnTo>
                <a:lnTo>
                  <a:pt x="958433" y="1057405"/>
                </a:lnTo>
                <a:lnTo>
                  <a:pt x="956564" y="1103101"/>
                </a:lnTo>
                <a:lnTo>
                  <a:pt x="950905" y="1148785"/>
                </a:lnTo>
                <a:lnTo>
                  <a:pt x="941389" y="1194226"/>
                </a:lnTo>
                <a:lnTo>
                  <a:pt x="927951" y="1239198"/>
                </a:lnTo>
                <a:lnTo>
                  <a:pt x="910524" y="1283471"/>
                </a:lnTo>
                <a:lnTo>
                  <a:pt x="889040" y="1326818"/>
                </a:lnTo>
                <a:lnTo>
                  <a:pt x="864229" y="1367768"/>
                </a:lnTo>
                <a:lnTo>
                  <a:pt x="836522" y="1405851"/>
                </a:lnTo>
                <a:lnTo>
                  <a:pt x="806139" y="1441004"/>
                </a:lnTo>
                <a:lnTo>
                  <a:pt x="773303" y="1473162"/>
                </a:lnTo>
                <a:lnTo>
                  <a:pt x="738233" y="1502261"/>
                </a:lnTo>
                <a:lnTo>
                  <a:pt x="701153" y="1528236"/>
                </a:lnTo>
                <a:lnTo>
                  <a:pt x="662282" y="1551023"/>
                </a:lnTo>
                <a:lnTo>
                  <a:pt x="621843" y="1570558"/>
                </a:lnTo>
                <a:lnTo>
                  <a:pt x="580056" y="1586777"/>
                </a:lnTo>
                <a:lnTo>
                  <a:pt x="537144" y="1599615"/>
                </a:lnTo>
                <a:lnTo>
                  <a:pt x="493326" y="1609009"/>
                </a:lnTo>
                <a:lnTo>
                  <a:pt x="448825" y="1614893"/>
                </a:lnTo>
                <a:lnTo>
                  <a:pt x="403862" y="1617203"/>
                </a:lnTo>
                <a:lnTo>
                  <a:pt x="1294317" y="1617203"/>
                </a:lnTo>
                <a:lnTo>
                  <a:pt x="1332900" y="1550738"/>
                </a:lnTo>
                <a:lnTo>
                  <a:pt x="1353331" y="1510039"/>
                </a:lnTo>
                <a:lnTo>
                  <a:pt x="1372036" y="1468362"/>
                </a:lnTo>
                <a:lnTo>
                  <a:pt x="1388971" y="1425753"/>
                </a:lnTo>
                <a:lnTo>
                  <a:pt x="1404088" y="1382260"/>
                </a:lnTo>
                <a:lnTo>
                  <a:pt x="1417341" y="1337929"/>
                </a:lnTo>
                <a:lnTo>
                  <a:pt x="1428683" y="1292806"/>
                </a:lnTo>
                <a:lnTo>
                  <a:pt x="1438068" y="1246938"/>
                </a:lnTo>
                <a:lnTo>
                  <a:pt x="1445448" y="1200372"/>
                </a:lnTo>
                <a:lnTo>
                  <a:pt x="1450777" y="1153155"/>
                </a:lnTo>
                <a:lnTo>
                  <a:pt x="1454009" y="1105332"/>
                </a:lnTo>
                <a:lnTo>
                  <a:pt x="1455097" y="1056952"/>
                </a:lnTo>
                <a:lnTo>
                  <a:pt x="1454009" y="1008570"/>
                </a:lnTo>
                <a:lnTo>
                  <a:pt x="1450777" y="960747"/>
                </a:lnTo>
                <a:lnTo>
                  <a:pt x="1445448" y="913529"/>
                </a:lnTo>
                <a:lnTo>
                  <a:pt x="1438068" y="866962"/>
                </a:lnTo>
                <a:lnTo>
                  <a:pt x="1428683" y="821094"/>
                </a:lnTo>
                <a:lnTo>
                  <a:pt x="1417341" y="775971"/>
                </a:lnTo>
                <a:lnTo>
                  <a:pt x="1404088" y="731639"/>
                </a:lnTo>
                <a:lnTo>
                  <a:pt x="1388971" y="688146"/>
                </a:lnTo>
                <a:lnTo>
                  <a:pt x="1372036" y="645537"/>
                </a:lnTo>
                <a:lnTo>
                  <a:pt x="1353331" y="603860"/>
                </a:lnTo>
                <a:lnTo>
                  <a:pt x="1332900" y="563161"/>
                </a:lnTo>
                <a:lnTo>
                  <a:pt x="1310792" y="523486"/>
                </a:lnTo>
                <a:lnTo>
                  <a:pt x="1287053" y="484883"/>
                </a:lnTo>
                <a:lnTo>
                  <a:pt x="1261730" y="447399"/>
                </a:lnTo>
                <a:lnTo>
                  <a:pt x="1234868" y="411078"/>
                </a:lnTo>
                <a:lnTo>
                  <a:pt x="1206516" y="375970"/>
                </a:lnTo>
                <a:lnTo>
                  <a:pt x="1176719" y="342119"/>
                </a:lnTo>
                <a:lnTo>
                  <a:pt x="1145524" y="309573"/>
                </a:lnTo>
                <a:lnTo>
                  <a:pt x="1112977" y="278378"/>
                </a:lnTo>
                <a:lnTo>
                  <a:pt x="1079126" y="248580"/>
                </a:lnTo>
                <a:lnTo>
                  <a:pt x="1044018" y="220228"/>
                </a:lnTo>
                <a:lnTo>
                  <a:pt x="1007697" y="193366"/>
                </a:lnTo>
                <a:lnTo>
                  <a:pt x="970213" y="168043"/>
                </a:lnTo>
                <a:lnTo>
                  <a:pt x="931610" y="144304"/>
                </a:lnTo>
                <a:lnTo>
                  <a:pt x="891935" y="122196"/>
                </a:lnTo>
                <a:lnTo>
                  <a:pt x="851236" y="101766"/>
                </a:lnTo>
                <a:lnTo>
                  <a:pt x="809559" y="83060"/>
                </a:lnTo>
                <a:lnTo>
                  <a:pt x="766950" y="66125"/>
                </a:lnTo>
                <a:lnTo>
                  <a:pt x="723457" y="51008"/>
                </a:lnTo>
                <a:lnTo>
                  <a:pt x="679125" y="37755"/>
                </a:lnTo>
                <a:lnTo>
                  <a:pt x="634002" y="26413"/>
                </a:lnTo>
                <a:lnTo>
                  <a:pt x="588134" y="17028"/>
                </a:lnTo>
                <a:lnTo>
                  <a:pt x="541567" y="9648"/>
                </a:lnTo>
                <a:lnTo>
                  <a:pt x="494349" y="4319"/>
                </a:lnTo>
                <a:lnTo>
                  <a:pt x="446526" y="1087"/>
                </a:lnTo>
                <a:lnTo>
                  <a:pt x="398144" y="0"/>
                </a:lnTo>
                <a:close/>
              </a:path>
            </a:pathLst>
          </a:custGeom>
          <a:solidFill>
            <a:srgbClr val="FF7900"/>
          </a:solidFill>
        </p:spPr>
        <p:txBody>
          <a:bodyPr wrap="square" lIns="0" tIns="0" rIns="0" bIns="0" rtlCol="0"/>
          <a:lstStyle/>
          <a:p>
            <a:endParaRPr/>
          </a:p>
        </p:txBody>
      </p:sp>
      <p:sp>
        <p:nvSpPr>
          <p:cNvPr id="22" name="object 22"/>
          <p:cNvSpPr txBox="1"/>
          <p:nvPr/>
        </p:nvSpPr>
        <p:spPr>
          <a:xfrm>
            <a:off x="5072384" y="1763292"/>
            <a:ext cx="1846417" cy="580570"/>
          </a:xfrm>
          <a:prstGeom prst="rect">
            <a:avLst/>
          </a:prstGeom>
        </p:spPr>
        <p:txBody>
          <a:bodyPr vert="horz" wrap="square" lIns="0" tIns="5487" rIns="0" bIns="0" rtlCol="0">
            <a:spAutoFit/>
          </a:bodyPr>
          <a:lstStyle/>
          <a:p>
            <a:pPr marL="5776" marR="2310">
              <a:lnSpc>
                <a:spcPct val="100600"/>
              </a:lnSpc>
              <a:spcBef>
                <a:spcPts val="43"/>
              </a:spcBef>
            </a:pPr>
            <a:r>
              <a:rPr lang="fr-FR" sz="1300" b="1" spc="5" dirty="0">
                <a:solidFill>
                  <a:srgbClr val="1D1D1B"/>
                </a:solidFill>
                <a:latin typeface="Helvetica Neue"/>
                <a:cs typeface="Helvetica Neue"/>
              </a:rPr>
              <a:t>Ne vous donne pas de  </a:t>
            </a:r>
            <a:r>
              <a:rPr lang="fr-FR" sz="1300" b="1" spc="2" dirty="0">
                <a:solidFill>
                  <a:srgbClr val="1D1D1B"/>
                </a:solidFill>
                <a:latin typeface="Helvetica Neue"/>
                <a:cs typeface="Helvetica Neue"/>
              </a:rPr>
              <a:t>conseils</a:t>
            </a:r>
            <a:r>
              <a:rPr lang="fr-FR" sz="1300" b="1" spc="-5" dirty="0">
                <a:solidFill>
                  <a:srgbClr val="1D1D1B"/>
                </a:solidFill>
                <a:latin typeface="Helvetica Neue"/>
                <a:cs typeface="Helvetica Neue"/>
              </a:rPr>
              <a:t> </a:t>
            </a:r>
            <a:r>
              <a:rPr lang="fr-FR" sz="1300" b="1" spc="2" dirty="0">
                <a:solidFill>
                  <a:srgbClr val="1D1D1B"/>
                </a:solidFill>
                <a:latin typeface="Helvetica Neue"/>
                <a:cs typeface="Helvetica Neue"/>
              </a:rPr>
              <a:t>indépendants </a:t>
            </a:r>
            <a:r>
              <a:rPr lang="fr-FR" sz="1100" b="1" spc="2" dirty="0">
                <a:solidFill>
                  <a:srgbClr val="1D1D1B"/>
                </a:solidFill>
                <a:latin typeface="Helvetica Neue"/>
                <a:cs typeface="Helvetica Neue"/>
              </a:rPr>
              <a:t>*</a:t>
            </a:r>
            <a:endParaRPr lang="fr-FR" sz="1100" dirty="0">
              <a:latin typeface="Helvetica Neue"/>
              <a:cs typeface="Helvetica Neue"/>
            </a:endParaRPr>
          </a:p>
        </p:txBody>
      </p:sp>
      <p:sp>
        <p:nvSpPr>
          <p:cNvPr id="23" name="object 23"/>
          <p:cNvSpPr txBox="1"/>
          <p:nvPr/>
        </p:nvSpPr>
        <p:spPr>
          <a:xfrm>
            <a:off x="1076742" y="1830667"/>
            <a:ext cx="1579549" cy="206762"/>
          </a:xfrm>
          <a:prstGeom prst="rect">
            <a:avLst/>
          </a:prstGeom>
        </p:spPr>
        <p:txBody>
          <a:bodyPr vert="horz" wrap="square" lIns="0" tIns="6642" rIns="0" bIns="0" rtlCol="0">
            <a:spAutoFit/>
          </a:bodyPr>
          <a:lstStyle/>
          <a:p>
            <a:pPr marL="5776">
              <a:spcBef>
                <a:spcPts val="52"/>
              </a:spcBef>
            </a:pPr>
            <a:r>
              <a:rPr sz="1300" b="1" spc="-16" dirty="0">
                <a:solidFill>
                  <a:srgbClr val="1D1D1B"/>
                </a:solidFill>
                <a:latin typeface="Helvetica Neue"/>
                <a:cs typeface="Helvetica Neue"/>
              </a:rPr>
              <a:t>Vous </a:t>
            </a:r>
            <a:r>
              <a:rPr sz="1300" b="1" spc="2" dirty="0">
                <a:solidFill>
                  <a:srgbClr val="1D1D1B"/>
                </a:solidFill>
                <a:latin typeface="Helvetica Neue"/>
                <a:cs typeface="Helvetica Neue"/>
              </a:rPr>
              <a:t>conseille</a:t>
            </a:r>
            <a:r>
              <a:rPr sz="1300" b="1" spc="5" dirty="0">
                <a:solidFill>
                  <a:srgbClr val="1D1D1B"/>
                </a:solidFill>
                <a:latin typeface="Helvetica Neue"/>
                <a:cs typeface="Helvetica Neue"/>
              </a:rPr>
              <a:t> </a:t>
            </a:r>
            <a:r>
              <a:rPr sz="1300" b="1" spc="2" dirty="0">
                <a:solidFill>
                  <a:srgbClr val="1D1D1B"/>
                </a:solidFill>
                <a:latin typeface="Helvetica Neue"/>
                <a:cs typeface="Helvetica Neue"/>
              </a:rPr>
              <a:t>bien</a:t>
            </a:r>
            <a:endParaRPr sz="1300">
              <a:latin typeface="Helvetica Neue"/>
              <a:cs typeface="Helvetica Neue"/>
            </a:endParaRPr>
          </a:p>
        </p:txBody>
      </p:sp>
      <p:sp>
        <p:nvSpPr>
          <p:cNvPr id="24" name="object 24"/>
          <p:cNvSpPr txBox="1"/>
          <p:nvPr/>
        </p:nvSpPr>
        <p:spPr>
          <a:xfrm>
            <a:off x="1161780" y="3209714"/>
            <a:ext cx="1494059" cy="423090"/>
          </a:xfrm>
          <a:prstGeom prst="rect">
            <a:avLst/>
          </a:prstGeom>
        </p:spPr>
        <p:txBody>
          <a:bodyPr vert="horz" wrap="square" lIns="0" tIns="5487" rIns="0" bIns="0" rtlCol="0">
            <a:spAutoFit/>
          </a:bodyPr>
          <a:lstStyle/>
          <a:p>
            <a:pPr marL="5776" marR="2310">
              <a:lnSpc>
                <a:spcPct val="100600"/>
              </a:lnSpc>
              <a:spcBef>
                <a:spcPts val="43"/>
              </a:spcBef>
            </a:pPr>
            <a:r>
              <a:rPr sz="1300" b="1" spc="2" dirty="0">
                <a:solidFill>
                  <a:srgbClr val="1D1D1B"/>
                </a:solidFill>
                <a:latin typeface="Helvetica Neue"/>
                <a:cs typeface="Helvetica Neue"/>
              </a:rPr>
              <a:t>Est utile </a:t>
            </a:r>
            <a:r>
              <a:rPr sz="1300" b="1" spc="5" dirty="0">
                <a:solidFill>
                  <a:srgbClr val="1D1D1B"/>
                </a:solidFill>
                <a:latin typeface="Helvetica Neue"/>
                <a:cs typeface="Helvetica Neue"/>
              </a:rPr>
              <a:t>pour</a:t>
            </a:r>
            <a:r>
              <a:rPr sz="1300" b="1" spc="-25" dirty="0">
                <a:solidFill>
                  <a:srgbClr val="1D1D1B"/>
                </a:solidFill>
                <a:latin typeface="Helvetica Neue"/>
                <a:cs typeface="Helvetica Neue"/>
              </a:rPr>
              <a:t> </a:t>
            </a:r>
            <a:r>
              <a:rPr sz="1300" b="1" spc="2" dirty="0">
                <a:solidFill>
                  <a:srgbClr val="1D1D1B"/>
                </a:solidFill>
                <a:latin typeface="Helvetica Neue"/>
                <a:cs typeface="Helvetica Neue"/>
              </a:rPr>
              <a:t>bien  </a:t>
            </a:r>
            <a:r>
              <a:rPr sz="1300" b="1" spc="-2" dirty="0">
                <a:solidFill>
                  <a:srgbClr val="1D1D1B"/>
                </a:solidFill>
                <a:latin typeface="Helvetica Neue"/>
                <a:cs typeface="Helvetica Neue"/>
              </a:rPr>
              <a:t>gérer votre</a:t>
            </a:r>
            <a:r>
              <a:rPr sz="1300" b="1" spc="-20" dirty="0">
                <a:solidFill>
                  <a:srgbClr val="1D1D1B"/>
                </a:solidFill>
                <a:latin typeface="Helvetica Neue"/>
                <a:cs typeface="Helvetica Neue"/>
              </a:rPr>
              <a:t> </a:t>
            </a:r>
            <a:r>
              <a:rPr sz="1300" b="1" spc="-2" dirty="0">
                <a:solidFill>
                  <a:srgbClr val="1D1D1B"/>
                </a:solidFill>
                <a:latin typeface="Helvetica Neue"/>
                <a:cs typeface="Helvetica Neue"/>
              </a:rPr>
              <a:t>argent</a:t>
            </a:r>
            <a:endParaRPr sz="1300">
              <a:latin typeface="Helvetica Neue"/>
              <a:cs typeface="Helvetica Neue"/>
            </a:endParaRPr>
          </a:p>
        </p:txBody>
      </p:sp>
      <p:sp>
        <p:nvSpPr>
          <p:cNvPr id="25" name="object 25"/>
          <p:cNvSpPr txBox="1"/>
          <p:nvPr/>
        </p:nvSpPr>
        <p:spPr>
          <a:xfrm>
            <a:off x="5211258" y="3355779"/>
            <a:ext cx="1700564" cy="419639"/>
          </a:xfrm>
          <a:prstGeom prst="rect">
            <a:avLst/>
          </a:prstGeom>
        </p:spPr>
        <p:txBody>
          <a:bodyPr vert="horz" wrap="square" lIns="0" tIns="6642" rIns="0" bIns="0" rtlCol="0">
            <a:spAutoFit/>
          </a:bodyPr>
          <a:lstStyle/>
          <a:p>
            <a:pPr marL="5776">
              <a:spcBef>
                <a:spcPts val="52"/>
              </a:spcBef>
            </a:pPr>
            <a:r>
              <a:rPr lang="fr-FR" sz="1300" b="1" spc="2" dirty="0">
                <a:solidFill>
                  <a:srgbClr val="1D1D1B"/>
                </a:solidFill>
                <a:latin typeface="Helvetica Neue"/>
                <a:cs typeface="Helvetica Neue"/>
              </a:rPr>
              <a:t>N’anticipe pas vos besoins </a:t>
            </a:r>
            <a:r>
              <a:rPr lang="fr-FR" sz="1100" b="1" spc="2" dirty="0">
                <a:solidFill>
                  <a:srgbClr val="1D1D1B"/>
                </a:solidFill>
                <a:latin typeface="Helvetica Neue"/>
                <a:cs typeface="Helvetica Neue"/>
              </a:rPr>
              <a:t>* </a:t>
            </a:r>
            <a:endParaRPr lang="fr-FR" sz="1100" dirty="0">
              <a:latin typeface="Helvetica Neue"/>
              <a:cs typeface="Helvetica Neue"/>
            </a:endParaRPr>
          </a:p>
        </p:txBody>
      </p:sp>
      <p:sp>
        <p:nvSpPr>
          <p:cNvPr id="26" name="object 26"/>
          <p:cNvSpPr/>
          <p:nvPr/>
        </p:nvSpPr>
        <p:spPr>
          <a:xfrm>
            <a:off x="2815521" y="1445606"/>
            <a:ext cx="1102421" cy="1102344"/>
          </a:xfrm>
          <a:custGeom>
            <a:avLst/>
            <a:gdLst/>
            <a:ahLst/>
            <a:cxnLst/>
            <a:rect l="l" t="t" r="r" b="b"/>
            <a:pathLst>
              <a:path w="2423795" h="2423795">
                <a:moveTo>
                  <a:pt x="1211785" y="0"/>
                </a:moveTo>
                <a:lnTo>
                  <a:pt x="1163047" y="962"/>
                </a:lnTo>
                <a:lnTo>
                  <a:pt x="1114799" y="3824"/>
                </a:lnTo>
                <a:lnTo>
                  <a:pt x="1067075" y="8551"/>
                </a:lnTo>
                <a:lnTo>
                  <a:pt x="1019912" y="15105"/>
                </a:lnTo>
                <a:lnTo>
                  <a:pt x="973346" y="23451"/>
                </a:lnTo>
                <a:lnTo>
                  <a:pt x="927413" y="33553"/>
                </a:lnTo>
                <a:lnTo>
                  <a:pt x="882150" y="45374"/>
                </a:lnTo>
                <a:lnTo>
                  <a:pt x="837592" y="58878"/>
                </a:lnTo>
                <a:lnTo>
                  <a:pt x="793776" y="74029"/>
                </a:lnTo>
                <a:lnTo>
                  <a:pt x="750738" y="90790"/>
                </a:lnTo>
                <a:lnTo>
                  <a:pt x="708515" y="109126"/>
                </a:lnTo>
                <a:lnTo>
                  <a:pt x="667142" y="129001"/>
                </a:lnTo>
                <a:lnTo>
                  <a:pt x="626656" y="150377"/>
                </a:lnTo>
                <a:lnTo>
                  <a:pt x="587092" y="173219"/>
                </a:lnTo>
                <a:lnTo>
                  <a:pt x="548488" y="197491"/>
                </a:lnTo>
                <a:lnTo>
                  <a:pt x="510879" y="223157"/>
                </a:lnTo>
                <a:lnTo>
                  <a:pt x="474301" y="250179"/>
                </a:lnTo>
                <a:lnTo>
                  <a:pt x="438791" y="278523"/>
                </a:lnTo>
                <a:lnTo>
                  <a:pt x="404385" y="308152"/>
                </a:lnTo>
                <a:lnTo>
                  <a:pt x="371119" y="339029"/>
                </a:lnTo>
                <a:lnTo>
                  <a:pt x="339029" y="371119"/>
                </a:lnTo>
                <a:lnTo>
                  <a:pt x="308152" y="404385"/>
                </a:lnTo>
                <a:lnTo>
                  <a:pt x="278523" y="438791"/>
                </a:lnTo>
                <a:lnTo>
                  <a:pt x="250179" y="474301"/>
                </a:lnTo>
                <a:lnTo>
                  <a:pt x="223157" y="510879"/>
                </a:lnTo>
                <a:lnTo>
                  <a:pt x="197491" y="548488"/>
                </a:lnTo>
                <a:lnTo>
                  <a:pt x="173219" y="587092"/>
                </a:lnTo>
                <a:lnTo>
                  <a:pt x="150377" y="626656"/>
                </a:lnTo>
                <a:lnTo>
                  <a:pt x="129001" y="667142"/>
                </a:lnTo>
                <a:lnTo>
                  <a:pt x="109126" y="708515"/>
                </a:lnTo>
                <a:lnTo>
                  <a:pt x="90790" y="750738"/>
                </a:lnTo>
                <a:lnTo>
                  <a:pt x="74029" y="793776"/>
                </a:lnTo>
                <a:lnTo>
                  <a:pt x="58878" y="837592"/>
                </a:lnTo>
                <a:lnTo>
                  <a:pt x="45374" y="882150"/>
                </a:lnTo>
                <a:lnTo>
                  <a:pt x="33553" y="927413"/>
                </a:lnTo>
                <a:lnTo>
                  <a:pt x="23451" y="973346"/>
                </a:lnTo>
                <a:lnTo>
                  <a:pt x="15105" y="1019912"/>
                </a:lnTo>
                <a:lnTo>
                  <a:pt x="8551" y="1067075"/>
                </a:lnTo>
                <a:lnTo>
                  <a:pt x="3824" y="1114799"/>
                </a:lnTo>
                <a:lnTo>
                  <a:pt x="962" y="1163047"/>
                </a:lnTo>
                <a:lnTo>
                  <a:pt x="0" y="1211785"/>
                </a:lnTo>
                <a:lnTo>
                  <a:pt x="962" y="1260522"/>
                </a:lnTo>
                <a:lnTo>
                  <a:pt x="3824" y="1308770"/>
                </a:lnTo>
                <a:lnTo>
                  <a:pt x="8551" y="1356494"/>
                </a:lnTo>
                <a:lnTo>
                  <a:pt x="15105" y="1403657"/>
                </a:lnTo>
                <a:lnTo>
                  <a:pt x="23451" y="1450223"/>
                </a:lnTo>
                <a:lnTo>
                  <a:pt x="33553" y="1496156"/>
                </a:lnTo>
                <a:lnTo>
                  <a:pt x="45374" y="1541420"/>
                </a:lnTo>
                <a:lnTo>
                  <a:pt x="58878" y="1585977"/>
                </a:lnTo>
                <a:lnTo>
                  <a:pt x="74029" y="1629793"/>
                </a:lnTo>
                <a:lnTo>
                  <a:pt x="90790" y="1672831"/>
                </a:lnTo>
                <a:lnTo>
                  <a:pt x="109126" y="1715054"/>
                </a:lnTo>
                <a:lnTo>
                  <a:pt x="129001" y="1756427"/>
                </a:lnTo>
                <a:lnTo>
                  <a:pt x="150377" y="1796914"/>
                </a:lnTo>
                <a:lnTo>
                  <a:pt x="173219" y="1836477"/>
                </a:lnTo>
                <a:lnTo>
                  <a:pt x="197491" y="1875081"/>
                </a:lnTo>
                <a:lnTo>
                  <a:pt x="223157" y="1912691"/>
                </a:lnTo>
                <a:lnTo>
                  <a:pt x="250179" y="1949268"/>
                </a:lnTo>
                <a:lnTo>
                  <a:pt x="278523" y="1984778"/>
                </a:lnTo>
                <a:lnTo>
                  <a:pt x="308152" y="2019184"/>
                </a:lnTo>
                <a:lnTo>
                  <a:pt x="339029" y="2052450"/>
                </a:lnTo>
                <a:lnTo>
                  <a:pt x="371119" y="2084540"/>
                </a:lnTo>
                <a:lnTo>
                  <a:pt x="404385" y="2115418"/>
                </a:lnTo>
                <a:lnTo>
                  <a:pt x="438791" y="2145046"/>
                </a:lnTo>
                <a:lnTo>
                  <a:pt x="474301" y="2173390"/>
                </a:lnTo>
                <a:lnTo>
                  <a:pt x="510879" y="2200413"/>
                </a:lnTo>
                <a:lnTo>
                  <a:pt x="548488" y="2226078"/>
                </a:lnTo>
                <a:lnTo>
                  <a:pt x="587092" y="2250350"/>
                </a:lnTo>
                <a:lnTo>
                  <a:pt x="626656" y="2273192"/>
                </a:lnTo>
                <a:lnTo>
                  <a:pt x="667142" y="2294569"/>
                </a:lnTo>
                <a:lnTo>
                  <a:pt x="708515" y="2314443"/>
                </a:lnTo>
                <a:lnTo>
                  <a:pt x="750738" y="2332779"/>
                </a:lnTo>
                <a:lnTo>
                  <a:pt x="793776" y="2349540"/>
                </a:lnTo>
                <a:lnTo>
                  <a:pt x="837592" y="2364691"/>
                </a:lnTo>
                <a:lnTo>
                  <a:pt x="882150" y="2378195"/>
                </a:lnTo>
                <a:lnTo>
                  <a:pt x="927413" y="2390016"/>
                </a:lnTo>
                <a:lnTo>
                  <a:pt x="973346" y="2400118"/>
                </a:lnTo>
                <a:lnTo>
                  <a:pt x="1019912" y="2408464"/>
                </a:lnTo>
                <a:lnTo>
                  <a:pt x="1067075" y="2415018"/>
                </a:lnTo>
                <a:lnTo>
                  <a:pt x="1114799" y="2419745"/>
                </a:lnTo>
                <a:lnTo>
                  <a:pt x="1163047" y="2422607"/>
                </a:lnTo>
                <a:lnTo>
                  <a:pt x="1211785" y="2423570"/>
                </a:lnTo>
                <a:lnTo>
                  <a:pt x="1260522" y="2422607"/>
                </a:lnTo>
                <a:lnTo>
                  <a:pt x="1308772" y="2419745"/>
                </a:lnTo>
                <a:lnTo>
                  <a:pt x="1356496" y="2415018"/>
                </a:lnTo>
                <a:lnTo>
                  <a:pt x="1403660" y="2408464"/>
                </a:lnTo>
                <a:lnTo>
                  <a:pt x="1450226" y="2400118"/>
                </a:lnTo>
                <a:lnTo>
                  <a:pt x="1496160" y="2390016"/>
                </a:lnTo>
                <a:lnTo>
                  <a:pt x="1541423" y="2378195"/>
                </a:lnTo>
                <a:lnTo>
                  <a:pt x="1585981" y="2364691"/>
                </a:lnTo>
                <a:lnTo>
                  <a:pt x="1629797" y="2349540"/>
                </a:lnTo>
                <a:lnTo>
                  <a:pt x="1672835" y="2332779"/>
                </a:lnTo>
                <a:lnTo>
                  <a:pt x="1715059" y="2314443"/>
                </a:lnTo>
                <a:lnTo>
                  <a:pt x="1756432" y="2294569"/>
                </a:lnTo>
                <a:lnTo>
                  <a:pt x="1796918" y="2273192"/>
                </a:lnTo>
                <a:lnTo>
                  <a:pt x="1836482" y="2250350"/>
                </a:lnTo>
                <a:lnTo>
                  <a:pt x="1875086" y="2226078"/>
                </a:lnTo>
                <a:lnTo>
                  <a:pt x="1912695" y="2200413"/>
                </a:lnTo>
                <a:lnTo>
                  <a:pt x="1949273" y="2173390"/>
                </a:lnTo>
                <a:lnTo>
                  <a:pt x="1984783" y="2145046"/>
                </a:lnTo>
                <a:lnTo>
                  <a:pt x="2019189" y="2115418"/>
                </a:lnTo>
                <a:lnTo>
                  <a:pt x="2052454" y="2084540"/>
                </a:lnTo>
                <a:lnTo>
                  <a:pt x="2084544" y="2052450"/>
                </a:lnTo>
                <a:lnTo>
                  <a:pt x="2115421" y="2019184"/>
                </a:lnTo>
                <a:lnTo>
                  <a:pt x="2145050" y="1984778"/>
                </a:lnTo>
                <a:lnTo>
                  <a:pt x="2173393" y="1949268"/>
                </a:lnTo>
                <a:lnTo>
                  <a:pt x="2200416" y="1912691"/>
                </a:lnTo>
                <a:lnTo>
                  <a:pt x="2226081" y="1875081"/>
                </a:lnTo>
                <a:lnTo>
                  <a:pt x="2250352" y="1836477"/>
                </a:lnTo>
                <a:lnTo>
                  <a:pt x="2273194" y="1796914"/>
                </a:lnTo>
                <a:lnTo>
                  <a:pt x="2294570" y="1756427"/>
                </a:lnTo>
                <a:lnTo>
                  <a:pt x="2314445" y="1715054"/>
                </a:lnTo>
                <a:lnTo>
                  <a:pt x="2332780" y="1672831"/>
                </a:lnTo>
                <a:lnTo>
                  <a:pt x="2349542" y="1629793"/>
                </a:lnTo>
                <a:lnTo>
                  <a:pt x="2364692" y="1585977"/>
                </a:lnTo>
                <a:lnTo>
                  <a:pt x="2378196" y="1541420"/>
                </a:lnTo>
                <a:lnTo>
                  <a:pt x="2390017" y="1496156"/>
                </a:lnTo>
                <a:lnTo>
                  <a:pt x="2400118" y="1450223"/>
                </a:lnTo>
                <a:lnTo>
                  <a:pt x="2408464" y="1403657"/>
                </a:lnTo>
                <a:lnTo>
                  <a:pt x="2415019" y="1356494"/>
                </a:lnTo>
                <a:lnTo>
                  <a:pt x="2419745" y="1308770"/>
                </a:lnTo>
                <a:lnTo>
                  <a:pt x="2422607" y="1260522"/>
                </a:lnTo>
                <a:lnTo>
                  <a:pt x="2423570" y="1211785"/>
                </a:lnTo>
                <a:lnTo>
                  <a:pt x="2422607" y="1163047"/>
                </a:lnTo>
                <a:lnTo>
                  <a:pt x="2419745" y="1114799"/>
                </a:lnTo>
                <a:lnTo>
                  <a:pt x="2415019" y="1067075"/>
                </a:lnTo>
                <a:lnTo>
                  <a:pt x="2408464" y="1019912"/>
                </a:lnTo>
                <a:lnTo>
                  <a:pt x="2400118" y="973346"/>
                </a:lnTo>
                <a:lnTo>
                  <a:pt x="2390017" y="927413"/>
                </a:lnTo>
                <a:lnTo>
                  <a:pt x="2378196" y="882150"/>
                </a:lnTo>
                <a:lnTo>
                  <a:pt x="2364692" y="837592"/>
                </a:lnTo>
                <a:lnTo>
                  <a:pt x="2349542" y="793776"/>
                </a:lnTo>
                <a:lnTo>
                  <a:pt x="2332780" y="750738"/>
                </a:lnTo>
                <a:lnTo>
                  <a:pt x="2314445" y="708515"/>
                </a:lnTo>
                <a:lnTo>
                  <a:pt x="2294570" y="667142"/>
                </a:lnTo>
                <a:lnTo>
                  <a:pt x="2273194" y="626656"/>
                </a:lnTo>
                <a:lnTo>
                  <a:pt x="2250352" y="587092"/>
                </a:lnTo>
                <a:lnTo>
                  <a:pt x="2226081" y="548488"/>
                </a:lnTo>
                <a:lnTo>
                  <a:pt x="2200416" y="510879"/>
                </a:lnTo>
                <a:lnTo>
                  <a:pt x="2173393" y="474301"/>
                </a:lnTo>
                <a:lnTo>
                  <a:pt x="2145050" y="438791"/>
                </a:lnTo>
                <a:lnTo>
                  <a:pt x="2115421" y="404385"/>
                </a:lnTo>
                <a:lnTo>
                  <a:pt x="2084544" y="371119"/>
                </a:lnTo>
                <a:lnTo>
                  <a:pt x="2052454" y="339029"/>
                </a:lnTo>
                <a:lnTo>
                  <a:pt x="2019189" y="308152"/>
                </a:lnTo>
                <a:lnTo>
                  <a:pt x="1984783" y="278523"/>
                </a:lnTo>
                <a:lnTo>
                  <a:pt x="1949273" y="250179"/>
                </a:lnTo>
                <a:lnTo>
                  <a:pt x="1912695" y="223157"/>
                </a:lnTo>
                <a:lnTo>
                  <a:pt x="1875086" y="197491"/>
                </a:lnTo>
                <a:lnTo>
                  <a:pt x="1836482" y="173219"/>
                </a:lnTo>
                <a:lnTo>
                  <a:pt x="1796918" y="150377"/>
                </a:lnTo>
                <a:lnTo>
                  <a:pt x="1756432" y="129001"/>
                </a:lnTo>
                <a:lnTo>
                  <a:pt x="1715059" y="109126"/>
                </a:lnTo>
                <a:lnTo>
                  <a:pt x="1672835" y="90790"/>
                </a:lnTo>
                <a:lnTo>
                  <a:pt x="1629797" y="74029"/>
                </a:lnTo>
                <a:lnTo>
                  <a:pt x="1585981" y="58878"/>
                </a:lnTo>
                <a:lnTo>
                  <a:pt x="1541423" y="45374"/>
                </a:lnTo>
                <a:lnTo>
                  <a:pt x="1496160" y="33553"/>
                </a:lnTo>
                <a:lnTo>
                  <a:pt x="1450226" y="23451"/>
                </a:lnTo>
                <a:lnTo>
                  <a:pt x="1403660" y="15105"/>
                </a:lnTo>
                <a:lnTo>
                  <a:pt x="1356496" y="8551"/>
                </a:lnTo>
                <a:lnTo>
                  <a:pt x="1308772" y="3824"/>
                </a:lnTo>
                <a:lnTo>
                  <a:pt x="1260522" y="962"/>
                </a:lnTo>
                <a:lnTo>
                  <a:pt x="1211785" y="0"/>
                </a:lnTo>
                <a:close/>
              </a:path>
            </a:pathLst>
          </a:custGeom>
          <a:solidFill>
            <a:srgbClr val="FFFFFF"/>
          </a:solidFill>
        </p:spPr>
        <p:txBody>
          <a:bodyPr wrap="square" lIns="0" tIns="0" rIns="0" bIns="0" rtlCol="0"/>
          <a:lstStyle/>
          <a:p>
            <a:endParaRPr/>
          </a:p>
        </p:txBody>
      </p:sp>
      <p:sp>
        <p:nvSpPr>
          <p:cNvPr id="27" name="object 27"/>
          <p:cNvSpPr txBox="1"/>
          <p:nvPr/>
        </p:nvSpPr>
        <p:spPr>
          <a:xfrm>
            <a:off x="3073956" y="1841723"/>
            <a:ext cx="611378" cy="299386"/>
          </a:xfrm>
          <a:prstGeom prst="rect">
            <a:avLst/>
          </a:prstGeom>
        </p:spPr>
        <p:txBody>
          <a:bodyPr vert="horz" wrap="square" lIns="0" tIns="6931" rIns="0" bIns="0" rtlCol="0">
            <a:spAutoFit/>
          </a:bodyPr>
          <a:lstStyle>
            <a:defPPr>
              <a:defRPr lang="fr-FR"/>
            </a:defPPr>
            <a:lvl1pPr marL="12700">
              <a:lnSpc>
                <a:spcPct val="100000"/>
              </a:lnSpc>
              <a:spcBef>
                <a:spcPts val="120"/>
              </a:spcBef>
              <a:defRPr sz="4100" b="1" spc="165">
                <a:solidFill>
                  <a:srgbClr val="FF7900"/>
                </a:solidFill>
                <a:latin typeface="Helvetica Neue"/>
                <a:cs typeface="Helvetica Neue"/>
              </a:defRPr>
            </a:lvl1pPr>
          </a:lstStyle>
          <a:p>
            <a:r>
              <a:rPr sz="1900" dirty="0"/>
              <a:t>69%</a:t>
            </a:r>
          </a:p>
        </p:txBody>
      </p:sp>
      <p:sp>
        <p:nvSpPr>
          <p:cNvPr id="28" name="object 28"/>
          <p:cNvSpPr/>
          <p:nvPr/>
        </p:nvSpPr>
        <p:spPr>
          <a:xfrm>
            <a:off x="2992599" y="1624125"/>
            <a:ext cx="777789" cy="762139"/>
          </a:xfrm>
          <a:custGeom>
            <a:avLst/>
            <a:gdLst/>
            <a:ahLst/>
            <a:cxnLst/>
            <a:rect l="l" t="t" r="r" b="b"/>
            <a:pathLst>
              <a:path w="1710054" h="1675764">
                <a:moveTo>
                  <a:pt x="1709937" y="837796"/>
                </a:moveTo>
                <a:lnTo>
                  <a:pt x="1708584" y="885338"/>
                </a:lnTo>
                <a:lnTo>
                  <a:pt x="1704571" y="932184"/>
                </a:lnTo>
                <a:lnTo>
                  <a:pt x="1697973" y="978264"/>
                </a:lnTo>
                <a:lnTo>
                  <a:pt x="1688859" y="1023506"/>
                </a:lnTo>
                <a:lnTo>
                  <a:pt x="1677304" y="1067841"/>
                </a:lnTo>
                <a:lnTo>
                  <a:pt x="1663379" y="1111196"/>
                </a:lnTo>
                <a:lnTo>
                  <a:pt x="1647155" y="1153503"/>
                </a:lnTo>
                <a:lnTo>
                  <a:pt x="1628707" y="1194689"/>
                </a:lnTo>
                <a:lnTo>
                  <a:pt x="1608104" y="1234684"/>
                </a:lnTo>
                <a:lnTo>
                  <a:pt x="1585420" y="1273417"/>
                </a:lnTo>
                <a:lnTo>
                  <a:pt x="1560727" y="1310819"/>
                </a:lnTo>
                <a:lnTo>
                  <a:pt x="1534097" y="1346817"/>
                </a:lnTo>
                <a:lnTo>
                  <a:pt x="1505603" y="1381341"/>
                </a:lnTo>
                <a:lnTo>
                  <a:pt x="1475315" y="1414321"/>
                </a:lnTo>
                <a:lnTo>
                  <a:pt x="1443307" y="1445686"/>
                </a:lnTo>
                <a:lnTo>
                  <a:pt x="1409651" y="1475365"/>
                </a:lnTo>
                <a:lnTo>
                  <a:pt x="1374419" y="1503287"/>
                </a:lnTo>
                <a:lnTo>
                  <a:pt x="1337683" y="1529382"/>
                </a:lnTo>
                <a:lnTo>
                  <a:pt x="1299515" y="1553579"/>
                </a:lnTo>
                <a:lnTo>
                  <a:pt x="1259987" y="1575806"/>
                </a:lnTo>
                <a:lnTo>
                  <a:pt x="1219173" y="1595995"/>
                </a:lnTo>
                <a:lnTo>
                  <a:pt x="1177142" y="1614073"/>
                </a:lnTo>
                <a:lnTo>
                  <a:pt x="1133969" y="1629970"/>
                </a:lnTo>
                <a:lnTo>
                  <a:pt x="1089725" y="1643616"/>
                </a:lnTo>
                <a:lnTo>
                  <a:pt x="1044483" y="1654939"/>
                </a:lnTo>
                <a:lnTo>
                  <a:pt x="998313" y="1663869"/>
                </a:lnTo>
                <a:lnTo>
                  <a:pt x="951290" y="1670335"/>
                </a:lnTo>
                <a:lnTo>
                  <a:pt x="903484" y="1674266"/>
                </a:lnTo>
                <a:lnTo>
                  <a:pt x="854968" y="1675592"/>
                </a:lnTo>
                <a:lnTo>
                  <a:pt x="806452" y="1674266"/>
                </a:lnTo>
                <a:lnTo>
                  <a:pt x="758647" y="1670335"/>
                </a:lnTo>
                <a:lnTo>
                  <a:pt x="711623" y="1663869"/>
                </a:lnTo>
                <a:lnTo>
                  <a:pt x="665454" y="1654939"/>
                </a:lnTo>
                <a:lnTo>
                  <a:pt x="620211" y="1643616"/>
                </a:lnTo>
                <a:lnTo>
                  <a:pt x="575967" y="1629970"/>
                </a:lnTo>
                <a:lnTo>
                  <a:pt x="532794" y="1614073"/>
                </a:lnTo>
                <a:lnTo>
                  <a:pt x="490764" y="1595995"/>
                </a:lnTo>
                <a:lnTo>
                  <a:pt x="449949" y="1575806"/>
                </a:lnTo>
                <a:lnTo>
                  <a:pt x="410422" y="1553579"/>
                </a:lnTo>
                <a:lnTo>
                  <a:pt x="372254" y="1529382"/>
                </a:lnTo>
                <a:lnTo>
                  <a:pt x="335517" y="1503287"/>
                </a:lnTo>
                <a:lnTo>
                  <a:pt x="300285" y="1475365"/>
                </a:lnTo>
                <a:lnTo>
                  <a:pt x="266629" y="1445686"/>
                </a:lnTo>
                <a:lnTo>
                  <a:pt x="234621" y="1414321"/>
                </a:lnTo>
                <a:lnTo>
                  <a:pt x="204334" y="1381341"/>
                </a:lnTo>
                <a:lnTo>
                  <a:pt x="175839" y="1346817"/>
                </a:lnTo>
                <a:lnTo>
                  <a:pt x="149209" y="1310819"/>
                </a:lnTo>
                <a:lnTo>
                  <a:pt x="124516" y="1273417"/>
                </a:lnTo>
                <a:lnTo>
                  <a:pt x="101832" y="1234684"/>
                </a:lnTo>
                <a:lnTo>
                  <a:pt x="81230" y="1194689"/>
                </a:lnTo>
                <a:lnTo>
                  <a:pt x="62781" y="1153503"/>
                </a:lnTo>
                <a:lnTo>
                  <a:pt x="46558" y="1111196"/>
                </a:lnTo>
                <a:lnTo>
                  <a:pt x="32632" y="1067841"/>
                </a:lnTo>
                <a:lnTo>
                  <a:pt x="21077" y="1023506"/>
                </a:lnTo>
                <a:lnTo>
                  <a:pt x="11964" y="978264"/>
                </a:lnTo>
                <a:lnTo>
                  <a:pt x="5365" y="932184"/>
                </a:lnTo>
                <a:lnTo>
                  <a:pt x="1353" y="885338"/>
                </a:lnTo>
                <a:lnTo>
                  <a:pt x="0" y="837796"/>
                </a:lnTo>
                <a:lnTo>
                  <a:pt x="1353" y="790254"/>
                </a:lnTo>
                <a:lnTo>
                  <a:pt x="5365" y="743408"/>
                </a:lnTo>
                <a:lnTo>
                  <a:pt x="11964" y="697328"/>
                </a:lnTo>
                <a:lnTo>
                  <a:pt x="21077" y="652086"/>
                </a:lnTo>
                <a:lnTo>
                  <a:pt x="32632" y="607751"/>
                </a:lnTo>
                <a:lnTo>
                  <a:pt x="46558" y="564396"/>
                </a:lnTo>
                <a:lnTo>
                  <a:pt x="62781" y="522089"/>
                </a:lnTo>
                <a:lnTo>
                  <a:pt x="81230" y="480903"/>
                </a:lnTo>
                <a:lnTo>
                  <a:pt x="101832" y="440908"/>
                </a:lnTo>
                <a:lnTo>
                  <a:pt x="124516" y="402175"/>
                </a:lnTo>
                <a:lnTo>
                  <a:pt x="149209" y="364773"/>
                </a:lnTo>
                <a:lnTo>
                  <a:pt x="175839" y="328775"/>
                </a:lnTo>
                <a:lnTo>
                  <a:pt x="204334" y="294251"/>
                </a:lnTo>
                <a:lnTo>
                  <a:pt x="234621" y="261271"/>
                </a:lnTo>
                <a:lnTo>
                  <a:pt x="266629" y="229906"/>
                </a:lnTo>
                <a:lnTo>
                  <a:pt x="300285" y="200227"/>
                </a:lnTo>
                <a:lnTo>
                  <a:pt x="335517" y="172305"/>
                </a:lnTo>
                <a:lnTo>
                  <a:pt x="372254" y="146210"/>
                </a:lnTo>
                <a:lnTo>
                  <a:pt x="410422" y="122013"/>
                </a:lnTo>
                <a:lnTo>
                  <a:pt x="449949" y="99786"/>
                </a:lnTo>
                <a:lnTo>
                  <a:pt x="490764" y="79597"/>
                </a:lnTo>
                <a:lnTo>
                  <a:pt x="532794" y="61519"/>
                </a:lnTo>
                <a:lnTo>
                  <a:pt x="575967" y="45622"/>
                </a:lnTo>
                <a:lnTo>
                  <a:pt x="620211" y="31976"/>
                </a:lnTo>
                <a:lnTo>
                  <a:pt x="665454" y="20653"/>
                </a:lnTo>
                <a:lnTo>
                  <a:pt x="711623" y="11723"/>
                </a:lnTo>
                <a:lnTo>
                  <a:pt x="758647" y="5257"/>
                </a:lnTo>
                <a:lnTo>
                  <a:pt x="806452" y="1326"/>
                </a:lnTo>
                <a:lnTo>
                  <a:pt x="854968" y="0"/>
                </a:lnTo>
                <a:lnTo>
                  <a:pt x="903484" y="1326"/>
                </a:lnTo>
                <a:lnTo>
                  <a:pt x="951290" y="5257"/>
                </a:lnTo>
                <a:lnTo>
                  <a:pt x="998313" y="11723"/>
                </a:lnTo>
                <a:lnTo>
                  <a:pt x="1044483" y="20653"/>
                </a:lnTo>
                <a:lnTo>
                  <a:pt x="1089725" y="31976"/>
                </a:lnTo>
                <a:lnTo>
                  <a:pt x="1133969" y="45622"/>
                </a:lnTo>
                <a:lnTo>
                  <a:pt x="1177142" y="61519"/>
                </a:lnTo>
                <a:lnTo>
                  <a:pt x="1219173" y="79597"/>
                </a:lnTo>
                <a:lnTo>
                  <a:pt x="1259987" y="99786"/>
                </a:lnTo>
                <a:lnTo>
                  <a:pt x="1299515" y="122013"/>
                </a:lnTo>
                <a:lnTo>
                  <a:pt x="1337683" y="146210"/>
                </a:lnTo>
                <a:lnTo>
                  <a:pt x="1374419" y="172305"/>
                </a:lnTo>
                <a:lnTo>
                  <a:pt x="1409651" y="200227"/>
                </a:lnTo>
                <a:lnTo>
                  <a:pt x="1443307" y="229906"/>
                </a:lnTo>
                <a:lnTo>
                  <a:pt x="1475315" y="261271"/>
                </a:lnTo>
                <a:lnTo>
                  <a:pt x="1505603" y="294251"/>
                </a:lnTo>
                <a:lnTo>
                  <a:pt x="1534097" y="328775"/>
                </a:lnTo>
                <a:lnTo>
                  <a:pt x="1560727" y="364773"/>
                </a:lnTo>
                <a:lnTo>
                  <a:pt x="1585420" y="402175"/>
                </a:lnTo>
                <a:lnTo>
                  <a:pt x="1608104" y="440908"/>
                </a:lnTo>
                <a:lnTo>
                  <a:pt x="1628707" y="480903"/>
                </a:lnTo>
                <a:lnTo>
                  <a:pt x="1647155" y="522089"/>
                </a:lnTo>
                <a:lnTo>
                  <a:pt x="1663379" y="564396"/>
                </a:lnTo>
                <a:lnTo>
                  <a:pt x="1677304" y="607751"/>
                </a:lnTo>
                <a:lnTo>
                  <a:pt x="1688859" y="652086"/>
                </a:lnTo>
                <a:lnTo>
                  <a:pt x="1697973" y="697328"/>
                </a:lnTo>
                <a:lnTo>
                  <a:pt x="1704571" y="743408"/>
                </a:lnTo>
                <a:lnTo>
                  <a:pt x="1708584" y="790254"/>
                </a:lnTo>
                <a:lnTo>
                  <a:pt x="1709937" y="837796"/>
                </a:lnTo>
                <a:close/>
              </a:path>
            </a:pathLst>
          </a:custGeom>
          <a:ln w="17015">
            <a:solidFill>
              <a:srgbClr val="808080"/>
            </a:solidFill>
          </a:ln>
        </p:spPr>
        <p:txBody>
          <a:bodyPr wrap="square" lIns="0" tIns="0" rIns="0" bIns="0" rtlCol="0"/>
          <a:lstStyle/>
          <a:p>
            <a:endParaRPr/>
          </a:p>
        </p:txBody>
      </p:sp>
      <p:sp>
        <p:nvSpPr>
          <p:cNvPr id="29" name="object 29"/>
          <p:cNvSpPr/>
          <p:nvPr/>
        </p:nvSpPr>
        <p:spPr>
          <a:xfrm>
            <a:off x="2930951" y="1516714"/>
            <a:ext cx="917288" cy="961410"/>
          </a:xfrm>
          <a:custGeom>
            <a:avLst/>
            <a:gdLst/>
            <a:ahLst/>
            <a:cxnLst/>
            <a:rect l="l" t="t" r="r" b="b"/>
            <a:pathLst>
              <a:path w="2016759" h="2113915">
                <a:moveTo>
                  <a:pt x="448499" y="1286432"/>
                </a:moveTo>
                <a:lnTo>
                  <a:pt x="0" y="1500802"/>
                </a:lnTo>
                <a:lnTo>
                  <a:pt x="21073" y="1543702"/>
                </a:lnTo>
                <a:lnTo>
                  <a:pt x="44001" y="1585483"/>
                </a:lnTo>
                <a:lnTo>
                  <a:pt x="68731" y="1626092"/>
                </a:lnTo>
                <a:lnTo>
                  <a:pt x="95208" y="1665474"/>
                </a:lnTo>
                <a:lnTo>
                  <a:pt x="123378" y="1703576"/>
                </a:lnTo>
                <a:lnTo>
                  <a:pt x="153188" y="1740345"/>
                </a:lnTo>
                <a:lnTo>
                  <a:pt x="184583" y="1775725"/>
                </a:lnTo>
                <a:lnTo>
                  <a:pt x="217511" y="1809664"/>
                </a:lnTo>
                <a:lnTo>
                  <a:pt x="251917" y="1842108"/>
                </a:lnTo>
                <a:lnTo>
                  <a:pt x="287747" y="1873002"/>
                </a:lnTo>
                <a:lnTo>
                  <a:pt x="324948" y="1902293"/>
                </a:lnTo>
                <a:lnTo>
                  <a:pt x="363466" y="1929928"/>
                </a:lnTo>
                <a:lnTo>
                  <a:pt x="403246" y="1955851"/>
                </a:lnTo>
                <a:lnTo>
                  <a:pt x="444235" y="1980010"/>
                </a:lnTo>
                <a:lnTo>
                  <a:pt x="486380" y="2002351"/>
                </a:lnTo>
                <a:lnTo>
                  <a:pt x="529626" y="2022819"/>
                </a:lnTo>
                <a:lnTo>
                  <a:pt x="573919" y="2041362"/>
                </a:lnTo>
                <a:lnTo>
                  <a:pt x="619206" y="2057924"/>
                </a:lnTo>
                <a:lnTo>
                  <a:pt x="665434" y="2072453"/>
                </a:lnTo>
                <a:lnTo>
                  <a:pt x="712547" y="2084894"/>
                </a:lnTo>
                <a:lnTo>
                  <a:pt x="760492" y="2095194"/>
                </a:lnTo>
                <a:lnTo>
                  <a:pt x="809216" y="2103299"/>
                </a:lnTo>
                <a:lnTo>
                  <a:pt x="858665" y="2109155"/>
                </a:lnTo>
                <a:lnTo>
                  <a:pt x="908784" y="2112707"/>
                </a:lnTo>
                <a:lnTo>
                  <a:pt x="959520" y="2113904"/>
                </a:lnTo>
                <a:lnTo>
                  <a:pt x="1007902" y="2112816"/>
                </a:lnTo>
                <a:lnTo>
                  <a:pt x="1055725" y="2109584"/>
                </a:lnTo>
                <a:lnTo>
                  <a:pt x="1102943" y="2104255"/>
                </a:lnTo>
                <a:lnTo>
                  <a:pt x="1149509" y="2096875"/>
                </a:lnTo>
                <a:lnTo>
                  <a:pt x="1195377" y="2087491"/>
                </a:lnTo>
                <a:lnTo>
                  <a:pt x="1240501" y="2076149"/>
                </a:lnTo>
                <a:lnTo>
                  <a:pt x="1284832" y="2062896"/>
                </a:lnTo>
                <a:lnTo>
                  <a:pt x="1328326" y="2047778"/>
                </a:lnTo>
                <a:lnTo>
                  <a:pt x="1370935" y="2030844"/>
                </a:lnTo>
                <a:lnTo>
                  <a:pt x="1412612" y="2012138"/>
                </a:lnTo>
                <a:lnTo>
                  <a:pt x="1453311" y="1991707"/>
                </a:lnTo>
                <a:lnTo>
                  <a:pt x="1492985" y="1969599"/>
                </a:lnTo>
                <a:lnTo>
                  <a:pt x="1531588" y="1945860"/>
                </a:lnTo>
                <a:lnTo>
                  <a:pt x="1569073" y="1920537"/>
                </a:lnTo>
                <a:lnTo>
                  <a:pt x="1605393" y="1893675"/>
                </a:lnTo>
                <a:lnTo>
                  <a:pt x="1640502" y="1865323"/>
                </a:lnTo>
                <a:lnTo>
                  <a:pt x="1674353" y="1835526"/>
                </a:lnTo>
                <a:lnTo>
                  <a:pt x="1706899" y="1804331"/>
                </a:lnTo>
                <a:lnTo>
                  <a:pt x="1738094" y="1771784"/>
                </a:lnTo>
                <a:lnTo>
                  <a:pt x="1767891" y="1737934"/>
                </a:lnTo>
                <a:lnTo>
                  <a:pt x="1796244" y="1702825"/>
                </a:lnTo>
                <a:lnTo>
                  <a:pt x="1823105" y="1666505"/>
                </a:lnTo>
                <a:lnTo>
                  <a:pt x="1848429" y="1629020"/>
                </a:lnTo>
                <a:lnTo>
                  <a:pt x="1855671" y="1617242"/>
                </a:lnTo>
                <a:lnTo>
                  <a:pt x="959060" y="1617242"/>
                </a:lnTo>
                <a:lnTo>
                  <a:pt x="913364" y="1615373"/>
                </a:lnTo>
                <a:lnTo>
                  <a:pt x="867682" y="1609713"/>
                </a:lnTo>
                <a:lnTo>
                  <a:pt x="822241" y="1600197"/>
                </a:lnTo>
                <a:lnTo>
                  <a:pt x="777271" y="1586759"/>
                </a:lnTo>
                <a:lnTo>
                  <a:pt x="732999" y="1569331"/>
                </a:lnTo>
                <a:lnTo>
                  <a:pt x="689654" y="1547848"/>
                </a:lnTo>
                <a:lnTo>
                  <a:pt x="643873" y="1519786"/>
                </a:lnTo>
                <a:lnTo>
                  <a:pt x="601718" y="1488108"/>
                </a:lnTo>
                <a:lnTo>
                  <a:pt x="563279" y="1453127"/>
                </a:lnTo>
                <a:lnTo>
                  <a:pt x="528647" y="1415155"/>
                </a:lnTo>
                <a:lnTo>
                  <a:pt x="497913" y="1374507"/>
                </a:lnTo>
                <a:lnTo>
                  <a:pt x="471166" y="1331494"/>
                </a:lnTo>
                <a:lnTo>
                  <a:pt x="448499" y="1286432"/>
                </a:lnTo>
                <a:close/>
              </a:path>
              <a:path w="2016759" h="2113915">
                <a:moveTo>
                  <a:pt x="959520" y="0"/>
                </a:moveTo>
                <a:lnTo>
                  <a:pt x="959520" y="496770"/>
                </a:lnTo>
                <a:lnTo>
                  <a:pt x="1006530" y="498745"/>
                </a:lnTo>
                <a:lnTo>
                  <a:pt x="1053048" y="504632"/>
                </a:lnTo>
                <a:lnTo>
                  <a:pt x="1098833" y="514367"/>
                </a:lnTo>
                <a:lnTo>
                  <a:pt x="1143646" y="527891"/>
                </a:lnTo>
                <a:lnTo>
                  <a:pt x="1187247" y="545141"/>
                </a:lnTo>
                <a:lnTo>
                  <a:pt x="1229397" y="566056"/>
                </a:lnTo>
                <a:lnTo>
                  <a:pt x="1270762" y="591144"/>
                </a:lnTo>
                <a:lnTo>
                  <a:pt x="1309200" y="619188"/>
                </a:lnTo>
                <a:lnTo>
                  <a:pt x="1344643" y="649958"/>
                </a:lnTo>
                <a:lnTo>
                  <a:pt x="1377026" y="683227"/>
                </a:lnTo>
                <a:lnTo>
                  <a:pt x="1406283" y="718767"/>
                </a:lnTo>
                <a:lnTo>
                  <a:pt x="1432346" y="756348"/>
                </a:lnTo>
                <a:lnTo>
                  <a:pt x="1455150" y="795743"/>
                </a:lnTo>
                <a:lnTo>
                  <a:pt x="1474628" y="836723"/>
                </a:lnTo>
                <a:lnTo>
                  <a:pt x="1490714" y="879060"/>
                </a:lnTo>
                <a:lnTo>
                  <a:pt x="1503342" y="922525"/>
                </a:lnTo>
                <a:lnTo>
                  <a:pt x="1512445" y="966891"/>
                </a:lnTo>
                <a:lnTo>
                  <a:pt x="1517956" y="1011929"/>
                </a:lnTo>
                <a:lnTo>
                  <a:pt x="1519811" y="1057410"/>
                </a:lnTo>
                <a:lnTo>
                  <a:pt x="1517941" y="1103107"/>
                </a:lnTo>
                <a:lnTo>
                  <a:pt x="1512282" y="1148791"/>
                </a:lnTo>
                <a:lnTo>
                  <a:pt x="1502766" y="1194233"/>
                </a:lnTo>
                <a:lnTo>
                  <a:pt x="1489327" y="1239206"/>
                </a:lnTo>
                <a:lnTo>
                  <a:pt x="1471899" y="1283480"/>
                </a:lnTo>
                <a:lnTo>
                  <a:pt x="1450416" y="1326828"/>
                </a:lnTo>
                <a:lnTo>
                  <a:pt x="1425328" y="1368194"/>
                </a:lnTo>
                <a:lnTo>
                  <a:pt x="1397284" y="1406631"/>
                </a:lnTo>
                <a:lnTo>
                  <a:pt x="1366513" y="1442075"/>
                </a:lnTo>
                <a:lnTo>
                  <a:pt x="1333243" y="1474458"/>
                </a:lnTo>
                <a:lnTo>
                  <a:pt x="1297704" y="1503714"/>
                </a:lnTo>
                <a:lnTo>
                  <a:pt x="1260122" y="1529778"/>
                </a:lnTo>
                <a:lnTo>
                  <a:pt x="1220727" y="1552582"/>
                </a:lnTo>
                <a:lnTo>
                  <a:pt x="1179746" y="1572060"/>
                </a:lnTo>
                <a:lnTo>
                  <a:pt x="1137409" y="1588146"/>
                </a:lnTo>
                <a:lnTo>
                  <a:pt x="1093944" y="1600773"/>
                </a:lnTo>
                <a:lnTo>
                  <a:pt x="1049578" y="1609876"/>
                </a:lnTo>
                <a:lnTo>
                  <a:pt x="1004541" y="1615388"/>
                </a:lnTo>
                <a:lnTo>
                  <a:pt x="959060" y="1617242"/>
                </a:lnTo>
                <a:lnTo>
                  <a:pt x="1855671" y="1617242"/>
                </a:lnTo>
                <a:lnTo>
                  <a:pt x="1894276" y="1550743"/>
                </a:lnTo>
                <a:lnTo>
                  <a:pt x="1914706" y="1510043"/>
                </a:lnTo>
                <a:lnTo>
                  <a:pt x="1933412" y="1468366"/>
                </a:lnTo>
                <a:lnTo>
                  <a:pt x="1950347" y="1425758"/>
                </a:lnTo>
                <a:lnTo>
                  <a:pt x="1965464" y="1382264"/>
                </a:lnTo>
                <a:lnTo>
                  <a:pt x="1978717" y="1337932"/>
                </a:lnTo>
                <a:lnTo>
                  <a:pt x="1990059" y="1292809"/>
                </a:lnTo>
                <a:lnTo>
                  <a:pt x="1999443" y="1246941"/>
                </a:lnTo>
                <a:lnTo>
                  <a:pt x="2006823" y="1200374"/>
                </a:lnTo>
                <a:lnTo>
                  <a:pt x="2012153" y="1153156"/>
                </a:lnTo>
                <a:lnTo>
                  <a:pt x="2015385" y="1105333"/>
                </a:lnTo>
                <a:lnTo>
                  <a:pt x="2016472" y="1056952"/>
                </a:lnTo>
                <a:lnTo>
                  <a:pt x="2015385" y="1008571"/>
                </a:lnTo>
                <a:lnTo>
                  <a:pt x="2012153" y="960749"/>
                </a:lnTo>
                <a:lnTo>
                  <a:pt x="2006823" y="913531"/>
                </a:lnTo>
                <a:lnTo>
                  <a:pt x="1999443" y="866965"/>
                </a:lnTo>
                <a:lnTo>
                  <a:pt x="1990059" y="821097"/>
                </a:lnTo>
                <a:lnTo>
                  <a:pt x="1978717" y="775975"/>
                </a:lnTo>
                <a:lnTo>
                  <a:pt x="1965464" y="731643"/>
                </a:lnTo>
                <a:lnTo>
                  <a:pt x="1950347" y="688150"/>
                </a:lnTo>
                <a:lnTo>
                  <a:pt x="1933412" y="645541"/>
                </a:lnTo>
                <a:lnTo>
                  <a:pt x="1914706" y="603864"/>
                </a:lnTo>
                <a:lnTo>
                  <a:pt x="1894276" y="563165"/>
                </a:lnTo>
                <a:lnTo>
                  <a:pt x="1872168" y="523491"/>
                </a:lnTo>
                <a:lnTo>
                  <a:pt x="1848429" y="484888"/>
                </a:lnTo>
                <a:lnTo>
                  <a:pt x="1823105" y="447403"/>
                </a:lnTo>
                <a:lnTo>
                  <a:pt x="1796244" y="411083"/>
                </a:lnTo>
                <a:lnTo>
                  <a:pt x="1767891" y="375974"/>
                </a:lnTo>
                <a:lnTo>
                  <a:pt x="1738094" y="342123"/>
                </a:lnTo>
                <a:lnTo>
                  <a:pt x="1706899" y="309576"/>
                </a:lnTo>
                <a:lnTo>
                  <a:pt x="1674353" y="278381"/>
                </a:lnTo>
                <a:lnTo>
                  <a:pt x="1640502" y="248584"/>
                </a:lnTo>
                <a:lnTo>
                  <a:pt x="1605393" y="220231"/>
                </a:lnTo>
                <a:lnTo>
                  <a:pt x="1569073" y="193369"/>
                </a:lnTo>
                <a:lnTo>
                  <a:pt x="1531588" y="168046"/>
                </a:lnTo>
                <a:lnTo>
                  <a:pt x="1492985" y="144306"/>
                </a:lnTo>
                <a:lnTo>
                  <a:pt x="1453311" y="122198"/>
                </a:lnTo>
                <a:lnTo>
                  <a:pt x="1412612" y="101767"/>
                </a:lnTo>
                <a:lnTo>
                  <a:pt x="1370935" y="83061"/>
                </a:lnTo>
                <a:lnTo>
                  <a:pt x="1328326" y="66126"/>
                </a:lnTo>
                <a:lnTo>
                  <a:pt x="1284832" y="51009"/>
                </a:lnTo>
                <a:lnTo>
                  <a:pt x="1240501" y="37755"/>
                </a:lnTo>
                <a:lnTo>
                  <a:pt x="1195377" y="26413"/>
                </a:lnTo>
                <a:lnTo>
                  <a:pt x="1149509" y="17029"/>
                </a:lnTo>
                <a:lnTo>
                  <a:pt x="1102943" y="9648"/>
                </a:lnTo>
                <a:lnTo>
                  <a:pt x="1055725" y="4319"/>
                </a:lnTo>
                <a:lnTo>
                  <a:pt x="1007902" y="1087"/>
                </a:lnTo>
                <a:lnTo>
                  <a:pt x="959520" y="0"/>
                </a:lnTo>
                <a:close/>
              </a:path>
            </a:pathLst>
          </a:custGeom>
          <a:solidFill>
            <a:srgbClr val="FF7900"/>
          </a:solidFill>
        </p:spPr>
        <p:txBody>
          <a:bodyPr wrap="square" lIns="0" tIns="0" rIns="0" bIns="0" rtlCol="0"/>
          <a:lstStyle/>
          <a:p>
            <a:endParaRPr/>
          </a:p>
        </p:txBody>
      </p:sp>
      <p:sp>
        <p:nvSpPr>
          <p:cNvPr id="30" name="object 30"/>
          <p:cNvSpPr/>
          <p:nvPr/>
        </p:nvSpPr>
        <p:spPr>
          <a:xfrm>
            <a:off x="4572000" y="1299862"/>
            <a:ext cx="0" cy="3289992"/>
          </a:xfrm>
          <a:custGeom>
            <a:avLst/>
            <a:gdLst/>
            <a:ahLst/>
            <a:cxnLst/>
            <a:rect l="l" t="t" r="r" b="b"/>
            <a:pathLst>
              <a:path h="7233920">
                <a:moveTo>
                  <a:pt x="0" y="0"/>
                </a:moveTo>
                <a:lnTo>
                  <a:pt x="0" y="7233790"/>
                </a:lnTo>
              </a:path>
            </a:pathLst>
          </a:custGeom>
          <a:ln w="20941">
            <a:solidFill>
              <a:srgbClr val="000000"/>
            </a:solidFill>
          </a:ln>
        </p:spPr>
        <p:txBody>
          <a:bodyPr wrap="square" lIns="0" tIns="0" rIns="0" bIns="0" rtlCol="0"/>
          <a:lstStyle/>
          <a:p>
            <a:endParaRPr/>
          </a:p>
        </p:txBody>
      </p:sp>
      <p:sp>
        <p:nvSpPr>
          <p:cNvPr id="31" name="Rectangle 30"/>
          <p:cNvSpPr/>
          <p:nvPr/>
        </p:nvSpPr>
        <p:spPr>
          <a:xfrm>
            <a:off x="101087" y="4720410"/>
            <a:ext cx="5268053" cy="207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1587" tIns="20793" rIns="41587" bIns="20793" rtlCol="0" anchor="ctr"/>
          <a:lstStyle/>
          <a:p>
            <a:r>
              <a:rPr lang="fr-FR" sz="900" b="1" dirty="0"/>
              <a:t>* Question posée :   « vous donne des conseils indépendants / anticipe vos besoins » </a:t>
            </a:r>
          </a:p>
        </p:txBody>
      </p:sp>
    </p:spTree>
    <p:extLst>
      <p:ext uri="{BB962C8B-B14F-4D97-AF65-F5344CB8AC3E}">
        <p14:creationId xmlns:p14="http://schemas.microsoft.com/office/powerpoint/2010/main" val="27495510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5666" y="109930"/>
            <a:ext cx="7676041" cy="326053"/>
          </a:xfrm>
          <a:prstGeom prst="rect">
            <a:avLst/>
          </a:prstGeom>
        </p:spPr>
        <p:txBody>
          <a:bodyPr vert="horz" wrap="square" lIns="0" tIns="7798" rIns="0" bIns="0" rtlCol="0">
            <a:spAutoFit/>
          </a:bodyPr>
          <a:lstStyle/>
          <a:p>
            <a:pPr marL="5776">
              <a:lnSpc>
                <a:spcPct val="100000"/>
              </a:lnSpc>
              <a:spcBef>
                <a:spcPts val="61"/>
              </a:spcBef>
            </a:pPr>
            <a:r>
              <a:rPr spc="-7" dirty="0"/>
              <a:t>Le </a:t>
            </a:r>
            <a:r>
              <a:rPr spc="-23" dirty="0"/>
              <a:t>conseiller </a:t>
            </a:r>
            <a:r>
              <a:rPr spc="-20" dirty="0"/>
              <a:t>bancaire </a:t>
            </a:r>
            <a:r>
              <a:rPr spc="-11" dirty="0"/>
              <a:t>n’est plus </a:t>
            </a:r>
            <a:r>
              <a:rPr spc="-9" dirty="0"/>
              <a:t>jugé</a:t>
            </a:r>
            <a:r>
              <a:rPr spc="-220" dirty="0"/>
              <a:t> </a:t>
            </a:r>
            <a:r>
              <a:rPr spc="-16" dirty="0"/>
              <a:t>indispensable</a:t>
            </a:r>
          </a:p>
        </p:txBody>
      </p:sp>
      <p:sp>
        <p:nvSpPr>
          <p:cNvPr id="3" name="object 3"/>
          <p:cNvSpPr txBox="1"/>
          <p:nvPr/>
        </p:nvSpPr>
        <p:spPr>
          <a:xfrm>
            <a:off x="775667" y="567098"/>
            <a:ext cx="8049276" cy="144916"/>
          </a:xfrm>
          <a:prstGeom prst="rect">
            <a:avLst/>
          </a:prstGeom>
        </p:spPr>
        <p:txBody>
          <a:bodyPr vert="horz" wrap="square" lIns="0" tIns="6354" rIns="0" bIns="0" rtlCol="0">
            <a:spAutoFit/>
          </a:bodyPr>
          <a:lstStyle/>
          <a:p>
            <a:pPr marL="5776">
              <a:spcBef>
                <a:spcPts val="50"/>
              </a:spcBef>
            </a:pPr>
            <a:r>
              <a:rPr sz="900" b="1" spc="2" dirty="0">
                <a:latin typeface="Helvetica Neue"/>
                <a:cs typeface="Helvetica Neue"/>
              </a:rPr>
              <a:t>Pourriez-vous vous passer d’un conseiller bancaire ? Etes-vous d’accord ou pas d’accord avec chacune des propositions suivantes</a:t>
            </a:r>
            <a:r>
              <a:rPr sz="900" b="1" spc="-39" dirty="0">
                <a:latin typeface="Helvetica Neue"/>
                <a:cs typeface="Helvetica Neue"/>
              </a:rPr>
              <a:t> </a:t>
            </a:r>
            <a:r>
              <a:rPr sz="900" b="1" spc="2" dirty="0">
                <a:latin typeface="Helvetica Neue"/>
                <a:cs typeface="Helvetica Neue"/>
              </a:rPr>
              <a:t>?</a:t>
            </a:r>
            <a:endParaRPr sz="900" dirty="0">
              <a:latin typeface="Helvetica Neue"/>
              <a:cs typeface="Helvetica Neue"/>
            </a:endParaRPr>
          </a:p>
        </p:txBody>
      </p:sp>
      <p:sp>
        <p:nvSpPr>
          <p:cNvPr id="4" name="object 4"/>
          <p:cNvSpPr/>
          <p:nvPr/>
        </p:nvSpPr>
        <p:spPr>
          <a:xfrm>
            <a:off x="0" y="866176"/>
            <a:ext cx="9144000" cy="4277105"/>
          </a:xfrm>
          <a:custGeom>
            <a:avLst/>
            <a:gdLst/>
            <a:ahLst/>
            <a:cxnLst/>
            <a:rect l="l" t="t" r="r" b="b"/>
            <a:pathLst>
              <a:path w="20104100" h="9404350">
                <a:moveTo>
                  <a:pt x="0" y="9404038"/>
                </a:moveTo>
                <a:lnTo>
                  <a:pt x="20104099" y="9404038"/>
                </a:lnTo>
                <a:lnTo>
                  <a:pt x="20104099" y="0"/>
                </a:lnTo>
                <a:lnTo>
                  <a:pt x="0" y="0"/>
                </a:lnTo>
                <a:lnTo>
                  <a:pt x="0" y="9404038"/>
                </a:lnTo>
                <a:close/>
              </a:path>
            </a:pathLst>
          </a:custGeom>
          <a:solidFill>
            <a:srgbClr val="D5D5D5"/>
          </a:solidFill>
        </p:spPr>
        <p:txBody>
          <a:bodyPr wrap="square" lIns="0" tIns="0" rIns="0" bIns="0" rtlCol="0"/>
          <a:lstStyle/>
          <a:p>
            <a:endParaRPr/>
          </a:p>
        </p:txBody>
      </p:sp>
      <p:sp>
        <p:nvSpPr>
          <p:cNvPr id="5" name="object 5"/>
          <p:cNvSpPr/>
          <p:nvPr/>
        </p:nvSpPr>
        <p:spPr>
          <a:xfrm>
            <a:off x="190896" y="214492"/>
            <a:ext cx="422542" cy="422512"/>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5"/>
                </a:lnTo>
                <a:lnTo>
                  <a:pt x="20875" y="602435"/>
                </a:lnTo>
                <a:lnTo>
                  <a:pt x="36489" y="645098"/>
                </a:lnTo>
                <a:lnTo>
                  <a:pt x="56042" y="685689"/>
                </a:lnTo>
                <a:lnTo>
                  <a:pt x="79301" y="723975"/>
                </a:lnTo>
                <a:lnTo>
                  <a:pt x="106031" y="759722"/>
                </a:lnTo>
                <a:lnTo>
                  <a:pt x="136001" y="792698"/>
                </a:lnTo>
                <a:lnTo>
                  <a:pt x="168975" y="822668"/>
                </a:lnTo>
                <a:lnTo>
                  <a:pt x="204722" y="849400"/>
                </a:lnTo>
                <a:lnTo>
                  <a:pt x="243007" y="872659"/>
                </a:lnTo>
                <a:lnTo>
                  <a:pt x="283597" y="892213"/>
                </a:lnTo>
                <a:lnTo>
                  <a:pt x="326259" y="907828"/>
                </a:lnTo>
                <a:lnTo>
                  <a:pt x="370759" y="919270"/>
                </a:lnTo>
                <a:lnTo>
                  <a:pt x="416864" y="926307"/>
                </a:lnTo>
                <a:lnTo>
                  <a:pt x="464341" y="928704"/>
                </a:lnTo>
                <a:lnTo>
                  <a:pt x="511818" y="926307"/>
                </a:lnTo>
                <a:lnTo>
                  <a:pt x="557924" y="919270"/>
                </a:lnTo>
                <a:lnTo>
                  <a:pt x="602425" y="907828"/>
                </a:lnTo>
                <a:lnTo>
                  <a:pt x="645088" y="892213"/>
                </a:lnTo>
                <a:lnTo>
                  <a:pt x="685678" y="872659"/>
                </a:lnTo>
                <a:lnTo>
                  <a:pt x="723964" y="849400"/>
                </a:lnTo>
                <a:lnTo>
                  <a:pt x="759712" y="822668"/>
                </a:lnTo>
                <a:lnTo>
                  <a:pt x="792687" y="792698"/>
                </a:lnTo>
                <a:lnTo>
                  <a:pt x="822658" y="759722"/>
                </a:lnTo>
                <a:lnTo>
                  <a:pt x="849389" y="723975"/>
                </a:lnTo>
                <a:lnTo>
                  <a:pt x="872649" y="685689"/>
                </a:lnTo>
                <a:lnTo>
                  <a:pt x="892202" y="645098"/>
                </a:lnTo>
                <a:lnTo>
                  <a:pt x="907817" y="602435"/>
                </a:lnTo>
                <a:lnTo>
                  <a:pt x="919260" y="557935"/>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FFC203"/>
          </a:solidFill>
        </p:spPr>
        <p:txBody>
          <a:bodyPr wrap="square" lIns="0" tIns="0" rIns="0" bIns="0" rtlCol="0"/>
          <a:lstStyle/>
          <a:p>
            <a:endParaRPr/>
          </a:p>
        </p:txBody>
      </p:sp>
      <p:sp>
        <p:nvSpPr>
          <p:cNvPr id="6" name="object 6"/>
          <p:cNvSpPr/>
          <p:nvPr/>
        </p:nvSpPr>
        <p:spPr>
          <a:xfrm>
            <a:off x="190893" y="214493"/>
            <a:ext cx="422542" cy="422512"/>
          </a:xfrm>
          <a:custGeom>
            <a:avLst/>
            <a:gdLst/>
            <a:ahLst/>
            <a:cxnLst/>
            <a:rect l="l" t="t" r="r" b="b"/>
            <a:pathLst>
              <a:path w="929005" h="929005">
                <a:moveTo>
                  <a:pt x="464352" y="0"/>
                </a:moveTo>
                <a:lnTo>
                  <a:pt x="416875" y="2397"/>
                </a:lnTo>
                <a:lnTo>
                  <a:pt x="370769" y="9433"/>
                </a:lnTo>
                <a:lnTo>
                  <a:pt x="326268" y="20875"/>
                </a:lnTo>
                <a:lnTo>
                  <a:pt x="283606" y="36489"/>
                </a:lnTo>
                <a:lnTo>
                  <a:pt x="243015" y="56043"/>
                </a:lnTo>
                <a:lnTo>
                  <a:pt x="204729" y="79301"/>
                </a:lnTo>
                <a:lnTo>
                  <a:pt x="168981" y="106032"/>
                </a:lnTo>
                <a:lnTo>
                  <a:pt x="136006" y="136002"/>
                </a:lnTo>
                <a:lnTo>
                  <a:pt x="106036" y="168977"/>
                </a:lnTo>
                <a:lnTo>
                  <a:pt x="79304" y="204724"/>
                </a:lnTo>
                <a:lnTo>
                  <a:pt x="56045" y="243010"/>
                </a:lnTo>
                <a:lnTo>
                  <a:pt x="36491" y="283601"/>
                </a:lnTo>
                <a:lnTo>
                  <a:pt x="20876" y="326264"/>
                </a:lnTo>
                <a:lnTo>
                  <a:pt x="9434" y="370766"/>
                </a:lnTo>
                <a:lnTo>
                  <a:pt x="2397" y="416873"/>
                </a:lnTo>
                <a:lnTo>
                  <a:pt x="0" y="464352"/>
                </a:lnTo>
                <a:lnTo>
                  <a:pt x="2397" y="511829"/>
                </a:lnTo>
                <a:lnTo>
                  <a:pt x="9434" y="557934"/>
                </a:lnTo>
                <a:lnTo>
                  <a:pt x="20876" y="602434"/>
                </a:lnTo>
                <a:lnTo>
                  <a:pt x="36491" y="645096"/>
                </a:lnTo>
                <a:lnTo>
                  <a:pt x="56045" y="685687"/>
                </a:lnTo>
                <a:lnTo>
                  <a:pt x="79304" y="723972"/>
                </a:lnTo>
                <a:lnTo>
                  <a:pt x="106036" y="759718"/>
                </a:lnTo>
                <a:lnTo>
                  <a:pt x="136006" y="792693"/>
                </a:lnTo>
                <a:lnTo>
                  <a:pt x="168981" y="822662"/>
                </a:lnTo>
                <a:lnTo>
                  <a:pt x="204729" y="849392"/>
                </a:lnTo>
                <a:lnTo>
                  <a:pt x="243015" y="872651"/>
                </a:lnTo>
                <a:lnTo>
                  <a:pt x="283606" y="892204"/>
                </a:lnTo>
                <a:lnTo>
                  <a:pt x="326268" y="907818"/>
                </a:lnTo>
                <a:lnTo>
                  <a:pt x="370769" y="919260"/>
                </a:lnTo>
                <a:lnTo>
                  <a:pt x="416875" y="926296"/>
                </a:lnTo>
                <a:lnTo>
                  <a:pt x="464352" y="928694"/>
                </a:lnTo>
                <a:lnTo>
                  <a:pt x="511827" y="926296"/>
                </a:lnTo>
                <a:lnTo>
                  <a:pt x="557932" y="919260"/>
                </a:lnTo>
                <a:lnTo>
                  <a:pt x="602431" y="907818"/>
                </a:lnTo>
                <a:lnTo>
                  <a:pt x="645094" y="892204"/>
                </a:lnTo>
                <a:lnTo>
                  <a:pt x="685684" y="872651"/>
                </a:lnTo>
                <a:lnTo>
                  <a:pt x="723970" y="849392"/>
                </a:lnTo>
                <a:lnTo>
                  <a:pt x="733457" y="842298"/>
                </a:lnTo>
                <a:lnTo>
                  <a:pt x="464352" y="842298"/>
                </a:lnTo>
                <a:lnTo>
                  <a:pt x="417008" y="839348"/>
                </a:lnTo>
                <a:lnTo>
                  <a:pt x="371400" y="830736"/>
                </a:lnTo>
                <a:lnTo>
                  <a:pt x="327885" y="816818"/>
                </a:lnTo>
                <a:lnTo>
                  <a:pt x="286819" y="797951"/>
                </a:lnTo>
                <a:lnTo>
                  <a:pt x="248561" y="774492"/>
                </a:lnTo>
                <a:lnTo>
                  <a:pt x="213467" y="746799"/>
                </a:lnTo>
                <a:lnTo>
                  <a:pt x="181893" y="715228"/>
                </a:lnTo>
                <a:lnTo>
                  <a:pt x="154197" y="680136"/>
                </a:lnTo>
                <a:lnTo>
                  <a:pt x="130737" y="641880"/>
                </a:lnTo>
                <a:lnTo>
                  <a:pt x="111868" y="600816"/>
                </a:lnTo>
                <a:lnTo>
                  <a:pt x="97948" y="557302"/>
                </a:lnTo>
                <a:lnTo>
                  <a:pt x="89335" y="511695"/>
                </a:lnTo>
                <a:lnTo>
                  <a:pt x="86384" y="464352"/>
                </a:lnTo>
                <a:lnTo>
                  <a:pt x="89335" y="417006"/>
                </a:lnTo>
                <a:lnTo>
                  <a:pt x="97948" y="371397"/>
                </a:lnTo>
                <a:lnTo>
                  <a:pt x="111868" y="327882"/>
                </a:lnTo>
                <a:lnTo>
                  <a:pt x="130737" y="286817"/>
                </a:lnTo>
                <a:lnTo>
                  <a:pt x="154197" y="248560"/>
                </a:lnTo>
                <a:lnTo>
                  <a:pt x="181893" y="213467"/>
                </a:lnTo>
                <a:lnTo>
                  <a:pt x="213467" y="181895"/>
                </a:lnTo>
                <a:lnTo>
                  <a:pt x="248561" y="154202"/>
                </a:lnTo>
                <a:lnTo>
                  <a:pt x="286819" y="130743"/>
                </a:lnTo>
                <a:lnTo>
                  <a:pt x="327885" y="111876"/>
                </a:lnTo>
                <a:lnTo>
                  <a:pt x="371400" y="97958"/>
                </a:lnTo>
                <a:lnTo>
                  <a:pt x="417008" y="89345"/>
                </a:lnTo>
                <a:lnTo>
                  <a:pt x="464352" y="86395"/>
                </a:lnTo>
                <a:lnTo>
                  <a:pt x="733457" y="86395"/>
                </a:lnTo>
                <a:lnTo>
                  <a:pt x="723970" y="79301"/>
                </a:lnTo>
                <a:lnTo>
                  <a:pt x="685684" y="56043"/>
                </a:lnTo>
                <a:lnTo>
                  <a:pt x="645094" y="36489"/>
                </a:lnTo>
                <a:lnTo>
                  <a:pt x="602431" y="20875"/>
                </a:lnTo>
                <a:lnTo>
                  <a:pt x="557932" y="9433"/>
                </a:lnTo>
                <a:lnTo>
                  <a:pt x="511827" y="2397"/>
                </a:lnTo>
                <a:lnTo>
                  <a:pt x="464352" y="0"/>
                </a:lnTo>
                <a:close/>
              </a:path>
              <a:path w="929005" h="929005">
                <a:moveTo>
                  <a:pt x="733457" y="86395"/>
                </a:moveTo>
                <a:lnTo>
                  <a:pt x="464352" y="86395"/>
                </a:lnTo>
                <a:lnTo>
                  <a:pt x="511696" y="89345"/>
                </a:lnTo>
                <a:lnTo>
                  <a:pt x="557303" y="97958"/>
                </a:lnTo>
                <a:lnTo>
                  <a:pt x="600818" y="111876"/>
                </a:lnTo>
                <a:lnTo>
                  <a:pt x="641882" y="130743"/>
                </a:lnTo>
                <a:lnTo>
                  <a:pt x="680139" y="154202"/>
                </a:lnTo>
                <a:lnTo>
                  <a:pt x="715233" y="181895"/>
                </a:lnTo>
                <a:lnTo>
                  <a:pt x="746805" y="213467"/>
                </a:lnTo>
                <a:lnTo>
                  <a:pt x="774499" y="248560"/>
                </a:lnTo>
                <a:lnTo>
                  <a:pt x="797959" y="286817"/>
                </a:lnTo>
                <a:lnTo>
                  <a:pt x="816827" y="327882"/>
                </a:lnTo>
                <a:lnTo>
                  <a:pt x="830745" y="371397"/>
                </a:lnTo>
                <a:lnTo>
                  <a:pt x="839359" y="417006"/>
                </a:lnTo>
                <a:lnTo>
                  <a:pt x="842309" y="464352"/>
                </a:lnTo>
                <a:lnTo>
                  <a:pt x="839359" y="511695"/>
                </a:lnTo>
                <a:lnTo>
                  <a:pt x="830745" y="557302"/>
                </a:lnTo>
                <a:lnTo>
                  <a:pt x="816827" y="600816"/>
                </a:lnTo>
                <a:lnTo>
                  <a:pt x="797959" y="641880"/>
                </a:lnTo>
                <a:lnTo>
                  <a:pt x="774499" y="680136"/>
                </a:lnTo>
                <a:lnTo>
                  <a:pt x="746805" y="715228"/>
                </a:lnTo>
                <a:lnTo>
                  <a:pt x="715233" y="746799"/>
                </a:lnTo>
                <a:lnTo>
                  <a:pt x="680139" y="774492"/>
                </a:lnTo>
                <a:lnTo>
                  <a:pt x="641882" y="797951"/>
                </a:lnTo>
                <a:lnTo>
                  <a:pt x="600818" y="816818"/>
                </a:lnTo>
                <a:lnTo>
                  <a:pt x="557303" y="830736"/>
                </a:lnTo>
                <a:lnTo>
                  <a:pt x="511696" y="839348"/>
                </a:lnTo>
                <a:lnTo>
                  <a:pt x="464352" y="842298"/>
                </a:lnTo>
                <a:lnTo>
                  <a:pt x="733457" y="842298"/>
                </a:lnTo>
                <a:lnTo>
                  <a:pt x="792694" y="792693"/>
                </a:lnTo>
                <a:lnTo>
                  <a:pt x="822665" y="759718"/>
                </a:lnTo>
                <a:lnTo>
                  <a:pt x="849397" y="723972"/>
                </a:lnTo>
                <a:lnTo>
                  <a:pt x="872657" y="685687"/>
                </a:lnTo>
                <a:lnTo>
                  <a:pt x="892211" y="645096"/>
                </a:lnTo>
                <a:lnTo>
                  <a:pt x="907827" y="602434"/>
                </a:lnTo>
                <a:lnTo>
                  <a:pt x="919270" y="557934"/>
                </a:lnTo>
                <a:lnTo>
                  <a:pt x="926307" y="511829"/>
                </a:lnTo>
                <a:lnTo>
                  <a:pt x="928704" y="464352"/>
                </a:lnTo>
                <a:lnTo>
                  <a:pt x="926307" y="416873"/>
                </a:lnTo>
                <a:lnTo>
                  <a:pt x="919270" y="370766"/>
                </a:lnTo>
                <a:lnTo>
                  <a:pt x="907827" y="326264"/>
                </a:lnTo>
                <a:lnTo>
                  <a:pt x="892211" y="283601"/>
                </a:lnTo>
                <a:lnTo>
                  <a:pt x="872657" y="243010"/>
                </a:lnTo>
                <a:lnTo>
                  <a:pt x="849397" y="204724"/>
                </a:lnTo>
                <a:lnTo>
                  <a:pt x="822665" y="168977"/>
                </a:lnTo>
                <a:lnTo>
                  <a:pt x="792694" y="136002"/>
                </a:lnTo>
                <a:lnTo>
                  <a:pt x="759718" y="106032"/>
                </a:lnTo>
                <a:lnTo>
                  <a:pt x="733457" y="86395"/>
                </a:lnTo>
                <a:close/>
              </a:path>
            </a:pathLst>
          </a:custGeom>
          <a:solidFill>
            <a:srgbClr val="000000"/>
          </a:solidFill>
        </p:spPr>
        <p:txBody>
          <a:bodyPr wrap="square" lIns="0" tIns="0" rIns="0" bIns="0" rtlCol="0"/>
          <a:lstStyle/>
          <a:p>
            <a:endParaRPr/>
          </a:p>
        </p:txBody>
      </p:sp>
      <p:sp>
        <p:nvSpPr>
          <p:cNvPr id="7" name="object 7"/>
          <p:cNvSpPr/>
          <p:nvPr/>
        </p:nvSpPr>
        <p:spPr>
          <a:xfrm>
            <a:off x="272757" y="308793"/>
            <a:ext cx="267446" cy="267427"/>
          </a:xfrm>
          <a:custGeom>
            <a:avLst/>
            <a:gdLst/>
            <a:ahLst/>
            <a:cxnLst/>
            <a:rect l="l" t="t" r="r" b="b"/>
            <a:pathLst>
              <a:path w="588010" h="588010">
                <a:moveTo>
                  <a:pt x="587458" y="0"/>
                </a:moveTo>
                <a:lnTo>
                  <a:pt x="0" y="587458"/>
                </a:lnTo>
              </a:path>
            </a:pathLst>
          </a:custGeom>
          <a:ln w="86395">
            <a:solidFill>
              <a:srgbClr val="000000"/>
            </a:solidFill>
          </a:ln>
        </p:spPr>
        <p:txBody>
          <a:bodyPr wrap="square" lIns="0" tIns="0" rIns="0" bIns="0" rtlCol="0"/>
          <a:lstStyle/>
          <a:p>
            <a:endParaRPr/>
          </a:p>
        </p:txBody>
      </p:sp>
      <p:sp>
        <p:nvSpPr>
          <p:cNvPr id="8" name="object 8"/>
          <p:cNvSpPr/>
          <p:nvPr/>
        </p:nvSpPr>
        <p:spPr>
          <a:xfrm>
            <a:off x="373609" y="400469"/>
            <a:ext cx="78848" cy="107433"/>
          </a:xfrm>
          <a:custGeom>
            <a:avLst/>
            <a:gdLst/>
            <a:ahLst/>
            <a:cxnLst/>
            <a:rect l="l" t="t" r="r" b="b"/>
            <a:pathLst>
              <a:path w="173355" h="236219">
                <a:moveTo>
                  <a:pt x="172790" y="236139"/>
                </a:moveTo>
                <a:lnTo>
                  <a:pt x="0" y="236139"/>
                </a:lnTo>
                <a:lnTo>
                  <a:pt x="0" y="0"/>
                </a:lnTo>
                <a:lnTo>
                  <a:pt x="172790" y="0"/>
                </a:lnTo>
                <a:lnTo>
                  <a:pt x="172790" y="236139"/>
                </a:lnTo>
                <a:close/>
              </a:path>
            </a:pathLst>
          </a:custGeom>
          <a:solidFill>
            <a:srgbClr val="FFFFFF"/>
          </a:solidFill>
        </p:spPr>
        <p:txBody>
          <a:bodyPr wrap="square" lIns="0" tIns="0" rIns="0" bIns="0" rtlCol="0"/>
          <a:lstStyle/>
          <a:p>
            <a:endParaRPr/>
          </a:p>
        </p:txBody>
      </p:sp>
      <p:sp>
        <p:nvSpPr>
          <p:cNvPr id="9" name="object 9"/>
          <p:cNvSpPr/>
          <p:nvPr/>
        </p:nvSpPr>
        <p:spPr>
          <a:xfrm>
            <a:off x="317945" y="269504"/>
            <a:ext cx="163760" cy="261940"/>
          </a:xfrm>
          <a:custGeom>
            <a:avLst/>
            <a:gdLst/>
            <a:ahLst/>
            <a:cxnLst/>
            <a:rect l="l" t="t" r="r" b="b"/>
            <a:pathLst>
              <a:path w="360044" h="575944">
                <a:moveTo>
                  <a:pt x="76604" y="232694"/>
                </a:moveTo>
                <a:lnTo>
                  <a:pt x="45410" y="255016"/>
                </a:lnTo>
                <a:lnTo>
                  <a:pt x="21214" y="284700"/>
                </a:lnTo>
                <a:lnTo>
                  <a:pt x="5561" y="320200"/>
                </a:lnTo>
                <a:lnTo>
                  <a:pt x="0" y="359968"/>
                </a:lnTo>
                <a:lnTo>
                  <a:pt x="0" y="511146"/>
                </a:lnTo>
                <a:lnTo>
                  <a:pt x="5328" y="536391"/>
                </a:lnTo>
                <a:lnTo>
                  <a:pt x="19385" y="556984"/>
                </a:lnTo>
                <a:lnTo>
                  <a:pt x="40116" y="570856"/>
                </a:lnTo>
                <a:lnTo>
                  <a:pt x="65453" y="575940"/>
                </a:lnTo>
                <a:lnTo>
                  <a:pt x="359957" y="575940"/>
                </a:lnTo>
                <a:lnTo>
                  <a:pt x="359957" y="511146"/>
                </a:lnTo>
                <a:lnTo>
                  <a:pt x="179984" y="511146"/>
                </a:lnTo>
                <a:lnTo>
                  <a:pt x="143985" y="464279"/>
                </a:lnTo>
                <a:lnTo>
                  <a:pt x="166246" y="298462"/>
                </a:lnTo>
                <a:lnTo>
                  <a:pt x="193957" y="298462"/>
                </a:lnTo>
                <a:lnTo>
                  <a:pt x="194475" y="298420"/>
                </a:lnTo>
                <a:lnTo>
                  <a:pt x="344792" y="298420"/>
                </a:lnTo>
                <a:lnTo>
                  <a:pt x="338743" y="284700"/>
                </a:lnTo>
                <a:lnTo>
                  <a:pt x="329672" y="273572"/>
                </a:lnTo>
                <a:lnTo>
                  <a:pt x="179984" y="273572"/>
                </a:lnTo>
                <a:lnTo>
                  <a:pt x="150762" y="270750"/>
                </a:lnTo>
                <a:lnTo>
                  <a:pt x="123437" y="262639"/>
                </a:lnTo>
                <a:lnTo>
                  <a:pt x="98540" y="249776"/>
                </a:lnTo>
                <a:lnTo>
                  <a:pt x="76604" y="232694"/>
                </a:lnTo>
                <a:close/>
              </a:path>
              <a:path w="360044" h="575944">
                <a:moveTo>
                  <a:pt x="344792" y="298420"/>
                </a:moveTo>
                <a:lnTo>
                  <a:pt x="194475" y="298420"/>
                </a:lnTo>
                <a:lnTo>
                  <a:pt x="215982" y="464279"/>
                </a:lnTo>
                <a:lnTo>
                  <a:pt x="179984" y="511146"/>
                </a:lnTo>
                <a:lnTo>
                  <a:pt x="359957" y="511146"/>
                </a:lnTo>
                <a:lnTo>
                  <a:pt x="359957" y="359968"/>
                </a:lnTo>
                <a:lnTo>
                  <a:pt x="354396" y="320200"/>
                </a:lnTo>
                <a:lnTo>
                  <a:pt x="344792" y="298420"/>
                </a:lnTo>
                <a:close/>
              </a:path>
              <a:path w="360044" h="575944">
                <a:moveTo>
                  <a:pt x="193957" y="298462"/>
                </a:moveTo>
                <a:lnTo>
                  <a:pt x="166246" y="298462"/>
                </a:lnTo>
                <a:lnTo>
                  <a:pt x="170790" y="298828"/>
                </a:lnTo>
                <a:lnTo>
                  <a:pt x="175376" y="299006"/>
                </a:lnTo>
                <a:lnTo>
                  <a:pt x="184842" y="299006"/>
                </a:lnTo>
                <a:lnTo>
                  <a:pt x="189680" y="298807"/>
                </a:lnTo>
                <a:lnTo>
                  <a:pt x="193957" y="298462"/>
                </a:lnTo>
                <a:close/>
              </a:path>
              <a:path w="360044" h="575944">
                <a:moveTo>
                  <a:pt x="283352" y="232694"/>
                </a:moveTo>
                <a:lnTo>
                  <a:pt x="261417" y="249776"/>
                </a:lnTo>
                <a:lnTo>
                  <a:pt x="236521" y="262639"/>
                </a:lnTo>
                <a:lnTo>
                  <a:pt x="209199" y="270750"/>
                </a:lnTo>
                <a:lnTo>
                  <a:pt x="179984" y="273572"/>
                </a:lnTo>
                <a:lnTo>
                  <a:pt x="329672" y="273572"/>
                </a:lnTo>
                <a:lnTo>
                  <a:pt x="314546" y="255016"/>
                </a:lnTo>
                <a:lnTo>
                  <a:pt x="283352" y="232694"/>
                </a:lnTo>
                <a:close/>
              </a:path>
              <a:path w="360044" h="575944">
                <a:moveTo>
                  <a:pt x="179984" y="0"/>
                </a:moveTo>
                <a:lnTo>
                  <a:pt x="132342" y="9617"/>
                </a:lnTo>
                <a:lnTo>
                  <a:pt x="93442" y="35845"/>
                </a:lnTo>
                <a:lnTo>
                  <a:pt x="67216" y="74746"/>
                </a:lnTo>
                <a:lnTo>
                  <a:pt x="57600" y="122383"/>
                </a:lnTo>
                <a:lnTo>
                  <a:pt x="67216" y="170022"/>
                </a:lnTo>
                <a:lnTo>
                  <a:pt x="93442" y="208926"/>
                </a:lnTo>
                <a:lnTo>
                  <a:pt x="132342" y="235158"/>
                </a:lnTo>
                <a:lnTo>
                  <a:pt x="179984" y="244777"/>
                </a:lnTo>
                <a:lnTo>
                  <a:pt x="227620" y="235158"/>
                </a:lnTo>
                <a:lnTo>
                  <a:pt x="266521" y="208926"/>
                </a:lnTo>
                <a:lnTo>
                  <a:pt x="292750" y="170022"/>
                </a:lnTo>
                <a:lnTo>
                  <a:pt x="302367" y="122383"/>
                </a:lnTo>
                <a:lnTo>
                  <a:pt x="292750" y="74746"/>
                </a:lnTo>
                <a:lnTo>
                  <a:pt x="266521" y="35845"/>
                </a:lnTo>
                <a:lnTo>
                  <a:pt x="227620" y="9617"/>
                </a:lnTo>
                <a:lnTo>
                  <a:pt x="179984" y="0"/>
                </a:lnTo>
                <a:close/>
              </a:path>
            </a:pathLst>
          </a:custGeom>
          <a:solidFill>
            <a:srgbClr val="FF7900"/>
          </a:solidFill>
        </p:spPr>
        <p:txBody>
          <a:bodyPr wrap="square" lIns="0" tIns="0" rIns="0" bIns="0" rtlCol="0"/>
          <a:lstStyle/>
          <a:p>
            <a:endParaRPr/>
          </a:p>
        </p:txBody>
      </p:sp>
      <p:sp>
        <p:nvSpPr>
          <p:cNvPr id="10" name="object 10"/>
          <p:cNvSpPr/>
          <p:nvPr/>
        </p:nvSpPr>
        <p:spPr>
          <a:xfrm>
            <a:off x="6305288" y="972177"/>
            <a:ext cx="2519654" cy="393632"/>
          </a:xfrm>
          <a:custGeom>
            <a:avLst/>
            <a:gdLst/>
            <a:ahLst/>
            <a:cxnLst/>
            <a:rect l="l" t="t" r="r" b="b"/>
            <a:pathLst>
              <a:path w="5539740" h="865505">
                <a:moveTo>
                  <a:pt x="0" y="0"/>
                </a:moveTo>
                <a:lnTo>
                  <a:pt x="5539265" y="0"/>
                </a:lnTo>
                <a:lnTo>
                  <a:pt x="5539265" y="865094"/>
                </a:lnTo>
                <a:lnTo>
                  <a:pt x="0" y="865094"/>
                </a:lnTo>
                <a:lnTo>
                  <a:pt x="0" y="0"/>
                </a:lnTo>
                <a:close/>
              </a:path>
            </a:pathLst>
          </a:custGeom>
          <a:solidFill>
            <a:srgbClr val="FFFFFF"/>
          </a:solidFill>
        </p:spPr>
        <p:txBody>
          <a:bodyPr wrap="square" lIns="0" tIns="0" rIns="0" bIns="0" rtlCol="0"/>
          <a:lstStyle/>
          <a:p>
            <a:endParaRPr/>
          </a:p>
        </p:txBody>
      </p:sp>
      <p:sp>
        <p:nvSpPr>
          <p:cNvPr id="11" name="object 11"/>
          <p:cNvSpPr txBox="1"/>
          <p:nvPr/>
        </p:nvSpPr>
        <p:spPr>
          <a:xfrm>
            <a:off x="7009993" y="1066291"/>
            <a:ext cx="305281" cy="186535"/>
          </a:xfrm>
          <a:prstGeom prst="rect">
            <a:avLst/>
          </a:prstGeom>
        </p:spPr>
        <p:txBody>
          <a:bodyPr vert="horz" wrap="square" lIns="0" tIns="6931" rIns="0" bIns="0" rtlCol="0">
            <a:spAutoFit/>
          </a:bodyPr>
          <a:lstStyle/>
          <a:p>
            <a:pPr>
              <a:lnSpc>
                <a:spcPts val="836"/>
              </a:lnSpc>
              <a:spcBef>
                <a:spcPts val="55"/>
              </a:spcBef>
            </a:pPr>
            <a:r>
              <a:rPr sz="700" b="1" spc="5" dirty="0">
                <a:latin typeface="Helvetica Neue"/>
                <a:cs typeface="Helvetica Neue"/>
              </a:rPr>
              <a:t>France</a:t>
            </a:r>
            <a:endParaRPr sz="700">
              <a:latin typeface="Helvetica Neue"/>
              <a:cs typeface="Helvetica Neue"/>
            </a:endParaRPr>
          </a:p>
          <a:p>
            <a:pPr>
              <a:lnSpc>
                <a:spcPts val="646"/>
              </a:lnSpc>
            </a:pPr>
            <a:r>
              <a:rPr sz="500" spc="7" dirty="0">
                <a:latin typeface="Helvetica Neue"/>
                <a:cs typeface="Helvetica Neue"/>
              </a:rPr>
              <a:t>N </a:t>
            </a:r>
            <a:r>
              <a:rPr sz="500" spc="5" dirty="0">
                <a:latin typeface="Helvetica Neue"/>
                <a:cs typeface="Helvetica Neue"/>
              </a:rPr>
              <a:t>=</a:t>
            </a:r>
            <a:r>
              <a:rPr sz="500" spc="-41" dirty="0">
                <a:latin typeface="Helvetica Neue"/>
                <a:cs typeface="Helvetica Neue"/>
              </a:rPr>
              <a:t> </a:t>
            </a:r>
            <a:r>
              <a:rPr sz="500" spc="5" dirty="0">
                <a:latin typeface="Helvetica Neue"/>
                <a:cs typeface="Helvetica Neue"/>
              </a:rPr>
              <a:t>2024</a:t>
            </a:r>
            <a:endParaRPr sz="500">
              <a:latin typeface="Helvetica Neue"/>
              <a:cs typeface="Helvetica Neue"/>
            </a:endParaRPr>
          </a:p>
        </p:txBody>
      </p:sp>
      <p:sp>
        <p:nvSpPr>
          <p:cNvPr id="12" name="object 12"/>
          <p:cNvSpPr/>
          <p:nvPr/>
        </p:nvSpPr>
        <p:spPr>
          <a:xfrm>
            <a:off x="6809565" y="1094536"/>
            <a:ext cx="152207" cy="152197"/>
          </a:xfrm>
          <a:custGeom>
            <a:avLst/>
            <a:gdLst/>
            <a:ahLst/>
            <a:cxnLst/>
            <a:rect l="l" t="t" r="r" b="b"/>
            <a:pathLst>
              <a:path w="334644" h="334644">
                <a:moveTo>
                  <a:pt x="334230" y="334220"/>
                </a:moveTo>
                <a:lnTo>
                  <a:pt x="0" y="334220"/>
                </a:lnTo>
                <a:lnTo>
                  <a:pt x="0" y="0"/>
                </a:lnTo>
                <a:lnTo>
                  <a:pt x="334230" y="0"/>
                </a:lnTo>
                <a:lnTo>
                  <a:pt x="334230" y="334220"/>
                </a:lnTo>
                <a:close/>
              </a:path>
            </a:pathLst>
          </a:custGeom>
          <a:solidFill>
            <a:srgbClr val="FF7900"/>
          </a:solidFill>
        </p:spPr>
        <p:txBody>
          <a:bodyPr wrap="square" lIns="0" tIns="0" rIns="0" bIns="0" rtlCol="0"/>
          <a:lstStyle/>
          <a:p>
            <a:endParaRPr/>
          </a:p>
        </p:txBody>
      </p:sp>
      <p:sp>
        <p:nvSpPr>
          <p:cNvPr id="13" name="object 13"/>
          <p:cNvSpPr txBox="1"/>
          <p:nvPr/>
        </p:nvSpPr>
        <p:spPr>
          <a:xfrm>
            <a:off x="8335019" y="1073025"/>
            <a:ext cx="382685" cy="186535"/>
          </a:xfrm>
          <a:prstGeom prst="rect">
            <a:avLst/>
          </a:prstGeom>
        </p:spPr>
        <p:txBody>
          <a:bodyPr vert="horz" wrap="square" lIns="0" tIns="6931" rIns="0" bIns="0" rtlCol="0">
            <a:spAutoFit/>
          </a:bodyPr>
          <a:lstStyle/>
          <a:p>
            <a:pPr>
              <a:lnSpc>
                <a:spcPts val="836"/>
              </a:lnSpc>
              <a:spcBef>
                <a:spcPts val="55"/>
              </a:spcBef>
            </a:pPr>
            <a:r>
              <a:rPr sz="700" b="1" spc="5" dirty="0">
                <a:latin typeface="Helvetica Neue"/>
                <a:cs typeface="Helvetica Neue"/>
              </a:rPr>
              <a:t>Espagne</a:t>
            </a:r>
            <a:endParaRPr sz="700">
              <a:latin typeface="Helvetica Neue"/>
              <a:cs typeface="Helvetica Neue"/>
            </a:endParaRPr>
          </a:p>
          <a:p>
            <a:pPr>
              <a:lnSpc>
                <a:spcPts val="646"/>
              </a:lnSpc>
            </a:pPr>
            <a:r>
              <a:rPr sz="500" spc="7" dirty="0">
                <a:latin typeface="Helvetica Neue"/>
                <a:cs typeface="Helvetica Neue"/>
              </a:rPr>
              <a:t>N </a:t>
            </a:r>
            <a:r>
              <a:rPr sz="500" spc="5" dirty="0">
                <a:latin typeface="Helvetica Neue"/>
                <a:cs typeface="Helvetica Neue"/>
              </a:rPr>
              <a:t>=</a:t>
            </a:r>
            <a:r>
              <a:rPr sz="500" spc="-16" dirty="0">
                <a:latin typeface="Helvetica Neue"/>
                <a:cs typeface="Helvetica Neue"/>
              </a:rPr>
              <a:t> </a:t>
            </a:r>
            <a:r>
              <a:rPr sz="500" spc="5" dirty="0">
                <a:latin typeface="Helvetica Neue"/>
                <a:cs typeface="Helvetica Neue"/>
              </a:rPr>
              <a:t>2015</a:t>
            </a:r>
            <a:endParaRPr sz="500">
              <a:latin typeface="Helvetica Neue"/>
              <a:cs typeface="Helvetica Neue"/>
            </a:endParaRPr>
          </a:p>
        </p:txBody>
      </p:sp>
      <p:sp>
        <p:nvSpPr>
          <p:cNvPr id="14" name="object 14"/>
          <p:cNvSpPr/>
          <p:nvPr/>
        </p:nvSpPr>
        <p:spPr>
          <a:xfrm>
            <a:off x="8135826" y="1101260"/>
            <a:ext cx="152207" cy="152197"/>
          </a:xfrm>
          <a:custGeom>
            <a:avLst/>
            <a:gdLst/>
            <a:ahLst/>
            <a:cxnLst/>
            <a:rect l="l" t="t" r="r" b="b"/>
            <a:pathLst>
              <a:path w="334644" h="334644">
                <a:moveTo>
                  <a:pt x="334230" y="334230"/>
                </a:moveTo>
                <a:lnTo>
                  <a:pt x="0" y="334230"/>
                </a:lnTo>
                <a:lnTo>
                  <a:pt x="0" y="0"/>
                </a:lnTo>
                <a:lnTo>
                  <a:pt x="334230" y="0"/>
                </a:lnTo>
                <a:lnTo>
                  <a:pt x="334230" y="334230"/>
                </a:lnTo>
                <a:close/>
              </a:path>
            </a:pathLst>
          </a:custGeom>
          <a:solidFill>
            <a:srgbClr val="585858"/>
          </a:solidFill>
        </p:spPr>
        <p:txBody>
          <a:bodyPr wrap="square" lIns="0" tIns="0" rIns="0" bIns="0" rtlCol="0"/>
          <a:lstStyle/>
          <a:p>
            <a:endParaRPr/>
          </a:p>
        </p:txBody>
      </p:sp>
      <p:sp>
        <p:nvSpPr>
          <p:cNvPr id="15" name="object 15"/>
          <p:cNvSpPr/>
          <p:nvPr/>
        </p:nvSpPr>
        <p:spPr>
          <a:xfrm>
            <a:off x="6641657" y="1034547"/>
            <a:ext cx="94444" cy="268583"/>
          </a:xfrm>
          <a:custGeom>
            <a:avLst/>
            <a:gdLst/>
            <a:ahLst/>
            <a:cxnLst/>
            <a:rect l="l" t="t" r="r" b="b"/>
            <a:pathLst>
              <a:path w="207644" h="590550">
                <a:moveTo>
                  <a:pt x="0" y="0"/>
                </a:moveTo>
                <a:lnTo>
                  <a:pt x="0" y="590160"/>
                </a:lnTo>
                <a:lnTo>
                  <a:pt x="43543" y="570455"/>
                </a:lnTo>
                <a:lnTo>
                  <a:pt x="83259" y="544647"/>
                </a:lnTo>
                <a:lnTo>
                  <a:pt x="118537" y="513331"/>
                </a:lnTo>
                <a:lnTo>
                  <a:pt x="148769" y="477107"/>
                </a:lnTo>
                <a:lnTo>
                  <a:pt x="173343" y="436571"/>
                </a:lnTo>
                <a:lnTo>
                  <a:pt x="191652" y="392323"/>
                </a:lnTo>
                <a:lnTo>
                  <a:pt x="203084" y="344960"/>
                </a:lnTo>
                <a:lnTo>
                  <a:pt x="207030" y="295080"/>
                </a:lnTo>
                <a:lnTo>
                  <a:pt x="203084" y="245199"/>
                </a:lnTo>
                <a:lnTo>
                  <a:pt x="191652" y="197836"/>
                </a:lnTo>
                <a:lnTo>
                  <a:pt x="173343" y="153588"/>
                </a:lnTo>
                <a:lnTo>
                  <a:pt x="148769" y="113052"/>
                </a:lnTo>
                <a:lnTo>
                  <a:pt x="118537" y="76828"/>
                </a:lnTo>
                <a:lnTo>
                  <a:pt x="83259" y="45512"/>
                </a:lnTo>
                <a:lnTo>
                  <a:pt x="43543" y="19704"/>
                </a:lnTo>
                <a:lnTo>
                  <a:pt x="0" y="0"/>
                </a:lnTo>
                <a:close/>
              </a:path>
            </a:pathLst>
          </a:custGeom>
          <a:solidFill>
            <a:srgbClr val="C10E33"/>
          </a:solidFill>
        </p:spPr>
        <p:txBody>
          <a:bodyPr wrap="square" lIns="0" tIns="0" rIns="0" bIns="0" rtlCol="0"/>
          <a:lstStyle/>
          <a:p>
            <a:endParaRPr/>
          </a:p>
        </p:txBody>
      </p:sp>
      <p:sp>
        <p:nvSpPr>
          <p:cNvPr id="16" name="object 16"/>
          <p:cNvSpPr/>
          <p:nvPr/>
        </p:nvSpPr>
        <p:spPr>
          <a:xfrm>
            <a:off x="6449964" y="1034547"/>
            <a:ext cx="94444" cy="268583"/>
          </a:xfrm>
          <a:custGeom>
            <a:avLst/>
            <a:gdLst/>
            <a:ahLst/>
            <a:cxnLst/>
            <a:rect l="l" t="t" r="r" b="b"/>
            <a:pathLst>
              <a:path w="207644" h="590550">
                <a:moveTo>
                  <a:pt x="207030" y="0"/>
                </a:moveTo>
                <a:lnTo>
                  <a:pt x="163487" y="19704"/>
                </a:lnTo>
                <a:lnTo>
                  <a:pt x="123771" y="45512"/>
                </a:lnTo>
                <a:lnTo>
                  <a:pt x="88492" y="76828"/>
                </a:lnTo>
                <a:lnTo>
                  <a:pt x="58261" y="113052"/>
                </a:lnTo>
                <a:lnTo>
                  <a:pt x="33686" y="153588"/>
                </a:lnTo>
                <a:lnTo>
                  <a:pt x="15378" y="197836"/>
                </a:lnTo>
                <a:lnTo>
                  <a:pt x="3946" y="245199"/>
                </a:lnTo>
                <a:lnTo>
                  <a:pt x="0" y="295080"/>
                </a:lnTo>
                <a:lnTo>
                  <a:pt x="3946" y="344960"/>
                </a:lnTo>
                <a:lnTo>
                  <a:pt x="15378" y="392323"/>
                </a:lnTo>
                <a:lnTo>
                  <a:pt x="33686" y="436571"/>
                </a:lnTo>
                <a:lnTo>
                  <a:pt x="58261" y="477107"/>
                </a:lnTo>
                <a:lnTo>
                  <a:pt x="88492" y="513331"/>
                </a:lnTo>
                <a:lnTo>
                  <a:pt x="123771" y="544647"/>
                </a:lnTo>
                <a:lnTo>
                  <a:pt x="163487" y="570455"/>
                </a:lnTo>
                <a:lnTo>
                  <a:pt x="207030" y="590160"/>
                </a:lnTo>
                <a:lnTo>
                  <a:pt x="207030" y="0"/>
                </a:lnTo>
                <a:close/>
              </a:path>
            </a:pathLst>
          </a:custGeom>
          <a:solidFill>
            <a:srgbClr val="354080"/>
          </a:solidFill>
        </p:spPr>
        <p:txBody>
          <a:bodyPr wrap="square" lIns="0" tIns="0" rIns="0" bIns="0" rtlCol="0"/>
          <a:lstStyle/>
          <a:p>
            <a:endParaRPr/>
          </a:p>
        </p:txBody>
      </p:sp>
      <p:sp>
        <p:nvSpPr>
          <p:cNvPr id="17" name="object 17"/>
          <p:cNvSpPr/>
          <p:nvPr/>
        </p:nvSpPr>
        <p:spPr>
          <a:xfrm>
            <a:off x="6544131" y="1025831"/>
            <a:ext cx="97620" cy="285910"/>
          </a:xfrm>
          <a:custGeom>
            <a:avLst/>
            <a:gdLst/>
            <a:ahLst/>
            <a:cxnLst/>
            <a:rect l="l" t="t" r="r" b="b"/>
            <a:pathLst>
              <a:path w="214630" h="628650">
                <a:moveTo>
                  <a:pt x="107211" y="0"/>
                </a:moveTo>
                <a:lnTo>
                  <a:pt x="79254" y="1281"/>
                </a:lnTo>
                <a:lnTo>
                  <a:pt x="52019" y="5015"/>
                </a:lnTo>
                <a:lnTo>
                  <a:pt x="25577" y="11034"/>
                </a:lnTo>
                <a:lnTo>
                  <a:pt x="0" y="19172"/>
                </a:lnTo>
                <a:lnTo>
                  <a:pt x="0" y="609321"/>
                </a:lnTo>
                <a:lnTo>
                  <a:pt x="25577" y="617453"/>
                </a:lnTo>
                <a:lnTo>
                  <a:pt x="52019" y="623469"/>
                </a:lnTo>
                <a:lnTo>
                  <a:pt x="79254" y="627201"/>
                </a:lnTo>
                <a:lnTo>
                  <a:pt x="107211" y="628483"/>
                </a:lnTo>
                <a:lnTo>
                  <a:pt x="135162" y="627201"/>
                </a:lnTo>
                <a:lnTo>
                  <a:pt x="162394" y="623469"/>
                </a:lnTo>
                <a:lnTo>
                  <a:pt x="188834" y="617453"/>
                </a:lnTo>
                <a:lnTo>
                  <a:pt x="214412" y="609321"/>
                </a:lnTo>
                <a:lnTo>
                  <a:pt x="214412" y="19172"/>
                </a:lnTo>
                <a:lnTo>
                  <a:pt x="188834" y="11034"/>
                </a:lnTo>
                <a:lnTo>
                  <a:pt x="162394" y="5015"/>
                </a:lnTo>
                <a:lnTo>
                  <a:pt x="135162" y="1281"/>
                </a:lnTo>
                <a:lnTo>
                  <a:pt x="107211" y="0"/>
                </a:lnTo>
                <a:close/>
              </a:path>
            </a:pathLst>
          </a:custGeom>
          <a:solidFill>
            <a:srgbClr val="FFFFFF"/>
          </a:solidFill>
        </p:spPr>
        <p:txBody>
          <a:bodyPr wrap="square" lIns="0" tIns="0" rIns="0" bIns="0" rtlCol="0"/>
          <a:lstStyle/>
          <a:p>
            <a:endParaRPr/>
          </a:p>
        </p:txBody>
      </p:sp>
      <p:sp>
        <p:nvSpPr>
          <p:cNvPr id="18" name="object 18"/>
          <p:cNvSpPr txBox="1"/>
          <p:nvPr/>
        </p:nvSpPr>
        <p:spPr>
          <a:xfrm>
            <a:off x="265071" y="1457256"/>
            <a:ext cx="8559720" cy="484748"/>
          </a:xfrm>
          <a:prstGeom prst="rect">
            <a:avLst/>
          </a:prstGeom>
          <a:solidFill>
            <a:srgbClr val="FFFFFF"/>
          </a:solidFill>
        </p:spPr>
        <p:txBody>
          <a:bodyPr vert="horz" wrap="square" lIns="0" tIns="0" rIns="0" bIns="0" rtlCol="0">
            <a:spAutoFit/>
          </a:bodyPr>
          <a:lstStyle/>
          <a:p>
            <a:pPr>
              <a:lnSpc>
                <a:spcPct val="100000"/>
              </a:lnSpc>
            </a:pPr>
            <a:endParaRPr sz="1300">
              <a:latin typeface="Times New Roman"/>
              <a:cs typeface="Times New Roman"/>
            </a:endParaRPr>
          </a:p>
          <a:p>
            <a:pPr marL="100791">
              <a:spcBef>
                <a:spcPts val="869"/>
              </a:spcBef>
            </a:pPr>
            <a:r>
              <a:rPr sz="1100" b="1" spc="5" dirty="0">
                <a:solidFill>
                  <a:srgbClr val="1D1D1B"/>
                </a:solidFill>
                <a:latin typeface="Helvetica Neue"/>
                <a:cs typeface="Helvetica Neue"/>
              </a:rPr>
              <a:t>Pourraient se passer d’un conseiller</a:t>
            </a:r>
            <a:r>
              <a:rPr sz="1100" b="1" spc="-9" dirty="0">
                <a:solidFill>
                  <a:srgbClr val="1D1D1B"/>
                </a:solidFill>
                <a:latin typeface="Helvetica Neue"/>
                <a:cs typeface="Helvetica Neue"/>
              </a:rPr>
              <a:t> </a:t>
            </a:r>
            <a:r>
              <a:rPr sz="1100" b="1" spc="2" dirty="0">
                <a:solidFill>
                  <a:srgbClr val="1D1D1B"/>
                </a:solidFill>
                <a:latin typeface="Helvetica Neue"/>
                <a:cs typeface="Helvetica Neue"/>
              </a:rPr>
              <a:t>bancaire</a:t>
            </a:r>
            <a:endParaRPr sz="1100">
              <a:latin typeface="Helvetica Neue"/>
              <a:cs typeface="Helvetica Neue"/>
            </a:endParaRPr>
          </a:p>
        </p:txBody>
      </p:sp>
      <p:sp>
        <p:nvSpPr>
          <p:cNvPr id="19" name="object 19"/>
          <p:cNvSpPr txBox="1"/>
          <p:nvPr/>
        </p:nvSpPr>
        <p:spPr>
          <a:xfrm>
            <a:off x="4752208" y="1579905"/>
            <a:ext cx="2126572" cy="216968"/>
          </a:xfrm>
          <a:prstGeom prst="rect">
            <a:avLst/>
          </a:prstGeom>
          <a:solidFill>
            <a:srgbClr val="FF7900"/>
          </a:solidFill>
        </p:spPr>
        <p:txBody>
          <a:bodyPr vert="horz" wrap="square" lIns="0" tIns="16750" rIns="0" bIns="0" rtlCol="0">
            <a:spAutoFit/>
          </a:bodyPr>
          <a:lstStyle/>
          <a:p>
            <a:pPr marR="54582" algn="r">
              <a:spcBef>
                <a:spcPts val="132"/>
              </a:spcBef>
            </a:pPr>
            <a:r>
              <a:rPr sz="1300" b="1" spc="-2" dirty="0">
                <a:solidFill>
                  <a:srgbClr val="FFFFFF"/>
                </a:solidFill>
                <a:latin typeface="Helvetica"/>
                <a:cs typeface="Helvetica"/>
              </a:rPr>
              <a:t>51%</a:t>
            </a:r>
            <a:endParaRPr sz="1300">
              <a:latin typeface="Helvetica"/>
              <a:cs typeface="Helvetica"/>
            </a:endParaRPr>
          </a:p>
        </p:txBody>
      </p:sp>
      <p:sp>
        <p:nvSpPr>
          <p:cNvPr id="20" name="object 20"/>
          <p:cNvSpPr txBox="1"/>
          <p:nvPr/>
        </p:nvSpPr>
        <p:spPr>
          <a:xfrm>
            <a:off x="4752208" y="1885979"/>
            <a:ext cx="3210797" cy="218135"/>
          </a:xfrm>
          <a:prstGeom prst="rect">
            <a:avLst/>
          </a:prstGeom>
          <a:solidFill>
            <a:srgbClr val="585858"/>
          </a:solidFill>
        </p:spPr>
        <p:txBody>
          <a:bodyPr vert="horz" wrap="square" lIns="0" tIns="17905" rIns="0" bIns="0" rtlCol="0">
            <a:spAutoFit/>
          </a:bodyPr>
          <a:lstStyle/>
          <a:p>
            <a:pPr marR="49384" algn="r">
              <a:spcBef>
                <a:spcPts val="141"/>
              </a:spcBef>
            </a:pPr>
            <a:r>
              <a:rPr sz="1300" b="1" spc="-2" dirty="0">
                <a:solidFill>
                  <a:srgbClr val="FFFFFF"/>
                </a:solidFill>
                <a:latin typeface="Helvetica"/>
                <a:cs typeface="Helvetica"/>
              </a:rPr>
              <a:t>77%</a:t>
            </a:r>
            <a:endParaRPr sz="1300">
              <a:latin typeface="Helvetica"/>
              <a:cs typeface="Helvetica"/>
            </a:endParaRPr>
          </a:p>
        </p:txBody>
      </p:sp>
      <p:sp>
        <p:nvSpPr>
          <p:cNvPr id="21" name="object 21"/>
          <p:cNvSpPr/>
          <p:nvPr/>
        </p:nvSpPr>
        <p:spPr>
          <a:xfrm>
            <a:off x="265071" y="2352000"/>
            <a:ext cx="8559720" cy="808636"/>
          </a:xfrm>
          <a:custGeom>
            <a:avLst/>
            <a:gdLst/>
            <a:ahLst/>
            <a:cxnLst/>
            <a:rect l="l" t="t" r="r" b="b"/>
            <a:pathLst>
              <a:path w="18819495" h="1778000">
                <a:moveTo>
                  <a:pt x="0" y="0"/>
                </a:moveTo>
                <a:lnTo>
                  <a:pt x="18819353" y="0"/>
                </a:lnTo>
                <a:lnTo>
                  <a:pt x="18819353" y="1777851"/>
                </a:lnTo>
                <a:lnTo>
                  <a:pt x="0" y="1777851"/>
                </a:lnTo>
                <a:lnTo>
                  <a:pt x="0" y="0"/>
                </a:lnTo>
                <a:close/>
              </a:path>
            </a:pathLst>
          </a:custGeom>
          <a:solidFill>
            <a:srgbClr val="FFFFFF"/>
          </a:solidFill>
        </p:spPr>
        <p:txBody>
          <a:bodyPr wrap="square" lIns="0" tIns="0" rIns="0" bIns="0" rtlCol="0"/>
          <a:lstStyle/>
          <a:p>
            <a:endParaRPr/>
          </a:p>
        </p:txBody>
      </p:sp>
      <p:sp>
        <p:nvSpPr>
          <p:cNvPr id="22" name="object 22"/>
          <p:cNvSpPr txBox="1"/>
          <p:nvPr/>
        </p:nvSpPr>
        <p:spPr>
          <a:xfrm>
            <a:off x="365961" y="2563919"/>
            <a:ext cx="3540628" cy="354644"/>
          </a:xfrm>
          <a:prstGeom prst="rect">
            <a:avLst/>
          </a:prstGeom>
        </p:spPr>
        <p:txBody>
          <a:bodyPr vert="horz" wrap="square" lIns="0" tIns="5487" rIns="0" bIns="0" rtlCol="0">
            <a:spAutoFit/>
          </a:bodyPr>
          <a:lstStyle/>
          <a:p>
            <a:pPr marR="2310">
              <a:lnSpc>
                <a:spcPct val="101000"/>
              </a:lnSpc>
              <a:spcBef>
                <a:spcPts val="43"/>
              </a:spcBef>
            </a:pPr>
            <a:r>
              <a:rPr sz="1100" b="1" spc="5" dirty="0">
                <a:solidFill>
                  <a:srgbClr val="1D1D1B"/>
                </a:solidFill>
                <a:latin typeface="Helvetica Neue"/>
                <a:cs typeface="Helvetica Neue"/>
              </a:rPr>
              <a:t>N‘aiment pas passer du temps à échanger avec</a:t>
            </a:r>
            <a:r>
              <a:rPr sz="1100" b="1" spc="-7" dirty="0">
                <a:solidFill>
                  <a:srgbClr val="1D1D1B"/>
                </a:solidFill>
                <a:latin typeface="Helvetica Neue"/>
                <a:cs typeface="Helvetica Neue"/>
              </a:rPr>
              <a:t> </a:t>
            </a:r>
            <a:r>
              <a:rPr sz="1100" b="1" spc="5" dirty="0">
                <a:solidFill>
                  <a:srgbClr val="1D1D1B"/>
                </a:solidFill>
                <a:latin typeface="Helvetica Neue"/>
                <a:cs typeface="Helvetica Neue"/>
              </a:rPr>
              <a:t>leur  banque et veulent </a:t>
            </a:r>
            <a:r>
              <a:rPr sz="1100" b="1" spc="2" dirty="0">
                <a:solidFill>
                  <a:srgbClr val="1D1D1B"/>
                </a:solidFill>
                <a:latin typeface="Helvetica Neue"/>
                <a:cs typeface="Helvetica Neue"/>
              </a:rPr>
              <a:t>le </a:t>
            </a:r>
            <a:r>
              <a:rPr sz="1100" b="1" spc="5" dirty="0">
                <a:solidFill>
                  <a:srgbClr val="1D1D1B"/>
                </a:solidFill>
                <a:latin typeface="Helvetica Neue"/>
                <a:cs typeface="Helvetica Neue"/>
              </a:rPr>
              <a:t>moins de contact</a:t>
            </a:r>
            <a:r>
              <a:rPr sz="1100" b="1" spc="-9" dirty="0">
                <a:solidFill>
                  <a:srgbClr val="1D1D1B"/>
                </a:solidFill>
                <a:latin typeface="Helvetica Neue"/>
                <a:cs typeface="Helvetica Neue"/>
              </a:rPr>
              <a:t> </a:t>
            </a:r>
            <a:r>
              <a:rPr sz="1100" b="1" spc="5" dirty="0">
                <a:solidFill>
                  <a:srgbClr val="1D1D1B"/>
                </a:solidFill>
                <a:latin typeface="Helvetica Neue"/>
                <a:cs typeface="Helvetica Neue"/>
              </a:rPr>
              <a:t>possible</a:t>
            </a:r>
            <a:endParaRPr sz="1100">
              <a:latin typeface="Helvetica Neue"/>
              <a:cs typeface="Helvetica Neue"/>
            </a:endParaRPr>
          </a:p>
        </p:txBody>
      </p:sp>
      <p:sp>
        <p:nvSpPr>
          <p:cNvPr id="23" name="object 23"/>
          <p:cNvSpPr/>
          <p:nvPr/>
        </p:nvSpPr>
        <p:spPr>
          <a:xfrm>
            <a:off x="265071" y="3257535"/>
            <a:ext cx="8559720" cy="810080"/>
          </a:xfrm>
          <a:custGeom>
            <a:avLst/>
            <a:gdLst/>
            <a:ahLst/>
            <a:cxnLst/>
            <a:rect l="l" t="t" r="r" b="b"/>
            <a:pathLst>
              <a:path w="18819495" h="1781175">
                <a:moveTo>
                  <a:pt x="0" y="0"/>
                </a:moveTo>
                <a:lnTo>
                  <a:pt x="18819353" y="0"/>
                </a:lnTo>
                <a:lnTo>
                  <a:pt x="18819353" y="1780678"/>
                </a:lnTo>
                <a:lnTo>
                  <a:pt x="0" y="1780678"/>
                </a:lnTo>
                <a:lnTo>
                  <a:pt x="0" y="0"/>
                </a:lnTo>
                <a:close/>
              </a:path>
            </a:pathLst>
          </a:custGeom>
          <a:solidFill>
            <a:srgbClr val="FFFFFF"/>
          </a:solidFill>
        </p:spPr>
        <p:txBody>
          <a:bodyPr wrap="square" lIns="0" tIns="0" rIns="0" bIns="0" rtlCol="0"/>
          <a:lstStyle/>
          <a:p>
            <a:endParaRPr/>
          </a:p>
        </p:txBody>
      </p:sp>
      <p:sp>
        <p:nvSpPr>
          <p:cNvPr id="24" name="object 24"/>
          <p:cNvSpPr txBox="1"/>
          <p:nvPr/>
        </p:nvSpPr>
        <p:spPr>
          <a:xfrm>
            <a:off x="365961" y="3465322"/>
            <a:ext cx="3522722" cy="354644"/>
          </a:xfrm>
          <a:prstGeom prst="rect">
            <a:avLst/>
          </a:prstGeom>
        </p:spPr>
        <p:txBody>
          <a:bodyPr vert="horz" wrap="square" lIns="0" tIns="5487" rIns="0" bIns="0" rtlCol="0">
            <a:spAutoFit/>
          </a:bodyPr>
          <a:lstStyle/>
          <a:p>
            <a:pPr marR="2310">
              <a:lnSpc>
                <a:spcPct val="101000"/>
              </a:lnSpc>
              <a:spcBef>
                <a:spcPts val="43"/>
              </a:spcBef>
            </a:pPr>
            <a:r>
              <a:rPr sz="1100" b="1" spc="5" dirty="0">
                <a:solidFill>
                  <a:srgbClr val="1D1D1B"/>
                </a:solidFill>
                <a:latin typeface="Helvetica Neue"/>
                <a:cs typeface="Helvetica Neue"/>
              </a:rPr>
              <a:t>N’ont pas besoin d’échanger avec leur banque</a:t>
            </a:r>
            <a:r>
              <a:rPr sz="1100" b="1" spc="-7" dirty="0">
                <a:solidFill>
                  <a:srgbClr val="1D1D1B"/>
                </a:solidFill>
                <a:latin typeface="Helvetica Neue"/>
                <a:cs typeface="Helvetica Neue"/>
              </a:rPr>
              <a:t> </a:t>
            </a:r>
            <a:r>
              <a:rPr sz="1100" b="1" spc="5" dirty="0">
                <a:solidFill>
                  <a:srgbClr val="1D1D1B"/>
                </a:solidFill>
                <a:latin typeface="Helvetica Neue"/>
                <a:cs typeface="Helvetica Neue"/>
              </a:rPr>
              <a:t>pour  </a:t>
            </a:r>
            <a:r>
              <a:rPr sz="1100" b="1" dirty="0">
                <a:solidFill>
                  <a:srgbClr val="1D1D1B"/>
                </a:solidFill>
                <a:latin typeface="Helvetica Neue"/>
                <a:cs typeface="Helvetica Neue"/>
              </a:rPr>
              <a:t>gérer </a:t>
            </a:r>
            <a:r>
              <a:rPr sz="1100" b="1" spc="5" dirty="0">
                <a:solidFill>
                  <a:srgbClr val="1D1D1B"/>
                </a:solidFill>
                <a:latin typeface="Helvetica Neue"/>
                <a:cs typeface="Helvetica Neue"/>
              </a:rPr>
              <a:t>les services </a:t>
            </a:r>
            <a:r>
              <a:rPr sz="1100" b="1" spc="2" dirty="0">
                <a:solidFill>
                  <a:srgbClr val="1D1D1B"/>
                </a:solidFill>
                <a:latin typeface="Helvetica Neue"/>
                <a:cs typeface="Helvetica Neue"/>
              </a:rPr>
              <a:t>bancaires </a:t>
            </a:r>
            <a:r>
              <a:rPr sz="1100" b="1" spc="5" dirty="0">
                <a:solidFill>
                  <a:srgbClr val="1D1D1B"/>
                </a:solidFill>
                <a:latin typeface="Helvetica Neue"/>
                <a:cs typeface="Helvetica Neue"/>
              </a:rPr>
              <a:t>dont </a:t>
            </a:r>
            <a:r>
              <a:rPr sz="1100" b="1" spc="2" dirty="0">
                <a:solidFill>
                  <a:srgbClr val="1D1D1B"/>
                </a:solidFill>
                <a:latin typeface="Helvetica Neue"/>
                <a:cs typeface="Helvetica Neue"/>
              </a:rPr>
              <a:t>ils</a:t>
            </a:r>
            <a:r>
              <a:rPr sz="1100" b="1" spc="-7" dirty="0">
                <a:solidFill>
                  <a:srgbClr val="1D1D1B"/>
                </a:solidFill>
                <a:latin typeface="Helvetica Neue"/>
                <a:cs typeface="Helvetica Neue"/>
              </a:rPr>
              <a:t> </a:t>
            </a:r>
            <a:r>
              <a:rPr sz="1100" b="1" spc="5" dirty="0">
                <a:solidFill>
                  <a:srgbClr val="1D1D1B"/>
                </a:solidFill>
                <a:latin typeface="Helvetica Neue"/>
                <a:cs typeface="Helvetica Neue"/>
              </a:rPr>
              <a:t>bénéficient</a:t>
            </a:r>
            <a:endParaRPr sz="1100">
              <a:latin typeface="Helvetica Neue"/>
              <a:cs typeface="Helvetica Neue"/>
            </a:endParaRPr>
          </a:p>
        </p:txBody>
      </p:sp>
      <p:sp>
        <p:nvSpPr>
          <p:cNvPr id="25" name="object 25"/>
          <p:cNvSpPr/>
          <p:nvPr/>
        </p:nvSpPr>
        <p:spPr>
          <a:xfrm>
            <a:off x="4752213" y="2783986"/>
            <a:ext cx="2833311" cy="257608"/>
          </a:xfrm>
          <a:custGeom>
            <a:avLst/>
            <a:gdLst/>
            <a:ahLst/>
            <a:cxnLst/>
            <a:rect l="l" t="t" r="r" b="b"/>
            <a:pathLst>
              <a:path w="6229350" h="566420">
                <a:moveTo>
                  <a:pt x="6228836" y="0"/>
                </a:moveTo>
                <a:lnTo>
                  <a:pt x="0" y="0"/>
                </a:lnTo>
                <a:lnTo>
                  <a:pt x="0" y="566171"/>
                </a:lnTo>
                <a:lnTo>
                  <a:pt x="6228836" y="566171"/>
                </a:lnTo>
                <a:lnTo>
                  <a:pt x="6228836" y="0"/>
                </a:lnTo>
                <a:close/>
              </a:path>
            </a:pathLst>
          </a:custGeom>
          <a:solidFill>
            <a:srgbClr val="585858"/>
          </a:solidFill>
        </p:spPr>
        <p:txBody>
          <a:bodyPr wrap="square" lIns="0" tIns="0" rIns="0" bIns="0" rtlCol="0"/>
          <a:lstStyle/>
          <a:p>
            <a:endParaRPr/>
          </a:p>
        </p:txBody>
      </p:sp>
      <p:sp>
        <p:nvSpPr>
          <p:cNvPr id="26" name="object 26"/>
          <p:cNvSpPr/>
          <p:nvPr/>
        </p:nvSpPr>
        <p:spPr>
          <a:xfrm>
            <a:off x="4752213" y="2475459"/>
            <a:ext cx="2587238" cy="257608"/>
          </a:xfrm>
          <a:custGeom>
            <a:avLst/>
            <a:gdLst/>
            <a:ahLst/>
            <a:cxnLst/>
            <a:rect l="l" t="t" r="r" b="b"/>
            <a:pathLst>
              <a:path w="5688330" h="566420">
                <a:moveTo>
                  <a:pt x="5687910" y="0"/>
                </a:moveTo>
                <a:lnTo>
                  <a:pt x="0" y="0"/>
                </a:lnTo>
                <a:lnTo>
                  <a:pt x="0" y="566160"/>
                </a:lnTo>
                <a:lnTo>
                  <a:pt x="5687910" y="566160"/>
                </a:lnTo>
                <a:lnTo>
                  <a:pt x="5687910" y="0"/>
                </a:lnTo>
                <a:close/>
              </a:path>
            </a:pathLst>
          </a:custGeom>
          <a:solidFill>
            <a:srgbClr val="FF7900"/>
          </a:solidFill>
        </p:spPr>
        <p:txBody>
          <a:bodyPr wrap="square" lIns="0" tIns="0" rIns="0" bIns="0" rtlCol="0"/>
          <a:lstStyle/>
          <a:p>
            <a:endParaRPr/>
          </a:p>
        </p:txBody>
      </p:sp>
      <p:sp>
        <p:nvSpPr>
          <p:cNvPr id="27" name="object 27"/>
          <p:cNvSpPr txBox="1"/>
          <p:nvPr/>
        </p:nvSpPr>
        <p:spPr>
          <a:xfrm>
            <a:off x="7213194" y="2795996"/>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68%</a:t>
            </a:r>
            <a:endParaRPr sz="1300">
              <a:latin typeface="Helvetica"/>
              <a:cs typeface="Helvetica"/>
            </a:endParaRPr>
          </a:p>
        </p:txBody>
      </p:sp>
      <p:sp>
        <p:nvSpPr>
          <p:cNvPr id="28" name="object 28"/>
          <p:cNvSpPr/>
          <p:nvPr/>
        </p:nvSpPr>
        <p:spPr>
          <a:xfrm>
            <a:off x="4742693" y="3389857"/>
            <a:ext cx="2967323" cy="257608"/>
          </a:xfrm>
          <a:custGeom>
            <a:avLst/>
            <a:gdLst/>
            <a:ahLst/>
            <a:cxnLst/>
            <a:rect l="l" t="t" r="r" b="b"/>
            <a:pathLst>
              <a:path w="6523990" h="566420">
                <a:moveTo>
                  <a:pt x="6523958" y="0"/>
                </a:moveTo>
                <a:lnTo>
                  <a:pt x="0" y="0"/>
                </a:lnTo>
                <a:lnTo>
                  <a:pt x="0" y="566160"/>
                </a:lnTo>
                <a:lnTo>
                  <a:pt x="6523958" y="566160"/>
                </a:lnTo>
                <a:lnTo>
                  <a:pt x="6523958" y="0"/>
                </a:lnTo>
                <a:close/>
              </a:path>
            </a:pathLst>
          </a:custGeom>
          <a:solidFill>
            <a:srgbClr val="FF7900"/>
          </a:solidFill>
        </p:spPr>
        <p:txBody>
          <a:bodyPr wrap="square" lIns="0" tIns="0" rIns="0" bIns="0" rtlCol="0"/>
          <a:lstStyle/>
          <a:p>
            <a:endParaRPr/>
          </a:p>
        </p:txBody>
      </p:sp>
      <p:sp>
        <p:nvSpPr>
          <p:cNvPr id="29" name="object 29"/>
          <p:cNvSpPr txBox="1"/>
          <p:nvPr/>
        </p:nvSpPr>
        <p:spPr>
          <a:xfrm>
            <a:off x="7344021" y="3400749"/>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71%</a:t>
            </a:r>
            <a:endParaRPr sz="1300">
              <a:latin typeface="Helvetica"/>
              <a:cs typeface="Helvetica"/>
            </a:endParaRPr>
          </a:p>
        </p:txBody>
      </p:sp>
      <p:sp>
        <p:nvSpPr>
          <p:cNvPr id="30" name="object 30"/>
          <p:cNvSpPr txBox="1"/>
          <p:nvPr/>
        </p:nvSpPr>
        <p:spPr>
          <a:xfrm>
            <a:off x="4742697" y="3690207"/>
            <a:ext cx="2596769" cy="216968"/>
          </a:xfrm>
          <a:prstGeom prst="rect">
            <a:avLst/>
          </a:prstGeom>
          <a:solidFill>
            <a:srgbClr val="585858"/>
          </a:solidFill>
        </p:spPr>
        <p:txBody>
          <a:bodyPr vert="horz" wrap="square" lIns="0" tIns="16750" rIns="0" bIns="0" rtlCol="0">
            <a:spAutoFit/>
          </a:bodyPr>
          <a:lstStyle/>
          <a:p>
            <a:pPr marR="49384" algn="r">
              <a:spcBef>
                <a:spcPts val="132"/>
              </a:spcBef>
            </a:pPr>
            <a:r>
              <a:rPr sz="1300" b="1" spc="-2" dirty="0">
                <a:solidFill>
                  <a:srgbClr val="FFFFFF"/>
                </a:solidFill>
                <a:latin typeface="Helvetica"/>
                <a:cs typeface="Helvetica"/>
              </a:rPr>
              <a:t>62%</a:t>
            </a:r>
            <a:endParaRPr sz="1300">
              <a:latin typeface="Helvetica"/>
              <a:cs typeface="Helvetica"/>
            </a:endParaRPr>
          </a:p>
        </p:txBody>
      </p:sp>
      <p:sp>
        <p:nvSpPr>
          <p:cNvPr id="31" name="object 31"/>
          <p:cNvSpPr/>
          <p:nvPr/>
        </p:nvSpPr>
        <p:spPr>
          <a:xfrm>
            <a:off x="265071" y="4162628"/>
            <a:ext cx="8559720" cy="810080"/>
          </a:xfrm>
          <a:custGeom>
            <a:avLst/>
            <a:gdLst/>
            <a:ahLst/>
            <a:cxnLst/>
            <a:rect l="l" t="t" r="r" b="b"/>
            <a:pathLst>
              <a:path w="18819495" h="1781175">
                <a:moveTo>
                  <a:pt x="0" y="0"/>
                </a:moveTo>
                <a:lnTo>
                  <a:pt x="18819353" y="0"/>
                </a:lnTo>
                <a:lnTo>
                  <a:pt x="18819353" y="1780678"/>
                </a:lnTo>
                <a:lnTo>
                  <a:pt x="0" y="1780678"/>
                </a:lnTo>
                <a:lnTo>
                  <a:pt x="0" y="0"/>
                </a:lnTo>
                <a:close/>
              </a:path>
            </a:pathLst>
          </a:custGeom>
          <a:solidFill>
            <a:srgbClr val="FFFFFF"/>
          </a:solidFill>
        </p:spPr>
        <p:txBody>
          <a:bodyPr wrap="square" lIns="0" tIns="0" rIns="0" bIns="0" rtlCol="0"/>
          <a:lstStyle/>
          <a:p>
            <a:endParaRPr/>
          </a:p>
        </p:txBody>
      </p:sp>
      <p:sp>
        <p:nvSpPr>
          <p:cNvPr id="32" name="object 32"/>
          <p:cNvSpPr txBox="1"/>
          <p:nvPr/>
        </p:nvSpPr>
        <p:spPr>
          <a:xfrm>
            <a:off x="365961" y="4375180"/>
            <a:ext cx="3493551" cy="354644"/>
          </a:xfrm>
          <a:prstGeom prst="rect">
            <a:avLst/>
          </a:prstGeom>
        </p:spPr>
        <p:txBody>
          <a:bodyPr vert="horz" wrap="square" lIns="0" tIns="5487" rIns="0" bIns="0" rtlCol="0">
            <a:spAutoFit/>
          </a:bodyPr>
          <a:lstStyle/>
          <a:p>
            <a:pPr marR="2310">
              <a:lnSpc>
                <a:spcPct val="101000"/>
              </a:lnSpc>
              <a:spcBef>
                <a:spcPts val="43"/>
              </a:spcBef>
            </a:pPr>
            <a:r>
              <a:rPr sz="1100" b="1" spc="5" dirty="0">
                <a:solidFill>
                  <a:srgbClr val="1D1D1B"/>
                </a:solidFill>
                <a:latin typeface="Helvetica Neue"/>
                <a:cs typeface="Helvetica Neue"/>
              </a:rPr>
              <a:t>Les banques pensent </a:t>
            </a:r>
            <a:r>
              <a:rPr sz="1100" b="1" spc="2" dirty="0">
                <a:solidFill>
                  <a:srgbClr val="1D1D1B"/>
                </a:solidFill>
                <a:latin typeface="Helvetica Neue"/>
                <a:cs typeface="Helvetica Neue"/>
              </a:rPr>
              <a:t>d’abord </a:t>
            </a:r>
            <a:r>
              <a:rPr sz="1100" b="1" spc="5" dirty="0">
                <a:solidFill>
                  <a:srgbClr val="1D1D1B"/>
                </a:solidFill>
                <a:latin typeface="Helvetica Neue"/>
                <a:cs typeface="Helvetica Neue"/>
              </a:rPr>
              <a:t>à leurs intérêts</a:t>
            </a:r>
            <a:r>
              <a:rPr sz="1100" b="1" spc="-16" dirty="0">
                <a:solidFill>
                  <a:srgbClr val="1D1D1B"/>
                </a:solidFill>
                <a:latin typeface="Helvetica Neue"/>
                <a:cs typeface="Helvetica Neue"/>
              </a:rPr>
              <a:t> </a:t>
            </a:r>
            <a:r>
              <a:rPr sz="1100" b="1" spc="5" dirty="0">
                <a:solidFill>
                  <a:srgbClr val="1D1D1B"/>
                </a:solidFill>
                <a:latin typeface="Helvetica Neue"/>
                <a:cs typeface="Helvetica Neue"/>
              </a:rPr>
              <a:t>avant  de penser à ceux de leurs</a:t>
            </a:r>
            <a:r>
              <a:rPr sz="1100" b="1" spc="-14" dirty="0">
                <a:solidFill>
                  <a:srgbClr val="1D1D1B"/>
                </a:solidFill>
                <a:latin typeface="Helvetica Neue"/>
                <a:cs typeface="Helvetica Neue"/>
              </a:rPr>
              <a:t> </a:t>
            </a:r>
            <a:r>
              <a:rPr sz="1100" b="1" spc="5" dirty="0">
                <a:solidFill>
                  <a:srgbClr val="1D1D1B"/>
                </a:solidFill>
                <a:latin typeface="Helvetica Neue"/>
                <a:cs typeface="Helvetica Neue"/>
              </a:rPr>
              <a:t>clients</a:t>
            </a:r>
            <a:endParaRPr sz="1100">
              <a:latin typeface="Helvetica Neue"/>
              <a:cs typeface="Helvetica Neue"/>
            </a:endParaRPr>
          </a:p>
        </p:txBody>
      </p:sp>
      <p:sp>
        <p:nvSpPr>
          <p:cNvPr id="33" name="object 33"/>
          <p:cNvSpPr/>
          <p:nvPr/>
        </p:nvSpPr>
        <p:spPr>
          <a:xfrm>
            <a:off x="4742693" y="4596342"/>
            <a:ext cx="3839267" cy="257608"/>
          </a:xfrm>
          <a:custGeom>
            <a:avLst/>
            <a:gdLst/>
            <a:ahLst/>
            <a:cxnLst/>
            <a:rect l="l" t="t" r="r" b="b"/>
            <a:pathLst>
              <a:path w="8441055" h="566420">
                <a:moveTo>
                  <a:pt x="8440622" y="0"/>
                </a:moveTo>
                <a:lnTo>
                  <a:pt x="0" y="0"/>
                </a:lnTo>
                <a:lnTo>
                  <a:pt x="0" y="566160"/>
                </a:lnTo>
                <a:lnTo>
                  <a:pt x="8440622" y="566160"/>
                </a:lnTo>
                <a:lnTo>
                  <a:pt x="8440622" y="0"/>
                </a:lnTo>
                <a:close/>
              </a:path>
            </a:pathLst>
          </a:custGeom>
          <a:solidFill>
            <a:srgbClr val="585858"/>
          </a:solidFill>
        </p:spPr>
        <p:txBody>
          <a:bodyPr wrap="square" lIns="0" tIns="0" rIns="0" bIns="0" rtlCol="0"/>
          <a:lstStyle/>
          <a:p>
            <a:endParaRPr/>
          </a:p>
        </p:txBody>
      </p:sp>
      <p:sp>
        <p:nvSpPr>
          <p:cNvPr id="34" name="object 34"/>
          <p:cNvSpPr/>
          <p:nvPr/>
        </p:nvSpPr>
        <p:spPr>
          <a:xfrm>
            <a:off x="4742697" y="4294950"/>
            <a:ext cx="3709010" cy="257608"/>
          </a:xfrm>
          <a:custGeom>
            <a:avLst/>
            <a:gdLst/>
            <a:ahLst/>
            <a:cxnLst/>
            <a:rect l="l" t="t" r="r" b="b"/>
            <a:pathLst>
              <a:path w="8154669" h="566420">
                <a:moveTo>
                  <a:pt x="8154128" y="0"/>
                </a:moveTo>
                <a:lnTo>
                  <a:pt x="0" y="0"/>
                </a:lnTo>
                <a:lnTo>
                  <a:pt x="0" y="566171"/>
                </a:lnTo>
                <a:lnTo>
                  <a:pt x="8154128" y="566171"/>
                </a:lnTo>
                <a:lnTo>
                  <a:pt x="8154128" y="0"/>
                </a:lnTo>
                <a:close/>
              </a:path>
            </a:pathLst>
          </a:custGeom>
          <a:solidFill>
            <a:srgbClr val="FF7900"/>
          </a:solidFill>
        </p:spPr>
        <p:txBody>
          <a:bodyPr wrap="square" lIns="0" tIns="0" rIns="0" bIns="0" rtlCol="0"/>
          <a:lstStyle/>
          <a:p>
            <a:endParaRPr/>
          </a:p>
        </p:txBody>
      </p:sp>
      <p:sp>
        <p:nvSpPr>
          <p:cNvPr id="35" name="object 35"/>
          <p:cNvSpPr txBox="1"/>
          <p:nvPr/>
        </p:nvSpPr>
        <p:spPr>
          <a:xfrm>
            <a:off x="8212028" y="4607907"/>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92%</a:t>
            </a:r>
            <a:endParaRPr sz="1300">
              <a:latin typeface="Helvetica"/>
              <a:cs typeface="Helvetica"/>
            </a:endParaRPr>
          </a:p>
        </p:txBody>
      </p:sp>
      <p:sp>
        <p:nvSpPr>
          <p:cNvPr id="36" name="object 36"/>
          <p:cNvSpPr/>
          <p:nvPr/>
        </p:nvSpPr>
        <p:spPr>
          <a:xfrm>
            <a:off x="7780592" y="1012236"/>
            <a:ext cx="291841" cy="291821"/>
          </a:xfrm>
          <a:prstGeom prst="rect">
            <a:avLst/>
          </a:prstGeom>
          <a:blipFill>
            <a:blip r:embed="rId2" cstate="print"/>
            <a:stretch>
              <a:fillRect/>
            </a:stretch>
          </a:blipFill>
        </p:spPr>
        <p:txBody>
          <a:bodyPr wrap="square" lIns="0" tIns="0" rIns="0" bIns="0" rtlCol="0"/>
          <a:lstStyle/>
          <a:p>
            <a:endParaRPr/>
          </a:p>
        </p:txBody>
      </p:sp>
      <p:sp>
        <p:nvSpPr>
          <p:cNvPr id="37" name="object 37"/>
          <p:cNvSpPr txBox="1"/>
          <p:nvPr/>
        </p:nvSpPr>
        <p:spPr>
          <a:xfrm>
            <a:off x="6962366" y="2486353"/>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62%</a:t>
            </a:r>
            <a:endParaRPr sz="1300">
              <a:latin typeface="Helvetica"/>
              <a:cs typeface="Helvetica"/>
            </a:endParaRPr>
          </a:p>
        </p:txBody>
      </p:sp>
      <p:sp>
        <p:nvSpPr>
          <p:cNvPr id="38" name="object 38"/>
          <p:cNvSpPr txBox="1"/>
          <p:nvPr/>
        </p:nvSpPr>
        <p:spPr>
          <a:xfrm>
            <a:off x="8077867" y="4305777"/>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89%</a:t>
            </a:r>
            <a:endParaRPr sz="1300">
              <a:latin typeface="Helvetica"/>
              <a:cs typeface="Helvetica"/>
            </a:endParaRPr>
          </a:p>
        </p:txBody>
      </p:sp>
    </p:spTree>
    <p:extLst>
      <p:ext uri="{BB962C8B-B14F-4D97-AF65-F5344CB8AC3E}">
        <p14:creationId xmlns:p14="http://schemas.microsoft.com/office/powerpoint/2010/main" val="11808948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5669" y="113083"/>
            <a:ext cx="6450477" cy="326053"/>
          </a:xfrm>
          <a:prstGeom prst="rect">
            <a:avLst/>
          </a:prstGeom>
        </p:spPr>
        <p:txBody>
          <a:bodyPr vert="horz" wrap="square" lIns="0" tIns="7798" rIns="0" bIns="0" rtlCol="0">
            <a:spAutoFit/>
          </a:bodyPr>
          <a:lstStyle/>
          <a:p>
            <a:pPr marL="5776">
              <a:lnSpc>
                <a:spcPct val="100000"/>
              </a:lnSpc>
              <a:spcBef>
                <a:spcPts val="61"/>
              </a:spcBef>
            </a:pPr>
            <a:r>
              <a:rPr spc="-2" dirty="0"/>
              <a:t>Un </a:t>
            </a:r>
            <a:r>
              <a:rPr spc="-11" dirty="0"/>
              <a:t>désir </a:t>
            </a:r>
            <a:r>
              <a:rPr spc="-14" dirty="0"/>
              <a:t>d’autonomie </a:t>
            </a:r>
            <a:r>
              <a:rPr spc="-9" dirty="0"/>
              <a:t>sur </a:t>
            </a:r>
            <a:r>
              <a:rPr spc="-2" dirty="0"/>
              <a:t>de </a:t>
            </a:r>
            <a:r>
              <a:rPr spc="-11" dirty="0"/>
              <a:t>nombreuses</a:t>
            </a:r>
            <a:r>
              <a:rPr spc="-196" dirty="0"/>
              <a:t> </a:t>
            </a:r>
            <a:r>
              <a:rPr spc="-16" dirty="0"/>
              <a:t>opérations</a:t>
            </a:r>
          </a:p>
        </p:txBody>
      </p:sp>
      <p:sp>
        <p:nvSpPr>
          <p:cNvPr id="3" name="object 3"/>
          <p:cNvSpPr txBox="1"/>
          <p:nvPr/>
        </p:nvSpPr>
        <p:spPr>
          <a:xfrm>
            <a:off x="775669" y="570251"/>
            <a:ext cx="7874064" cy="282539"/>
          </a:xfrm>
          <a:prstGeom prst="rect">
            <a:avLst/>
          </a:prstGeom>
        </p:spPr>
        <p:txBody>
          <a:bodyPr vert="horz" wrap="square" lIns="0" tIns="5487" rIns="0" bIns="0" rtlCol="0">
            <a:spAutoFit/>
          </a:bodyPr>
          <a:lstStyle/>
          <a:p>
            <a:pPr marL="5776" marR="2310">
              <a:lnSpc>
                <a:spcPct val="100499"/>
              </a:lnSpc>
              <a:spcBef>
                <a:spcPts val="43"/>
              </a:spcBef>
            </a:pPr>
            <a:r>
              <a:rPr sz="900" b="1" spc="2" dirty="0">
                <a:latin typeface="Helvetica Neue"/>
                <a:cs typeface="Helvetica Neue"/>
              </a:rPr>
              <a:t>Pour chacune des opérations bancaires suivantes, préférez-vous </a:t>
            </a:r>
            <a:r>
              <a:rPr sz="900" b="1" dirty="0">
                <a:latin typeface="Helvetica Neue"/>
                <a:cs typeface="Helvetica Neue"/>
              </a:rPr>
              <a:t>la faire </a:t>
            </a:r>
            <a:r>
              <a:rPr sz="900" b="1" spc="2" dirty="0">
                <a:latin typeface="Helvetica Neue"/>
                <a:cs typeface="Helvetica Neue"/>
              </a:rPr>
              <a:t>vous-même depuis votre mobile ou </a:t>
            </a:r>
            <a:r>
              <a:rPr sz="900" b="1" dirty="0">
                <a:latin typeface="Helvetica Neue"/>
                <a:cs typeface="Helvetica Neue"/>
              </a:rPr>
              <a:t>internet, </a:t>
            </a:r>
            <a:r>
              <a:rPr sz="900" b="1" spc="2" dirty="0">
                <a:latin typeface="Helvetica Neue"/>
                <a:cs typeface="Helvetica Neue"/>
              </a:rPr>
              <a:t>ou </a:t>
            </a:r>
            <a:r>
              <a:rPr sz="900" b="1" dirty="0">
                <a:latin typeface="Helvetica Neue"/>
                <a:cs typeface="Helvetica Neue"/>
              </a:rPr>
              <a:t>la faire </a:t>
            </a:r>
            <a:r>
              <a:rPr sz="900" b="1" spc="2" dirty="0">
                <a:latin typeface="Helvetica Neue"/>
                <a:cs typeface="Helvetica Neue"/>
              </a:rPr>
              <a:t>avec votre  conseiller bancaire ? </a:t>
            </a:r>
            <a:r>
              <a:rPr sz="900" spc="2" dirty="0">
                <a:latin typeface="Helvetica Neue"/>
                <a:cs typeface="Helvetica Neue"/>
              </a:rPr>
              <a:t>en </a:t>
            </a:r>
            <a:r>
              <a:rPr sz="900" spc="5" dirty="0">
                <a:latin typeface="Helvetica Neue"/>
                <a:cs typeface="Helvetica Neue"/>
              </a:rPr>
              <a:t>% </a:t>
            </a:r>
            <a:r>
              <a:rPr lang="fr-FR" sz="900" spc="2" dirty="0">
                <a:latin typeface="Helvetica Neue"/>
                <a:cs typeface="Helvetica Neue"/>
              </a:rPr>
              <a:t>ceux qui préfèrent le faire </a:t>
            </a:r>
            <a:r>
              <a:rPr lang="fr-FR" sz="900" spc="2" dirty="0" err="1">
                <a:latin typeface="Helvetica Neue"/>
                <a:cs typeface="Helvetica Neue"/>
              </a:rPr>
              <a:t>eux-même</a:t>
            </a:r>
            <a:r>
              <a:rPr lang="fr-FR" sz="900" spc="2" dirty="0">
                <a:latin typeface="Helvetica Neue"/>
                <a:cs typeface="Helvetica Neue"/>
              </a:rPr>
              <a:t> </a:t>
            </a:r>
            <a:r>
              <a:rPr sz="900" spc="2" dirty="0" err="1">
                <a:latin typeface="Helvetica Neue"/>
                <a:cs typeface="Helvetica Neue"/>
              </a:rPr>
              <a:t>depuis</a:t>
            </a:r>
            <a:r>
              <a:rPr sz="900" spc="2" dirty="0">
                <a:latin typeface="Helvetica Neue"/>
                <a:cs typeface="Helvetica Neue"/>
              </a:rPr>
              <a:t> </a:t>
            </a:r>
            <a:r>
              <a:rPr lang="fr-FR" sz="900" spc="2" dirty="0">
                <a:latin typeface="Helvetica Neue"/>
                <a:cs typeface="Helvetica Neue"/>
              </a:rPr>
              <a:t>leur</a:t>
            </a:r>
            <a:r>
              <a:rPr sz="900" spc="2" dirty="0">
                <a:latin typeface="Helvetica Neue"/>
                <a:cs typeface="Helvetica Neue"/>
              </a:rPr>
              <a:t> mobile ou</a:t>
            </a:r>
            <a:r>
              <a:rPr sz="900" spc="-27" dirty="0">
                <a:latin typeface="Helvetica Neue"/>
                <a:cs typeface="Helvetica Neue"/>
              </a:rPr>
              <a:t> </a:t>
            </a:r>
            <a:r>
              <a:rPr sz="900" dirty="0">
                <a:latin typeface="Helvetica Neue"/>
                <a:cs typeface="Helvetica Neue"/>
              </a:rPr>
              <a:t>internet</a:t>
            </a:r>
          </a:p>
        </p:txBody>
      </p:sp>
      <p:sp>
        <p:nvSpPr>
          <p:cNvPr id="4" name="object 4"/>
          <p:cNvSpPr/>
          <p:nvPr/>
        </p:nvSpPr>
        <p:spPr>
          <a:xfrm>
            <a:off x="0" y="988016"/>
            <a:ext cx="9133603" cy="4155484"/>
          </a:xfrm>
          <a:custGeom>
            <a:avLst/>
            <a:gdLst/>
            <a:ahLst/>
            <a:cxnLst/>
            <a:rect l="l" t="t" r="r" b="b"/>
            <a:pathLst>
              <a:path w="20081240" h="9091930">
                <a:moveTo>
                  <a:pt x="0" y="9091482"/>
                </a:moveTo>
                <a:lnTo>
                  <a:pt x="20081116" y="9091482"/>
                </a:lnTo>
                <a:lnTo>
                  <a:pt x="20081116" y="0"/>
                </a:lnTo>
                <a:lnTo>
                  <a:pt x="0" y="0"/>
                </a:lnTo>
                <a:lnTo>
                  <a:pt x="0" y="9091482"/>
                </a:lnTo>
                <a:close/>
              </a:path>
            </a:pathLst>
          </a:custGeom>
          <a:solidFill>
            <a:srgbClr val="D5D5D5"/>
          </a:solidFill>
        </p:spPr>
        <p:txBody>
          <a:bodyPr wrap="square" lIns="0" tIns="0" rIns="0" bIns="0" rtlCol="0"/>
          <a:lstStyle/>
          <a:p>
            <a:endParaRPr/>
          </a:p>
        </p:txBody>
      </p:sp>
      <p:sp>
        <p:nvSpPr>
          <p:cNvPr id="5" name="object 5"/>
          <p:cNvSpPr/>
          <p:nvPr/>
        </p:nvSpPr>
        <p:spPr>
          <a:xfrm>
            <a:off x="190895" y="217647"/>
            <a:ext cx="422542" cy="422512"/>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5"/>
                </a:lnTo>
                <a:lnTo>
                  <a:pt x="20875" y="602435"/>
                </a:lnTo>
                <a:lnTo>
                  <a:pt x="36489" y="645098"/>
                </a:lnTo>
                <a:lnTo>
                  <a:pt x="56042" y="685689"/>
                </a:lnTo>
                <a:lnTo>
                  <a:pt x="79301" y="723975"/>
                </a:lnTo>
                <a:lnTo>
                  <a:pt x="106031" y="759722"/>
                </a:lnTo>
                <a:lnTo>
                  <a:pt x="136001" y="792698"/>
                </a:lnTo>
                <a:lnTo>
                  <a:pt x="168975" y="822668"/>
                </a:lnTo>
                <a:lnTo>
                  <a:pt x="204722" y="849400"/>
                </a:lnTo>
                <a:lnTo>
                  <a:pt x="243007" y="872659"/>
                </a:lnTo>
                <a:lnTo>
                  <a:pt x="283597" y="892213"/>
                </a:lnTo>
                <a:lnTo>
                  <a:pt x="326259" y="907828"/>
                </a:lnTo>
                <a:lnTo>
                  <a:pt x="370759" y="919270"/>
                </a:lnTo>
                <a:lnTo>
                  <a:pt x="416864" y="926307"/>
                </a:lnTo>
                <a:lnTo>
                  <a:pt x="464341" y="928704"/>
                </a:lnTo>
                <a:lnTo>
                  <a:pt x="511818" y="926307"/>
                </a:lnTo>
                <a:lnTo>
                  <a:pt x="557924" y="919270"/>
                </a:lnTo>
                <a:lnTo>
                  <a:pt x="602425" y="907828"/>
                </a:lnTo>
                <a:lnTo>
                  <a:pt x="645088" y="892213"/>
                </a:lnTo>
                <a:lnTo>
                  <a:pt x="685678" y="872659"/>
                </a:lnTo>
                <a:lnTo>
                  <a:pt x="723964" y="849400"/>
                </a:lnTo>
                <a:lnTo>
                  <a:pt x="759712" y="822668"/>
                </a:lnTo>
                <a:lnTo>
                  <a:pt x="792687" y="792698"/>
                </a:lnTo>
                <a:lnTo>
                  <a:pt x="822658" y="759722"/>
                </a:lnTo>
                <a:lnTo>
                  <a:pt x="849389" y="723975"/>
                </a:lnTo>
                <a:lnTo>
                  <a:pt x="872649" y="685689"/>
                </a:lnTo>
                <a:lnTo>
                  <a:pt x="892202" y="645098"/>
                </a:lnTo>
                <a:lnTo>
                  <a:pt x="907817" y="602435"/>
                </a:lnTo>
                <a:lnTo>
                  <a:pt x="919260" y="557935"/>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FFC203"/>
          </a:solidFill>
        </p:spPr>
        <p:txBody>
          <a:bodyPr wrap="square" lIns="0" tIns="0" rIns="0" bIns="0" rtlCol="0"/>
          <a:lstStyle/>
          <a:p>
            <a:endParaRPr/>
          </a:p>
        </p:txBody>
      </p:sp>
      <p:sp>
        <p:nvSpPr>
          <p:cNvPr id="6" name="object 6"/>
          <p:cNvSpPr/>
          <p:nvPr/>
        </p:nvSpPr>
        <p:spPr>
          <a:xfrm>
            <a:off x="190892" y="217649"/>
            <a:ext cx="422542" cy="422512"/>
          </a:xfrm>
          <a:custGeom>
            <a:avLst/>
            <a:gdLst/>
            <a:ahLst/>
            <a:cxnLst/>
            <a:rect l="l" t="t" r="r" b="b"/>
            <a:pathLst>
              <a:path w="929005" h="929005">
                <a:moveTo>
                  <a:pt x="464352" y="0"/>
                </a:moveTo>
                <a:lnTo>
                  <a:pt x="416875" y="2397"/>
                </a:lnTo>
                <a:lnTo>
                  <a:pt x="370769" y="9433"/>
                </a:lnTo>
                <a:lnTo>
                  <a:pt x="326268" y="20875"/>
                </a:lnTo>
                <a:lnTo>
                  <a:pt x="283606" y="36489"/>
                </a:lnTo>
                <a:lnTo>
                  <a:pt x="243015" y="56043"/>
                </a:lnTo>
                <a:lnTo>
                  <a:pt x="204729" y="79301"/>
                </a:lnTo>
                <a:lnTo>
                  <a:pt x="168981" y="106032"/>
                </a:lnTo>
                <a:lnTo>
                  <a:pt x="136006" y="136002"/>
                </a:lnTo>
                <a:lnTo>
                  <a:pt x="106036" y="168977"/>
                </a:lnTo>
                <a:lnTo>
                  <a:pt x="79304" y="204724"/>
                </a:lnTo>
                <a:lnTo>
                  <a:pt x="56045" y="243010"/>
                </a:lnTo>
                <a:lnTo>
                  <a:pt x="36491" y="283601"/>
                </a:lnTo>
                <a:lnTo>
                  <a:pt x="20876" y="326264"/>
                </a:lnTo>
                <a:lnTo>
                  <a:pt x="9434" y="370766"/>
                </a:lnTo>
                <a:lnTo>
                  <a:pt x="2397" y="416873"/>
                </a:lnTo>
                <a:lnTo>
                  <a:pt x="0" y="464352"/>
                </a:lnTo>
                <a:lnTo>
                  <a:pt x="2397" y="511829"/>
                </a:lnTo>
                <a:lnTo>
                  <a:pt x="9434" y="557934"/>
                </a:lnTo>
                <a:lnTo>
                  <a:pt x="20876" y="602434"/>
                </a:lnTo>
                <a:lnTo>
                  <a:pt x="36491" y="645096"/>
                </a:lnTo>
                <a:lnTo>
                  <a:pt x="56045" y="685687"/>
                </a:lnTo>
                <a:lnTo>
                  <a:pt x="79304" y="723972"/>
                </a:lnTo>
                <a:lnTo>
                  <a:pt x="106036" y="759718"/>
                </a:lnTo>
                <a:lnTo>
                  <a:pt x="136006" y="792693"/>
                </a:lnTo>
                <a:lnTo>
                  <a:pt x="168981" y="822662"/>
                </a:lnTo>
                <a:lnTo>
                  <a:pt x="204729" y="849392"/>
                </a:lnTo>
                <a:lnTo>
                  <a:pt x="243015" y="872651"/>
                </a:lnTo>
                <a:lnTo>
                  <a:pt x="283606" y="892204"/>
                </a:lnTo>
                <a:lnTo>
                  <a:pt x="326268" y="907818"/>
                </a:lnTo>
                <a:lnTo>
                  <a:pt x="370769" y="919260"/>
                </a:lnTo>
                <a:lnTo>
                  <a:pt x="416875" y="926296"/>
                </a:lnTo>
                <a:lnTo>
                  <a:pt x="464352" y="928694"/>
                </a:lnTo>
                <a:lnTo>
                  <a:pt x="511829" y="926296"/>
                </a:lnTo>
                <a:lnTo>
                  <a:pt x="557935" y="919260"/>
                </a:lnTo>
                <a:lnTo>
                  <a:pt x="602435" y="907818"/>
                </a:lnTo>
                <a:lnTo>
                  <a:pt x="645098" y="892204"/>
                </a:lnTo>
                <a:lnTo>
                  <a:pt x="685689" y="872651"/>
                </a:lnTo>
                <a:lnTo>
                  <a:pt x="723975" y="849392"/>
                </a:lnTo>
                <a:lnTo>
                  <a:pt x="733462" y="842298"/>
                </a:lnTo>
                <a:lnTo>
                  <a:pt x="464352" y="842298"/>
                </a:lnTo>
                <a:lnTo>
                  <a:pt x="417008" y="839348"/>
                </a:lnTo>
                <a:lnTo>
                  <a:pt x="371401" y="830736"/>
                </a:lnTo>
                <a:lnTo>
                  <a:pt x="327886" y="816818"/>
                </a:lnTo>
                <a:lnTo>
                  <a:pt x="286822" y="797951"/>
                </a:lnTo>
                <a:lnTo>
                  <a:pt x="248564" y="774492"/>
                </a:lnTo>
                <a:lnTo>
                  <a:pt x="213471" y="746799"/>
                </a:lnTo>
                <a:lnTo>
                  <a:pt x="181899" y="715228"/>
                </a:lnTo>
                <a:lnTo>
                  <a:pt x="154204" y="680136"/>
                </a:lnTo>
                <a:lnTo>
                  <a:pt x="130745" y="641880"/>
                </a:lnTo>
                <a:lnTo>
                  <a:pt x="111877" y="600816"/>
                </a:lnTo>
                <a:lnTo>
                  <a:pt x="97958" y="557302"/>
                </a:lnTo>
                <a:lnTo>
                  <a:pt x="89345" y="511695"/>
                </a:lnTo>
                <a:lnTo>
                  <a:pt x="86395" y="464352"/>
                </a:lnTo>
                <a:lnTo>
                  <a:pt x="89345" y="417006"/>
                </a:lnTo>
                <a:lnTo>
                  <a:pt x="97958" y="371397"/>
                </a:lnTo>
                <a:lnTo>
                  <a:pt x="111877" y="327882"/>
                </a:lnTo>
                <a:lnTo>
                  <a:pt x="130745" y="286817"/>
                </a:lnTo>
                <a:lnTo>
                  <a:pt x="154204" y="248560"/>
                </a:lnTo>
                <a:lnTo>
                  <a:pt x="181899" y="213467"/>
                </a:lnTo>
                <a:lnTo>
                  <a:pt x="213471" y="181895"/>
                </a:lnTo>
                <a:lnTo>
                  <a:pt x="248564" y="154202"/>
                </a:lnTo>
                <a:lnTo>
                  <a:pt x="286822" y="130743"/>
                </a:lnTo>
                <a:lnTo>
                  <a:pt x="327886" y="111876"/>
                </a:lnTo>
                <a:lnTo>
                  <a:pt x="371401" y="97958"/>
                </a:lnTo>
                <a:lnTo>
                  <a:pt x="417008" y="89345"/>
                </a:lnTo>
                <a:lnTo>
                  <a:pt x="464352" y="86395"/>
                </a:lnTo>
                <a:lnTo>
                  <a:pt x="733461" y="86395"/>
                </a:lnTo>
                <a:lnTo>
                  <a:pt x="723975" y="79301"/>
                </a:lnTo>
                <a:lnTo>
                  <a:pt x="685689" y="56043"/>
                </a:lnTo>
                <a:lnTo>
                  <a:pt x="645098" y="36489"/>
                </a:lnTo>
                <a:lnTo>
                  <a:pt x="602435" y="20875"/>
                </a:lnTo>
                <a:lnTo>
                  <a:pt x="557935" y="9433"/>
                </a:lnTo>
                <a:lnTo>
                  <a:pt x="511829" y="2397"/>
                </a:lnTo>
                <a:lnTo>
                  <a:pt x="464352" y="0"/>
                </a:lnTo>
                <a:close/>
              </a:path>
              <a:path w="929005" h="929005">
                <a:moveTo>
                  <a:pt x="733461" y="86395"/>
                </a:moveTo>
                <a:lnTo>
                  <a:pt x="464352" y="86395"/>
                </a:lnTo>
                <a:lnTo>
                  <a:pt x="511696" y="89345"/>
                </a:lnTo>
                <a:lnTo>
                  <a:pt x="557303" y="97958"/>
                </a:lnTo>
                <a:lnTo>
                  <a:pt x="600818" y="111876"/>
                </a:lnTo>
                <a:lnTo>
                  <a:pt x="641882" y="130743"/>
                </a:lnTo>
                <a:lnTo>
                  <a:pt x="680139" y="154202"/>
                </a:lnTo>
                <a:lnTo>
                  <a:pt x="715233" y="181895"/>
                </a:lnTo>
                <a:lnTo>
                  <a:pt x="746805" y="213467"/>
                </a:lnTo>
                <a:lnTo>
                  <a:pt x="774499" y="248560"/>
                </a:lnTo>
                <a:lnTo>
                  <a:pt x="797959" y="286817"/>
                </a:lnTo>
                <a:lnTo>
                  <a:pt x="816827" y="327882"/>
                </a:lnTo>
                <a:lnTo>
                  <a:pt x="830745" y="371397"/>
                </a:lnTo>
                <a:lnTo>
                  <a:pt x="839359" y="417006"/>
                </a:lnTo>
                <a:lnTo>
                  <a:pt x="842309" y="464352"/>
                </a:lnTo>
                <a:lnTo>
                  <a:pt x="839359" y="511695"/>
                </a:lnTo>
                <a:lnTo>
                  <a:pt x="830745" y="557302"/>
                </a:lnTo>
                <a:lnTo>
                  <a:pt x="816827" y="600816"/>
                </a:lnTo>
                <a:lnTo>
                  <a:pt x="797959" y="641880"/>
                </a:lnTo>
                <a:lnTo>
                  <a:pt x="774499" y="680136"/>
                </a:lnTo>
                <a:lnTo>
                  <a:pt x="746805" y="715228"/>
                </a:lnTo>
                <a:lnTo>
                  <a:pt x="715233" y="746799"/>
                </a:lnTo>
                <a:lnTo>
                  <a:pt x="680139" y="774492"/>
                </a:lnTo>
                <a:lnTo>
                  <a:pt x="641882" y="797951"/>
                </a:lnTo>
                <a:lnTo>
                  <a:pt x="600818" y="816818"/>
                </a:lnTo>
                <a:lnTo>
                  <a:pt x="557303" y="830736"/>
                </a:lnTo>
                <a:lnTo>
                  <a:pt x="511696" y="839348"/>
                </a:lnTo>
                <a:lnTo>
                  <a:pt x="464352" y="842298"/>
                </a:lnTo>
                <a:lnTo>
                  <a:pt x="733462" y="842298"/>
                </a:lnTo>
                <a:lnTo>
                  <a:pt x="792698" y="792693"/>
                </a:lnTo>
                <a:lnTo>
                  <a:pt x="822668" y="759718"/>
                </a:lnTo>
                <a:lnTo>
                  <a:pt x="849400" y="723972"/>
                </a:lnTo>
                <a:lnTo>
                  <a:pt x="872659" y="685687"/>
                </a:lnTo>
                <a:lnTo>
                  <a:pt x="892213" y="645096"/>
                </a:lnTo>
                <a:lnTo>
                  <a:pt x="907828" y="602434"/>
                </a:lnTo>
                <a:lnTo>
                  <a:pt x="919270" y="557934"/>
                </a:lnTo>
                <a:lnTo>
                  <a:pt x="926307" y="511829"/>
                </a:lnTo>
                <a:lnTo>
                  <a:pt x="928704" y="464352"/>
                </a:lnTo>
                <a:lnTo>
                  <a:pt x="926307" y="416873"/>
                </a:lnTo>
                <a:lnTo>
                  <a:pt x="919270" y="370766"/>
                </a:lnTo>
                <a:lnTo>
                  <a:pt x="907828" y="326264"/>
                </a:lnTo>
                <a:lnTo>
                  <a:pt x="892213" y="283601"/>
                </a:lnTo>
                <a:lnTo>
                  <a:pt x="872659" y="243010"/>
                </a:lnTo>
                <a:lnTo>
                  <a:pt x="849400" y="204724"/>
                </a:lnTo>
                <a:lnTo>
                  <a:pt x="822668" y="168977"/>
                </a:lnTo>
                <a:lnTo>
                  <a:pt x="792698" y="136002"/>
                </a:lnTo>
                <a:lnTo>
                  <a:pt x="759722" y="106032"/>
                </a:lnTo>
                <a:lnTo>
                  <a:pt x="733461" y="86395"/>
                </a:lnTo>
                <a:close/>
              </a:path>
            </a:pathLst>
          </a:custGeom>
          <a:solidFill>
            <a:srgbClr val="000000"/>
          </a:solidFill>
        </p:spPr>
        <p:txBody>
          <a:bodyPr wrap="square" lIns="0" tIns="0" rIns="0" bIns="0" rtlCol="0"/>
          <a:lstStyle/>
          <a:p>
            <a:endParaRPr/>
          </a:p>
        </p:txBody>
      </p:sp>
      <p:sp>
        <p:nvSpPr>
          <p:cNvPr id="7" name="object 7"/>
          <p:cNvSpPr/>
          <p:nvPr/>
        </p:nvSpPr>
        <p:spPr>
          <a:xfrm>
            <a:off x="272758" y="311948"/>
            <a:ext cx="267446" cy="267427"/>
          </a:xfrm>
          <a:custGeom>
            <a:avLst/>
            <a:gdLst/>
            <a:ahLst/>
            <a:cxnLst/>
            <a:rect l="l" t="t" r="r" b="b"/>
            <a:pathLst>
              <a:path w="588010" h="588010">
                <a:moveTo>
                  <a:pt x="587458" y="0"/>
                </a:moveTo>
                <a:lnTo>
                  <a:pt x="0" y="587458"/>
                </a:lnTo>
              </a:path>
            </a:pathLst>
          </a:custGeom>
          <a:ln w="86395">
            <a:solidFill>
              <a:srgbClr val="000000"/>
            </a:solidFill>
          </a:ln>
        </p:spPr>
        <p:txBody>
          <a:bodyPr wrap="square" lIns="0" tIns="0" rIns="0" bIns="0" rtlCol="0"/>
          <a:lstStyle/>
          <a:p>
            <a:endParaRPr/>
          </a:p>
        </p:txBody>
      </p:sp>
      <p:sp>
        <p:nvSpPr>
          <p:cNvPr id="8" name="object 8"/>
          <p:cNvSpPr/>
          <p:nvPr/>
        </p:nvSpPr>
        <p:spPr>
          <a:xfrm>
            <a:off x="373613" y="403627"/>
            <a:ext cx="78848" cy="107433"/>
          </a:xfrm>
          <a:custGeom>
            <a:avLst/>
            <a:gdLst/>
            <a:ahLst/>
            <a:cxnLst/>
            <a:rect l="l" t="t" r="r" b="b"/>
            <a:pathLst>
              <a:path w="173355" h="236219">
                <a:moveTo>
                  <a:pt x="172780" y="236139"/>
                </a:moveTo>
                <a:lnTo>
                  <a:pt x="0" y="236139"/>
                </a:lnTo>
                <a:lnTo>
                  <a:pt x="0" y="0"/>
                </a:lnTo>
                <a:lnTo>
                  <a:pt x="172780" y="0"/>
                </a:lnTo>
                <a:lnTo>
                  <a:pt x="172780" y="236139"/>
                </a:lnTo>
                <a:close/>
              </a:path>
            </a:pathLst>
          </a:custGeom>
          <a:solidFill>
            <a:srgbClr val="FFFFFF"/>
          </a:solidFill>
        </p:spPr>
        <p:txBody>
          <a:bodyPr wrap="square" lIns="0" tIns="0" rIns="0" bIns="0" rtlCol="0"/>
          <a:lstStyle/>
          <a:p>
            <a:endParaRPr/>
          </a:p>
        </p:txBody>
      </p:sp>
      <p:sp>
        <p:nvSpPr>
          <p:cNvPr id="9" name="object 9"/>
          <p:cNvSpPr/>
          <p:nvPr/>
        </p:nvSpPr>
        <p:spPr>
          <a:xfrm>
            <a:off x="317944" y="272655"/>
            <a:ext cx="163760" cy="261940"/>
          </a:xfrm>
          <a:custGeom>
            <a:avLst/>
            <a:gdLst/>
            <a:ahLst/>
            <a:cxnLst/>
            <a:rect l="l" t="t" r="r" b="b"/>
            <a:pathLst>
              <a:path w="360044" h="575944">
                <a:moveTo>
                  <a:pt x="76604" y="232694"/>
                </a:moveTo>
                <a:lnTo>
                  <a:pt x="45410" y="255022"/>
                </a:lnTo>
                <a:lnTo>
                  <a:pt x="21214" y="284708"/>
                </a:lnTo>
                <a:lnTo>
                  <a:pt x="5561" y="320206"/>
                </a:lnTo>
                <a:lnTo>
                  <a:pt x="0" y="359968"/>
                </a:lnTo>
                <a:lnTo>
                  <a:pt x="0" y="511157"/>
                </a:lnTo>
                <a:lnTo>
                  <a:pt x="5328" y="536402"/>
                </a:lnTo>
                <a:lnTo>
                  <a:pt x="19384" y="556994"/>
                </a:lnTo>
                <a:lnTo>
                  <a:pt x="40111" y="570867"/>
                </a:lnTo>
                <a:lnTo>
                  <a:pt x="65443" y="575951"/>
                </a:lnTo>
                <a:lnTo>
                  <a:pt x="359957" y="575951"/>
                </a:lnTo>
                <a:lnTo>
                  <a:pt x="359957" y="511157"/>
                </a:lnTo>
                <a:lnTo>
                  <a:pt x="179984" y="511157"/>
                </a:lnTo>
                <a:lnTo>
                  <a:pt x="143985" y="464279"/>
                </a:lnTo>
                <a:lnTo>
                  <a:pt x="166246" y="298472"/>
                </a:lnTo>
                <a:lnTo>
                  <a:pt x="193844" y="298472"/>
                </a:lnTo>
                <a:lnTo>
                  <a:pt x="194475" y="298420"/>
                </a:lnTo>
                <a:lnTo>
                  <a:pt x="344790" y="298420"/>
                </a:lnTo>
                <a:lnTo>
                  <a:pt x="338744" y="284708"/>
                </a:lnTo>
                <a:lnTo>
                  <a:pt x="329677" y="273583"/>
                </a:lnTo>
                <a:lnTo>
                  <a:pt x="179984" y="273583"/>
                </a:lnTo>
                <a:lnTo>
                  <a:pt x="150762" y="270759"/>
                </a:lnTo>
                <a:lnTo>
                  <a:pt x="123437" y="262645"/>
                </a:lnTo>
                <a:lnTo>
                  <a:pt x="98540" y="249777"/>
                </a:lnTo>
                <a:lnTo>
                  <a:pt x="76604" y="232694"/>
                </a:lnTo>
                <a:close/>
              </a:path>
              <a:path w="360044" h="575944">
                <a:moveTo>
                  <a:pt x="344790" y="298420"/>
                </a:moveTo>
                <a:lnTo>
                  <a:pt x="194475" y="298420"/>
                </a:lnTo>
                <a:lnTo>
                  <a:pt x="215982" y="464279"/>
                </a:lnTo>
                <a:lnTo>
                  <a:pt x="179984" y="511157"/>
                </a:lnTo>
                <a:lnTo>
                  <a:pt x="359957" y="511157"/>
                </a:lnTo>
                <a:lnTo>
                  <a:pt x="359957" y="359968"/>
                </a:lnTo>
                <a:lnTo>
                  <a:pt x="354396" y="320206"/>
                </a:lnTo>
                <a:lnTo>
                  <a:pt x="344790" y="298420"/>
                </a:lnTo>
                <a:close/>
              </a:path>
              <a:path w="360044" h="575944">
                <a:moveTo>
                  <a:pt x="193844" y="298472"/>
                </a:moveTo>
                <a:lnTo>
                  <a:pt x="166246" y="298472"/>
                </a:lnTo>
                <a:lnTo>
                  <a:pt x="170801" y="298828"/>
                </a:lnTo>
                <a:lnTo>
                  <a:pt x="175376" y="299017"/>
                </a:lnTo>
                <a:lnTo>
                  <a:pt x="184842" y="299017"/>
                </a:lnTo>
                <a:lnTo>
                  <a:pt x="189680" y="298818"/>
                </a:lnTo>
                <a:lnTo>
                  <a:pt x="193844" y="298472"/>
                </a:lnTo>
                <a:close/>
              </a:path>
              <a:path w="360044" h="575944">
                <a:moveTo>
                  <a:pt x="283363" y="232694"/>
                </a:moveTo>
                <a:lnTo>
                  <a:pt x="261421" y="249777"/>
                </a:lnTo>
                <a:lnTo>
                  <a:pt x="236522" y="262645"/>
                </a:lnTo>
                <a:lnTo>
                  <a:pt x="209199" y="270759"/>
                </a:lnTo>
                <a:lnTo>
                  <a:pt x="179984" y="273583"/>
                </a:lnTo>
                <a:lnTo>
                  <a:pt x="329677" y="273583"/>
                </a:lnTo>
                <a:lnTo>
                  <a:pt x="314551" y="255022"/>
                </a:lnTo>
                <a:lnTo>
                  <a:pt x="283363" y="232694"/>
                </a:lnTo>
                <a:close/>
              </a:path>
              <a:path w="360044" h="575944">
                <a:moveTo>
                  <a:pt x="179984" y="0"/>
                </a:moveTo>
                <a:lnTo>
                  <a:pt x="132341" y="9619"/>
                </a:lnTo>
                <a:lnTo>
                  <a:pt x="93436" y="35851"/>
                </a:lnTo>
                <a:lnTo>
                  <a:pt x="67207" y="74755"/>
                </a:lnTo>
                <a:lnTo>
                  <a:pt x="57589" y="122394"/>
                </a:lnTo>
                <a:lnTo>
                  <a:pt x="67207" y="170030"/>
                </a:lnTo>
                <a:lnTo>
                  <a:pt x="93436" y="208932"/>
                </a:lnTo>
                <a:lnTo>
                  <a:pt x="132341" y="235160"/>
                </a:lnTo>
                <a:lnTo>
                  <a:pt x="179984" y="244777"/>
                </a:lnTo>
                <a:lnTo>
                  <a:pt x="227620" y="235160"/>
                </a:lnTo>
                <a:lnTo>
                  <a:pt x="266521" y="208932"/>
                </a:lnTo>
                <a:lnTo>
                  <a:pt x="292750" y="170030"/>
                </a:lnTo>
                <a:lnTo>
                  <a:pt x="302367" y="122394"/>
                </a:lnTo>
                <a:lnTo>
                  <a:pt x="292750" y="74755"/>
                </a:lnTo>
                <a:lnTo>
                  <a:pt x="266521" y="35851"/>
                </a:lnTo>
                <a:lnTo>
                  <a:pt x="227620" y="9619"/>
                </a:lnTo>
                <a:lnTo>
                  <a:pt x="179984" y="0"/>
                </a:lnTo>
                <a:close/>
              </a:path>
            </a:pathLst>
          </a:custGeom>
          <a:solidFill>
            <a:srgbClr val="FF7900"/>
          </a:solidFill>
        </p:spPr>
        <p:txBody>
          <a:bodyPr wrap="square" lIns="0" tIns="0" rIns="0" bIns="0" rtlCol="0"/>
          <a:lstStyle/>
          <a:p>
            <a:endParaRPr/>
          </a:p>
        </p:txBody>
      </p:sp>
      <p:sp>
        <p:nvSpPr>
          <p:cNvPr id="10" name="object 10"/>
          <p:cNvSpPr txBox="1"/>
          <p:nvPr/>
        </p:nvSpPr>
        <p:spPr>
          <a:xfrm>
            <a:off x="509306" y="1934044"/>
            <a:ext cx="2146501" cy="226592"/>
          </a:xfrm>
          <a:prstGeom prst="rect">
            <a:avLst/>
          </a:prstGeom>
          <a:solidFill>
            <a:srgbClr val="FF7900"/>
          </a:solidFill>
        </p:spPr>
        <p:txBody>
          <a:bodyPr vert="horz" wrap="square" lIns="0" tIns="26281" rIns="0" bIns="0" rtlCol="0">
            <a:spAutoFit/>
          </a:bodyPr>
          <a:lstStyle/>
          <a:p>
            <a:pPr marR="55160" algn="r">
              <a:spcBef>
                <a:spcPts val="207"/>
              </a:spcBef>
            </a:pPr>
            <a:r>
              <a:rPr sz="1300" b="1" spc="-2" dirty="0">
                <a:solidFill>
                  <a:srgbClr val="FFFFFF"/>
                </a:solidFill>
                <a:latin typeface="Helvetica"/>
                <a:cs typeface="Helvetica"/>
              </a:rPr>
              <a:t>89%</a:t>
            </a:r>
            <a:endParaRPr sz="1300">
              <a:latin typeface="Helvetica"/>
              <a:cs typeface="Helvetica"/>
            </a:endParaRPr>
          </a:p>
        </p:txBody>
      </p:sp>
      <p:sp>
        <p:nvSpPr>
          <p:cNvPr id="11" name="object 11"/>
          <p:cNvSpPr txBox="1"/>
          <p:nvPr/>
        </p:nvSpPr>
        <p:spPr>
          <a:xfrm>
            <a:off x="509306" y="2493870"/>
            <a:ext cx="2079495" cy="226592"/>
          </a:xfrm>
          <a:prstGeom prst="rect">
            <a:avLst/>
          </a:prstGeom>
          <a:solidFill>
            <a:srgbClr val="FF7900"/>
          </a:solidFill>
        </p:spPr>
        <p:txBody>
          <a:bodyPr vert="horz" wrap="square" lIns="0" tIns="26281" rIns="0" bIns="0" rtlCol="0">
            <a:spAutoFit/>
          </a:bodyPr>
          <a:lstStyle/>
          <a:p>
            <a:pPr marR="45341" algn="r">
              <a:spcBef>
                <a:spcPts val="207"/>
              </a:spcBef>
            </a:pPr>
            <a:r>
              <a:rPr sz="1300" b="1" spc="-2" dirty="0">
                <a:solidFill>
                  <a:srgbClr val="FFFFFF"/>
                </a:solidFill>
                <a:latin typeface="Helvetica"/>
                <a:cs typeface="Helvetica"/>
              </a:rPr>
              <a:t>86%</a:t>
            </a:r>
            <a:endParaRPr sz="1300">
              <a:latin typeface="Helvetica"/>
              <a:cs typeface="Helvetica"/>
            </a:endParaRPr>
          </a:p>
        </p:txBody>
      </p:sp>
      <p:sp>
        <p:nvSpPr>
          <p:cNvPr id="12" name="object 12"/>
          <p:cNvSpPr txBox="1"/>
          <p:nvPr/>
        </p:nvSpPr>
        <p:spPr>
          <a:xfrm>
            <a:off x="509306" y="3159435"/>
            <a:ext cx="1382864" cy="226592"/>
          </a:xfrm>
          <a:prstGeom prst="rect">
            <a:avLst/>
          </a:prstGeom>
          <a:solidFill>
            <a:srgbClr val="FF7900"/>
          </a:solidFill>
        </p:spPr>
        <p:txBody>
          <a:bodyPr vert="horz" wrap="square" lIns="0" tIns="26281" rIns="0" bIns="0" rtlCol="0">
            <a:spAutoFit/>
          </a:bodyPr>
          <a:lstStyle/>
          <a:p>
            <a:pPr marR="45630" algn="r">
              <a:spcBef>
                <a:spcPts val="207"/>
              </a:spcBef>
            </a:pPr>
            <a:r>
              <a:rPr sz="1300" b="1" spc="-2" dirty="0">
                <a:solidFill>
                  <a:srgbClr val="FFFFFF"/>
                </a:solidFill>
                <a:latin typeface="Helvetica"/>
                <a:cs typeface="Helvetica"/>
              </a:rPr>
              <a:t>57%</a:t>
            </a:r>
            <a:endParaRPr sz="1300">
              <a:latin typeface="Helvetica"/>
              <a:cs typeface="Helvetica"/>
            </a:endParaRPr>
          </a:p>
        </p:txBody>
      </p:sp>
      <p:sp>
        <p:nvSpPr>
          <p:cNvPr id="13" name="object 13"/>
          <p:cNvSpPr txBox="1"/>
          <p:nvPr/>
        </p:nvSpPr>
        <p:spPr>
          <a:xfrm>
            <a:off x="509306" y="3825905"/>
            <a:ext cx="1262138" cy="226592"/>
          </a:xfrm>
          <a:prstGeom prst="rect">
            <a:avLst/>
          </a:prstGeom>
          <a:solidFill>
            <a:srgbClr val="FF7900"/>
          </a:solidFill>
        </p:spPr>
        <p:txBody>
          <a:bodyPr vert="horz" wrap="square" lIns="0" tIns="26281" rIns="0" bIns="0" rtlCol="0">
            <a:spAutoFit/>
          </a:bodyPr>
          <a:lstStyle/>
          <a:p>
            <a:pPr marR="41009" algn="r">
              <a:spcBef>
                <a:spcPts val="207"/>
              </a:spcBef>
            </a:pPr>
            <a:r>
              <a:rPr sz="1300" b="1" spc="-2" dirty="0">
                <a:solidFill>
                  <a:srgbClr val="FFFFFF"/>
                </a:solidFill>
                <a:latin typeface="Helvetica"/>
                <a:cs typeface="Helvetica"/>
              </a:rPr>
              <a:t>52%</a:t>
            </a:r>
            <a:endParaRPr sz="1300">
              <a:latin typeface="Helvetica"/>
              <a:cs typeface="Helvetica"/>
            </a:endParaRPr>
          </a:p>
        </p:txBody>
      </p:sp>
      <p:sp>
        <p:nvSpPr>
          <p:cNvPr id="14" name="object 14"/>
          <p:cNvSpPr txBox="1"/>
          <p:nvPr/>
        </p:nvSpPr>
        <p:spPr>
          <a:xfrm>
            <a:off x="509306" y="4388188"/>
            <a:ext cx="1195132" cy="226592"/>
          </a:xfrm>
          <a:prstGeom prst="rect">
            <a:avLst/>
          </a:prstGeom>
          <a:solidFill>
            <a:srgbClr val="FF7900"/>
          </a:solidFill>
        </p:spPr>
        <p:txBody>
          <a:bodyPr vert="horz" wrap="square" lIns="0" tIns="26281" rIns="0" bIns="0" rtlCol="0">
            <a:spAutoFit/>
          </a:bodyPr>
          <a:lstStyle/>
          <a:p>
            <a:pPr marR="37544" algn="r">
              <a:spcBef>
                <a:spcPts val="207"/>
              </a:spcBef>
            </a:pPr>
            <a:r>
              <a:rPr sz="1300" b="1" spc="-2" dirty="0">
                <a:solidFill>
                  <a:srgbClr val="FFFFFF"/>
                </a:solidFill>
                <a:latin typeface="Helvetica"/>
                <a:cs typeface="Helvetica"/>
              </a:rPr>
              <a:t>50%</a:t>
            </a:r>
            <a:endParaRPr sz="1300">
              <a:latin typeface="Helvetica"/>
              <a:cs typeface="Helvetica"/>
            </a:endParaRPr>
          </a:p>
        </p:txBody>
      </p:sp>
      <p:sp>
        <p:nvSpPr>
          <p:cNvPr id="15" name="object 15"/>
          <p:cNvSpPr txBox="1"/>
          <p:nvPr/>
        </p:nvSpPr>
        <p:spPr>
          <a:xfrm>
            <a:off x="265543" y="1341997"/>
            <a:ext cx="3572687" cy="3044392"/>
          </a:xfrm>
          <a:prstGeom prst="rect">
            <a:avLst/>
          </a:prstGeom>
          <a:solidFill>
            <a:srgbClr val="FFFFFF"/>
          </a:solidFill>
        </p:spPr>
        <p:txBody>
          <a:bodyPr vert="horz" wrap="square" lIns="0" tIns="48229" rIns="0" bIns="0" rtlCol="0">
            <a:spAutoFit/>
          </a:bodyPr>
          <a:lstStyle/>
          <a:p>
            <a:pPr marL="100791">
              <a:spcBef>
                <a:spcPts val="380"/>
              </a:spcBef>
            </a:pPr>
            <a:r>
              <a:rPr sz="1300" b="1" spc="5" dirty="0">
                <a:solidFill>
                  <a:srgbClr val="FF7900"/>
                </a:solidFill>
                <a:latin typeface="Helvetica Neue"/>
                <a:cs typeface="Helvetica Neue"/>
              </a:rPr>
              <a:t>Les </a:t>
            </a:r>
            <a:r>
              <a:rPr sz="1300" b="1" spc="2" dirty="0">
                <a:solidFill>
                  <a:srgbClr val="FF7900"/>
                </a:solidFill>
                <a:latin typeface="Helvetica Neue"/>
                <a:cs typeface="Helvetica Neue"/>
              </a:rPr>
              <a:t>pratiques déjà</a:t>
            </a:r>
            <a:r>
              <a:rPr sz="1300" b="1" spc="-2" dirty="0">
                <a:solidFill>
                  <a:srgbClr val="FF7900"/>
                </a:solidFill>
                <a:latin typeface="Helvetica Neue"/>
                <a:cs typeface="Helvetica Neue"/>
              </a:rPr>
              <a:t> </a:t>
            </a:r>
            <a:r>
              <a:rPr sz="1300" b="1" spc="2" dirty="0">
                <a:solidFill>
                  <a:srgbClr val="FF7900"/>
                </a:solidFill>
                <a:latin typeface="Helvetica Neue"/>
                <a:cs typeface="Helvetica Neue"/>
              </a:rPr>
              <a:t>courantes</a:t>
            </a:r>
            <a:endParaRPr sz="1300" dirty="0">
              <a:latin typeface="Helvetica Neue"/>
              <a:cs typeface="Helvetica Neue"/>
            </a:endParaRPr>
          </a:p>
          <a:p>
            <a:pPr marL="246345">
              <a:spcBef>
                <a:spcPts val="1148"/>
              </a:spcBef>
            </a:pPr>
            <a:r>
              <a:rPr sz="900" b="1" spc="2" dirty="0">
                <a:latin typeface="Helvetica Neue"/>
                <a:cs typeface="Helvetica Neue"/>
              </a:rPr>
              <a:t>Consulter vos</a:t>
            </a:r>
            <a:r>
              <a:rPr sz="900" b="1" spc="-5" dirty="0">
                <a:latin typeface="Helvetica Neue"/>
                <a:cs typeface="Helvetica Neue"/>
              </a:rPr>
              <a:t> </a:t>
            </a:r>
            <a:r>
              <a:rPr sz="900" b="1" spc="2" dirty="0">
                <a:latin typeface="Helvetica Neue"/>
                <a:cs typeface="Helvetica Neue"/>
              </a:rPr>
              <a:t>comptes</a:t>
            </a:r>
            <a:endParaRPr sz="900" dirty="0">
              <a:latin typeface="Helvetica Neue"/>
              <a:cs typeface="Helvetica Neue"/>
            </a:endParaRPr>
          </a:p>
          <a:p>
            <a:pPr>
              <a:lnSpc>
                <a:spcPct val="100000"/>
              </a:lnSpc>
            </a:pPr>
            <a:endParaRPr sz="1100" dirty="0">
              <a:latin typeface="Times New Roman"/>
              <a:cs typeface="Times New Roman"/>
            </a:endParaRPr>
          </a:p>
          <a:p>
            <a:pPr>
              <a:lnSpc>
                <a:spcPct val="100000"/>
              </a:lnSpc>
            </a:pPr>
            <a:endParaRPr sz="1100" dirty="0">
              <a:latin typeface="Times New Roman"/>
              <a:cs typeface="Times New Roman"/>
            </a:endParaRPr>
          </a:p>
          <a:p>
            <a:pPr marL="246345">
              <a:spcBef>
                <a:spcPts val="778"/>
              </a:spcBef>
            </a:pPr>
            <a:r>
              <a:rPr sz="900" b="1" spc="-2" dirty="0">
                <a:latin typeface="Helvetica Neue"/>
                <a:cs typeface="Helvetica Neue"/>
              </a:rPr>
              <a:t>Faire </a:t>
            </a:r>
            <a:r>
              <a:rPr sz="900" b="1" spc="2" dirty="0">
                <a:latin typeface="Helvetica Neue"/>
                <a:cs typeface="Helvetica Neue"/>
              </a:rPr>
              <a:t>un</a:t>
            </a:r>
            <a:r>
              <a:rPr sz="900" b="1" dirty="0">
                <a:latin typeface="Helvetica Neue"/>
                <a:cs typeface="Helvetica Neue"/>
              </a:rPr>
              <a:t> virement</a:t>
            </a:r>
            <a:endParaRPr sz="900" dirty="0">
              <a:latin typeface="Helvetica Neue"/>
              <a:cs typeface="Helvetica Neue"/>
            </a:endParaRPr>
          </a:p>
          <a:p>
            <a:pPr>
              <a:lnSpc>
                <a:spcPct val="100000"/>
              </a:lnSpc>
            </a:pPr>
            <a:endParaRPr sz="1100" dirty="0">
              <a:latin typeface="Times New Roman"/>
              <a:cs typeface="Times New Roman"/>
            </a:endParaRPr>
          </a:p>
          <a:p>
            <a:pPr>
              <a:lnSpc>
                <a:spcPct val="100000"/>
              </a:lnSpc>
            </a:pPr>
            <a:endParaRPr sz="1100" dirty="0">
              <a:latin typeface="Times New Roman"/>
              <a:cs typeface="Times New Roman"/>
            </a:endParaRPr>
          </a:p>
          <a:p>
            <a:pPr marL="246345">
              <a:spcBef>
                <a:spcPts val="712"/>
              </a:spcBef>
            </a:pPr>
            <a:r>
              <a:rPr sz="900" b="1" spc="2" dirty="0">
                <a:latin typeface="Helvetica Neue"/>
                <a:cs typeface="Helvetica Neue"/>
              </a:rPr>
              <a:t>Bloquer </a:t>
            </a:r>
            <a:r>
              <a:rPr sz="900" b="1" spc="-2" dirty="0">
                <a:latin typeface="Helvetica Neue"/>
                <a:cs typeface="Helvetica Neue"/>
              </a:rPr>
              <a:t>votre </a:t>
            </a:r>
            <a:r>
              <a:rPr sz="900" b="1" spc="2" dirty="0">
                <a:latin typeface="Helvetica Neue"/>
                <a:cs typeface="Helvetica Neue"/>
              </a:rPr>
              <a:t>carte </a:t>
            </a:r>
            <a:r>
              <a:rPr sz="900" b="1" dirty="0">
                <a:latin typeface="Helvetica Neue"/>
                <a:cs typeface="Helvetica Neue"/>
              </a:rPr>
              <a:t>bancaire </a:t>
            </a:r>
            <a:r>
              <a:rPr sz="900" b="1" spc="2" dirty="0">
                <a:latin typeface="Helvetica Neue"/>
                <a:cs typeface="Helvetica Neue"/>
              </a:rPr>
              <a:t>en cas de vol ou de</a:t>
            </a:r>
            <a:r>
              <a:rPr sz="900" b="1" spc="-27" dirty="0">
                <a:latin typeface="Helvetica Neue"/>
                <a:cs typeface="Helvetica Neue"/>
              </a:rPr>
              <a:t> </a:t>
            </a:r>
            <a:r>
              <a:rPr sz="900" b="1" spc="2" dirty="0">
                <a:latin typeface="Helvetica Neue"/>
                <a:cs typeface="Helvetica Neue"/>
              </a:rPr>
              <a:t>perte</a:t>
            </a:r>
            <a:endParaRPr sz="900" dirty="0">
              <a:latin typeface="Helvetica Neue"/>
              <a:cs typeface="Helvetica Neue"/>
            </a:endParaRPr>
          </a:p>
          <a:p>
            <a:pPr>
              <a:lnSpc>
                <a:spcPct val="100000"/>
              </a:lnSpc>
            </a:pPr>
            <a:endParaRPr sz="1100" dirty="0">
              <a:latin typeface="Times New Roman"/>
              <a:cs typeface="Times New Roman"/>
            </a:endParaRPr>
          </a:p>
          <a:p>
            <a:pPr>
              <a:lnSpc>
                <a:spcPct val="100000"/>
              </a:lnSpc>
            </a:pPr>
            <a:endParaRPr sz="1100" dirty="0">
              <a:latin typeface="Times New Roman"/>
              <a:cs typeface="Times New Roman"/>
            </a:endParaRPr>
          </a:p>
          <a:p>
            <a:pPr>
              <a:spcBef>
                <a:spcPts val="18"/>
              </a:spcBef>
            </a:pPr>
            <a:endParaRPr sz="1400" dirty="0">
              <a:latin typeface="Times New Roman"/>
              <a:cs typeface="Times New Roman"/>
            </a:endParaRPr>
          </a:p>
          <a:p>
            <a:pPr marL="246345" marR="465831">
              <a:lnSpc>
                <a:spcPct val="100499"/>
              </a:lnSpc>
            </a:pPr>
            <a:r>
              <a:rPr sz="900" b="1" spc="-2" dirty="0">
                <a:latin typeface="Helvetica Neue"/>
                <a:cs typeface="Helvetica Neue"/>
              </a:rPr>
              <a:t>Gérer votre épargne </a:t>
            </a:r>
            <a:r>
              <a:rPr sz="900" b="1" dirty="0">
                <a:latin typeface="Helvetica Neue"/>
                <a:cs typeface="Helvetica Neue"/>
              </a:rPr>
              <a:t>financière </a:t>
            </a:r>
            <a:r>
              <a:rPr sz="900" b="1" spc="2" dirty="0">
                <a:latin typeface="Helvetica Neue"/>
                <a:cs typeface="Helvetica Neue"/>
              </a:rPr>
              <a:t>type assurance </a:t>
            </a:r>
            <a:r>
              <a:rPr sz="900" b="1" dirty="0">
                <a:latin typeface="Helvetica Neue"/>
                <a:cs typeface="Helvetica Neue"/>
              </a:rPr>
              <a:t>vie,  </a:t>
            </a:r>
            <a:r>
              <a:rPr sz="900" b="1" spc="2" dirty="0">
                <a:latin typeface="Helvetica Neue"/>
                <a:cs typeface="Helvetica Neue"/>
              </a:rPr>
              <a:t>PEA,</a:t>
            </a:r>
            <a:r>
              <a:rPr sz="900" b="1" spc="-2" dirty="0">
                <a:latin typeface="Helvetica Neue"/>
                <a:cs typeface="Helvetica Neue"/>
              </a:rPr>
              <a:t> </a:t>
            </a:r>
            <a:r>
              <a:rPr sz="900" b="1" spc="2" dirty="0">
                <a:latin typeface="Helvetica Neue"/>
                <a:cs typeface="Helvetica Neue"/>
              </a:rPr>
              <a:t>etc</a:t>
            </a:r>
            <a:endParaRPr sz="900" dirty="0">
              <a:latin typeface="Helvetica Neue"/>
              <a:cs typeface="Helvetica Neue"/>
            </a:endParaRPr>
          </a:p>
          <a:p>
            <a:pPr>
              <a:lnSpc>
                <a:spcPct val="100000"/>
              </a:lnSpc>
            </a:pPr>
            <a:endParaRPr sz="1100" dirty="0">
              <a:latin typeface="Times New Roman"/>
              <a:cs typeface="Times New Roman"/>
            </a:endParaRPr>
          </a:p>
          <a:p>
            <a:pPr>
              <a:spcBef>
                <a:spcPts val="5"/>
              </a:spcBef>
            </a:pPr>
            <a:endParaRPr sz="1500" dirty="0">
              <a:latin typeface="Times New Roman"/>
              <a:cs typeface="Times New Roman"/>
            </a:endParaRPr>
          </a:p>
          <a:p>
            <a:pPr marL="246345">
              <a:spcBef>
                <a:spcPts val="2"/>
              </a:spcBef>
            </a:pPr>
            <a:r>
              <a:rPr sz="900" b="1" spc="2" dirty="0">
                <a:latin typeface="Helvetica Neue"/>
                <a:cs typeface="Helvetica Neue"/>
              </a:rPr>
              <a:t>Augmenter </a:t>
            </a:r>
            <a:r>
              <a:rPr sz="900" b="1" spc="-2" dirty="0">
                <a:latin typeface="Helvetica Neue"/>
                <a:cs typeface="Helvetica Neue"/>
              </a:rPr>
              <a:t>votre </a:t>
            </a:r>
            <a:r>
              <a:rPr sz="900" b="1" spc="2" dirty="0">
                <a:latin typeface="Helvetica Neue"/>
                <a:cs typeface="Helvetica Neue"/>
              </a:rPr>
              <a:t>plafond de</a:t>
            </a:r>
            <a:r>
              <a:rPr sz="900" b="1" spc="-5" dirty="0">
                <a:latin typeface="Helvetica Neue"/>
                <a:cs typeface="Helvetica Neue"/>
              </a:rPr>
              <a:t> </a:t>
            </a:r>
            <a:r>
              <a:rPr sz="900" b="1" spc="-2" dirty="0">
                <a:latin typeface="Helvetica Neue"/>
                <a:cs typeface="Helvetica Neue"/>
              </a:rPr>
              <a:t>retrait</a:t>
            </a:r>
            <a:endParaRPr sz="900" dirty="0">
              <a:latin typeface="Helvetica Neue"/>
              <a:cs typeface="Helvetica Neue"/>
            </a:endParaRPr>
          </a:p>
        </p:txBody>
      </p:sp>
      <p:sp>
        <p:nvSpPr>
          <p:cNvPr id="16" name="object 16"/>
          <p:cNvSpPr/>
          <p:nvPr/>
        </p:nvSpPr>
        <p:spPr>
          <a:xfrm>
            <a:off x="3928380" y="4630505"/>
            <a:ext cx="1860570" cy="162882"/>
          </a:xfrm>
          <a:custGeom>
            <a:avLst/>
            <a:gdLst/>
            <a:ahLst/>
            <a:cxnLst/>
            <a:rect l="l" t="t" r="r" b="b"/>
            <a:pathLst>
              <a:path w="4090670" h="358140">
                <a:moveTo>
                  <a:pt x="2113513" y="0"/>
                </a:moveTo>
                <a:lnTo>
                  <a:pt x="1636854" y="4836"/>
                </a:lnTo>
                <a:lnTo>
                  <a:pt x="1196639" y="17422"/>
                </a:lnTo>
                <a:lnTo>
                  <a:pt x="744458" y="38608"/>
                </a:lnTo>
                <a:lnTo>
                  <a:pt x="425953" y="59500"/>
                </a:lnTo>
                <a:lnTo>
                  <a:pt x="220231" y="76941"/>
                </a:lnTo>
                <a:lnTo>
                  <a:pt x="126577" y="86775"/>
                </a:lnTo>
                <a:lnTo>
                  <a:pt x="77659" y="92876"/>
                </a:lnTo>
                <a:lnTo>
                  <a:pt x="25890" y="101116"/>
                </a:lnTo>
                <a:lnTo>
                  <a:pt x="0" y="109919"/>
                </a:lnTo>
                <a:lnTo>
                  <a:pt x="758" y="113828"/>
                </a:lnTo>
                <a:lnTo>
                  <a:pt x="29008" y="139807"/>
                </a:lnTo>
                <a:lnTo>
                  <a:pt x="67577" y="159549"/>
                </a:lnTo>
                <a:lnTo>
                  <a:pt x="103247" y="173980"/>
                </a:lnTo>
                <a:lnTo>
                  <a:pt x="147416" y="189168"/>
                </a:lnTo>
                <a:lnTo>
                  <a:pt x="200539" y="204892"/>
                </a:lnTo>
                <a:lnTo>
                  <a:pt x="263072" y="220932"/>
                </a:lnTo>
                <a:lnTo>
                  <a:pt x="335471" y="237064"/>
                </a:lnTo>
                <a:lnTo>
                  <a:pt x="375513" y="245097"/>
                </a:lnTo>
                <a:lnTo>
                  <a:pt x="418192" y="253069"/>
                </a:lnTo>
                <a:lnTo>
                  <a:pt x="463566" y="260954"/>
                </a:lnTo>
                <a:lnTo>
                  <a:pt x="511692" y="268725"/>
                </a:lnTo>
                <a:lnTo>
                  <a:pt x="562626" y="276353"/>
                </a:lnTo>
                <a:lnTo>
                  <a:pt x="616425" y="283810"/>
                </a:lnTo>
                <a:lnTo>
                  <a:pt x="673147" y="291069"/>
                </a:lnTo>
                <a:lnTo>
                  <a:pt x="732849" y="298103"/>
                </a:lnTo>
                <a:lnTo>
                  <a:pt x="861418" y="311383"/>
                </a:lnTo>
                <a:lnTo>
                  <a:pt x="1002590" y="323429"/>
                </a:lnTo>
                <a:lnTo>
                  <a:pt x="1156819" y="334019"/>
                </a:lnTo>
                <a:lnTo>
                  <a:pt x="1324563" y="342932"/>
                </a:lnTo>
                <a:lnTo>
                  <a:pt x="1506276" y="349946"/>
                </a:lnTo>
                <a:lnTo>
                  <a:pt x="1702416" y="354840"/>
                </a:lnTo>
                <a:lnTo>
                  <a:pt x="2024671" y="357723"/>
                </a:lnTo>
                <a:lnTo>
                  <a:pt x="2340391" y="354771"/>
                </a:lnTo>
                <a:lnTo>
                  <a:pt x="2533599" y="349755"/>
                </a:lnTo>
                <a:lnTo>
                  <a:pt x="2713427" y="342563"/>
                </a:lnTo>
                <a:lnTo>
                  <a:pt x="2880251" y="333417"/>
                </a:lnTo>
                <a:lnTo>
                  <a:pt x="3034446" y="322540"/>
                </a:lnTo>
                <a:lnTo>
                  <a:pt x="3176387" y="310158"/>
                </a:lnTo>
                <a:lnTo>
                  <a:pt x="3306451" y="296492"/>
                </a:lnTo>
                <a:lnTo>
                  <a:pt x="3425012" y="281767"/>
                </a:lnTo>
                <a:lnTo>
                  <a:pt x="3480096" y="274077"/>
                </a:lnTo>
                <a:lnTo>
                  <a:pt x="3532445" y="266205"/>
                </a:lnTo>
                <a:lnTo>
                  <a:pt x="3582106" y="258181"/>
                </a:lnTo>
                <a:lnTo>
                  <a:pt x="3629126" y="250032"/>
                </a:lnTo>
                <a:lnTo>
                  <a:pt x="3673552" y="241785"/>
                </a:lnTo>
                <a:lnTo>
                  <a:pt x="3715431" y="233469"/>
                </a:lnTo>
                <a:lnTo>
                  <a:pt x="3754810" y="225112"/>
                </a:lnTo>
                <a:lnTo>
                  <a:pt x="3826253" y="208385"/>
                </a:lnTo>
                <a:lnTo>
                  <a:pt x="3888259" y="191828"/>
                </a:lnTo>
                <a:lnTo>
                  <a:pt x="3941203" y="175664"/>
                </a:lnTo>
                <a:lnTo>
                  <a:pt x="3985458" y="160117"/>
                </a:lnTo>
                <a:lnTo>
                  <a:pt x="4021402" y="145411"/>
                </a:lnTo>
                <a:lnTo>
                  <a:pt x="4060555" y="125416"/>
                </a:lnTo>
                <a:lnTo>
                  <a:pt x="4089568" y="99461"/>
                </a:lnTo>
                <a:lnTo>
                  <a:pt x="4090357" y="95626"/>
                </a:lnTo>
                <a:lnTo>
                  <a:pt x="4088741" y="93623"/>
                </a:lnTo>
                <a:lnTo>
                  <a:pt x="4050938" y="84143"/>
                </a:lnTo>
                <a:lnTo>
                  <a:pt x="3991317" y="75797"/>
                </a:lnTo>
                <a:lnTo>
                  <a:pt x="3937558" y="69807"/>
                </a:lnTo>
                <a:lnTo>
                  <a:pt x="3837069" y="60401"/>
                </a:lnTo>
                <a:lnTo>
                  <a:pt x="3620556" y="44328"/>
                </a:lnTo>
                <a:lnTo>
                  <a:pt x="3288848" y="26059"/>
                </a:lnTo>
                <a:lnTo>
                  <a:pt x="2818697" y="9118"/>
                </a:lnTo>
                <a:lnTo>
                  <a:pt x="2358881" y="1032"/>
                </a:lnTo>
                <a:lnTo>
                  <a:pt x="2113513" y="0"/>
                </a:lnTo>
                <a:close/>
              </a:path>
            </a:pathLst>
          </a:custGeom>
          <a:solidFill>
            <a:srgbClr val="333333"/>
          </a:solidFill>
        </p:spPr>
        <p:txBody>
          <a:bodyPr wrap="square" lIns="0" tIns="0" rIns="0" bIns="0" rtlCol="0"/>
          <a:lstStyle/>
          <a:p>
            <a:endParaRPr/>
          </a:p>
        </p:txBody>
      </p:sp>
      <p:sp>
        <p:nvSpPr>
          <p:cNvPr id="17" name="object 17"/>
          <p:cNvSpPr/>
          <p:nvPr/>
        </p:nvSpPr>
        <p:spPr>
          <a:xfrm>
            <a:off x="3982776" y="3826556"/>
            <a:ext cx="1431963" cy="831450"/>
          </a:xfrm>
          <a:custGeom>
            <a:avLst/>
            <a:gdLst/>
            <a:ahLst/>
            <a:cxnLst/>
            <a:rect l="l" t="t" r="r" b="b"/>
            <a:pathLst>
              <a:path w="3148329" h="1828165">
                <a:moveTo>
                  <a:pt x="2988537" y="0"/>
                </a:moveTo>
                <a:lnTo>
                  <a:pt x="159660" y="0"/>
                </a:lnTo>
                <a:lnTo>
                  <a:pt x="109200" y="8139"/>
                </a:lnTo>
                <a:lnTo>
                  <a:pt x="65372" y="30806"/>
                </a:lnTo>
                <a:lnTo>
                  <a:pt x="30808" y="65370"/>
                </a:lnTo>
                <a:lnTo>
                  <a:pt x="8140" y="109201"/>
                </a:lnTo>
                <a:lnTo>
                  <a:pt x="0" y="159670"/>
                </a:lnTo>
                <a:lnTo>
                  <a:pt x="0" y="1668493"/>
                </a:lnTo>
                <a:lnTo>
                  <a:pt x="8140" y="1718957"/>
                </a:lnTo>
                <a:lnTo>
                  <a:pt x="30808" y="1762785"/>
                </a:lnTo>
                <a:lnTo>
                  <a:pt x="65372" y="1797347"/>
                </a:lnTo>
                <a:lnTo>
                  <a:pt x="109200" y="1820013"/>
                </a:lnTo>
                <a:lnTo>
                  <a:pt x="159660" y="1828153"/>
                </a:lnTo>
                <a:lnTo>
                  <a:pt x="2988537" y="1828153"/>
                </a:lnTo>
                <a:lnTo>
                  <a:pt x="3039001" y="1820013"/>
                </a:lnTo>
                <a:lnTo>
                  <a:pt x="3082829" y="1797347"/>
                </a:lnTo>
                <a:lnTo>
                  <a:pt x="3117391" y="1762785"/>
                </a:lnTo>
                <a:lnTo>
                  <a:pt x="3140057" y="1718957"/>
                </a:lnTo>
                <a:lnTo>
                  <a:pt x="3148197" y="1668493"/>
                </a:lnTo>
                <a:lnTo>
                  <a:pt x="3148197" y="159670"/>
                </a:lnTo>
                <a:lnTo>
                  <a:pt x="3140057" y="109201"/>
                </a:lnTo>
                <a:lnTo>
                  <a:pt x="3117391" y="65370"/>
                </a:lnTo>
                <a:lnTo>
                  <a:pt x="3082829" y="30806"/>
                </a:lnTo>
                <a:lnTo>
                  <a:pt x="3039001" y="8139"/>
                </a:lnTo>
                <a:lnTo>
                  <a:pt x="2988537" y="0"/>
                </a:lnTo>
                <a:close/>
              </a:path>
            </a:pathLst>
          </a:custGeom>
          <a:solidFill>
            <a:srgbClr val="FFD200"/>
          </a:solidFill>
        </p:spPr>
        <p:txBody>
          <a:bodyPr wrap="square" lIns="0" tIns="0" rIns="0" bIns="0" rtlCol="0"/>
          <a:lstStyle/>
          <a:p>
            <a:endParaRPr/>
          </a:p>
        </p:txBody>
      </p:sp>
      <p:sp>
        <p:nvSpPr>
          <p:cNvPr id="18" name="object 18"/>
          <p:cNvSpPr/>
          <p:nvPr/>
        </p:nvSpPr>
        <p:spPr>
          <a:xfrm>
            <a:off x="3982779" y="4031954"/>
            <a:ext cx="1431963" cy="156818"/>
          </a:xfrm>
          <a:custGeom>
            <a:avLst/>
            <a:gdLst/>
            <a:ahLst/>
            <a:cxnLst/>
            <a:rect l="l" t="t" r="r" b="b"/>
            <a:pathLst>
              <a:path w="3148329" h="344804">
                <a:moveTo>
                  <a:pt x="0" y="344670"/>
                </a:moveTo>
                <a:lnTo>
                  <a:pt x="3148197" y="344670"/>
                </a:lnTo>
                <a:lnTo>
                  <a:pt x="3148197" y="0"/>
                </a:lnTo>
                <a:lnTo>
                  <a:pt x="0" y="0"/>
                </a:lnTo>
                <a:lnTo>
                  <a:pt x="0" y="344670"/>
                </a:lnTo>
                <a:close/>
              </a:path>
            </a:pathLst>
          </a:custGeom>
          <a:solidFill>
            <a:srgbClr val="333333"/>
          </a:solidFill>
        </p:spPr>
        <p:txBody>
          <a:bodyPr wrap="square" lIns="0" tIns="0" rIns="0" bIns="0" rtlCol="0"/>
          <a:lstStyle/>
          <a:p>
            <a:endParaRPr/>
          </a:p>
        </p:txBody>
      </p:sp>
      <p:sp>
        <p:nvSpPr>
          <p:cNvPr id="19" name="object 19"/>
          <p:cNvSpPr/>
          <p:nvPr/>
        </p:nvSpPr>
        <p:spPr>
          <a:xfrm>
            <a:off x="4117791" y="4264377"/>
            <a:ext cx="805804" cy="116385"/>
          </a:xfrm>
          <a:custGeom>
            <a:avLst/>
            <a:gdLst/>
            <a:ahLst/>
            <a:cxnLst/>
            <a:rect l="l" t="t" r="r" b="b"/>
            <a:pathLst>
              <a:path w="1771650" h="255904">
                <a:moveTo>
                  <a:pt x="0" y="255384"/>
                </a:moveTo>
                <a:lnTo>
                  <a:pt x="1771307" y="255384"/>
                </a:lnTo>
                <a:lnTo>
                  <a:pt x="1771307" y="0"/>
                </a:lnTo>
                <a:lnTo>
                  <a:pt x="0" y="0"/>
                </a:lnTo>
                <a:lnTo>
                  <a:pt x="0" y="255384"/>
                </a:lnTo>
                <a:close/>
              </a:path>
            </a:pathLst>
          </a:custGeom>
          <a:solidFill>
            <a:srgbClr val="E0E1E1"/>
          </a:solidFill>
        </p:spPr>
        <p:txBody>
          <a:bodyPr wrap="square" lIns="0" tIns="0" rIns="0" bIns="0" rtlCol="0"/>
          <a:lstStyle/>
          <a:p>
            <a:endParaRPr/>
          </a:p>
        </p:txBody>
      </p:sp>
      <p:sp>
        <p:nvSpPr>
          <p:cNvPr id="20" name="object 20"/>
          <p:cNvSpPr/>
          <p:nvPr/>
        </p:nvSpPr>
        <p:spPr>
          <a:xfrm>
            <a:off x="5004706" y="4264377"/>
            <a:ext cx="234232" cy="116385"/>
          </a:xfrm>
          <a:custGeom>
            <a:avLst/>
            <a:gdLst/>
            <a:ahLst/>
            <a:cxnLst/>
            <a:rect l="l" t="t" r="r" b="b"/>
            <a:pathLst>
              <a:path w="514984" h="255904">
                <a:moveTo>
                  <a:pt x="0" y="255384"/>
                </a:moveTo>
                <a:lnTo>
                  <a:pt x="514822" y="255384"/>
                </a:lnTo>
                <a:lnTo>
                  <a:pt x="514822" y="0"/>
                </a:lnTo>
                <a:lnTo>
                  <a:pt x="0" y="0"/>
                </a:lnTo>
                <a:lnTo>
                  <a:pt x="0" y="255384"/>
                </a:lnTo>
                <a:close/>
              </a:path>
            </a:pathLst>
          </a:custGeom>
          <a:solidFill>
            <a:srgbClr val="E0E1E1"/>
          </a:solidFill>
        </p:spPr>
        <p:txBody>
          <a:bodyPr wrap="square" lIns="0" tIns="0" rIns="0" bIns="0" rtlCol="0"/>
          <a:lstStyle/>
          <a:p>
            <a:endParaRPr/>
          </a:p>
        </p:txBody>
      </p:sp>
      <p:sp>
        <p:nvSpPr>
          <p:cNvPr id="21" name="object 21"/>
          <p:cNvSpPr/>
          <p:nvPr/>
        </p:nvSpPr>
        <p:spPr>
          <a:xfrm>
            <a:off x="4320976" y="3826556"/>
            <a:ext cx="1093756" cy="831450"/>
          </a:xfrm>
          <a:custGeom>
            <a:avLst/>
            <a:gdLst/>
            <a:ahLst/>
            <a:cxnLst/>
            <a:rect l="l" t="t" r="r" b="b"/>
            <a:pathLst>
              <a:path w="2404745" h="1828165">
                <a:moveTo>
                  <a:pt x="2244968" y="0"/>
                </a:moveTo>
                <a:lnTo>
                  <a:pt x="2163494" y="269500"/>
                </a:lnTo>
                <a:lnTo>
                  <a:pt x="1840624" y="871014"/>
                </a:lnTo>
                <a:lnTo>
                  <a:pt x="1158684" y="1494059"/>
                </a:lnTo>
                <a:lnTo>
                  <a:pt x="0" y="1828153"/>
                </a:lnTo>
                <a:lnTo>
                  <a:pt x="2244968" y="1828153"/>
                </a:lnTo>
                <a:lnTo>
                  <a:pt x="2295432" y="1820013"/>
                </a:lnTo>
                <a:lnTo>
                  <a:pt x="2339260" y="1797347"/>
                </a:lnTo>
                <a:lnTo>
                  <a:pt x="2373822" y="1762785"/>
                </a:lnTo>
                <a:lnTo>
                  <a:pt x="2396488" y="1718957"/>
                </a:lnTo>
                <a:lnTo>
                  <a:pt x="2404628" y="1668493"/>
                </a:lnTo>
                <a:lnTo>
                  <a:pt x="2404628" y="159670"/>
                </a:lnTo>
                <a:lnTo>
                  <a:pt x="2396488" y="109201"/>
                </a:lnTo>
                <a:lnTo>
                  <a:pt x="2373822" y="65370"/>
                </a:lnTo>
                <a:lnTo>
                  <a:pt x="2339260" y="30806"/>
                </a:lnTo>
                <a:lnTo>
                  <a:pt x="2295432" y="8139"/>
                </a:lnTo>
                <a:lnTo>
                  <a:pt x="2244968" y="0"/>
                </a:lnTo>
                <a:close/>
              </a:path>
            </a:pathLst>
          </a:custGeom>
          <a:solidFill>
            <a:srgbClr val="000000">
              <a:alpha val="9999"/>
            </a:srgbClr>
          </a:solidFill>
        </p:spPr>
        <p:txBody>
          <a:bodyPr wrap="square" lIns="0" tIns="0" rIns="0" bIns="0" rtlCol="0"/>
          <a:lstStyle/>
          <a:p>
            <a:endParaRPr/>
          </a:p>
        </p:txBody>
      </p:sp>
      <p:sp>
        <p:nvSpPr>
          <p:cNvPr id="22" name="object 22"/>
          <p:cNvSpPr/>
          <p:nvPr/>
        </p:nvSpPr>
        <p:spPr>
          <a:xfrm>
            <a:off x="4544044" y="2794899"/>
            <a:ext cx="997596" cy="1906071"/>
          </a:xfrm>
          <a:prstGeom prst="rect">
            <a:avLst/>
          </a:prstGeom>
          <a:blipFill>
            <a:blip r:embed="rId2" cstate="print"/>
            <a:stretch>
              <a:fillRect/>
            </a:stretch>
          </a:blipFill>
        </p:spPr>
        <p:txBody>
          <a:bodyPr wrap="square" lIns="0" tIns="0" rIns="0" bIns="0" rtlCol="0"/>
          <a:lstStyle/>
          <a:p>
            <a:endParaRPr/>
          </a:p>
        </p:txBody>
      </p:sp>
      <p:sp>
        <p:nvSpPr>
          <p:cNvPr id="23" name="object 23"/>
          <p:cNvSpPr/>
          <p:nvPr/>
        </p:nvSpPr>
        <p:spPr>
          <a:xfrm>
            <a:off x="4712927" y="3002522"/>
            <a:ext cx="784720" cy="1372659"/>
          </a:xfrm>
          <a:custGeom>
            <a:avLst/>
            <a:gdLst/>
            <a:ahLst/>
            <a:cxnLst/>
            <a:rect l="l" t="t" r="r" b="b"/>
            <a:pathLst>
              <a:path w="1725295" h="3018154">
                <a:moveTo>
                  <a:pt x="1596611" y="0"/>
                </a:moveTo>
                <a:lnTo>
                  <a:pt x="0" y="0"/>
                </a:lnTo>
                <a:lnTo>
                  <a:pt x="1725193" y="3018086"/>
                </a:lnTo>
                <a:lnTo>
                  <a:pt x="1725193" y="128582"/>
                </a:lnTo>
                <a:lnTo>
                  <a:pt x="1715088" y="78532"/>
                </a:lnTo>
                <a:lnTo>
                  <a:pt x="1687532" y="37661"/>
                </a:lnTo>
                <a:lnTo>
                  <a:pt x="1646660" y="10104"/>
                </a:lnTo>
                <a:lnTo>
                  <a:pt x="1596611" y="0"/>
                </a:lnTo>
                <a:close/>
              </a:path>
            </a:pathLst>
          </a:custGeom>
          <a:solidFill>
            <a:srgbClr val="FFFFFF">
              <a:alpha val="25000"/>
            </a:srgbClr>
          </a:solidFill>
        </p:spPr>
        <p:txBody>
          <a:bodyPr wrap="square" lIns="0" tIns="0" rIns="0" bIns="0" rtlCol="0"/>
          <a:lstStyle/>
          <a:p>
            <a:endParaRPr/>
          </a:p>
        </p:txBody>
      </p:sp>
      <p:sp>
        <p:nvSpPr>
          <p:cNvPr id="24" name="object 24"/>
          <p:cNvSpPr/>
          <p:nvPr/>
        </p:nvSpPr>
        <p:spPr>
          <a:xfrm>
            <a:off x="4941484" y="2890535"/>
            <a:ext cx="202751" cy="20505"/>
          </a:xfrm>
          <a:custGeom>
            <a:avLst/>
            <a:gdLst/>
            <a:ahLst/>
            <a:cxnLst/>
            <a:rect l="l" t="t" r="r" b="b"/>
            <a:pathLst>
              <a:path w="445770" h="45085">
                <a:moveTo>
                  <a:pt x="430196" y="0"/>
                </a:moveTo>
                <a:lnTo>
                  <a:pt x="15496" y="0"/>
                </a:lnTo>
                <a:lnTo>
                  <a:pt x="9466" y="1766"/>
                </a:lnTo>
                <a:lnTo>
                  <a:pt x="4540" y="6583"/>
                </a:lnTo>
                <a:lnTo>
                  <a:pt x="1218" y="13729"/>
                </a:lnTo>
                <a:lnTo>
                  <a:pt x="0" y="22480"/>
                </a:lnTo>
                <a:lnTo>
                  <a:pt x="1218" y="31231"/>
                </a:lnTo>
                <a:lnTo>
                  <a:pt x="4540" y="38373"/>
                </a:lnTo>
                <a:lnTo>
                  <a:pt x="9466" y="43186"/>
                </a:lnTo>
                <a:lnTo>
                  <a:pt x="15496" y="44951"/>
                </a:lnTo>
                <a:lnTo>
                  <a:pt x="430196" y="44951"/>
                </a:lnTo>
                <a:lnTo>
                  <a:pt x="436226" y="43186"/>
                </a:lnTo>
                <a:lnTo>
                  <a:pt x="441152" y="38373"/>
                </a:lnTo>
                <a:lnTo>
                  <a:pt x="444474" y="31231"/>
                </a:lnTo>
                <a:lnTo>
                  <a:pt x="445693" y="22480"/>
                </a:lnTo>
                <a:lnTo>
                  <a:pt x="444474" y="13729"/>
                </a:lnTo>
                <a:lnTo>
                  <a:pt x="441152" y="6583"/>
                </a:lnTo>
                <a:lnTo>
                  <a:pt x="436226" y="1766"/>
                </a:lnTo>
                <a:lnTo>
                  <a:pt x="430196" y="0"/>
                </a:lnTo>
                <a:close/>
              </a:path>
            </a:pathLst>
          </a:custGeom>
          <a:solidFill>
            <a:srgbClr val="ACADAE"/>
          </a:solidFill>
        </p:spPr>
        <p:txBody>
          <a:bodyPr wrap="square" lIns="0" tIns="0" rIns="0" bIns="0" rtlCol="0"/>
          <a:lstStyle/>
          <a:p>
            <a:endParaRPr/>
          </a:p>
        </p:txBody>
      </p:sp>
      <p:sp>
        <p:nvSpPr>
          <p:cNvPr id="25" name="object 25"/>
          <p:cNvSpPr/>
          <p:nvPr/>
        </p:nvSpPr>
        <p:spPr>
          <a:xfrm>
            <a:off x="5126575" y="4424762"/>
            <a:ext cx="324055" cy="104833"/>
          </a:xfrm>
          <a:custGeom>
            <a:avLst/>
            <a:gdLst/>
            <a:ahLst/>
            <a:cxnLst/>
            <a:rect l="l" t="t" r="r" b="b"/>
            <a:pathLst>
              <a:path w="712470" h="230504">
                <a:moveTo>
                  <a:pt x="174026" y="1088"/>
                </a:moveTo>
                <a:lnTo>
                  <a:pt x="131450" y="5429"/>
                </a:lnTo>
                <a:lnTo>
                  <a:pt x="101256" y="11113"/>
                </a:lnTo>
                <a:lnTo>
                  <a:pt x="69039" y="21955"/>
                </a:lnTo>
                <a:lnTo>
                  <a:pt x="0" y="50218"/>
                </a:lnTo>
                <a:lnTo>
                  <a:pt x="93180" y="229972"/>
                </a:lnTo>
                <a:lnTo>
                  <a:pt x="193098" y="192107"/>
                </a:lnTo>
                <a:lnTo>
                  <a:pt x="255002" y="172663"/>
                </a:lnTo>
                <a:lnTo>
                  <a:pt x="304632" y="165500"/>
                </a:lnTo>
                <a:lnTo>
                  <a:pt x="367727" y="164476"/>
                </a:lnTo>
                <a:lnTo>
                  <a:pt x="666130" y="164476"/>
                </a:lnTo>
                <a:lnTo>
                  <a:pt x="712041" y="38543"/>
                </a:lnTo>
                <a:lnTo>
                  <a:pt x="697678" y="33726"/>
                </a:lnTo>
                <a:lnTo>
                  <a:pt x="367727" y="33726"/>
                </a:lnTo>
                <a:lnTo>
                  <a:pt x="174026" y="1088"/>
                </a:lnTo>
                <a:close/>
              </a:path>
              <a:path w="712470" h="230504">
                <a:moveTo>
                  <a:pt x="666130" y="164476"/>
                </a:moveTo>
                <a:lnTo>
                  <a:pt x="367727" y="164476"/>
                </a:lnTo>
                <a:lnTo>
                  <a:pt x="454725" y="174710"/>
                </a:lnTo>
                <a:lnTo>
                  <a:pt x="544192" y="197224"/>
                </a:lnTo>
                <a:lnTo>
                  <a:pt x="614059" y="219738"/>
                </a:lnTo>
                <a:lnTo>
                  <a:pt x="642252" y="229972"/>
                </a:lnTo>
                <a:lnTo>
                  <a:pt x="666130" y="164476"/>
                </a:lnTo>
                <a:close/>
              </a:path>
              <a:path w="712470" h="230504">
                <a:moveTo>
                  <a:pt x="556297" y="0"/>
                </a:moveTo>
                <a:lnTo>
                  <a:pt x="367727" y="33726"/>
                </a:lnTo>
                <a:lnTo>
                  <a:pt x="697678" y="33726"/>
                </a:lnTo>
                <a:lnTo>
                  <a:pt x="653829" y="19021"/>
                </a:lnTo>
                <a:lnTo>
                  <a:pt x="604056" y="7272"/>
                </a:lnTo>
                <a:lnTo>
                  <a:pt x="569339" y="1522"/>
                </a:lnTo>
                <a:lnTo>
                  <a:pt x="556297" y="0"/>
                </a:lnTo>
                <a:close/>
              </a:path>
            </a:pathLst>
          </a:custGeom>
          <a:solidFill>
            <a:srgbClr val="4AB4E6"/>
          </a:solidFill>
        </p:spPr>
        <p:txBody>
          <a:bodyPr wrap="square" lIns="0" tIns="0" rIns="0" bIns="0" rtlCol="0"/>
          <a:lstStyle/>
          <a:p>
            <a:endParaRPr/>
          </a:p>
        </p:txBody>
      </p:sp>
      <p:sp>
        <p:nvSpPr>
          <p:cNvPr id="26" name="object 26"/>
          <p:cNvSpPr/>
          <p:nvPr/>
        </p:nvSpPr>
        <p:spPr>
          <a:xfrm>
            <a:off x="5205726" y="4424762"/>
            <a:ext cx="173869" cy="58626"/>
          </a:xfrm>
          <a:custGeom>
            <a:avLst/>
            <a:gdLst/>
            <a:ahLst/>
            <a:cxnLst/>
            <a:rect l="l" t="t" r="r" b="b"/>
            <a:pathLst>
              <a:path w="382270" h="128904">
                <a:moveTo>
                  <a:pt x="0" y="1078"/>
                </a:moveTo>
                <a:lnTo>
                  <a:pt x="43453" y="33797"/>
                </a:lnTo>
                <a:lnTo>
                  <a:pt x="86159" y="59952"/>
                </a:lnTo>
                <a:lnTo>
                  <a:pt x="126965" y="85496"/>
                </a:lnTo>
                <a:lnTo>
                  <a:pt x="164717" y="116383"/>
                </a:lnTo>
                <a:lnTo>
                  <a:pt x="178589" y="125545"/>
                </a:lnTo>
                <a:lnTo>
                  <a:pt x="194278" y="128558"/>
                </a:lnTo>
                <a:lnTo>
                  <a:pt x="209906" y="125395"/>
                </a:lnTo>
                <a:lnTo>
                  <a:pt x="223595" y="116027"/>
                </a:lnTo>
                <a:lnTo>
                  <a:pt x="257878" y="86165"/>
                </a:lnTo>
                <a:lnTo>
                  <a:pt x="330442" y="40251"/>
                </a:lnTo>
                <a:lnTo>
                  <a:pt x="338843" y="33726"/>
                </a:lnTo>
                <a:lnTo>
                  <a:pt x="193700" y="33726"/>
                </a:lnTo>
                <a:lnTo>
                  <a:pt x="106478" y="25433"/>
                </a:lnTo>
                <a:lnTo>
                  <a:pt x="76727" y="19574"/>
                </a:lnTo>
                <a:lnTo>
                  <a:pt x="52972" y="11076"/>
                </a:lnTo>
                <a:lnTo>
                  <a:pt x="29350" y="3669"/>
                </a:lnTo>
                <a:lnTo>
                  <a:pt x="0" y="1078"/>
                </a:lnTo>
                <a:close/>
              </a:path>
              <a:path w="382270" h="128904">
                <a:moveTo>
                  <a:pt x="382271" y="0"/>
                </a:moveTo>
                <a:lnTo>
                  <a:pt x="356026" y="3505"/>
                </a:lnTo>
                <a:lnTo>
                  <a:pt x="333739" y="11216"/>
                </a:lnTo>
                <a:lnTo>
                  <a:pt x="311376" y="19583"/>
                </a:lnTo>
                <a:lnTo>
                  <a:pt x="284902" y="25056"/>
                </a:lnTo>
                <a:lnTo>
                  <a:pt x="193700" y="33726"/>
                </a:lnTo>
                <a:lnTo>
                  <a:pt x="338843" y="33726"/>
                </a:lnTo>
                <a:lnTo>
                  <a:pt x="382271" y="0"/>
                </a:lnTo>
                <a:close/>
              </a:path>
            </a:pathLst>
          </a:custGeom>
          <a:solidFill>
            <a:srgbClr val="000000">
              <a:alpha val="6999"/>
            </a:srgbClr>
          </a:solidFill>
        </p:spPr>
        <p:txBody>
          <a:bodyPr wrap="square" lIns="0" tIns="0" rIns="0" bIns="0" rtlCol="0"/>
          <a:lstStyle/>
          <a:p>
            <a:endParaRPr/>
          </a:p>
        </p:txBody>
      </p:sp>
      <p:sp>
        <p:nvSpPr>
          <p:cNvPr id="27" name="object 27"/>
          <p:cNvSpPr/>
          <p:nvPr/>
        </p:nvSpPr>
        <p:spPr>
          <a:xfrm>
            <a:off x="5205725" y="4424764"/>
            <a:ext cx="174158" cy="34945"/>
          </a:xfrm>
          <a:custGeom>
            <a:avLst/>
            <a:gdLst/>
            <a:ahLst/>
            <a:cxnLst/>
            <a:rect l="l" t="t" r="r" b="b"/>
            <a:pathLst>
              <a:path w="382904" h="76834">
                <a:moveTo>
                  <a:pt x="0" y="1078"/>
                </a:moveTo>
                <a:lnTo>
                  <a:pt x="14270" y="12910"/>
                </a:lnTo>
                <a:lnTo>
                  <a:pt x="54482" y="38941"/>
                </a:lnTo>
                <a:lnTo>
                  <a:pt x="116734" y="64971"/>
                </a:lnTo>
                <a:lnTo>
                  <a:pt x="197124" y="76803"/>
                </a:lnTo>
                <a:lnTo>
                  <a:pt x="266137" y="75603"/>
                </a:lnTo>
                <a:lnTo>
                  <a:pt x="308429" y="67203"/>
                </a:lnTo>
                <a:lnTo>
                  <a:pt x="340987" y="44658"/>
                </a:lnTo>
                <a:lnTo>
                  <a:pt x="197124" y="44658"/>
                </a:lnTo>
                <a:lnTo>
                  <a:pt x="127925" y="43977"/>
                </a:lnTo>
                <a:lnTo>
                  <a:pt x="84324" y="39210"/>
                </a:lnTo>
                <a:lnTo>
                  <a:pt x="47843" y="26273"/>
                </a:lnTo>
                <a:lnTo>
                  <a:pt x="0" y="1078"/>
                </a:lnTo>
                <a:close/>
              </a:path>
              <a:path w="382904" h="76834">
                <a:moveTo>
                  <a:pt x="382281" y="0"/>
                </a:moveTo>
                <a:lnTo>
                  <a:pt x="369880" y="6977"/>
                </a:lnTo>
                <a:lnTo>
                  <a:pt x="333783" y="22329"/>
                </a:lnTo>
                <a:lnTo>
                  <a:pt x="275645" y="37680"/>
                </a:lnTo>
                <a:lnTo>
                  <a:pt x="197124" y="44658"/>
                </a:lnTo>
                <a:lnTo>
                  <a:pt x="340987" y="44658"/>
                </a:lnTo>
                <a:lnTo>
                  <a:pt x="341357" y="44402"/>
                </a:lnTo>
                <a:lnTo>
                  <a:pt x="382281" y="0"/>
                </a:lnTo>
                <a:close/>
              </a:path>
            </a:pathLst>
          </a:custGeom>
          <a:solidFill>
            <a:srgbClr val="2A2A2B"/>
          </a:solidFill>
        </p:spPr>
        <p:txBody>
          <a:bodyPr wrap="square" lIns="0" tIns="0" rIns="0" bIns="0" rtlCol="0"/>
          <a:lstStyle/>
          <a:p>
            <a:endParaRPr/>
          </a:p>
        </p:txBody>
      </p:sp>
      <p:sp>
        <p:nvSpPr>
          <p:cNvPr id="28" name="object 28"/>
          <p:cNvSpPr/>
          <p:nvPr/>
        </p:nvSpPr>
        <p:spPr>
          <a:xfrm>
            <a:off x="5277448" y="4444087"/>
            <a:ext cx="36102" cy="18194"/>
          </a:xfrm>
          <a:custGeom>
            <a:avLst/>
            <a:gdLst/>
            <a:ahLst/>
            <a:cxnLst/>
            <a:rect l="l" t="t" r="r" b="b"/>
            <a:pathLst>
              <a:path w="79375" h="40004">
                <a:moveTo>
                  <a:pt x="0" y="0"/>
                </a:moveTo>
                <a:lnTo>
                  <a:pt x="0" y="36135"/>
                </a:lnTo>
                <a:lnTo>
                  <a:pt x="3591" y="39726"/>
                </a:lnTo>
                <a:lnTo>
                  <a:pt x="75275" y="39726"/>
                </a:lnTo>
                <a:lnTo>
                  <a:pt x="78866" y="36135"/>
                </a:lnTo>
                <a:lnTo>
                  <a:pt x="78866" y="2167"/>
                </a:lnTo>
                <a:lnTo>
                  <a:pt x="39433" y="2167"/>
                </a:lnTo>
                <a:lnTo>
                  <a:pt x="29419" y="2021"/>
                </a:lnTo>
                <a:lnTo>
                  <a:pt x="19504" y="1598"/>
                </a:lnTo>
                <a:lnTo>
                  <a:pt x="9695" y="917"/>
                </a:lnTo>
                <a:lnTo>
                  <a:pt x="0" y="0"/>
                </a:lnTo>
                <a:close/>
              </a:path>
              <a:path w="79375" h="40004">
                <a:moveTo>
                  <a:pt x="78866" y="83"/>
                </a:moveTo>
                <a:lnTo>
                  <a:pt x="69317" y="965"/>
                </a:lnTo>
                <a:lnTo>
                  <a:pt x="59562" y="1620"/>
                </a:lnTo>
                <a:lnTo>
                  <a:pt x="49601" y="2027"/>
                </a:lnTo>
                <a:lnTo>
                  <a:pt x="39433" y="2167"/>
                </a:lnTo>
                <a:lnTo>
                  <a:pt x="78866" y="2167"/>
                </a:lnTo>
                <a:lnTo>
                  <a:pt x="78866" y="83"/>
                </a:lnTo>
                <a:close/>
              </a:path>
            </a:pathLst>
          </a:custGeom>
          <a:solidFill>
            <a:srgbClr val="313334"/>
          </a:solidFill>
        </p:spPr>
        <p:txBody>
          <a:bodyPr wrap="square" lIns="0" tIns="0" rIns="0" bIns="0" rtlCol="0"/>
          <a:lstStyle/>
          <a:p>
            <a:endParaRPr/>
          </a:p>
        </p:txBody>
      </p:sp>
      <p:sp>
        <p:nvSpPr>
          <p:cNvPr id="29" name="object 29"/>
          <p:cNvSpPr/>
          <p:nvPr/>
        </p:nvSpPr>
        <p:spPr>
          <a:xfrm>
            <a:off x="5277450" y="4444089"/>
            <a:ext cx="36102" cy="18194"/>
          </a:xfrm>
          <a:custGeom>
            <a:avLst/>
            <a:gdLst/>
            <a:ahLst/>
            <a:cxnLst/>
            <a:rect l="l" t="t" r="r" b="b"/>
            <a:pathLst>
              <a:path w="79375" h="40004">
                <a:moveTo>
                  <a:pt x="0" y="0"/>
                </a:moveTo>
                <a:lnTo>
                  <a:pt x="0" y="36135"/>
                </a:lnTo>
                <a:lnTo>
                  <a:pt x="3581" y="39716"/>
                </a:lnTo>
                <a:lnTo>
                  <a:pt x="75275" y="39716"/>
                </a:lnTo>
                <a:lnTo>
                  <a:pt x="78856" y="36135"/>
                </a:lnTo>
                <a:lnTo>
                  <a:pt x="78856" y="27768"/>
                </a:lnTo>
                <a:lnTo>
                  <a:pt x="10470" y="27768"/>
                </a:lnTo>
                <a:lnTo>
                  <a:pt x="8345" y="25643"/>
                </a:lnTo>
                <a:lnTo>
                  <a:pt x="8345" y="10"/>
                </a:lnTo>
                <a:lnTo>
                  <a:pt x="0" y="0"/>
                </a:lnTo>
                <a:close/>
              </a:path>
              <a:path w="79375" h="40004">
                <a:moveTo>
                  <a:pt x="70521" y="73"/>
                </a:moveTo>
                <a:lnTo>
                  <a:pt x="70521" y="25643"/>
                </a:lnTo>
                <a:lnTo>
                  <a:pt x="68395" y="27768"/>
                </a:lnTo>
                <a:lnTo>
                  <a:pt x="78856" y="27768"/>
                </a:lnTo>
                <a:lnTo>
                  <a:pt x="78856" y="83"/>
                </a:lnTo>
                <a:lnTo>
                  <a:pt x="70521" y="73"/>
                </a:lnTo>
                <a:close/>
              </a:path>
            </a:pathLst>
          </a:custGeom>
          <a:solidFill>
            <a:srgbClr val="CACDC8"/>
          </a:solidFill>
        </p:spPr>
        <p:txBody>
          <a:bodyPr wrap="square" lIns="0" tIns="0" rIns="0" bIns="0" rtlCol="0"/>
          <a:lstStyle/>
          <a:p>
            <a:endParaRPr/>
          </a:p>
        </p:txBody>
      </p:sp>
      <p:sp>
        <p:nvSpPr>
          <p:cNvPr id="30" name="object 30"/>
          <p:cNvSpPr/>
          <p:nvPr/>
        </p:nvSpPr>
        <p:spPr>
          <a:xfrm>
            <a:off x="5381748" y="4312803"/>
            <a:ext cx="63492" cy="110039"/>
          </a:xfrm>
          <a:prstGeom prst="rect">
            <a:avLst/>
          </a:prstGeom>
          <a:blipFill>
            <a:blip r:embed="rId3" cstate="print"/>
            <a:stretch>
              <a:fillRect/>
            </a:stretch>
          </a:blipFill>
        </p:spPr>
        <p:txBody>
          <a:bodyPr wrap="square" lIns="0" tIns="0" rIns="0" bIns="0" rtlCol="0"/>
          <a:lstStyle/>
          <a:p>
            <a:endParaRPr/>
          </a:p>
        </p:txBody>
      </p:sp>
      <p:sp>
        <p:nvSpPr>
          <p:cNvPr id="31" name="object 31"/>
          <p:cNvSpPr/>
          <p:nvPr/>
        </p:nvSpPr>
        <p:spPr>
          <a:xfrm>
            <a:off x="5155738" y="4161282"/>
            <a:ext cx="285353" cy="289376"/>
          </a:xfrm>
          <a:custGeom>
            <a:avLst/>
            <a:gdLst/>
            <a:ahLst/>
            <a:cxnLst/>
            <a:rect l="l" t="t" r="r" b="b"/>
            <a:pathLst>
              <a:path w="627379" h="636270">
                <a:moveTo>
                  <a:pt x="525018" y="377203"/>
                </a:moveTo>
                <a:lnTo>
                  <a:pt x="110384" y="377203"/>
                </a:lnTo>
                <a:lnTo>
                  <a:pt x="113920" y="407791"/>
                </a:lnTo>
                <a:lnTo>
                  <a:pt x="116052" y="466470"/>
                </a:lnTo>
                <a:lnTo>
                  <a:pt x="115229" y="531317"/>
                </a:lnTo>
                <a:lnTo>
                  <a:pt x="109902" y="580411"/>
                </a:lnTo>
                <a:lnTo>
                  <a:pt x="149578" y="604863"/>
                </a:lnTo>
                <a:lnTo>
                  <a:pt x="186502" y="622262"/>
                </a:lnTo>
                <a:lnTo>
                  <a:pt x="233360" y="632662"/>
                </a:lnTo>
                <a:lnTo>
                  <a:pt x="302838" y="636116"/>
                </a:lnTo>
                <a:lnTo>
                  <a:pt x="351779" y="633356"/>
                </a:lnTo>
                <a:lnTo>
                  <a:pt x="399745" y="624024"/>
                </a:lnTo>
                <a:lnTo>
                  <a:pt x="446594" y="606542"/>
                </a:lnTo>
                <a:lnTo>
                  <a:pt x="492183" y="579333"/>
                </a:lnTo>
                <a:lnTo>
                  <a:pt x="489708" y="529979"/>
                </a:lnTo>
                <a:lnTo>
                  <a:pt x="492278" y="465883"/>
                </a:lnTo>
                <a:lnTo>
                  <a:pt x="497879" y="408082"/>
                </a:lnTo>
                <a:lnTo>
                  <a:pt x="504497" y="377611"/>
                </a:lnTo>
                <a:lnTo>
                  <a:pt x="525018" y="377203"/>
                </a:lnTo>
                <a:close/>
              </a:path>
              <a:path w="627379" h="636270">
                <a:moveTo>
                  <a:pt x="307027" y="0"/>
                </a:moveTo>
                <a:lnTo>
                  <a:pt x="245579" y="5197"/>
                </a:lnTo>
                <a:lnTo>
                  <a:pt x="188884" y="19454"/>
                </a:lnTo>
                <a:lnTo>
                  <a:pt x="137911" y="40772"/>
                </a:lnTo>
                <a:lnTo>
                  <a:pt x="93629" y="67148"/>
                </a:lnTo>
                <a:lnTo>
                  <a:pt x="57007" y="96583"/>
                </a:lnTo>
                <a:lnTo>
                  <a:pt x="29014" y="127075"/>
                </a:lnTo>
                <a:lnTo>
                  <a:pt x="2795" y="183230"/>
                </a:lnTo>
                <a:lnTo>
                  <a:pt x="649" y="223547"/>
                </a:lnTo>
                <a:lnTo>
                  <a:pt x="0" y="270583"/>
                </a:lnTo>
                <a:lnTo>
                  <a:pt x="410" y="313967"/>
                </a:lnTo>
                <a:lnTo>
                  <a:pt x="1444" y="343329"/>
                </a:lnTo>
                <a:lnTo>
                  <a:pt x="19326" y="379073"/>
                </a:lnTo>
                <a:lnTo>
                  <a:pt x="54901" y="389386"/>
                </a:lnTo>
                <a:lnTo>
                  <a:pt x="90982" y="385139"/>
                </a:lnTo>
                <a:lnTo>
                  <a:pt x="110384" y="377203"/>
                </a:lnTo>
                <a:lnTo>
                  <a:pt x="525018" y="377203"/>
                </a:lnTo>
                <a:lnTo>
                  <a:pt x="532228" y="377059"/>
                </a:lnTo>
                <a:lnTo>
                  <a:pt x="567213" y="370008"/>
                </a:lnTo>
                <a:lnTo>
                  <a:pt x="601483" y="355643"/>
                </a:lnTo>
                <a:lnTo>
                  <a:pt x="627069" y="333152"/>
                </a:lnTo>
                <a:lnTo>
                  <a:pt x="625256" y="303211"/>
                </a:lnTo>
                <a:lnTo>
                  <a:pt x="622295" y="259757"/>
                </a:lnTo>
                <a:lnTo>
                  <a:pt x="618579" y="212858"/>
                </a:lnTo>
                <a:lnTo>
                  <a:pt x="614504" y="172581"/>
                </a:lnTo>
                <a:lnTo>
                  <a:pt x="582548" y="108725"/>
                </a:lnTo>
                <a:lnTo>
                  <a:pt x="551152" y="79548"/>
                </a:lnTo>
                <a:lnTo>
                  <a:pt x="511713" y="53499"/>
                </a:lnTo>
                <a:lnTo>
                  <a:pt x="465905" y="31549"/>
                </a:lnTo>
                <a:lnTo>
                  <a:pt x="415405" y="14669"/>
                </a:lnTo>
                <a:lnTo>
                  <a:pt x="361887" y="3829"/>
                </a:lnTo>
                <a:lnTo>
                  <a:pt x="307027" y="0"/>
                </a:lnTo>
                <a:close/>
              </a:path>
            </a:pathLst>
          </a:custGeom>
          <a:solidFill>
            <a:srgbClr val="FF7900"/>
          </a:solidFill>
        </p:spPr>
        <p:txBody>
          <a:bodyPr wrap="square" lIns="0" tIns="0" rIns="0" bIns="0" rtlCol="0"/>
          <a:lstStyle/>
          <a:p>
            <a:endParaRPr/>
          </a:p>
        </p:txBody>
      </p:sp>
      <p:sp>
        <p:nvSpPr>
          <p:cNvPr id="32" name="object 32"/>
          <p:cNvSpPr/>
          <p:nvPr/>
        </p:nvSpPr>
        <p:spPr>
          <a:xfrm>
            <a:off x="5272754" y="4352405"/>
            <a:ext cx="106822" cy="86715"/>
          </a:xfrm>
          <a:prstGeom prst="rect">
            <a:avLst/>
          </a:prstGeom>
          <a:blipFill>
            <a:blip r:embed="rId4" cstate="print"/>
            <a:stretch>
              <a:fillRect/>
            </a:stretch>
          </a:blipFill>
        </p:spPr>
        <p:txBody>
          <a:bodyPr wrap="square" lIns="0" tIns="0" rIns="0" bIns="0" rtlCol="0"/>
          <a:lstStyle/>
          <a:p>
            <a:endParaRPr/>
          </a:p>
        </p:txBody>
      </p:sp>
      <p:sp>
        <p:nvSpPr>
          <p:cNvPr id="33" name="object 33"/>
          <p:cNvSpPr/>
          <p:nvPr/>
        </p:nvSpPr>
        <p:spPr>
          <a:xfrm>
            <a:off x="5290171" y="4382491"/>
            <a:ext cx="151630" cy="60359"/>
          </a:xfrm>
          <a:custGeom>
            <a:avLst/>
            <a:gdLst/>
            <a:ahLst/>
            <a:cxnLst/>
            <a:rect l="l" t="t" r="r" b="b"/>
            <a:pathLst>
              <a:path w="333375" h="132715">
                <a:moveTo>
                  <a:pt x="30718" y="0"/>
                </a:moveTo>
                <a:lnTo>
                  <a:pt x="5304" y="4585"/>
                </a:lnTo>
                <a:lnTo>
                  <a:pt x="0" y="23006"/>
                </a:lnTo>
                <a:lnTo>
                  <a:pt x="13477" y="47106"/>
                </a:lnTo>
                <a:lnTo>
                  <a:pt x="91584" y="90865"/>
                </a:lnTo>
                <a:lnTo>
                  <a:pt x="137764" y="111009"/>
                </a:lnTo>
                <a:lnTo>
                  <a:pt x="187011" y="125989"/>
                </a:lnTo>
                <a:lnTo>
                  <a:pt x="243386" y="132639"/>
                </a:lnTo>
                <a:lnTo>
                  <a:pt x="293439" y="126577"/>
                </a:lnTo>
                <a:lnTo>
                  <a:pt x="322485" y="109940"/>
                </a:lnTo>
                <a:lnTo>
                  <a:pt x="332787" y="89338"/>
                </a:lnTo>
                <a:lnTo>
                  <a:pt x="326609" y="71385"/>
                </a:lnTo>
                <a:lnTo>
                  <a:pt x="315757" y="56312"/>
                </a:lnTo>
                <a:lnTo>
                  <a:pt x="308060" y="44010"/>
                </a:lnTo>
                <a:lnTo>
                  <a:pt x="292109" y="32448"/>
                </a:lnTo>
                <a:lnTo>
                  <a:pt x="264387" y="22443"/>
                </a:lnTo>
                <a:lnTo>
                  <a:pt x="119109" y="22443"/>
                </a:lnTo>
                <a:lnTo>
                  <a:pt x="77569" y="17407"/>
                </a:lnTo>
                <a:lnTo>
                  <a:pt x="30718" y="0"/>
                </a:lnTo>
                <a:close/>
              </a:path>
              <a:path w="333375" h="132715">
                <a:moveTo>
                  <a:pt x="212224" y="14819"/>
                </a:moveTo>
                <a:lnTo>
                  <a:pt x="119109" y="22443"/>
                </a:lnTo>
                <a:lnTo>
                  <a:pt x="264387" y="22443"/>
                </a:lnTo>
                <a:lnTo>
                  <a:pt x="256496" y="19596"/>
                </a:lnTo>
                <a:lnTo>
                  <a:pt x="212224" y="14819"/>
                </a:lnTo>
                <a:close/>
              </a:path>
            </a:pathLst>
          </a:custGeom>
          <a:solidFill>
            <a:srgbClr val="F4CFB1"/>
          </a:solidFill>
        </p:spPr>
        <p:txBody>
          <a:bodyPr wrap="square" lIns="0" tIns="0" rIns="0" bIns="0" rtlCol="0"/>
          <a:lstStyle/>
          <a:p>
            <a:endParaRPr/>
          </a:p>
        </p:txBody>
      </p:sp>
      <p:sp>
        <p:nvSpPr>
          <p:cNvPr id="34" name="object 34"/>
          <p:cNvSpPr/>
          <p:nvPr/>
        </p:nvSpPr>
        <p:spPr>
          <a:xfrm>
            <a:off x="5156396" y="4317432"/>
            <a:ext cx="57531" cy="115501"/>
          </a:xfrm>
          <a:prstGeom prst="rect">
            <a:avLst/>
          </a:prstGeom>
          <a:blipFill>
            <a:blip r:embed="rId5" cstate="print"/>
            <a:stretch>
              <a:fillRect/>
            </a:stretch>
          </a:blipFill>
        </p:spPr>
        <p:txBody>
          <a:bodyPr wrap="square" lIns="0" tIns="0" rIns="0" bIns="0" rtlCol="0"/>
          <a:lstStyle/>
          <a:p>
            <a:endParaRPr/>
          </a:p>
        </p:txBody>
      </p:sp>
      <p:sp>
        <p:nvSpPr>
          <p:cNvPr id="35" name="object 35"/>
          <p:cNvSpPr/>
          <p:nvPr/>
        </p:nvSpPr>
        <p:spPr>
          <a:xfrm>
            <a:off x="5170809" y="4323394"/>
            <a:ext cx="122459" cy="118407"/>
          </a:xfrm>
          <a:custGeom>
            <a:avLst/>
            <a:gdLst/>
            <a:ahLst/>
            <a:cxnLst/>
            <a:rect l="l" t="t" r="r" b="b"/>
            <a:pathLst>
              <a:path w="269240" h="260350">
                <a:moveTo>
                  <a:pt x="251514" y="0"/>
                </a:moveTo>
                <a:lnTo>
                  <a:pt x="226971" y="14119"/>
                </a:lnTo>
                <a:lnTo>
                  <a:pt x="196528" y="55780"/>
                </a:lnTo>
                <a:lnTo>
                  <a:pt x="164594" y="79597"/>
                </a:lnTo>
                <a:lnTo>
                  <a:pt x="83726" y="111130"/>
                </a:lnTo>
                <a:lnTo>
                  <a:pt x="49349" y="136196"/>
                </a:lnTo>
                <a:lnTo>
                  <a:pt x="23394" y="168707"/>
                </a:lnTo>
                <a:lnTo>
                  <a:pt x="3879" y="212737"/>
                </a:lnTo>
                <a:lnTo>
                  <a:pt x="0" y="233827"/>
                </a:lnTo>
                <a:lnTo>
                  <a:pt x="5246" y="251016"/>
                </a:lnTo>
                <a:lnTo>
                  <a:pt x="26794" y="260060"/>
                </a:lnTo>
                <a:lnTo>
                  <a:pt x="62023" y="255697"/>
                </a:lnTo>
                <a:lnTo>
                  <a:pt x="108310" y="232664"/>
                </a:lnTo>
                <a:lnTo>
                  <a:pt x="154303" y="195508"/>
                </a:lnTo>
                <a:lnTo>
                  <a:pt x="192199" y="153626"/>
                </a:lnTo>
                <a:lnTo>
                  <a:pt x="224734" y="109038"/>
                </a:lnTo>
                <a:lnTo>
                  <a:pt x="254641" y="63759"/>
                </a:lnTo>
                <a:lnTo>
                  <a:pt x="268859" y="30733"/>
                </a:lnTo>
                <a:lnTo>
                  <a:pt x="266647" y="7509"/>
                </a:lnTo>
                <a:lnTo>
                  <a:pt x="251514" y="0"/>
                </a:lnTo>
                <a:close/>
              </a:path>
            </a:pathLst>
          </a:custGeom>
          <a:solidFill>
            <a:srgbClr val="F4CFB1"/>
          </a:solidFill>
        </p:spPr>
        <p:txBody>
          <a:bodyPr wrap="square" lIns="0" tIns="0" rIns="0" bIns="0" rtlCol="0"/>
          <a:lstStyle/>
          <a:p>
            <a:endParaRPr/>
          </a:p>
        </p:txBody>
      </p:sp>
      <p:sp>
        <p:nvSpPr>
          <p:cNvPr id="36" name="object 36"/>
          <p:cNvSpPr/>
          <p:nvPr/>
        </p:nvSpPr>
        <p:spPr>
          <a:xfrm>
            <a:off x="5242420" y="4314341"/>
            <a:ext cx="108211" cy="99409"/>
          </a:xfrm>
          <a:prstGeom prst="rect">
            <a:avLst/>
          </a:prstGeom>
          <a:blipFill>
            <a:blip r:embed="rId6" cstate="print"/>
            <a:stretch>
              <a:fillRect/>
            </a:stretch>
          </a:blipFill>
        </p:spPr>
        <p:txBody>
          <a:bodyPr wrap="square" lIns="0" tIns="0" rIns="0" bIns="0" rtlCol="0"/>
          <a:lstStyle/>
          <a:p>
            <a:endParaRPr/>
          </a:p>
        </p:txBody>
      </p:sp>
      <p:sp>
        <p:nvSpPr>
          <p:cNvPr id="37" name="object 37"/>
          <p:cNvSpPr/>
          <p:nvPr/>
        </p:nvSpPr>
        <p:spPr>
          <a:xfrm>
            <a:off x="5233493" y="4181047"/>
            <a:ext cx="127658" cy="33501"/>
          </a:xfrm>
          <a:custGeom>
            <a:avLst/>
            <a:gdLst/>
            <a:ahLst/>
            <a:cxnLst/>
            <a:rect l="l" t="t" r="r" b="b"/>
            <a:pathLst>
              <a:path w="280670" h="73659">
                <a:moveTo>
                  <a:pt x="21528" y="0"/>
                </a:moveTo>
                <a:lnTo>
                  <a:pt x="11679" y="842"/>
                </a:lnTo>
                <a:lnTo>
                  <a:pt x="4999" y="3848"/>
                </a:lnTo>
                <a:lnTo>
                  <a:pt x="1202" y="9735"/>
                </a:lnTo>
                <a:lnTo>
                  <a:pt x="0" y="19224"/>
                </a:lnTo>
                <a:lnTo>
                  <a:pt x="0" y="45516"/>
                </a:lnTo>
                <a:lnTo>
                  <a:pt x="2187" y="56350"/>
                </a:lnTo>
                <a:lnTo>
                  <a:pt x="8151" y="65196"/>
                </a:lnTo>
                <a:lnTo>
                  <a:pt x="16998" y="71161"/>
                </a:lnTo>
                <a:lnTo>
                  <a:pt x="27831" y="73348"/>
                </a:lnTo>
                <a:lnTo>
                  <a:pt x="252620" y="73348"/>
                </a:lnTo>
                <a:lnTo>
                  <a:pt x="263454" y="71161"/>
                </a:lnTo>
                <a:lnTo>
                  <a:pt x="272300" y="65196"/>
                </a:lnTo>
                <a:lnTo>
                  <a:pt x="278265" y="56350"/>
                </a:lnTo>
                <a:lnTo>
                  <a:pt x="280452" y="45516"/>
                </a:lnTo>
                <a:lnTo>
                  <a:pt x="280452" y="5601"/>
                </a:lnTo>
                <a:lnTo>
                  <a:pt x="275070" y="219"/>
                </a:lnTo>
                <a:lnTo>
                  <a:pt x="21528" y="0"/>
                </a:lnTo>
                <a:close/>
              </a:path>
            </a:pathLst>
          </a:custGeom>
          <a:solidFill>
            <a:srgbClr val="F4CFB1"/>
          </a:solidFill>
        </p:spPr>
        <p:txBody>
          <a:bodyPr wrap="square" lIns="0" tIns="0" rIns="0" bIns="0" rtlCol="0"/>
          <a:lstStyle/>
          <a:p>
            <a:endParaRPr/>
          </a:p>
        </p:txBody>
      </p:sp>
      <p:sp>
        <p:nvSpPr>
          <p:cNvPr id="38" name="object 38"/>
          <p:cNvSpPr/>
          <p:nvPr/>
        </p:nvSpPr>
        <p:spPr>
          <a:xfrm>
            <a:off x="5243306" y="4112624"/>
            <a:ext cx="108307" cy="151619"/>
          </a:xfrm>
          <a:custGeom>
            <a:avLst/>
            <a:gdLst/>
            <a:ahLst/>
            <a:cxnLst/>
            <a:rect l="l" t="t" r="r" b="b"/>
            <a:pathLst>
              <a:path w="238125" h="333375">
                <a:moveTo>
                  <a:pt x="118081" y="165"/>
                </a:moveTo>
                <a:lnTo>
                  <a:pt x="77364" y="11905"/>
                </a:lnTo>
                <a:lnTo>
                  <a:pt x="42485" y="42959"/>
                </a:lnTo>
                <a:lnTo>
                  <a:pt x="16386" y="86166"/>
                </a:lnTo>
                <a:lnTo>
                  <a:pt x="1434" y="134532"/>
                </a:lnTo>
                <a:lnTo>
                  <a:pt x="0" y="181062"/>
                </a:lnTo>
                <a:lnTo>
                  <a:pt x="14051" y="257657"/>
                </a:lnTo>
                <a:lnTo>
                  <a:pt x="79285" y="322628"/>
                </a:lnTo>
                <a:lnTo>
                  <a:pt x="117500" y="332767"/>
                </a:lnTo>
                <a:lnTo>
                  <a:pt x="137113" y="330232"/>
                </a:lnTo>
                <a:lnTo>
                  <a:pt x="208098" y="285101"/>
                </a:lnTo>
                <a:lnTo>
                  <a:pt x="237573" y="179083"/>
                </a:lnTo>
                <a:lnTo>
                  <a:pt x="235416" y="133000"/>
                </a:lnTo>
                <a:lnTo>
                  <a:pt x="219897" y="85155"/>
                </a:lnTo>
                <a:lnTo>
                  <a:pt x="193450" y="42443"/>
                </a:lnTo>
                <a:lnTo>
                  <a:pt x="158508" y="11760"/>
                </a:lnTo>
                <a:lnTo>
                  <a:pt x="118081" y="165"/>
                </a:lnTo>
                <a:close/>
              </a:path>
              <a:path w="238125" h="333375">
                <a:moveTo>
                  <a:pt x="118656" y="0"/>
                </a:moveTo>
                <a:lnTo>
                  <a:pt x="117504" y="0"/>
                </a:lnTo>
                <a:lnTo>
                  <a:pt x="118081" y="165"/>
                </a:lnTo>
                <a:lnTo>
                  <a:pt x="118656" y="0"/>
                </a:lnTo>
                <a:close/>
              </a:path>
            </a:pathLst>
          </a:custGeom>
          <a:solidFill>
            <a:srgbClr val="F4CFB1"/>
          </a:solidFill>
        </p:spPr>
        <p:txBody>
          <a:bodyPr wrap="square" lIns="0" tIns="0" rIns="0" bIns="0" rtlCol="0"/>
          <a:lstStyle/>
          <a:p>
            <a:endParaRPr/>
          </a:p>
        </p:txBody>
      </p:sp>
      <p:sp>
        <p:nvSpPr>
          <p:cNvPr id="39" name="object 39"/>
          <p:cNvSpPr/>
          <p:nvPr/>
        </p:nvSpPr>
        <p:spPr>
          <a:xfrm>
            <a:off x="5232025" y="4072120"/>
            <a:ext cx="147586" cy="130537"/>
          </a:xfrm>
          <a:custGeom>
            <a:avLst/>
            <a:gdLst/>
            <a:ahLst/>
            <a:cxnLst/>
            <a:rect l="l" t="t" r="r" b="b"/>
            <a:pathLst>
              <a:path w="324484" h="287020">
                <a:moveTo>
                  <a:pt x="145009" y="0"/>
                </a:moveTo>
                <a:lnTo>
                  <a:pt x="143596" y="0"/>
                </a:lnTo>
                <a:lnTo>
                  <a:pt x="114624" y="556"/>
                </a:lnTo>
                <a:lnTo>
                  <a:pt x="57540" y="19524"/>
                </a:lnTo>
                <a:lnTo>
                  <a:pt x="27055" y="47611"/>
                </a:lnTo>
                <a:lnTo>
                  <a:pt x="4011" y="97041"/>
                </a:lnTo>
                <a:lnTo>
                  <a:pt x="0" y="151783"/>
                </a:lnTo>
                <a:lnTo>
                  <a:pt x="4966" y="196138"/>
                </a:lnTo>
                <a:lnTo>
                  <a:pt x="8877" y="214496"/>
                </a:lnTo>
                <a:lnTo>
                  <a:pt x="25903" y="283206"/>
                </a:lnTo>
                <a:lnTo>
                  <a:pt x="26521" y="286472"/>
                </a:lnTo>
                <a:lnTo>
                  <a:pt x="31285" y="286326"/>
                </a:lnTo>
                <a:lnTo>
                  <a:pt x="31641" y="283017"/>
                </a:lnTo>
                <a:lnTo>
                  <a:pt x="33144" y="264594"/>
                </a:lnTo>
                <a:lnTo>
                  <a:pt x="33601" y="250238"/>
                </a:lnTo>
                <a:lnTo>
                  <a:pt x="33510" y="240916"/>
                </a:lnTo>
                <a:lnTo>
                  <a:pt x="33369" y="237594"/>
                </a:lnTo>
                <a:lnTo>
                  <a:pt x="56880" y="221185"/>
                </a:lnTo>
                <a:lnTo>
                  <a:pt x="70126" y="211627"/>
                </a:lnTo>
                <a:lnTo>
                  <a:pt x="77974" y="205241"/>
                </a:lnTo>
                <a:lnTo>
                  <a:pt x="85294" y="198349"/>
                </a:lnTo>
                <a:lnTo>
                  <a:pt x="297676" y="198349"/>
                </a:lnTo>
                <a:lnTo>
                  <a:pt x="308731" y="189886"/>
                </a:lnTo>
                <a:lnTo>
                  <a:pt x="322084" y="160564"/>
                </a:lnTo>
                <a:lnTo>
                  <a:pt x="324405" y="136015"/>
                </a:lnTo>
                <a:lnTo>
                  <a:pt x="323454" y="125723"/>
                </a:lnTo>
                <a:lnTo>
                  <a:pt x="295922" y="118564"/>
                </a:lnTo>
                <a:lnTo>
                  <a:pt x="280556" y="111212"/>
                </a:lnTo>
                <a:lnTo>
                  <a:pt x="271790" y="99197"/>
                </a:lnTo>
                <a:lnTo>
                  <a:pt x="264053" y="78049"/>
                </a:lnTo>
                <a:lnTo>
                  <a:pt x="247237" y="47323"/>
                </a:lnTo>
                <a:lnTo>
                  <a:pt x="220128" y="22081"/>
                </a:lnTo>
                <a:lnTo>
                  <a:pt x="185220" y="5311"/>
                </a:lnTo>
                <a:lnTo>
                  <a:pt x="145009" y="0"/>
                </a:lnTo>
                <a:close/>
              </a:path>
              <a:path w="324484" h="287020">
                <a:moveTo>
                  <a:pt x="297676" y="198349"/>
                </a:moveTo>
                <a:lnTo>
                  <a:pt x="85294" y="198349"/>
                </a:lnTo>
                <a:lnTo>
                  <a:pt x="118150" y="207442"/>
                </a:lnTo>
                <a:lnTo>
                  <a:pt x="154808" y="214999"/>
                </a:lnTo>
                <a:lnTo>
                  <a:pt x="191877" y="220164"/>
                </a:lnTo>
                <a:lnTo>
                  <a:pt x="225970" y="222077"/>
                </a:lnTo>
                <a:lnTo>
                  <a:pt x="247446" y="222077"/>
                </a:lnTo>
                <a:lnTo>
                  <a:pt x="249379" y="237695"/>
                </a:lnTo>
                <a:lnTo>
                  <a:pt x="250852" y="249099"/>
                </a:lnTo>
                <a:lnTo>
                  <a:pt x="252612" y="261866"/>
                </a:lnTo>
                <a:lnTo>
                  <a:pt x="256001" y="285781"/>
                </a:lnTo>
                <a:lnTo>
                  <a:pt x="262095" y="285719"/>
                </a:lnTo>
                <a:lnTo>
                  <a:pt x="262671" y="281509"/>
                </a:lnTo>
                <a:lnTo>
                  <a:pt x="276587" y="214496"/>
                </a:lnTo>
                <a:lnTo>
                  <a:pt x="297676" y="198349"/>
                </a:lnTo>
                <a:close/>
              </a:path>
            </a:pathLst>
          </a:custGeom>
          <a:solidFill>
            <a:srgbClr val="80573C"/>
          </a:solidFill>
        </p:spPr>
        <p:txBody>
          <a:bodyPr wrap="square" lIns="0" tIns="0" rIns="0" bIns="0" rtlCol="0"/>
          <a:lstStyle/>
          <a:p>
            <a:endParaRPr/>
          </a:p>
        </p:txBody>
      </p:sp>
      <p:sp>
        <p:nvSpPr>
          <p:cNvPr id="40" name="object 40"/>
          <p:cNvSpPr/>
          <p:nvPr/>
        </p:nvSpPr>
        <p:spPr>
          <a:xfrm>
            <a:off x="5354801" y="4668815"/>
            <a:ext cx="115168" cy="100261"/>
          </a:xfrm>
          <a:prstGeom prst="rect">
            <a:avLst/>
          </a:prstGeom>
          <a:blipFill>
            <a:blip r:embed="rId7" cstate="print"/>
            <a:stretch>
              <a:fillRect/>
            </a:stretch>
          </a:blipFill>
        </p:spPr>
        <p:txBody>
          <a:bodyPr wrap="square" lIns="0" tIns="0" rIns="0" bIns="0" rtlCol="0"/>
          <a:lstStyle/>
          <a:p>
            <a:endParaRPr/>
          </a:p>
        </p:txBody>
      </p:sp>
      <p:sp>
        <p:nvSpPr>
          <p:cNvPr id="41" name="object 41"/>
          <p:cNvSpPr/>
          <p:nvPr/>
        </p:nvSpPr>
        <p:spPr>
          <a:xfrm>
            <a:off x="5358391" y="4441597"/>
            <a:ext cx="127947" cy="256164"/>
          </a:xfrm>
          <a:custGeom>
            <a:avLst/>
            <a:gdLst/>
            <a:ahLst/>
            <a:cxnLst/>
            <a:rect l="l" t="t" r="r" b="b"/>
            <a:pathLst>
              <a:path w="281304" h="563245">
                <a:moveTo>
                  <a:pt x="177908" y="0"/>
                </a:moveTo>
                <a:lnTo>
                  <a:pt x="155539" y="7703"/>
                </a:lnTo>
                <a:lnTo>
                  <a:pt x="137694" y="23233"/>
                </a:lnTo>
                <a:lnTo>
                  <a:pt x="126802" y="45187"/>
                </a:lnTo>
                <a:lnTo>
                  <a:pt x="0" y="519005"/>
                </a:lnTo>
                <a:lnTo>
                  <a:pt x="39883" y="559066"/>
                </a:lnTo>
                <a:lnTo>
                  <a:pt x="163000" y="562626"/>
                </a:lnTo>
                <a:lnTo>
                  <a:pt x="278085" y="132566"/>
                </a:lnTo>
                <a:lnTo>
                  <a:pt x="280729" y="90151"/>
                </a:lnTo>
                <a:lnTo>
                  <a:pt x="267368" y="51362"/>
                </a:lnTo>
                <a:lnTo>
                  <a:pt x="240437" y="20414"/>
                </a:lnTo>
                <a:lnTo>
                  <a:pt x="202370" y="1523"/>
                </a:lnTo>
                <a:lnTo>
                  <a:pt x="177908" y="0"/>
                </a:lnTo>
                <a:close/>
              </a:path>
            </a:pathLst>
          </a:custGeom>
          <a:solidFill>
            <a:srgbClr val="4AB4E6"/>
          </a:solidFill>
        </p:spPr>
        <p:txBody>
          <a:bodyPr wrap="square" lIns="0" tIns="0" rIns="0" bIns="0" rtlCol="0"/>
          <a:lstStyle/>
          <a:p>
            <a:endParaRPr/>
          </a:p>
        </p:txBody>
      </p:sp>
      <p:sp>
        <p:nvSpPr>
          <p:cNvPr id="42" name="object 42"/>
          <p:cNvSpPr/>
          <p:nvPr/>
        </p:nvSpPr>
        <p:spPr>
          <a:xfrm>
            <a:off x="5358393" y="4490184"/>
            <a:ext cx="50254" cy="205913"/>
          </a:xfrm>
          <a:custGeom>
            <a:avLst/>
            <a:gdLst/>
            <a:ahLst/>
            <a:cxnLst/>
            <a:rect l="l" t="t" r="r" b="b"/>
            <a:pathLst>
              <a:path w="110490" h="452754">
                <a:moveTo>
                  <a:pt x="110300" y="0"/>
                </a:moveTo>
                <a:lnTo>
                  <a:pt x="0" y="412175"/>
                </a:lnTo>
                <a:lnTo>
                  <a:pt x="39883" y="452227"/>
                </a:lnTo>
                <a:lnTo>
                  <a:pt x="110300" y="0"/>
                </a:lnTo>
                <a:close/>
              </a:path>
            </a:pathLst>
          </a:custGeom>
          <a:solidFill>
            <a:srgbClr val="000000">
              <a:alpha val="6999"/>
            </a:srgbClr>
          </a:solidFill>
        </p:spPr>
        <p:txBody>
          <a:bodyPr wrap="square" lIns="0" tIns="0" rIns="0" bIns="0" rtlCol="0"/>
          <a:lstStyle/>
          <a:p>
            <a:endParaRPr/>
          </a:p>
        </p:txBody>
      </p:sp>
      <p:sp>
        <p:nvSpPr>
          <p:cNvPr id="43" name="object 43"/>
          <p:cNvSpPr/>
          <p:nvPr/>
        </p:nvSpPr>
        <p:spPr>
          <a:xfrm>
            <a:off x="5117004" y="4670048"/>
            <a:ext cx="115299" cy="100012"/>
          </a:xfrm>
          <a:prstGeom prst="rect">
            <a:avLst/>
          </a:prstGeom>
          <a:blipFill>
            <a:blip r:embed="rId8" cstate="print"/>
            <a:stretch>
              <a:fillRect/>
            </a:stretch>
          </a:blipFill>
        </p:spPr>
        <p:txBody>
          <a:bodyPr wrap="square" lIns="0" tIns="0" rIns="0" bIns="0" rtlCol="0"/>
          <a:lstStyle/>
          <a:p>
            <a:endParaRPr/>
          </a:p>
        </p:txBody>
      </p:sp>
      <p:sp>
        <p:nvSpPr>
          <p:cNvPr id="44" name="object 44"/>
          <p:cNvSpPr/>
          <p:nvPr/>
        </p:nvSpPr>
        <p:spPr>
          <a:xfrm>
            <a:off x="5101688" y="4442613"/>
            <a:ext cx="127369" cy="256164"/>
          </a:xfrm>
          <a:custGeom>
            <a:avLst/>
            <a:gdLst/>
            <a:ahLst/>
            <a:cxnLst/>
            <a:rect l="l" t="t" r="r" b="b"/>
            <a:pathLst>
              <a:path w="280034" h="563245">
                <a:moveTo>
                  <a:pt x="103085" y="0"/>
                </a:moveTo>
                <a:lnTo>
                  <a:pt x="78620" y="1452"/>
                </a:lnTo>
                <a:lnTo>
                  <a:pt x="40499" y="20232"/>
                </a:lnTo>
                <a:lnTo>
                  <a:pt x="13476" y="51102"/>
                </a:lnTo>
                <a:lnTo>
                  <a:pt x="0" y="89853"/>
                </a:lnTo>
                <a:lnTo>
                  <a:pt x="2518" y="132275"/>
                </a:lnTo>
                <a:lnTo>
                  <a:pt x="116347" y="562660"/>
                </a:lnTo>
                <a:lnTo>
                  <a:pt x="239464" y="559456"/>
                </a:lnTo>
                <a:lnTo>
                  <a:pt x="279463" y="519520"/>
                </a:lnTo>
                <a:lnTo>
                  <a:pt x="154063" y="45335"/>
                </a:lnTo>
                <a:lnTo>
                  <a:pt x="143234" y="23352"/>
                </a:lnTo>
                <a:lnTo>
                  <a:pt x="125432" y="7770"/>
                </a:lnTo>
                <a:lnTo>
                  <a:pt x="103085" y="0"/>
                </a:lnTo>
                <a:close/>
              </a:path>
            </a:pathLst>
          </a:custGeom>
          <a:solidFill>
            <a:srgbClr val="4AB4E6"/>
          </a:solidFill>
        </p:spPr>
        <p:txBody>
          <a:bodyPr wrap="square" lIns="0" tIns="0" rIns="0" bIns="0" rtlCol="0"/>
          <a:lstStyle/>
          <a:p>
            <a:endParaRPr/>
          </a:p>
        </p:txBody>
      </p:sp>
      <p:sp>
        <p:nvSpPr>
          <p:cNvPr id="45" name="object 45"/>
          <p:cNvSpPr/>
          <p:nvPr/>
        </p:nvSpPr>
        <p:spPr>
          <a:xfrm>
            <a:off x="5179179" y="4491288"/>
            <a:ext cx="49677" cy="205913"/>
          </a:xfrm>
          <a:custGeom>
            <a:avLst/>
            <a:gdLst/>
            <a:ahLst/>
            <a:cxnLst/>
            <a:rect l="l" t="t" r="r" b="b"/>
            <a:pathLst>
              <a:path w="109220" h="452754">
                <a:moveTo>
                  <a:pt x="0" y="0"/>
                </a:moveTo>
                <a:lnTo>
                  <a:pt x="69086" y="452436"/>
                </a:lnTo>
                <a:lnTo>
                  <a:pt x="109085" y="412500"/>
                </a:lnTo>
                <a:lnTo>
                  <a:pt x="0" y="0"/>
                </a:lnTo>
                <a:close/>
              </a:path>
            </a:pathLst>
          </a:custGeom>
          <a:solidFill>
            <a:srgbClr val="000000">
              <a:alpha val="6999"/>
            </a:srgbClr>
          </a:solidFill>
        </p:spPr>
        <p:txBody>
          <a:bodyPr wrap="square" lIns="0" tIns="0" rIns="0" bIns="0" rtlCol="0"/>
          <a:lstStyle/>
          <a:p>
            <a:endParaRPr/>
          </a:p>
        </p:txBody>
      </p:sp>
      <p:sp>
        <p:nvSpPr>
          <p:cNvPr id="46" name="object 46"/>
          <p:cNvSpPr txBox="1"/>
          <p:nvPr/>
        </p:nvSpPr>
        <p:spPr>
          <a:xfrm>
            <a:off x="6125114" y="1936606"/>
            <a:ext cx="925086" cy="227759"/>
          </a:xfrm>
          <a:prstGeom prst="rect">
            <a:avLst/>
          </a:prstGeom>
          <a:solidFill>
            <a:srgbClr val="4AB4E6"/>
          </a:solidFill>
        </p:spPr>
        <p:txBody>
          <a:bodyPr vert="horz" wrap="square" lIns="0" tIns="27436" rIns="0" bIns="0" rtlCol="0">
            <a:spAutoFit/>
          </a:bodyPr>
          <a:lstStyle/>
          <a:p>
            <a:pPr marL="557091">
              <a:spcBef>
                <a:spcPts val="216"/>
              </a:spcBef>
            </a:pPr>
            <a:r>
              <a:rPr sz="1300" b="1" spc="-2" dirty="0">
                <a:solidFill>
                  <a:srgbClr val="FFFFFF"/>
                </a:solidFill>
                <a:latin typeface="Helvetica"/>
                <a:cs typeface="Helvetica"/>
              </a:rPr>
              <a:t>38%</a:t>
            </a:r>
            <a:endParaRPr sz="1300">
              <a:latin typeface="Helvetica"/>
              <a:cs typeface="Helvetica"/>
            </a:endParaRPr>
          </a:p>
        </p:txBody>
      </p:sp>
      <p:sp>
        <p:nvSpPr>
          <p:cNvPr id="47" name="object 47"/>
          <p:cNvSpPr txBox="1"/>
          <p:nvPr/>
        </p:nvSpPr>
        <p:spPr>
          <a:xfrm>
            <a:off x="6122851" y="3049905"/>
            <a:ext cx="748329" cy="226592"/>
          </a:xfrm>
          <a:prstGeom prst="rect">
            <a:avLst/>
          </a:prstGeom>
          <a:solidFill>
            <a:srgbClr val="4AB4E6"/>
          </a:solidFill>
        </p:spPr>
        <p:txBody>
          <a:bodyPr vert="horz" wrap="square" lIns="0" tIns="26281" rIns="0" bIns="0" rtlCol="0">
            <a:spAutoFit/>
          </a:bodyPr>
          <a:lstStyle/>
          <a:p>
            <a:pPr marL="377459">
              <a:spcBef>
                <a:spcPts val="207"/>
              </a:spcBef>
            </a:pPr>
            <a:r>
              <a:rPr sz="1300" b="1" spc="-2" dirty="0">
                <a:solidFill>
                  <a:srgbClr val="FFFFFF"/>
                </a:solidFill>
                <a:latin typeface="Helvetica"/>
                <a:cs typeface="Helvetica"/>
              </a:rPr>
              <a:t>31%</a:t>
            </a:r>
            <a:endParaRPr sz="1300">
              <a:latin typeface="Helvetica"/>
              <a:cs typeface="Helvetica"/>
            </a:endParaRPr>
          </a:p>
        </p:txBody>
      </p:sp>
      <p:sp>
        <p:nvSpPr>
          <p:cNvPr id="48" name="object 48"/>
          <p:cNvSpPr txBox="1"/>
          <p:nvPr/>
        </p:nvSpPr>
        <p:spPr>
          <a:xfrm>
            <a:off x="6122856" y="3605940"/>
            <a:ext cx="654463" cy="226592"/>
          </a:xfrm>
          <a:prstGeom prst="rect">
            <a:avLst/>
          </a:prstGeom>
          <a:solidFill>
            <a:srgbClr val="4AB4E6"/>
          </a:solidFill>
        </p:spPr>
        <p:txBody>
          <a:bodyPr vert="horz" wrap="square" lIns="0" tIns="26281" rIns="0" bIns="0" rtlCol="0">
            <a:spAutoFit/>
          </a:bodyPr>
          <a:lstStyle/>
          <a:p>
            <a:pPr marL="291975">
              <a:spcBef>
                <a:spcPts val="207"/>
              </a:spcBef>
            </a:pPr>
            <a:r>
              <a:rPr sz="1300" b="1" spc="-2" dirty="0">
                <a:solidFill>
                  <a:srgbClr val="FFFFFF"/>
                </a:solidFill>
                <a:latin typeface="Helvetica"/>
                <a:cs typeface="Helvetica"/>
              </a:rPr>
              <a:t>27%</a:t>
            </a:r>
            <a:endParaRPr sz="1300">
              <a:latin typeface="Helvetica"/>
              <a:cs typeface="Helvetica"/>
            </a:endParaRPr>
          </a:p>
        </p:txBody>
      </p:sp>
      <p:sp>
        <p:nvSpPr>
          <p:cNvPr id="49" name="object 49"/>
          <p:cNvSpPr txBox="1"/>
          <p:nvPr/>
        </p:nvSpPr>
        <p:spPr>
          <a:xfrm>
            <a:off x="6122851" y="4161994"/>
            <a:ext cx="439871" cy="226592"/>
          </a:xfrm>
          <a:prstGeom prst="rect">
            <a:avLst/>
          </a:prstGeom>
          <a:solidFill>
            <a:srgbClr val="4AB4E6"/>
          </a:solidFill>
        </p:spPr>
        <p:txBody>
          <a:bodyPr vert="horz" wrap="square" lIns="0" tIns="26281" rIns="0" bIns="0" rtlCol="0">
            <a:spAutoFit/>
          </a:bodyPr>
          <a:lstStyle/>
          <a:p>
            <a:pPr marL="70756">
              <a:spcBef>
                <a:spcPts val="207"/>
              </a:spcBef>
            </a:pPr>
            <a:r>
              <a:rPr sz="1300" b="1" spc="-2" dirty="0">
                <a:solidFill>
                  <a:srgbClr val="FFFFFF"/>
                </a:solidFill>
                <a:latin typeface="Helvetica"/>
                <a:cs typeface="Helvetica"/>
              </a:rPr>
              <a:t>18%</a:t>
            </a:r>
            <a:endParaRPr sz="1300">
              <a:latin typeface="Helvetica"/>
              <a:cs typeface="Helvetica"/>
            </a:endParaRPr>
          </a:p>
        </p:txBody>
      </p:sp>
      <p:sp>
        <p:nvSpPr>
          <p:cNvPr id="50" name="object 50"/>
          <p:cNvSpPr txBox="1"/>
          <p:nvPr/>
        </p:nvSpPr>
        <p:spPr>
          <a:xfrm>
            <a:off x="5879087" y="1341997"/>
            <a:ext cx="2952305" cy="2905892"/>
          </a:xfrm>
          <a:prstGeom prst="rect">
            <a:avLst/>
          </a:prstGeom>
          <a:solidFill>
            <a:srgbClr val="FFFFFF"/>
          </a:solidFill>
        </p:spPr>
        <p:txBody>
          <a:bodyPr vert="horz" wrap="square" lIns="0" tIns="48229" rIns="0" bIns="0" rtlCol="0">
            <a:spAutoFit/>
          </a:bodyPr>
          <a:lstStyle/>
          <a:p>
            <a:pPr marL="100791">
              <a:spcBef>
                <a:spcPts val="380"/>
              </a:spcBef>
            </a:pPr>
            <a:r>
              <a:rPr sz="1300" b="1" spc="5" dirty="0">
                <a:solidFill>
                  <a:srgbClr val="FF7900"/>
                </a:solidFill>
                <a:latin typeface="Helvetica Neue"/>
                <a:cs typeface="Helvetica Neue"/>
              </a:rPr>
              <a:t>Les </a:t>
            </a:r>
            <a:r>
              <a:rPr sz="1300" b="1" spc="2" dirty="0">
                <a:solidFill>
                  <a:srgbClr val="FF7900"/>
                </a:solidFill>
                <a:latin typeface="Helvetica Neue"/>
                <a:cs typeface="Helvetica Neue"/>
              </a:rPr>
              <a:t>pratiques</a:t>
            </a:r>
            <a:r>
              <a:rPr sz="1300" b="1" spc="-5" dirty="0">
                <a:solidFill>
                  <a:srgbClr val="FF7900"/>
                </a:solidFill>
                <a:latin typeface="Helvetica Neue"/>
                <a:cs typeface="Helvetica Neue"/>
              </a:rPr>
              <a:t> </a:t>
            </a:r>
            <a:r>
              <a:rPr sz="1300" b="1" dirty="0">
                <a:solidFill>
                  <a:srgbClr val="FF7900"/>
                </a:solidFill>
                <a:latin typeface="Helvetica Neue"/>
                <a:cs typeface="Helvetica Neue"/>
              </a:rPr>
              <a:t>émergentes</a:t>
            </a:r>
            <a:endParaRPr sz="1300" dirty="0">
              <a:latin typeface="Helvetica Neue"/>
              <a:cs typeface="Helvetica Neue"/>
            </a:endParaRPr>
          </a:p>
          <a:p>
            <a:pPr marL="236814">
              <a:spcBef>
                <a:spcPts val="1148"/>
              </a:spcBef>
            </a:pPr>
            <a:r>
              <a:rPr sz="900" b="1" dirty="0">
                <a:latin typeface="Helvetica Neue"/>
                <a:cs typeface="Helvetica Neue"/>
              </a:rPr>
              <a:t>Souscrire </a:t>
            </a:r>
            <a:r>
              <a:rPr sz="900" b="1" spc="2" dirty="0">
                <a:latin typeface="Helvetica Neue"/>
                <a:cs typeface="Helvetica Neue"/>
              </a:rPr>
              <a:t>une assurance auto ou</a:t>
            </a:r>
            <a:r>
              <a:rPr sz="900" b="1" spc="-18" dirty="0">
                <a:latin typeface="Helvetica Neue"/>
                <a:cs typeface="Helvetica Neue"/>
              </a:rPr>
              <a:t> </a:t>
            </a:r>
            <a:r>
              <a:rPr sz="900" b="1" spc="2" dirty="0">
                <a:latin typeface="Helvetica Neue"/>
                <a:cs typeface="Helvetica Neue"/>
              </a:rPr>
              <a:t>domicile</a:t>
            </a:r>
            <a:endParaRPr sz="900" dirty="0">
              <a:latin typeface="Helvetica Neue"/>
              <a:cs typeface="Helvetica Neue"/>
            </a:endParaRPr>
          </a:p>
          <a:p>
            <a:pPr>
              <a:lnSpc>
                <a:spcPct val="100000"/>
              </a:lnSpc>
            </a:pPr>
            <a:endParaRPr sz="1100" dirty="0">
              <a:latin typeface="Times New Roman"/>
              <a:cs typeface="Times New Roman"/>
            </a:endParaRPr>
          </a:p>
          <a:p>
            <a:pPr>
              <a:lnSpc>
                <a:spcPct val="100000"/>
              </a:lnSpc>
            </a:pPr>
            <a:endParaRPr sz="1100" dirty="0">
              <a:latin typeface="Times New Roman"/>
              <a:cs typeface="Times New Roman"/>
            </a:endParaRPr>
          </a:p>
          <a:p>
            <a:pPr marL="246345">
              <a:spcBef>
                <a:spcPts val="778"/>
              </a:spcBef>
            </a:pPr>
            <a:r>
              <a:rPr sz="900" b="1" spc="2" dirty="0">
                <a:latin typeface="Helvetica Neue"/>
                <a:cs typeface="Helvetica Neue"/>
              </a:rPr>
              <a:t>Contester une</a:t>
            </a:r>
            <a:r>
              <a:rPr sz="900" b="1" spc="-5" dirty="0">
                <a:latin typeface="Helvetica Neue"/>
                <a:cs typeface="Helvetica Neue"/>
              </a:rPr>
              <a:t> </a:t>
            </a:r>
            <a:r>
              <a:rPr sz="900" b="1" spc="2" dirty="0">
                <a:latin typeface="Helvetica Neue"/>
                <a:cs typeface="Helvetica Neue"/>
              </a:rPr>
              <a:t>opération</a:t>
            </a:r>
            <a:endParaRPr sz="900" dirty="0">
              <a:latin typeface="Helvetica Neue"/>
              <a:cs typeface="Helvetica Neue"/>
            </a:endParaRPr>
          </a:p>
          <a:p>
            <a:pPr>
              <a:lnSpc>
                <a:spcPct val="100000"/>
              </a:lnSpc>
            </a:pPr>
            <a:endParaRPr sz="1100" dirty="0">
              <a:latin typeface="Times New Roman"/>
              <a:cs typeface="Times New Roman"/>
            </a:endParaRPr>
          </a:p>
          <a:p>
            <a:pPr>
              <a:lnSpc>
                <a:spcPct val="100000"/>
              </a:lnSpc>
            </a:pPr>
            <a:endParaRPr sz="1100" dirty="0">
              <a:latin typeface="Times New Roman"/>
              <a:cs typeface="Times New Roman"/>
            </a:endParaRPr>
          </a:p>
          <a:p>
            <a:pPr marL="246345">
              <a:spcBef>
                <a:spcPts val="901"/>
              </a:spcBef>
            </a:pPr>
            <a:r>
              <a:rPr sz="900" b="1" spc="-7" dirty="0">
                <a:latin typeface="Helvetica Neue"/>
                <a:cs typeface="Helvetica Neue"/>
              </a:rPr>
              <a:t>L’ouverture </a:t>
            </a:r>
            <a:r>
              <a:rPr sz="900" b="1" spc="2" dirty="0">
                <a:latin typeface="Helvetica Neue"/>
                <a:cs typeface="Helvetica Neue"/>
              </a:rPr>
              <a:t>et </a:t>
            </a:r>
            <a:r>
              <a:rPr sz="900" b="1" dirty="0">
                <a:latin typeface="Helvetica Neue"/>
                <a:cs typeface="Helvetica Neue"/>
              </a:rPr>
              <a:t>la </a:t>
            </a:r>
            <a:r>
              <a:rPr sz="900" b="1" spc="-2" dirty="0">
                <a:latin typeface="Helvetica Neue"/>
                <a:cs typeface="Helvetica Neue"/>
              </a:rPr>
              <a:t>clôture </a:t>
            </a:r>
            <a:r>
              <a:rPr sz="900" b="1" spc="2" dirty="0">
                <a:latin typeface="Helvetica Neue"/>
                <a:cs typeface="Helvetica Neue"/>
              </a:rPr>
              <a:t>d’un</a:t>
            </a:r>
            <a:r>
              <a:rPr sz="900" b="1" spc="5" dirty="0">
                <a:latin typeface="Helvetica Neue"/>
                <a:cs typeface="Helvetica Neue"/>
              </a:rPr>
              <a:t> </a:t>
            </a:r>
            <a:r>
              <a:rPr sz="900" b="1" spc="2" dirty="0">
                <a:latin typeface="Helvetica Neue"/>
                <a:cs typeface="Helvetica Neue"/>
              </a:rPr>
              <a:t>compte</a:t>
            </a:r>
            <a:endParaRPr sz="900" dirty="0">
              <a:latin typeface="Helvetica Neue"/>
              <a:cs typeface="Helvetica Neue"/>
            </a:endParaRPr>
          </a:p>
          <a:p>
            <a:pPr marL="246345" marR="244323">
              <a:lnSpc>
                <a:spcPts val="4448"/>
              </a:lnSpc>
              <a:spcBef>
                <a:spcPts val="641"/>
              </a:spcBef>
            </a:pPr>
            <a:r>
              <a:rPr sz="900" b="1" spc="2" dirty="0">
                <a:latin typeface="Helvetica Neue"/>
                <a:cs typeface="Helvetica Neue"/>
              </a:rPr>
              <a:t>La demande d’un crédit à </a:t>
            </a:r>
            <a:r>
              <a:rPr sz="900" b="1" dirty="0">
                <a:latin typeface="Helvetica Neue"/>
                <a:cs typeface="Helvetica Neue"/>
              </a:rPr>
              <a:t>la</a:t>
            </a:r>
            <a:r>
              <a:rPr sz="900" b="1" spc="-34" dirty="0">
                <a:latin typeface="Helvetica Neue"/>
                <a:cs typeface="Helvetica Neue"/>
              </a:rPr>
              <a:t> </a:t>
            </a:r>
            <a:r>
              <a:rPr sz="900" b="1" spc="2" dirty="0">
                <a:latin typeface="Helvetica Neue"/>
                <a:cs typeface="Helvetica Neue"/>
              </a:rPr>
              <a:t>consommation  La demande d’un prêt</a:t>
            </a:r>
            <a:r>
              <a:rPr sz="900" b="1" spc="-14" dirty="0">
                <a:latin typeface="Helvetica Neue"/>
                <a:cs typeface="Helvetica Neue"/>
              </a:rPr>
              <a:t> </a:t>
            </a:r>
            <a:r>
              <a:rPr sz="900" b="1" spc="2" dirty="0">
                <a:latin typeface="Helvetica Neue"/>
                <a:cs typeface="Helvetica Neue"/>
              </a:rPr>
              <a:t>immobilier</a:t>
            </a:r>
            <a:endParaRPr sz="900" dirty="0">
              <a:latin typeface="Helvetica Neue"/>
              <a:cs typeface="Helvetica Neue"/>
            </a:endParaRPr>
          </a:p>
        </p:txBody>
      </p:sp>
      <p:sp>
        <p:nvSpPr>
          <p:cNvPr id="51" name="object 51"/>
          <p:cNvSpPr txBox="1"/>
          <p:nvPr/>
        </p:nvSpPr>
        <p:spPr>
          <a:xfrm>
            <a:off x="6122856" y="2493870"/>
            <a:ext cx="842195" cy="226592"/>
          </a:xfrm>
          <a:prstGeom prst="rect">
            <a:avLst/>
          </a:prstGeom>
          <a:solidFill>
            <a:srgbClr val="FFB400"/>
          </a:solidFill>
        </p:spPr>
        <p:txBody>
          <a:bodyPr vert="horz" wrap="square" lIns="0" tIns="26281" rIns="0" bIns="0" rtlCol="0">
            <a:spAutoFit/>
          </a:bodyPr>
          <a:lstStyle/>
          <a:p>
            <a:pPr marL="469586">
              <a:spcBef>
                <a:spcPts val="207"/>
              </a:spcBef>
            </a:pPr>
            <a:r>
              <a:rPr sz="1300" b="1" spc="-2" dirty="0">
                <a:solidFill>
                  <a:srgbClr val="FFFFFF"/>
                </a:solidFill>
                <a:latin typeface="Helvetica"/>
                <a:cs typeface="Helvetica"/>
              </a:rPr>
              <a:t>35%</a:t>
            </a:r>
            <a:endParaRPr sz="1300" dirty="0">
              <a:latin typeface="Helvetica"/>
              <a:cs typeface="Helvetica"/>
            </a:endParaRPr>
          </a:p>
        </p:txBody>
      </p:sp>
      <p:sp>
        <p:nvSpPr>
          <p:cNvPr id="52" name="object 52"/>
          <p:cNvSpPr txBox="1"/>
          <p:nvPr/>
        </p:nvSpPr>
        <p:spPr>
          <a:xfrm>
            <a:off x="4712426" y="1650943"/>
            <a:ext cx="322610"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1825</a:t>
            </a:r>
            <a:endParaRPr sz="600">
              <a:latin typeface="Helvetica Neue"/>
              <a:cs typeface="Helvetica Neue"/>
            </a:endParaRPr>
          </a:p>
        </p:txBody>
      </p:sp>
      <p:sp>
        <p:nvSpPr>
          <p:cNvPr id="53" name="object 53"/>
          <p:cNvSpPr/>
          <p:nvPr/>
        </p:nvSpPr>
        <p:spPr>
          <a:xfrm>
            <a:off x="4929224" y="1345820"/>
            <a:ext cx="101087" cy="288221"/>
          </a:xfrm>
          <a:custGeom>
            <a:avLst/>
            <a:gdLst/>
            <a:ahLst/>
            <a:cxnLst/>
            <a:rect l="l" t="t" r="r" b="b"/>
            <a:pathLst>
              <a:path w="222250" h="633729">
                <a:moveTo>
                  <a:pt x="0" y="0"/>
                </a:moveTo>
                <a:lnTo>
                  <a:pt x="0" y="633268"/>
                </a:lnTo>
                <a:lnTo>
                  <a:pt x="41720" y="614809"/>
                </a:lnTo>
                <a:lnTo>
                  <a:pt x="80254" y="591118"/>
                </a:lnTo>
                <a:lnTo>
                  <a:pt x="115142" y="562646"/>
                </a:lnTo>
                <a:lnTo>
                  <a:pt x="145923" y="529842"/>
                </a:lnTo>
                <a:lnTo>
                  <a:pt x="172139" y="493157"/>
                </a:lnTo>
                <a:lnTo>
                  <a:pt x="193329" y="453043"/>
                </a:lnTo>
                <a:lnTo>
                  <a:pt x="209034" y="409950"/>
                </a:lnTo>
                <a:lnTo>
                  <a:pt x="218794" y="364328"/>
                </a:lnTo>
                <a:lnTo>
                  <a:pt x="222150" y="316629"/>
                </a:lnTo>
                <a:lnTo>
                  <a:pt x="218794" y="268932"/>
                </a:lnTo>
                <a:lnTo>
                  <a:pt x="209034" y="223313"/>
                </a:lnTo>
                <a:lnTo>
                  <a:pt x="193329" y="180221"/>
                </a:lnTo>
                <a:lnTo>
                  <a:pt x="172139" y="140108"/>
                </a:lnTo>
                <a:lnTo>
                  <a:pt x="145923" y="103425"/>
                </a:lnTo>
                <a:lnTo>
                  <a:pt x="115142" y="70622"/>
                </a:lnTo>
                <a:lnTo>
                  <a:pt x="80254" y="42149"/>
                </a:lnTo>
                <a:lnTo>
                  <a:pt x="41720" y="18458"/>
                </a:lnTo>
                <a:lnTo>
                  <a:pt x="0" y="0"/>
                </a:lnTo>
                <a:close/>
              </a:path>
            </a:pathLst>
          </a:custGeom>
          <a:solidFill>
            <a:srgbClr val="C60E33"/>
          </a:solidFill>
        </p:spPr>
        <p:txBody>
          <a:bodyPr wrap="square" lIns="0" tIns="0" rIns="0" bIns="0" rtlCol="0"/>
          <a:lstStyle/>
          <a:p>
            <a:endParaRPr/>
          </a:p>
        </p:txBody>
      </p:sp>
      <p:sp>
        <p:nvSpPr>
          <p:cNvPr id="54" name="object 54"/>
          <p:cNvSpPr/>
          <p:nvPr/>
        </p:nvSpPr>
        <p:spPr>
          <a:xfrm>
            <a:off x="4723523" y="1345820"/>
            <a:ext cx="101087" cy="288221"/>
          </a:xfrm>
          <a:custGeom>
            <a:avLst/>
            <a:gdLst/>
            <a:ahLst/>
            <a:cxnLst/>
            <a:rect l="l" t="t" r="r" b="b"/>
            <a:pathLst>
              <a:path w="222250" h="633729">
                <a:moveTo>
                  <a:pt x="222160" y="0"/>
                </a:moveTo>
                <a:lnTo>
                  <a:pt x="180436" y="18458"/>
                </a:lnTo>
                <a:lnTo>
                  <a:pt x="141900" y="42149"/>
                </a:lnTo>
                <a:lnTo>
                  <a:pt x="107010" y="70622"/>
                </a:lnTo>
                <a:lnTo>
                  <a:pt x="76228" y="103425"/>
                </a:lnTo>
                <a:lnTo>
                  <a:pt x="50011" y="140108"/>
                </a:lnTo>
                <a:lnTo>
                  <a:pt x="28820" y="180221"/>
                </a:lnTo>
                <a:lnTo>
                  <a:pt x="13115" y="223313"/>
                </a:lnTo>
                <a:lnTo>
                  <a:pt x="3355" y="268932"/>
                </a:lnTo>
                <a:lnTo>
                  <a:pt x="0" y="316629"/>
                </a:lnTo>
                <a:lnTo>
                  <a:pt x="3355" y="364328"/>
                </a:lnTo>
                <a:lnTo>
                  <a:pt x="13115" y="409950"/>
                </a:lnTo>
                <a:lnTo>
                  <a:pt x="28820" y="453043"/>
                </a:lnTo>
                <a:lnTo>
                  <a:pt x="50011" y="493157"/>
                </a:lnTo>
                <a:lnTo>
                  <a:pt x="76228" y="529842"/>
                </a:lnTo>
                <a:lnTo>
                  <a:pt x="107010" y="562646"/>
                </a:lnTo>
                <a:lnTo>
                  <a:pt x="141900" y="591118"/>
                </a:lnTo>
                <a:lnTo>
                  <a:pt x="180436" y="614809"/>
                </a:lnTo>
                <a:lnTo>
                  <a:pt x="222160" y="633268"/>
                </a:lnTo>
                <a:lnTo>
                  <a:pt x="222160" y="0"/>
                </a:lnTo>
                <a:close/>
              </a:path>
            </a:pathLst>
          </a:custGeom>
          <a:solidFill>
            <a:srgbClr val="354083"/>
          </a:solidFill>
        </p:spPr>
        <p:txBody>
          <a:bodyPr wrap="square" lIns="0" tIns="0" rIns="0" bIns="0" rtlCol="0"/>
          <a:lstStyle/>
          <a:p>
            <a:endParaRPr/>
          </a:p>
        </p:txBody>
      </p:sp>
      <p:sp>
        <p:nvSpPr>
          <p:cNvPr id="55" name="object 55"/>
          <p:cNvSpPr/>
          <p:nvPr/>
        </p:nvSpPr>
        <p:spPr>
          <a:xfrm>
            <a:off x="4824570" y="1336465"/>
            <a:ext cx="104841" cy="306993"/>
          </a:xfrm>
          <a:custGeom>
            <a:avLst/>
            <a:gdLst/>
            <a:ahLst/>
            <a:cxnLst/>
            <a:rect l="l" t="t" r="r" b="b"/>
            <a:pathLst>
              <a:path w="230504" h="675004">
                <a:moveTo>
                  <a:pt x="115043" y="0"/>
                </a:moveTo>
                <a:lnTo>
                  <a:pt x="85049" y="1375"/>
                </a:lnTo>
                <a:lnTo>
                  <a:pt x="55825" y="5382"/>
                </a:lnTo>
                <a:lnTo>
                  <a:pt x="27449" y="11838"/>
                </a:lnTo>
                <a:lnTo>
                  <a:pt x="0" y="20564"/>
                </a:lnTo>
                <a:lnTo>
                  <a:pt x="0" y="653833"/>
                </a:lnTo>
                <a:lnTo>
                  <a:pt x="27449" y="662565"/>
                </a:lnTo>
                <a:lnTo>
                  <a:pt x="55825" y="669025"/>
                </a:lnTo>
                <a:lnTo>
                  <a:pt x="85049" y="673033"/>
                </a:lnTo>
                <a:lnTo>
                  <a:pt x="115043" y="674408"/>
                </a:lnTo>
                <a:lnTo>
                  <a:pt x="145037" y="673033"/>
                </a:lnTo>
                <a:lnTo>
                  <a:pt x="174261" y="669025"/>
                </a:lnTo>
                <a:lnTo>
                  <a:pt x="202637" y="662565"/>
                </a:lnTo>
                <a:lnTo>
                  <a:pt x="230087" y="653833"/>
                </a:lnTo>
                <a:lnTo>
                  <a:pt x="230087" y="20564"/>
                </a:lnTo>
                <a:lnTo>
                  <a:pt x="202637" y="11838"/>
                </a:lnTo>
                <a:lnTo>
                  <a:pt x="174261" y="5382"/>
                </a:lnTo>
                <a:lnTo>
                  <a:pt x="145037" y="1375"/>
                </a:lnTo>
                <a:lnTo>
                  <a:pt x="115043" y="0"/>
                </a:lnTo>
                <a:close/>
              </a:path>
            </a:pathLst>
          </a:custGeom>
          <a:solidFill>
            <a:srgbClr val="FFFFFF"/>
          </a:solidFill>
        </p:spPr>
        <p:txBody>
          <a:bodyPr wrap="square" lIns="0" tIns="0" rIns="0" bIns="0" rtlCol="0"/>
          <a:lstStyle/>
          <a:p>
            <a:endParaRPr/>
          </a:p>
        </p:txBody>
      </p:sp>
      <p:sp>
        <p:nvSpPr>
          <p:cNvPr id="56" name="object 2">
            <a:extLst>
              <a:ext uri="{FF2B5EF4-FFF2-40B4-BE49-F238E27FC236}">
                <a16:creationId xmlns:a16="http://schemas.microsoft.com/office/drawing/2014/main" id="{8BECA303-96FE-964D-8194-D66A7ECE2708}"/>
              </a:ext>
            </a:extLst>
          </p:cNvPr>
          <p:cNvSpPr txBox="1"/>
          <p:nvPr/>
        </p:nvSpPr>
        <p:spPr>
          <a:xfrm>
            <a:off x="516985" y="1947945"/>
            <a:ext cx="2146501" cy="226592"/>
          </a:xfrm>
          <a:prstGeom prst="rect">
            <a:avLst/>
          </a:prstGeom>
          <a:solidFill>
            <a:srgbClr val="FF7900"/>
          </a:solidFill>
        </p:spPr>
        <p:txBody>
          <a:bodyPr vert="horz" wrap="square" lIns="0" tIns="26281" rIns="0" bIns="0" rtlCol="0">
            <a:spAutoFit/>
          </a:bodyPr>
          <a:lstStyle/>
          <a:p>
            <a:pPr marR="55160" algn="r">
              <a:spcBef>
                <a:spcPts val="207"/>
              </a:spcBef>
            </a:pPr>
            <a:r>
              <a:rPr sz="1300" b="1" spc="-2" dirty="0">
                <a:solidFill>
                  <a:srgbClr val="FFFFFF"/>
                </a:solidFill>
                <a:latin typeface="Helvetica"/>
                <a:cs typeface="Helvetica"/>
              </a:rPr>
              <a:t>89%</a:t>
            </a:r>
            <a:endParaRPr sz="1300" dirty="0">
              <a:latin typeface="Helvetica"/>
              <a:cs typeface="Helvetica"/>
            </a:endParaRPr>
          </a:p>
        </p:txBody>
      </p:sp>
      <p:sp>
        <p:nvSpPr>
          <p:cNvPr id="57" name="object 4">
            <a:extLst>
              <a:ext uri="{FF2B5EF4-FFF2-40B4-BE49-F238E27FC236}">
                <a16:creationId xmlns:a16="http://schemas.microsoft.com/office/drawing/2014/main" id="{BADE21C3-8AFB-114C-8B64-70ECD1B76465}"/>
              </a:ext>
            </a:extLst>
          </p:cNvPr>
          <p:cNvSpPr txBox="1"/>
          <p:nvPr/>
        </p:nvSpPr>
        <p:spPr>
          <a:xfrm>
            <a:off x="516985" y="2507771"/>
            <a:ext cx="2079495" cy="226592"/>
          </a:xfrm>
          <a:prstGeom prst="rect">
            <a:avLst/>
          </a:prstGeom>
          <a:solidFill>
            <a:srgbClr val="FF7900"/>
          </a:solidFill>
        </p:spPr>
        <p:txBody>
          <a:bodyPr vert="horz" wrap="square" lIns="0" tIns="26281" rIns="0" bIns="0" rtlCol="0">
            <a:spAutoFit/>
          </a:bodyPr>
          <a:lstStyle/>
          <a:p>
            <a:pPr marR="45341" algn="r">
              <a:spcBef>
                <a:spcPts val="207"/>
              </a:spcBef>
            </a:pPr>
            <a:r>
              <a:rPr sz="1300" b="1" spc="-2" dirty="0">
                <a:solidFill>
                  <a:srgbClr val="FFFFFF"/>
                </a:solidFill>
                <a:latin typeface="Helvetica"/>
                <a:cs typeface="Helvetica"/>
              </a:rPr>
              <a:t>86%</a:t>
            </a:r>
            <a:endParaRPr sz="1300">
              <a:latin typeface="Helvetica"/>
              <a:cs typeface="Helvetica"/>
            </a:endParaRPr>
          </a:p>
        </p:txBody>
      </p:sp>
      <p:sp>
        <p:nvSpPr>
          <p:cNvPr id="58" name="object 6">
            <a:extLst>
              <a:ext uri="{FF2B5EF4-FFF2-40B4-BE49-F238E27FC236}">
                <a16:creationId xmlns:a16="http://schemas.microsoft.com/office/drawing/2014/main" id="{5B549ECF-333B-E843-B965-10C8CD0BBDAA}"/>
              </a:ext>
            </a:extLst>
          </p:cNvPr>
          <p:cNvSpPr txBox="1"/>
          <p:nvPr/>
        </p:nvSpPr>
        <p:spPr>
          <a:xfrm>
            <a:off x="516985" y="3173336"/>
            <a:ext cx="1382864" cy="226592"/>
          </a:xfrm>
          <a:prstGeom prst="rect">
            <a:avLst/>
          </a:prstGeom>
          <a:solidFill>
            <a:srgbClr val="FF7900"/>
          </a:solidFill>
        </p:spPr>
        <p:txBody>
          <a:bodyPr vert="horz" wrap="square" lIns="0" tIns="26281" rIns="0" bIns="0" rtlCol="0">
            <a:spAutoFit/>
          </a:bodyPr>
          <a:lstStyle/>
          <a:p>
            <a:pPr marR="45630" algn="r">
              <a:spcBef>
                <a:spcPts val="207"/>
              </a:spcBef>
            </a:pPr>
            <a:r>
              <a:rPr sz="1300" b="1" spc="-2" dirty="0">
                <a:solidFill>
                  <a:srgbClr val="FFFFFF"/>
                </a:solidFill>
                <a:latin typeface="Helvetica"/>
                <a:cs typeface="Helvetica"/>
              </a:rPr>
              <a:t>57%</a:t>
            </a:r>
            <a:endParaRPr sz="1300">
              <a:latin typeface="Helvetica"/>
              <a:cs typeface="Helvetica"/>
            </a:endParaRPr>
          </a:p>
        </p:txBody>
      </p:sp>
      <p:sp>
        <p:nvSpPr>
          <p:cNvPr id="59" name="object 8">
            <a:extLst>
              <a:ext uri="{FF2B5EF4-FFF2-40B4-BE49-F238E27FC236}">
                <a16:creationId xmlns:a16="http://schemas.microsoft.com/office/drawing/2014/main" id="{2CD77D05-F8E8-3F4F-B751-35B8D5A9833F}"/>
              </a:ext>
            </a:extLst>
          </p:cNvPr>
          <p:cNvSpPr txBox="1"/>
          <p:nvPr/>
        </p:nvSpPr>
        <p:spPr>
          <a:xfrm>
            <a:off x="516985" y="3839806"/>
            <a:ext cx="1262138" cy="226592"/>
          </a:xfrm>
          <a:prstGeom prst="rect">
            <a:avLst/>
          </a:prstGeom>
          <a:solidFill>
            <a:srgbClr val="FF7900"/>
          </a:solidFill>
        </p:spPr>
        <p:txBody>
          <a:bodyPr vert="horz" wrap="square" lIns="0" tIns="26281" rIns="0" bIns="0" rtlCol="0">
            <a:spAutoFit/>
          </a:bodyPr>
          <a:lstStyle/>
          <a:p>
            <a:pPr marR="41009" algn="r">
              <a:spcBef>
                <a:spcPts val="207"/>
              </a:spcBef>
            </a:pPr>
            <a:r>
              <a:rPr sz="1300" b="1" spc="-2" dirty="0">
                <a:solidFill>
                  <a:srgbClr val="FFFFFF"/>
                </a:solidFill>
                <a:latin typeface="Helvetica"/>
                <a:cs typeface="Helvetica"/>
              </a:rPr>
              <a:t>52%</a:t>
            </a:r>
            <a:endParaRPr sz="1300">
              <a:latin typeface="Helvetica"/>
              <a:cs typeface="Helvetica"/>
            </a:endParaRPr>
          </a:p>
        </p:txBody>
      </p:sp>
      <p:sp>
        <p:nvSpPr>
          <p:cNvPr id="60" name="object 10">
            <a:extLst>
              <a:ext uri="{FF2B5EF4-FFF2-40B4-BE49-F238E27FC236}">
                <a16:creationId xmlns:a16="http://schemas.microsoft.com/office/drawing/2014/main" id="{34153667-CAFD-8042-B1F9-7E09080DD2B1}"/>
              </a:ext>
            </a:extLst>
          </p:cNvPr>
          <p:cNvSpPr txBox="1"/>
          <p:nvPr/>
        </p:nvSpPr>
        <p:spPr>
          <a:xfrm>
            <a:off x="516985" y="4402089"/>
            <a:ext cx="1195132" cy="226592"/>
          </a:xfrm>
          <a:prstGeom prst="rect">
            <a:avLst/>
          </a:prstGeom>
          <a:solidFill>
            <a:srgbClr val="FF7900"/>
          </a:solidFill>
        </p:spPr>
        <p:txBody>
          <a:bodyPr vert="horz" wrap="square" lIns="0" tIns="26281" rIns="0" bIns="0" rtlCol="0">
            <a:spAutoFit/>
          </a:bodyPr>
          <a:lstStyle/>
          <a:p>
            <a:pPr marR="37544" algn="r">
              <a:spcBef>
                <a:spcPts val="207"/>
              </a:spcBef>
            </a:pPr>
            <a:r>
              <a:rPr sz="1300" b="1" spc="-2" dirty="0">
                <a:solidFill>
                  <a:srgbClr val="FFFFFF"/>
                </a:solidFill>
                <a:latin typeface="Helvetica"/>
                <a:cs typeface="Helvetica"/>
              </a:rPr>
              <a:t>50%</a:t>
            </a:r>
            <a:endParaRPr sz="1300">
              <a:latin typeface="Helvetica"/>
              <a:cs typeface="Helvetica"/>
            </a:endParaRPr>
          </a:p>
        </p:txBody>
      </p:sp>
      <p:sp>
        <p:nvSpPr>
          <p:cNvPr id="61" name="object 12">
            <a:extLst>
              <a:ext uri="{FF2B5EF4-FFF2-40B4-BE49-F238E27FC236}">
                <a16:creationId xmlns:a16="http://schemas.microsoft.com/office/drawing/2014/main" id="{1B3CAC57-5537-9B4F-B56D-5CFD7F737632}"/>
              </a:ext>
            </a:extLst>
          </p:cNvPr>
          <p:cNvSpPr txBox="1"/>
          <p:nvPr/>
        </p:nvSpPr>
        <p:spPr>
          <a:xfrm>
            <a:off x="6132793" y="1969362"/>
            <a:ext cx="925086" cy="227759"/>
          </a:xfrm>
          <a:prstGeom prst="rect">
            <a:avLst/>
          </a:prstGeom>
          <a:solidFill>
            <a:srgbClr val="FFB400"/>
          </a:solidFill>
        </p:spPr>
        <p:txBody>
          <a:bodyPr vert="horz" wrap="square" lIns="0" tIns="27436" rIns="0" bIns="0" rtlCol="0">
            <a:spAutoFit/>
          </a:bodyPr>
          <a:lstStyle/>
          <a:p>
            <a:pPr marL="557091">
              <a:spcBef>
                <a:spcPts val="216"/>
              </a:spcBef>
            </a:pPr>
            <a:r>
              <a:rPr sz="1300" b="1" spc="-2" dirty="0">
                <a:solidFill>
                  <a:srgbClr val="FFFFFF"/>
                </a:solidFill>
                <a:latin typeface="Helvetica"/>
                <a:cs typeface="Helvetica"/>
              </a:rPr>
              <a:t>38%</a:t>
            </a:r>
            <a:endParaRPr sz="1300" dirty="0">
              <a:latin typeface="Helvetica"/>
              <a:cs typeface="Helvetica"/>
            </a:endParaRPr>
          </a:p>
        </p:txBody>
      </p:sp>
      <p:sp>
        <p:nvSpPr>
          <p:cNvPr id="62" name="object 15">
            <a:extLst>
              <a:ext uri="{FF2B5EF4-FFF2-40B4-BE49-F238E27FC236}">
                <a16:creationId xmlns:a16="http://schemas.microsoft.com/office/drawing/2014/main" id="{2B90B538-F27A-7E43-9887-3DC1419737F1}"/>
              </a:ext>
            </a:extLst>
          </p:cNvPr>
          <p:cNvSpPr txBox="1"/>
          <p:nvPr/>
        </p:nvSpPr>
        <p:spPr>
          <a:xfrm>
            <a:off x="6130530" y="3063807"/>
            <a:ext cx="748329" cy="226592"/>
          </a:xfrm>
          <a:prstGeom prst="rect">
            <a:avLst/>
          </a:prstGeom>
          <a:solidFill>
            <a:srgbClr val="FFB400"/>
          </a:solidFill>
        </p:spPr>
        <p:txBody>
          <a:bodyPr vert="horz" wrap="square" lIns="0" tIns="26281" rIns="0" bIns="0" rtlCol="0">
            <a:spAutoFit/>
          </a:bodyPr>
          <a:lstStyle/>
          <a:p>
            <a:pPr marL="377459">
              <a:spcBef>
                <a:spcPts val="207"/>
              </a:spcBef>
            </a:pPr>
            <a:r>
              <a:rPr sz="1300" b="1" spc="-2" dirty="0">
                <a:solidFill>
                  <a:srgbClr val="FFFFFF"/>
                </a:solidFill>
                <a:latin typeface="Helvetica"/>
                <a:cs typeface="Helvetica"/>
              </a:rPr>
              <a:t>31%</a:t>
            </a:r>
            <a:endParaRPr sz="1300" dirty="0">
              <a:latin typeface="Helvetica"/>
              <a:cs typeface="Helvetica"/>
            </a:endParaRPr>
          </a:p>
        </p:txBody>
      </p:sp>
      <p:sp>
        <p:nvSpPr>
          <p:cNvPr id="63" name="object 17">
            <a:extLst>
              <a:ext uri="{FF2B5EF4-FFF2-40B4-BE49-F238E27FC236}">
                <a16:creationId xmlns:a16="http://schemas.microsoft.com/office/drawing/2014/main" id="{36BC353C-9191-6348-B47A-2EF7C351E88F}"/>
              </a:ext>
            </a:extLst>
          </p:cNvPr>
          <p:cNvSpPr txBox="1"/>
          <p:nvPr/>
        </p:nvSpPr>
        <p:spPr>
          <a:xfrm>
            <a:off x="6130535" y="3619842"/>
            <a:ext cx="654463" cy="226592"/>
          </a:xfrm>
          <a:prstGeom prst="rect">
            <a:avLst/>
          </a:prstGeom>
          <a:solidFill>
            <a:srgbClr val="FFB400"/>
          </a:solidFill>
        </p:spPr>
        <p:txBody>
          <a:bodyPr vert="horz" wrap="square" lIns="0" tIns="26281" rIns="0" bIns="0" rtlCol="0">
            <a:spAutoFit/>
          </a:bodyPr>
          <a:lstStyle/>
          <a:p>
            <a:pPr marL="291975">
              <a:spcBef>
                <a:spcPts val="207"/>
              </a:spcBef>
            </a:pPr>
            <a:r>
              <a:rPr sz="1300" b="1" spc="-2" dirty="0">
                <a:solidFill>
                  <a:srgbClr val="FFFFFF"/>
                </a:solidFill>
                <a:latin typeface="Helvetica"/>
                <a:cs typeface="Helvetica"/>
              </a:rPr>
              <a:t>27%</a:t>
            </a:r>
            <a:endParaRPr sz="1300" dirty="0">
              <a:latin typeface="Helvetica"/>
              <a:cs typeface="Helvetica"/>
            </a:endParaRPr>
          </a:p>
        </p:txBody>
      </p:sp>
      <p:sp>
        <p:nvSpPr>
          <p:cNvPr id="64" name="object 19">
            <a:extLst>
              <a:ext uri="{FF2B5EF4-FFF2-40B4-BE49-F238E27FC236}">
                <a16:creationId xmlns:a16="http://schemas.microsoft.com/office/drawing/2014/main" id="{AA4BD695-A45E-4E41-A013-5C1C05F81D2E}"/>
              </a:ext>
            </a:extLst>
          </p:cNvPr>
          <p:cNvSpPr txBox="1"/>
          <p:nvPr/>
        </p:nvSpPr>
        <p:spPr>
          <a:xfrm>
            <a:off x="6130530" y="4175896"/>
            <a:ext cx="439871" cy="226592"/>
          </a:xfrm>
          <a:prstGeom prst="rect">
            <a:avLst/>
          </a:prstGeom>
          <a:solidFill>
            <a:srgbClr val="FFB400"/>
          </a:solidFill>
        </p:spPr>
        <p:txBody>
          <a:bodyPr vert="horz" wrap="square" lIns="0" tIns="26281" rIns="0" bIns="0" rtlCol="0">
            <a:spAutoFit/>
          </a:bodyPr>
          <a:lstStyle/>
          <a:p>
            <a:pPr marL="70756">
              <a:spcBef>
                <a:spcPts val="207"/>
              </a:spcBef>
            </a:pPr>
            <a:r>
              <a:rPr sz="1300" b="1" spc="-2" dirty="0">
                <a:solidFill>
                  <a:srgbClr val="FFFFFF"/>
                </a:solidFill>
                <a:latin typeface="Helvetica"/>
                <a:cs typeface="Helvetica"/>
              </a:rPr>
              <a:t>18%</a:t>
            </a:r>
            <a:endParaRPr sz="1300">
              <a:latin typeface="Helvetica"/>
              <a:cs typeface="Helvetica"/>
            </a:endParaRPr>
          </a:p>
        </p:txBody>
      </p:sp>
    </p:spTree>
    <p:extLst>
      <p:ext uri="{BB962C8B-B14F-4D97-AF65-F5344CB8AC3E}">
        <p14:creationId xmlns:p14="http://schemas.microsoft.com/office/powerpoint/2010/main" val="3924576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 name="Titre 1"/>
          <p:cNvSpPr>
            <a:spLocks noGrp="1"/>
          </p:cNvSpPr>
          <p:nvPr>
            <p:ph type="title"/>
          </p:nvPr>
        </p:nvSpPr>
        <p:spPr>
          <a:xfrm>
            <a:off x="220287" y="31713"/>
            <a:ext cx="8217225" cy="635982"/>
          </a:xfrm>
          <a:prstGeom prst="rect">
            <a:avLst/>
          </a:prstGeom>
        </p:spPr>
        <p:txBody>
          <a:bodyPr>
            <a:normAutofit/>
          </a:bodyPr>
          <a:lstStyle/>
          <a:p>
            <a:pPr defTabSz="651462">
              <a:defRPr sz="4560" b="1">
                <a:solidFill>
                  <a:srgbClr val="FF7600"/>
                </a:solidFill>
                <a:latin typeface="+mn-lt"/>
                <a:ea typeface="+mn-ea"/>
                <a:cs typeface="+mn-cs"/>
                <a:sym typeface="Helvetica"/>
              </a:defRPr>
            </a:pPr>
            <a:r>
              <a:rPr lang="fr-FR" sz="2400" dirty="0">
                <a:latin typeface="Helvetica 75 Bold" panose="020B0804020202020204" pitchFamily="34" charset="0"/>
              </a:rPr>
              <a:t>Agenda</a:t>
            </a:r>
            <a:endParaRPr sz="2400" dirty="0">
              <a:latin typeface="Helvetica 75 Bold" panose="020B0804020202020204" pitchFamily="34" charset="0"/>
            </a:endParaRPr>
          </a:p>
        </p:txBody>
      </p:sp>
      <p:sp>
        <p:nvSpPr>
          <p:cNvPr id="360" name="Numéro de diapositive"/>
          <p:cNvSpPr>
            <a:spLocks noGrp="1"/>
          </p:cNvSpPr>
          <p:nvPr>
            <p:ph type="sldNum" sz="quarter" idx="4294967295"/>
          </p:nvPr>
        </p:nvSpPr>
        <p:spPr>
          <a:xfrm>
            <a:off x="8710894" y="4678061"/>
            <a:ext cx="126956" cy="192358"/>
          </a:xfrm>
          <a:prstGeom prst="rect">
            <a:avLst/>
          </a:prstGeom>
          <a:extLst>
            <a:ext uri="{C572A759-6A51-4108-AA02-DFA0A04FC94B}">
              <ma14:wrappingTextBoxFlag xmlns="" xmlns:ma14="http://schemas.microsoft.com/office/mac/drawingml/2011/main" xmlns:mv="urn:schemas-microsoft-com:mac:vml" xmlns:mc="http://schemas.openxmlformats.org/markup-compatibility/2006" val="1"/>
            </a:ext>
          </a:extLst>
        </p:spPr>
        <p:txBody>
          <a:bodyPr/>
          <a:lstStyle>
            <a:lvl1pPr>
              <a:defRPr sz="800">
                <a:solidFill>
                  <a:srgbClr val="535353"/>
                </a:solidFill>
              </a:defRPr>
            </a:lvl1pPr>
          </a:lstStyle>
          <a:p>
            <a:fld id="{86CB4B4D-7CA3-9044-876B-883B54F8677D}" type="slidenum">
              <a:rPr/>
              <a:pPr/>
              <a:t>2</a:t>
            </a:fld>
            <a:endParaRPr/>
          </a:p>
        </p:txBody>
      </p:sp>
      <p:sp>
        <p:nvSpPr>
          <p:cNvPr id="52" name="Rectangle"/>
          <p:cNvSpPr/>
          <p:nvPr/>
        </p:nvSpPr>
        <p:spPr>
          <a:xfrm>
            <a:off x="6912256" y="1037881"/>
            <a:ext cx="1798638" cy="2352675"/>
          </a:xfrm>
          <a:prstGeom prst="rect">
            <a:avLst/>
          </a:prstGeom>
          <a:solidFill>
            <a:srgbClr val="4BB4E6"/>
          </a:solidFill>
          <a:ln w="12700">
            <a:miter lim="400000"/>
          </a:ln>
        </p:spPr>
        <p:txBody>
          <a:bodyPr lIns="34289" tIns="34289" rIns="34289" bIns="34289" anchor="ctr"/>
          <a:lstStyle/>
          <a:p>
            <a:pPr defTabSz="685783">
              <a:defRPr>
                <a:solidFill>
                  <a:srgbClr val="50BE87"/>
                </a:solidFill>
              </a:defRPr>
            </a:pPr>
            <a:endParaRPr sz="1400" kern="0">
              <a:solidFill>
                <a:srgbClr val="50BE87"/>
              </a:solidFill>
              <a:latin typeface="Calibri"/>
              <a:sym typeface="Calibri"/>
            </a:endParaRPr>
          </a:p>
        </p:txBody>
      </p:sp>
      <p:grpSp>
        <p:nvGrpSpPr>
          <p:cNvPr id="54" name="Grouper"/>
          <p:cNvGrpSpPr>
            <a:grpSpLocks/>
          </p:cNvGrpSpPr>
          <p:nvPr/>
        </p:nvGrpSpPr>
        <p:grpSpPr bwMode="auto">
          <a:xfrm>
            <a:off x="6488394" y="207618"/>
            <a:ext cx="2466975" cy="4349750"/>
            <a:chOff x="0" y="0"/>
            <a:chExt cx="6576145" cy="11601044"/>
          </a:xfrm>
        </p:grpSpPr>
        <p:pic>
          <p:nvPicPr>
            <p:cNvPr id="55" name="pasted-image.png" descr="pasted-imag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5971" y="1500781"/>
              <a:ext cx="4777151" cy="761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56" name="pasted-image.png" descr="pasted-image.png"/>
            <p:cNvPicPr>
              <a:picLocks noChangeAspect="1"/>
            </p:cNvPicPr>
            <p:nvPr/>
          </p:nvPicPr>
          <p:blipFill>
            <a:blip r:embed="rId4">
              <a:extLst>
                <a:ext uri="{28A0092B-C50C-407E-A947-70E740481C1C}">
                  <a14:useLocalDpi xmlns:a14="http://schemas.microsoft.com/office/drawing/2010/main" val="0"/>
                </a:ext>
              </a:extLst>
            </a:blip>
            <a:srcRect t="803"/>
            <a:stretch>
              <a:fillRect/>
            </a:stretch>
          </p:blipFill>
          <p:spPr bwMode="auto">
            <a:xfrm>
              <a:off x="1051188" y="9392532"/>
              <a:ext cx="4777027" cy="733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57" name="Iphone retouche VIDE.png" descr="Iphone retouche VIDE.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6576146" cy="11601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pic>
        <p:nvPicPr>
          <p:cNvPr id="58" name="MONTAGE screen tel Orange bank.png" descr="MONTAGE screen tel Orange bank.png"/>
          <p:cNvPicPr>
            <a:picLocks noChangeAspect="1"/>
          </p:cNvPicPr>
          <p:nvPr/>
        </p:nvPicPr>
        <p:blipFill>
          <a:blip r:embed="rId6">
            <a:extLst>
              <a:ext uri="{28A0092B-C50C-407E-A947-70E740481C1C}">
                <a14:useLocalDpi xmlns:a14="http://schemas.microsoft.com/office/drawing/2010/main" val="0"/>
              </a:ext>
            </a:extLst>
          </a:blip>
          <a:srcRect t="9148" r="74023" b="43721"/>
          <a:stretch>
            <a:fillRect/>
          </a:stretch>
        </p:blipFill>
        <p:spPr bwMode="auto">
          <a:xfrm>
            <a:off x="6883681" y="1053756"/>
            <a:ext cx="1790700"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9" name="Rectangle 58"/>
          <p:cNvSpPr/>
          <p:nvPr/>
        </p:nvSpPr>
        <p:spPr>
          <a:xfrm>
            <a:off x="6883369" y="1055600"/>
            <a:ext cx="1789475" cy="2335005"/>
          </a:xfrm>
          <a:prstGeom prst="rect">
            <a:avLst/>
          </a:prstGeom>
          <a:solidFill>
            <a:srgbClr val="4BB4E6"/>
          </a:solidFill>
          <a:ln w="25400" cap="flat">
            <a:noFill/>
            <a:prstDash val="solid"/>
            <a:miter lim="800000"/>
          </a:ln>
          <a:effectLst/>
          <a:sp3d/>
        </p:spPr>
        <p:style>
          <a:lnRef idx="0">
            <a:scrgbClr r="0" g="0" b="0"/>
          </a:lnRef>
          <a:fillRef idx="0">
            <a:scrgbClr r="0" g="0" b="0"/>
          </a:fillRef>
          <a:effectRef idx="0">
            <a:scrgbClr r="0" g="0" b="0"/>
          </a:effectRef>
          <a:fontRef idx="none"/>
        </p:style>
        <p:txBody>
          <a:bodyPr spcFirstLastPara="1" lIns="91439" tIns="91439" rIns="91439" bIns="91439" spcCol="38100" anchor="ctr">
            <a:spAutoFit/>
          </a:bodyPr>
          <a:lstStyle/>
          <a:p>
            <a:pPr defTabSz="1828800">
              <a:defRPr/>
            </a:pPr>
            <a:endParaRPr lang="fr-FR" sz="3600">
              <a:solidFill>
                <a:srgbClr val="000000"/>
              </a:solidFill>
              <a:latin typeface="Calibri"/>
              <a:ea typeface="+mj-ea"/>
              <a:cs typeface="+mj-cs"/>
              <a:sym typeface="Calibri"/>
            </a:endParaRPr>
          </a:p>
        </p:txBody>
      </p:sp>
      <p:sp>
        <p:nvSpPr>
          <p:cNvPr id="60" name="Titre 1"/>
          <p:cNvSpPr txBox="1">
            <a:spLocks/>
          </p:cNvSpPr>
          <p:nvPr/>
        </p:nvSpPr>
        <p:spPr>
          <a:xfrm>
            <a:off x="6916020" y="1124407"/>
            <a:ext cx="1794874" cy="1307564"/>
          </a:xfrm>
          <a:prstGeom prst="rect">
            <a:avLst/>
          </a:prstGeom>
          <a:ln w="25400">
            <a:miter lim="400000"/>
          </a:ln>
          <a:extLst>
            <a:ext uri="{C572A759-6A51-4108-AA02-DFA0A04FC94B}">
              <ma14:wrappingTextBoxFlag xmlns="" xmlns:ma14="http://schemas.microsoft.com/office/mac/drawingml/2011/main" xmlns:mv="urn:schemas-microsoft-com:mac:vml" xmlns:mc="http://schemas.openxmlformats.org/markup-compatibility/2006" val="1"/>
            </a:ext>
          </a:extLst>
        </p:spPr>
        <p:txBody>
          <a:bodyPr lIns="34288" tIns="34288" rIns="34288" bIns="34288" anchor="ctr">
            <a:noAutofit/>
          </a:bodyPr>
          <a:lstStyle>
            <a:lvl1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1pPr>
            <a:lvl2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2pPr>
            <a:lvl3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3pPr>
            <a:lvl4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4pPr>
            <a:lvl5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5pPr>
            <a:lvl6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6pPr>
            <a:lvl7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7pPr>
            <a:lvl8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8pPr>
            <a:lvl9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9pPr>
          </a:lstStyle>
          <a:p>
            <a:pPr>
              <a:lnSpc>
                <a:spcPct val="120000"/>
              </a:lnSpc>
            </a:pPr>
            <a:r>
              <a:rPr lang="fr-FR" altLang="fr-FR" sz="1800" b="1" kern="0" dirty="0">
                <a:solidFill>
                  <a:srgbClr val="FFFFFF"/>
                </a:solidFill>
                <a:latin typeface="Helvetica" pitchFamily="34" charset="0"/>
                <a:cs typeface="Helvetica" pitchFamily="34" charset="0"/>
                <a:sym typeface="Helvetica" pitchFamily="34" charset="0"/>
              </a:rPr>
              <a:t>… Bonjour </a:t>
            </a:r>
            <a:r>
              <a:rPr lang="fr-FR" altLang="fr-FR" sz="1800" b="1" kern="0" dirty="0" err="1">
                <a:solidFill>
                  <a:srgbClr val="FFFFFF"/>
                </a:solidFill>
                <a:latin typeface="Helvetica" pitchFamily="34" charset="0"/>
                <a:cs typeface="Helvetica" pitchFamily="34" charset="0"/>
                <a:sym typeface="Helvetica" pitchFamily="34" charset="0"/>
              </a:rPr>
              <a:t>Djingo</a:t>
            </a:r>
            <a:r>
              <a:rPr lang="fr-FR" altLang="fr-FR" sz="1800" b="1" kern="0" dirty="0">
                <a:solidFill>
                  <a:srgbClr val="FFFFFF"/>
                </a:solidFill>
                <a:latin typeface="Helvetica" pitchFamily="34" charset="0"/>
                <a:cs typeface="Helvetica" pitchFamily="34" charset="0"/>
                <a:sym typeface="Helvetica" pitchFamily="34" charset="0"/>
              </a:rPr>
              <a:t>…</a:t>
            </a:r>
            <a:endParaRPr lang="fr-FR" altLang="fr-FR" sz="900" b="1" kern="0" dirty="0">
              <a:solidFill>
                <a:srgbClr val="FFFFFF"/>
              </a:solidFill>
              <a:latin typeface="Helvetica" pitchFamily="34" charset="0"/>
              <a:cs typeface="Helvetica" pitchFamily="34" charset="0"/>
              <a:sym typeface="Helvetica" pitchFamily="34" charset="0"/>
            </a:endParaRPr>
          </a:p>
        </p:txBody>
      </p:sp>
      <p:sp>
        <p:nvSpPr>
          <p:cNvPr id="3" name="ZoneTexte 2"/>
          <p:cNvSpPr txBox="1"/>
          <p:nvPr/>
        </p:nvSpPr>
        <p:spPr>
          <a:xfrm>
            <a:off x="179512" y="1059582"/>
            <a:ext cx="6308882" cy="5355310"/>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571500" marR="0" indent="-571500" algn="l" defTabSz="1828800" rtl="0" fontAlgn="auto" latinLnBrk="0" hangingPunct="0">
              <a:lnSpc>
                <a:spcPct val="100000"/>
              </a:lnSpc>
              <a:spcBef>
                <a:spcPts val="0"/>
              </a:spcBef>
              <a:spcAft>
                <a:spcPts val="0"/>
              </a:spcAft>
              <a:buClrTx/>
              <a:buSzTx/>
              <a:buFont typeface="+mj-lt"/>
              <a:buAutoNum type="arabicPeriod"/>
              <a:tabLst/>
            </a:pPr>
            <a:r>
              <a:rPr lang="fr-FR" sz="2400" b="1" dirty="0">
                <a:solidFill>
                  <a:schemeClr val="accent1"/>
                </a:solidFill>
                <a:latin typeface="Helvetica 75 Bold" panose="020B0804020202020204" pitchFamily="34" charset="0"/>
                <a:ea typeface="+mj-ea"/>
                <a:cs typeface="+mj-cs"/>
                <a:sym typeface="Calibri"/>
              </a:rPr>
              <a:t>La tendance de consommation sur les produits bancaires 2019</a:t>
            </a:r>
          </a:p>
          <a:p>
            <a:pPr marL="571500" marR="0" indent="-571500" algn="l" defTabSz="1828800" rtl="0" fontAlgn="auto" latinLnBrk="0" hangingPunct="0">
              <a:lnSpc>
                <a:spcPct val="100000"/>
              </a:lnSpc>
              <a:spcBef>
                <a:spcPts val="0"/>
              </a:spcBef>
              <a:spcAft>
                <a:spcPts val="0"/>
              </a:spcAft>
              <a:buClrTx/>
              <a:buSzTx/>
              <a:buFont typeface="+mj-lt"/>
              <a:buAutoNum type="arabicPeriod"/>
              <a:tabLst/>
            </a:pPr>
            <a:endParaRPr lang="fr-FR" sz="2400" b="1" dirty="0">
              <a:latin typeface="Helvetica 75 Bold" panose="020B0804020202020204" pitchFamily="34" charset="0"/>
              <a:ea typeface="+mj-ea"/>
              <a:cs typeface="+mj-cs"/>
              <a:sym typeface="Calibri"/>
            </a:endParaRPr>
          </a:p>
          <a:p>
            <a:pPr marL="571500" marR="0" indent="-571500" algn="l" defTabSz="1828800" rtl="0" fontAlgn="auto" latinLnBrk="0" hangingPunct="0">
              <a:lnSpc>
                <a:spcPct val="100000"/>
              </a:lnSpc>
              <a:spcBef>
                <a:spcPts val="0"/>
              </a:spcBef>
              <a:spcAft>
                <a:spcPts val="0"/>
              </a:spcAft>
              <a:buClrTx/>
              <a:buSzTx/>
              <a:buFont typeface="+mj-lt"/>
              <a:buAutoNum type="arabicPeriod"/>
              <a:tabLst/>
            </a:pPr>
            <a:endParaRPr lang="fr-FR" sz="2400" b="1" dirty="0">
              <a:latin typeface="Helvetica 75 Bold" panose="020B0804020202020204" pitchFamily="34" charset="0"/>
              <a:ea typeface="+mj-ea"/>
              <a:cs typeface="+mj-cs"/>
              <a:sym typeface="Calibri"/>
            </a:endParaRPr>
          </a:p>
          <a:p>
            <a:pPr marL="571500" indent="-571500" defTabSz="1828800" hangingPunct="0">
              <a:buFont typeface="+mj-lt"/>
              <a:buAutoNum type="arabicPeriod"/>
            </a:pPr>
            <a:r>
              <a:rPr lang="fr-FR" sz="2400" b="1" dirty="0">
                <a:latin typeface="Helvetica 75 Bold" panose="020B0804020202020204" pitchFamily="34" charset="0"/>
                <a:sym typeface="Calibri"/>
              </a:rPr>
              <a:t>La stratégie et les éléments différenciant des néo-banques grâce au digital.</a:t>
            </a:r>
          </a:p>
          <a:p>
            <a:pPr marL="571500" indent="-571500" defTabSz="1828800" hangingPunct="0">
              <a:buFont typeface="+mj-lt"/>
              <a:buAutoNum type="arabicPeriod"/>
            </a:pPr>
            <a:endParaRPr lang="fr-FR" sz="2400" b="1" dirty="0">
              <a:solidFill>
                <a:srgbClr val="FF7900"/>
              </a:solidFill>
              <a:latin typeface="+mj-lt"/>
              <a:ea typeface="+mj-ea"/>
              <a:cs typeface="+mj-cs"/>
              <a:sym typeface="Calibri"/>
            </a:endParaRPr>
          </a:p>
          <a:p>
            <a:pPr lvl="0" defTabSz="1828800" hangingPunct="0"/>
            <a:endParaRPr lang="fr-FR" sz="2400" b="1" dirty="0">
              <a:solidFill>
                <a:srgbClr val="FF7900"/>
              </a:solidFill>
              <a:latin typeface="Calibri"/>
              <a:ea typeface="+mj-ea"/>
              <a:cs typeface="+mj-cs"/>
              <a:sym typeface="Calibri"/>
            </a:endParaRPr>
          </a:p>
          <a:p>
            <a:pPr defTabSz="1828800" hangingPunct="0"/>
            <a:endParaRPr lang="fr-FR" sz="2400" b="1" dirty="0">
              <a:solidFill>
                <a:srgbClr val="FF7900"/>
              </a:solidFill>
              <a:latin typeface="Calibri"/>
              <a:ea typeface="+mj-ea"/>
              <a:cs typeface="+mj-cs"/>
              <a:sym typeface="Calibri"/>
            </a:endParaRPr>
          </a:p>
          <a:p>
            <a:pPr lvl="0" defTabSz="1828800" hangingPunct="0"/>
            <a:endParaRPr lang="fr-FR" sz="2400" b="1" dirty="0">
              <a:solidFill>
                <a:srgbClr val="000000"/>
              </a:solidFill>
              <a:latin typeface="Calibri"/>
              <a:ea typeface="+mj-ea"/>
              <a:cs typeface="+mj-cs"/>
              <a:sym typeface="Calibri"/>
            </a:endParaRPr>
          </a:p>
          <a:p>
            <a:pPr marL="571500" indent="-571500" defTabSz="1828800" hangingPunct="0">
              <a:buFont typeface="+mj-lt"/>
              <a:buAutoNum type="arabicPeriod"/>
            </a:pPr>
            <a:endParaRPr lang="fr-FR" sz="2400" b="1" dirty="0">
              <a:solidFill>
                <a:srgbClr val="FF7900"/>
              </a:solidFill>
              <a:latin typeface="+mj-lt"/>
              <a:ea typeface="+mj-ea"/>
              <a:cs typeface="+mj-cs"/>
              <a:sym typeface="Calibri"/>
            </a:endParaRPr>
          </a:p>
          <a:p>
            <a:pPr marR="0" algn="l" defTabSz="1828800" rtl="0" fontAlgn="auto" latinLnBrk="0" hangingPunct="0">
              <a:lnSpc>
                <a:spcPct val="100000"/>
              </a:lnSpc>
              <a:spcBef>
                <a:spcPts val="0"/>
              </a:spcBef>
              <a:spcAft>
                <a:spcPts val="0"/>
              </a:spcAft>
              <a:buClrTx/>
              <a:buSzTx/>
              <a:tabLst/>
            </a:pPr>
            <a:endParaRPr kumimoji="0" lang="fr-FR" sz="2400" b="1" i="0" u="none" strike="noStrike" cap="none" spc="0" normalizeH="0" baseline="0" dirty="0">
              <a:ln>
                <a:noFill/>
              </a:ln>
              <a:solidFill>
                <a:srgbClr val="000000"/>
              </a:solidFill>
              <a:effectLst/>
              <a:uFillTx/>
              <a:latin typeface="+mj-lt"/>
              <a:ea typeface="+mj-ea"/>
              <a:cs typeface="+mj-cs"/>
              <a:sym typeface="Calibri"/>
            </a:endParaRPr>
          </a:p>
          <a:p>
            <a:pPr marR="0" algn="l" defTabSz="1828800" rtl="0" fontAlgn="auto" latinLnBrk="0" hangingPunct="0">
              <a:lnSpc>
                <a:spcPct val="100000"/>
              </a:lnSpc>
              <a:spcBef>
                <a:spcPts val="0"/>
              </a:spcBef>
              <a:spcAft>
                <a:spcPts val="0"/>
              </a:spcAft>
              <a:buClrTx/>
              <a:buSzTx/>
              <a:tabLst/>
            </a:pPr>
            <a:endParaRPr lang="fr-FR" sz="2400" b="1" dirty="0">
              <a:solidFill>
                <a:srgbClr val="000000"/>
              </a:solidFill>
              <a:latin typeface="+mj-lt"/>
              <a:ea typeface="+mj-ea"/>
              <a:cs typeface="+mj-cs"/>
              <a:sym typeface="Calibri"/>
            </a:endParaRPr>
          </a:p>
        </p:txBody>
      </p:sp>
    </p:spTree>
    <p:extLst>
      <p:ext uri="{BB962C8B-B14F-4D97-AF65-F5344CB8AC3E}">
        <p14:creationId xmlns:p14="http://schemas.microsoft.com/office/powerpoint/2010/main" val="3092270780"/>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56655" y="213002"/>
            <a:ext cx="7886700" cy="626957"/>
          </a:xfrm>
          <a:prstGeom prst="rect">
            <a:avLst/>
          </a:prstGeom>
        </p:spPr>
        <p:txBody>
          <a:bodyPr vert="horz" wrap="square" lIns="0" tIns="5198" rIns="0" bIns="0" rtlCol="0">
            <a:spAutoFit/>
          </a:bodyPr>
          <a:lstStyle/>
          <a:p>
            <a:pPr marL="246056" marR="2310">
              <a:lnSpc>
                <a:spcPct val="100800"/>
              </a:lnSpc>
              <a:spcBef>
                <a:spcPts val="41"/>
              </a:spcBef>
            </a:pPr>
            <a:r>
              <a:rPr spc="-2" dirty="0"/>
              <a:t>Un </a:t>
            </a:r>
            <a:r>
              <a:rPr spc="-14" dirty="0"/>
              <a:t>Français </a:t>
            </a:r>
            <a:r>
              <a:rPr spc="-9" dirty="0"/>
              <a:t>sur deux </a:t>
            </a:r>
            <a:r>
              <a:rPr spc="-11" dirty="0"/>
              <a:t>prêt </a:t>
            </a:r>
            <a:r>
              <a:rPr spc="7" dirty="0"/>
              <a:t>à </a:t>
            </a:r>
            <a:r>
              <a:rPr spc="-14" dirty="0"/>
              <a:t>utiliser </a:t>
            </a:r>
            <a:r>
              <a:rPr spc="-43" dirty="0"/>
              <a:t>l’intelligence artificielle</a:t>
            </a:r>
            <a:r>
              <a:rPr spc="-309" dirty="0"/>
              <a:t> </a:t>
            </a:r>
            <a:r>
              <a:rPr spc="-16" dirty="0"/>
              <a:t>pour  </a:t>
            </a:r>
            <a:r>
              <a:rPr spc="-11" dirty="0"/>
              <a:t>communiquer </a:t>
            </a:r>
            <a:r>
              <a:rPr spc="-9" dirty="0"/>
              <a:t>avec </a:t>
            </a:r>
            <a:r>
              <a:rPr spc="-5" dirty="0"/>
              <a:t>sa</a:t>
            </a:r>
            <a:r>
              <a:rPr spc="-98" dirty="0"/>
              <a:t> </a:t>
            </a:r>
            <a:r>
              <a:rPr spc="-14" dirty="0"/>
              <a:t>banque</a:t>
            </a:r>
          </a:p>
        </p:txBody>
      </p:sp>
      <p:sp>
        <p:nvSpPr>
          <p:cNvPr id="3" name="object 3"/>
          <p:cNvSpPr txBox="1"/>
          <p:nvPr/>
        </p:nvSpPr>
        <p:spPr>
          <a:xfrm>
            <a:off x="775669" y="881401"/>
            <a:ext cx="8128612" cy="144916"/>
          </a:xfrm>
          <a:prstGeom prst="rect">
            <a:avLst/>
          </a:prstGeom>
        </p:spPr>
        <p:txBody>
          <a:bodyPr vert="horz" wrap="square" lIns="0" tIns="6354" rIns="0" bIns="0" rtlCol="0">
            <a:spAutoFit/>
          </a:bodyPr>
          <a:lstStyle/>
          <a:p>
            <a:pPr marL="5776">
              <a:spcBef>
                <a:spcPts val="50"/>
              </a:spcBef>
            </a:pPr>
            <a:r>
              <a:rPr sz="900" b="1" spc="2" dirty="0">
                <a:latin typeface="Helvetica Neue"/>
                <a:cs typeface="Helvetica Neue"/>
              </a:rPr>
              <a:t>Seriez-vous prêt à </a:t>
            </a:r>
            <a:r>
              <a:rPr sz="900" b="1" dirty="0">
                <a:latin typeface="Helvetica Neue"/>
                <a:cs typeface="Helvetica Neue"/>
              </a:rPr>
              <a:t>utiliser </a:t>
            </a:r>
            <a:r>
              <a:rPr sz="900" b="1" spc="2" dirty="0">
                <a:latin typeface="Helvetica Neue"/>
                <a:cs typeface="Helvetica Neue"/>
              </a:rPr>
              <a:t>un système d’intelligence </a:t>
            </a:r>
            <a:r>
              <a:rPr sz="900" b="1" dirty="0">
                <a:latin typeface="Helvetica Neue"/>
                <a:cs typeface="Helvetica Neue"/>
              </a:rPr>
              <a:t>artificielle </a:t>
            </a:r>
            <a:r>
              <a:rPr sz="900" b="1" spc="2" dirty="0">
                <a:latin typeface="Helvetica Neue"/>
                <a:cs typeface="Helvetica Neue"/>
              </a:rPr>
              <a:t>de type conseiller bancaire </a:t>
            </a:r>
            <a:r>
              <a:rPr sz="900" b="1" dirty="0">
                <a:latin typeface="Helvetica Neue"/>
                <a:cs typeface="Helvetica Neue"/>
              </a:rPr>
              <a:t>virtuel </a:t>
            </a:r>
            <a:r>
              <a:rPr sz="900" b="1" spc="2" dirty="0">
                <a:latin typeface="Helvetica Neue"/>
                <a:cs typeface="Helvetica Neue"/>
              </a:rPr>
              <a:t>pour communiquer avec votre banque</a:t>
            </a:r>
            <a:r>
              <a:rPr sz="900" b="1" spc="14" dirty="0">
                <a:latin typeface="Helvetica Neue"/>
                <a:cs typeface="Helvetica Neue"/>
              </a:rPr>
              <a:t> </a:t>
            </a:r>
            <a:r>
              <a:rPr sz="900" b="1" spc="2" dirty="0">
                <a:latin typeface="Helvetica Neue"/>
                <a:cs typeface="Helvetica Neue"/>
              </a:rPr>
              <a:t>?</a:t>
            </a:r>
            <a:endParaRPr sz="900" dirty="0">
              <a:latin typeface="Helvetica Neue"/>
              <a:cs typeface="Helvetica Neue"/>
            </a:endParaRPr>
          </a:p>
        </p:txBody>
      </p:sp>
      <p:sp>
        <p:nvSpPr>
          <p:cNvPr id="4" name="object 4"/>
          <p:cNvSpPr/>
          <p:nvPr/>
        </p:nvSpPr>
        <p:spPr>
          <a:xfrm>
            <a:off x="0" y="1181763"/>
            <a:ext cx="9144000" cy="3961737"/>
          </a:xfrm>
          <a:custGeom>
            <a:avLst/>
            <a:gdLst/>
            <a:ahLst/>
            <a:cxnLst/>
            <a:rect l="l" t="t" r="r" b="b"/>
            <a:pathLst>
              <a:path w="20104100" h="8710930">
                <a:moveTo>
                  <a:pt x="0" y="8710750"/>
                </a:moveTo>
                <a:lnTo>
                  <a:pt x="20104099" y="8710750"/>
                </a:lnTo>
                <a:lnTo>
                  <a:pt x="20104099" y="0"/>
                </a:lnTo>
                <a:lnTo>
                  <a:pt x="0" y="0"/>
                </a:lnTo>
                <a:lnTo>
                  <a:pt x="0" y="8710750"/>
                </a:lnTo>
                <a:close/>
              </a:path>
            </a:pathLst>
          </a:custGeom>
          <a:solidFill>
            <a:srgbClr val="D5D5D5"/>
          </a:solidFill>
        </p:spPr>
        <p:txBody>
          <a:bodyPr wrap="square" lIns="0" tIns="0" rIns="0" bIns="0" rtlCol="0"/>
          <a:lstStyle/>
          <a:p>
            <a:endParaRPr/>
          </a:p>
        </p:txBody>
      </p:sp>
      <p:sp>
        <p:nvSpPr>
          <p:cNvPr id="5" name="object 5"/>
          <p:cNvSpPr/>
          <p:nvPr/>
        </p:nvSpPr>
        <p:spPr>
          <a:xfrm>
            <a:off x="189405" y="213002"/>
            <a:ext cx="425430" cy="425400"/>
          </a:xfrm>
          <a:custGeom>
            <a:avLst/>
            <a:gdLst/>
            <a:ahLst/>
            <a:cxnLst/>
            <a:rect l="l" t="t" r="r" b="b"/>
            <a:pathLst>
              <a:path w="935355" h="935355">
                <a:moveTo>
                  <a:pt x="467619" y="0"/>
                </a:moveTo>
                <a:lnTo>
                  <a:pt x="419807" y="2414"/>
                </a:lnTo>
                <a:lnTo>
                  <a:pt x="373376" y="9500"/>
                </a:lnTo>
                <a:lnTo>
                  <a:pt x="328561" y="21023"/>
                </a:lnTo>
                <a:lnTo>
                  <a:pt x="285598" y="36748"/>
                </a:lnTo>
                <a:lnTo>
                  <a:pt x="244721" y="56440"/>
                </a:lnTo>
                <a:lnTo>
                  <a:pt x="206166" y="79863"/>
                </a:lnTo>
                <a:lnTo>
                  <a:pt x="170167" y="106784"/>
                </a:lnTo>
                <a:lnTo>
                  <a:pt x="136960" y="136965"/>
                </a:lnTo>
                <a:lnTo>
                  <a:pt x="106779" y="170173"/>
                </a:lnTo>
                <a:lnTo>
                  <a:pt x="79860" y="206173"/>
                </a:lnTo>
                <a:lnTo>
                  <a:pt x="56438" y="244729"/>
                </a:lnTo>
                <a:lnTo>
                  <a:pt x="36747" y="285607"/>
                </a:lnTo>
                <a:lnTo>
                  <a:pt x="21022" y="328571"/>
                </a:lnTo>
                <a:lnTo>
                  <a:pt x="9500" y="373386"/>
                </a:lnTo>
                <a:lnTo>
                  <a:pt x="2414" y="419817"/>
                </a:lnTo>
                <a:lnTo>
                  <a:pt x="0" y="467629"/>
                </a:lnTo>
                <a:lnTo>
                  <a:pt x="2414" y="515442"/>
                </a:lnTo>
                <a:lnTo>
                  <a:pt x="9500" y="561873"/>
                </a:lnTo>
                <a:lnTo>
                  <a:pt x="21022" y="606688"/>
                </a:lnTo>
                <a:lnTo>
                  <a:pt x="36747" y="649652"/>
                </a:lnTo>
                <a:lnTo>
                  <a:pt x="56438" y="690529"/>
                </a:lnTo>
                <a:lnTo>
                  <a:pt x="79860" y="729085"/>
                </a:lnTo>
                <a:lnTo>
                  <a:pt x="106779" y="765085"/>
                </a:lnTo>
                <a:lnTo>
                  <a:pt x="136960" y="798293"/>
                </a:lnTo>
                <a:lnTo>
                  <a:pt x="170167" y="828475"/>
                </a:lnTo>
                <a:lnTo>
                  <a:pt x="206166" y="855395"/>
                </a:lnTo>
                <a:lnTo>
                  <a:pt x="244721" y="878819"/>
                </a:lnTo>
                <a:lnTo>
                  <a:pt x="285598" y="898510"/>
                </a:lnTo>
                <a:lnTo>
                  <a:pt x="328561" y="914235"/>
                </a:lnTo>
                <a:lnTo>
                  <a:pt x="373376" y="925758"/>
                </a:lnTo>
                <a:lnTo>
                  <a:pt x="419807" y="932845"/>
                </a:lnTo>
                <a:lnTo>
                  <a:pt x="467619" y="935259"/>
                </a:lnTo>
                <a:lnTo>
                  <a:pt x="515431" y="932845"/>
                </a:lnTo>
                <a:lnTo>
                  <a:pt x="561862" y="925758"/>
                </a:lnTo>
                <a:lnTo>
                  <a:pt x="606677" y="914235"/>
                </a:lnTo>
                <a:lnTo>
                  <a:pt x="649641" y="898510"/>
                </a:lnTo>
                <a:lnTo>
                  <a:pt x="690519" y="878819"/>
                </a:lnTo>
                <a:lnTo>
                  <a:pt x="729075" y="855395"/>
                </a:lnTo>
                <a:lnTo>
                  <a:pt x="765075" y="828475"/>
                </a:lnTo>
                <a:lnTo>
                  <a:pt x="798283" y="798293"/>
                </a:lnTo>
                <a:lnTo>
                  <a:pt x="828464" y="765085"/>
                </a:lnTo>
                <a:lnTo>
                  <a:pt x="855385" y="729085"/>
                </a:lnTo>
                <a:lnTo>
                  <a:pt x="878808" y="690529"/>
                </a:lnTo>
                <a:lnTo>
                  <a:pt x="898500" y="649652"/>
                </a:lnTo>
                <a:lnTo>
                  <a:pt x="914225" y="606688"/>
                </a:lnTo>
                <a:lnTo>
                  <a:pt x="925748" y="561873"/>
                </a:lnTo>
                <a:lnTo>
                  <a:pt x="932834" y="515442"/>
                </a:lnTo>
                <a:lnTo>
                  <a:pt x="935249" y="467629"/>
                </a:lnTo>
                <a:lnTo>
                  <a:pt x="932834" y="419817"/>
                </a:lnTo>
                <a:lnTo>
                  <a:pt x="925748" y="373386"/>
                </a:lnTo>
                <a:lnTo>
                  <a:pt x="914225" y="328571"/>
                </a:lnTo>
                <a:lnTo>
                  <a:pt x="898500" y="285607"/>
                </a:lnTo>
                <a:lnTo>
                  <a:pt x="878808" y="244729"/>
                </a:lnTo>
                <a:lnTo>
                  <a:pt x="855385" y="206173"/>
                </a:lnTo>
                <a:lnTo>
                  <a:pt x="828464" y="170173"/>
                </a:lnTo>
                <a:lnTo>
                  <a:pt x="798283" y="136965"/>
                </a:lnTo>
                <a:lnTo>
                  <a:pt x="765075" y="106784"/>
                </a:lnTo>
                <a:lnTo>
                  <a:pt x="729075" y="79863"/>
                </a:lnTo>
                <a:lnTo>
                  <a:pt x="690519" y="56440"/>
                </a:lnTo>
                <a:lnTo>
                  <a:pt x="649641" y="36748"/>
                </a:lnTo>
                <a:lnTo>
                  <a:pt x="606677" y="21023"/>
                </a:lnTo>
                <a:lnTo>
                  <a:pt x="561862" y="9500"/>
                </a:lnTo>
                <a:lnTo>
                  <a:pt x="515431" y="2414"/>
                </a:lnTo>
                <a:lnTo>
                  <a:pt x="467619" y="0"/>
                </a:lnTo>
                <a:close/>
              </a:path>
            </a:pathLst>
          </a:custGeom>
          <a:solidFill>
            <a:srgbClr val="50BD86"/>
          </a:solidFill>
        </p:spPr>
        <p:txBody>
          <a:bodyPr wrap="square" lIns="0" tIns="0" rIns="0" bIns="0" rtlCol="0"/>
          <a:lstStyle/>
          <a:p>
            <a:endParaRPr/>
          </a:p>
        </p:txBody>
      </p:sp>
      <p:sp>
        <p:nvSpPr>
          <p:cNvPr id="6" name="object 6"/>
          <p:cNvSpPr/>
          <p:nvPr/>
        </p:nvSpPr>
        <p:spPr>
          <a:xfrm>
            <a:off x="288311" y="328420"/>
            <a:ext cx="234232" cy="226995"/>
          </a:xfrm>
          <a:custGeom>
            <a:avLst/>
            <a:gdLst/>
            <a:ahLst/>
            <a:cxnLst/>
            <a:rect l="l" t="t" r="r" b="b"/>
            <a:pathLst>
              <a:path w="514984" h="499109">
                <a:moveTo>
                  <a:pt x="225260" y="386166"/>
                </a:moveTo>
                <a:lnTo>
                  <a:pt x="112635" y="386166"/>
                </a:lnTo>
                <a:lnTo>
                  <a:pt x="112635" y="498791"/>
                </a:lnTo>
                <a:lnTo>
                  <a:pt x="225260" y="386166"/>
                </a:lnTo>
                <a:close/>
              </a:path>
              <a:path w="514984" h="499109">
                <a:moveTo>
                  <a:pt x="466614" y="0"/>
                </a:moveTo>
                <a:lnTo>
                  <a:pt x="0" y="0"/>
                </a:lnTo>
                <a:lnTo>
                  <a:pt x="0" y="337884"/>
                </a:lnTo>
                <a:lnTo>
                  <a:pt x="3793" y="356680"/>
                </a:lnTo>
                <a:lnTo>
                  <a:pt x="14138" y="372026"/>
                </a:lnTo>
                <a:lnTo>
                  <a:pt x="29481" y="382372"/>
                </a:lnTo>
                <a:lnTo>
                  <a:pt x="48270" y="386166"/>
                </a:lnTo>
                <a:lnTo>
                  <a:pt x="514884" y="386166"/>
                </a:lnTo>
                <a:lnTo>
                  <a:pt x="514884" y="289614"/>
                </a:lnTo>
                <a:lnTo>
                  <a:pt x="257447" y="289614"/>
                </a:lnTo>
                <a:lnTo>
                  <a:pt x="226134" y="287085"/>
                </a:lnTo>
                <a:lnTo>
                  <a:pt x="200563" y="280189"/>
                </a:lnTo>
                <a:lnTo>
                  <a:pt x="183322" y="269961"/>
                </a:lnTo>
                <a:lnTo>
                  <a:pt x="176999" y="257437"/>
                </a:lnTo>
                <a:lnTo>
                  <a:pt x="176999" y="249395"/>
                </a:lnTo>
                <a:lnTo>
                  <a:pt x="178903" y="240023"/>
                </a:lnTo>
                <a:lnTo>
                  <a:pt x="184087" y="232348"/>
                </a:lnTo>
                <a:lnTo>
                  <a:pt x="191758" y="227164"/>
                </a:lnTo>
                <a:lnTo>
                  <a:pt x="201124" y="225260"/>
                </a:lnTo>
                <a:lnTo>
                  <a:pt x="514884" y="225260"/>
                </a:lnTo>
                <a:lnTo>
                  <a:pt x="514884" y="176989"/>
                </a:lnTo>
                <a:lnTo>
                  <a:pt x="144173" y="176989"/>
                </a:lnTo>
                <a:lnTo>
                  <a:pt x="131649" y="174460"/>
                </a:lnTo>
                <a:lnTo>
                  <a:pt x="121421" y="167564"/>
                </a:lnTo>
                <a:lnTo>
                  <a:pt x="114525" y="157336"/>
                </a:lnTo>
                <a:lnTo>
                  <a:pt x="111996" y="144812"/>
                </a:lnTo>
                <a:lnTo>
                  <a:pt x="114525" y="132282"/>
                </a:lnTo>
                <a:lnTo>
                  <a:pt x="121421" y="122051"/>
                </a:lnTo>
                <a:lnTo>
                  <a:pt x="131649" y="115153"/>
                </a:lnTo>
                <a:lnTo>
                  <a:pt x="144173" y="112624"/>
                </a:lnTo>
                <a:lnTo>
                  <a:pt x="514884" y="112624"/>
                </a:lnTo>
                <a:lnTo>
                  <a:pt x="514884" y="48270"/>
                </a:lnTo>
                <a:lnTo>
                  <a:pt x="511092" y="29481"/>
                </a:lnTo>
                <a:lnTo>
                  <a:pt x="500750" y="14138"/>
                </a:lnTo>
                <a:lnTo>
                  <a:pt x="485407" y="3793"/>
                </a:lnTo>
                <a:lnTo>
                  <a:pt x="466614" y="0"/>
                </a:lnTo>
                <a:close/>
              </a:path>
              <a:path w="514984" h="499109">
                <a:moveTo>
                  <a:pt x="514884" y="225260"/>
                </a:moveTo>
                <a:lnTo>
                  <a:pt x="313760" y="225260"/>
                </a:lnTo>
                <a:lnTo>
                  <a:pt x="323132" y="227164"/>
                </a:lnTo>
                <a:lnTo>
                  <a:pt x="330806" y="232348"/>
                </a:lnTo>
                <a:lnTo>
                  <a:pt x="335991" y="240023"/>
                </a:lnTo>
                <a:lnTo>
                  <a:pt x="337895" y="249395"/>
                </a:lnTo>
                <a:lnTo>
                  <a:pt x="337895" y="257437"/>
                </a:lnTo>
                <a:lnTo>
                  <a:pt x="331573" y="269961"/>
                </a:lnTo>
                <a:lnTo>
                  <a:pt x="314332" y="280189"/>
                </a:lnTo>
                <a:lnTo>
                  <a:pt x="288760" y="287085"/>
                </a:lnTo>
                <a:lnTo>
                  <a:pt x="257447" y="289614"/>
                </a:lnTo>
                <a:lnTo>
                  <a:pt x="514884" y="289614"/>
                </a:lnTo>
                <a:lnTo>
                  <a:pt x="514884" y="225260"/>
                </a:lnTo>
                <a:close/>
              </a:path>
              <a:path w="514984" h="499109">
                <a:moveTo>
                  <a:pt x="369433" y="112624"/>
                </a:moveTo>
                <a:lnTo>
                  <a:pt x="144173" y="112624"/>
                </a:lnTo>
                <a:lnTo>
                  <a:pt x="156697" y="115153"/>
                </a:lnTo>
                <a:lnTo>
                  <a:pt x="166925" y="122051"/>
                </a:lnTo>
                <a:lnTo>
                  <a:pt x="173821" y="132282"/>
                </a:lnTo>
                <a:lnTo>
                  <a:pt x="176350" y="144812"/>
                </a:lnTo>
                <a:lnTo>
                  <a:pt x="173821" y="157336"/>
                </a:lnTo>
                <a:lnTo>
                  <a:pt x="166925" y="167564"/>
                </a:lnTo>
                <a:lnTo>
                  <a:pt x="156697" y="174460"/>
                </a:lnTo>
                <a:lnTo>
                  <a:pt x="144173" y="176989"/>
                </a:lnTo>
                <a:lnTo>
                  <a:pt x="369433" y="176989"/>
                </a:lnTo>
                <a:lnTo>
                  <a:pt x="356909" y="174460"/>
                </a:lnTo>
                <a:lnTo>
                  <a:pt x="346681" y="167564"/>
                </a:lnTo>
                <a:lnTo>
                  <a:pt x="339785" y="157336"/>
                </a:lnTo>
                <a:lnTo>
                  <a:pt x="337256" y="144812"/>
                </a:lnTo>
                <a:lnTo>
                  <a:pt x="339785" y="132282"/>
                </a:lnTo>
                <a:lnTo>
                  <a:pt x="346681" y="122051"/>
                </a:lnTo>
                <a:lnTo>
                  <a:pt x="356909" y="115153"/>
                </a:lnTo>
                <a:lnTo>
                  <a:pt x="369433" y="112624"/>
                </a:lnTo>
                <a:close/>
              </a:path>
              <a:path w="514984" h="499109">
                <a:moveTo>
                  <a:pt x="514884" y="112624"/>
                </a:moveTo>
                <a:lnTo>
                  <a:pt x="369433" y="112624"/>
                </a:lnTo>
                <a:lnTo>
                  <a:pt x="381957" y="115153"/>
                </a:lnTo>
                <a:lnTo>
                  <a:pt x="392185" y="122051"/>
                </a:lnTo>
                <a:lnTo>
                  <a:pt x="399081" y="132282"/>
                </a:lnTo>
                <a:lnTo>
                  <a:pt x="401610" y="144812"/>
                </a:lnTo>
                <a:lnTo>
                  <a:pt x="399081" y="157336"/>
                </a:lnTo>
                <a:lnTo>
                  <a:pt x="392185" y="167564"/>
                </a:lnTo>
                <a:lnTo>
                  <a:pt x="381957" y="174460"/>
                </a:lnTo>
                <a:lnTo>
                  <a:pt x="369433" y="176989"/>
                </a:lnTo>
                <a:lnTo>
                  <a:pt x="514884" y="176989"/>
                </a:lnTo>
                <a:lnTo>
                  <a:pt x="514884" y="112624"/>
                </a:lnTo>
                <a:close/>
              </a:path>
            </a:pathLst>
          </a:custGeom>
          <a:solidFill>
            <a:srgbClr val="FFFFFF"/>
          </a:solidFill>
        </p:spPr>
        <p:txBody>
          <a:bodyPr wrap="square" lIns="0" tIns="0" rIns="0" bIns="0" rtlCol="0"/>
          <a:lstStyle/>
          <a:p>
            <a:endParaRPr/>
          </a:p>
        </p:txBody>
      </p:sp>
      <p:sp>
        <p:nvSpPr>
          <p:cNvPr id="7" name="object 7"/>
          <p:cNvSpPr txBox="1"/>
          <p:nvPr/>
        </p:nvSpPr>
        <p:spPr>
          <a:xfrm>
            <a:off x="3234200" y="4479863"/>
            <a:ext cx="1256361" cy="253804"/>
          </a:xfrm>
          <a:prstGeom prst="rect">
            <a:avLst/>
          </a:prstGeom>
        </p:spPr>
        <p:txBody>
          <a:bodyPr vert="horz" wrap="square" lIns="0" tIns="7509" rIns="0" bIns="0" rtlCol="0">
            <a:spAutoFit/>
          </a:bodyPr>
          <a:lstStyle/>
          <a:p>
            <a:pPr marL="5776">
              <a:spcBef>
                <a:spcPts val="59"/>
              </a:spcBef>
            </a:pPr>
            <a:r>
              <a:rPr sz="800" b="1" dirty="0">
                <a:latin typeface="Helvetica Neue"/>
                <a:cs typeface="Helvetica Neue"/>
              </a:rPr>
              <a:t>Oui, pour tous vos</a:t>
            </a:r>
            <a:r>
              <a:rPr sz="800" b="1" spc="-82" dirty="0">
                <a:latin typeface="Helvetica Neue"/>
                <a:cs typeface="Helvetica Neue"/>
              </a:rPr>
              <a:t> </a:t>
            </a:r>
            <a:r>
              <a:rPr sz="800" b="1" spc="-2" dirty="0">
                <a:latin typeface="Helvetica Neue"/>
                <a:cs typeface="Helvetica Neue"/>
              </a:rPr>
              <a:t>besoins</a:t>
            </a:r>
            <a:endParaRPr sz="800">
              <a:latin typeface="Helvetica Neue"/>
              <a:cs typeface="Helvetica Neue"/>
            </a:endParaRPr>
          </a:p>
        </p:txBody>
      </p:sp>
      <p:sp>
        <p:nvSpPr>
          <p:cNvPr id="8" name="object 8"/>
          <p:cNvSpPr txBox="1"/>
          <p:nvPr/>
        </p:nvSpPr>
        <p:spPr>
          <a:xfrm>
            <a:off x="4800496" y="4479863"/>
            <a:ext cx="2115886" cy="253804"/>
          </a:xfrm>
          <a:prstGeom prst="rect">
            <a:avLst/>
          </a:prstGeom>
        </p:spPr>
        <p:txBody>
          <a:bodyPr vert="horz" wrap="square" lIns="0" tIns="7509" rIns="0" bIns="0" rtlCol="0">
            <a:spAutoFit/>
          </a:bodyPr>
          <a:lstStyle/>
          <a:p>
            <a:pPr marL="5776">
              <a:spcBef>
                <a:spcPts val="59"/>
              </a:spcBef>
            </a:pPr>
            <a:r>
              <a:rPr sz="800" b="1" spc="-9" dirty="0">
                <a:latin typeface="Helvetica Neue"/>
                <a:cs typeface="Helvetica Neue"/>
              </a:rPr>
              <a:t>Oui,</a:t>
            </a:r>
            <a:r>
              <a:rPr sz="800" b="1" spc="-39" dirty="0">
                <a:latin typeface="Helvetica Neue"/>
                <a:cs typeface="Helvetica Neue"/>
              </a:rPr>
              <a:t> </a:t>
            </a:r>
            <a:r>
              <a:rPr sz="800" b="1" spc="-9" dirty="0">
                <a:latin typeface="Helvetica Neue"/>
                <a:cs typeface="Helvetica Neue"/>
              </a:rPr>
              <a:t>mais</a:t>
            </a:r>
            <a:r>
              <a:rPr sz="800" b="1" spc="-36" dirty="0">
                <a:latin typeface="Helvetica Neue"/>
                <a:cs typeface="Helvetica Neue"/>
              </a:rPr>
              <a:t> </a:t>
            </a:r>
            <a:r>
              <a:rPr sz="800" b="1" spc="-11" dirty="0">
                <a:latin typeface="Helvetica Neue"/>
                <a:cs typeface="Helvetica Neue"/>
              </a:rPr>
              <a:t>seulement</a:t>
            </a:r>
            <a:r>
              <a:rPr sz="800" b="1" spc="-36" dirty="0">
                <a:latin typeface="Helvetica Neue"/>
                <a:cs typeface="Helvetica Neue"/>
              </a:rPr>
              <a:t> </a:t>
            </a:r>
            <a:r>
              <a:rPr sz="800" b="1" spc="-9" dirty="0">
                <a:latin typeface="Helvetica Neue"/>
                <a:cs typeface="Helvetica Neue"/>
              </a:rPr>
              <a:t>pour</a:t>
            </a:r>
            <a:r>
              <a:rPr sz="800" b="1" spc="-36" dirty="0">
                <a:latin typeface="Helvetica Neue"/>
                <a:cs typeface="Helvetica Neue"/>
              </a:rPr>
              <a:t> </a:t>
            </a:r>
            <a:r>
              <a:rPr sz="800" b="1" spc="-7" dirty="0">
                <a:latin typeface="Helvetica Neue"/>
                <a:cs typeface="Helvetica Neue"/>
              </a:rPr>
              <a:t>des</a:t>
            </a:r>
            <a:r>
              <a:rPr sz="800" b="1" spc="-36" dirty="0">
                <a:latin typeface="Helvetica Neue"/>
                <a:cs typeface="Helvetica Neue"/>
              </a:rPr>
              <a:t> </a:t>
            </a:r>
            <a:r>
              <a:rPr sz="800" b="1" spc="-11" dirty="0">
                <a:latin typeface="Helvetica Neue"/>
                <a:cs typeface="Helvetica Neue"/>
              </a:rPr>
              <a:t>besoins</a:t>
            </a:r>
            <a:r>
              <a:rPr sz="800" b="1" spc="-36" dirty="0">
                <a:latin typeface="Helvetica Neue"/>
                <a:cs typeface="Helvetica Neue"/>
              </a:rPr>
              <a:t> </a:t>
            </a:r>
            <a:r>
              <a:rPr sz="800" b="1" spc="-14" dirty="0">
                <a:latin typeface="Helvetica Neue"/>
                <a:cs typeface="Helvetica Neue"/>
              </a:rPr>
              <a:t>simples</a:t>
            </a:r>
            <a:endParaRPr sz="800">
              <a:latin typeface="Helvetica Neue"/>
              <a:cs typeface="Helvetica Neue"/>
            </a:endParaRPr>
          </a:p>
        </p:txBody>
      </p:sp>
      <p:sp>
        <p:nvSpPr>
          <p:cNvPr id="9" name="object 9"/>
          <p:cNvSpPr txBox="1"/>
          <p:nvPr/>
        </p:nvSpPr>
        <p:spPr>
          <a:xfrm>
            <a:off x="7226300" y="4479863"/>
            <a:ext cx="203328" cy="131692"/>
          </a:xfrm>
          <a:prstGeom prst="rect">
            <a:avLst/>
          </a:prstGeom>
        </p:spPr>
        <p:txBody>
          <a:bodyPr vert="horz" wrap="square" lIns="0" tIns="7509" rIns="0" bIns="0" rtlCol="0">
            <a:spAutoFit/>
          </a:bodyPr>
          <a:lstStyle/>
          <a:p>
            <a:pPr marL="5776">
              <a:spcBef>
                <a:spcPts val="59"/>
              </a:spcBef>
            </a:pPr>
            <a:r>
              <a:rPr sz="800" b="1" dirty="0">
                <a:latin typeface="Helvetica Neue"/>
                <a:cs typeface="Helvetica Neue"/>
              </a:rPr>
              <a:t>Non</a:t>
            </a:r>
            <a:endParaRPr sz="800">
              <a:latin typeface="Helvetica Neue"/>
              <a:cs typeface="Helvetica Neue"/>
            </a:endParaRPr>
          </a:p>
        </p:txBody>
      </p:sp>
      <p:sp>
        <p:nvSpPr>
          <p:cNvPr id="10" name="object 10"/>
          <p:cNvSpPr txBox="1"/>
          <p:nvPr/>
        </p:nvSpPr>
        <p:spPr>
          <a:xfrm>
            <a:off x="7739463" y="4479863"/>
            <a:ext cx="214303" cy="253804"/>
          </a:xfrm>
          <a:prstGeom prst="rect">
            <a:avLst/>
          </a:prstGeom>
        </p:spPr>
        <p:txBody>
          <a:bodyPr vert="horz" wrap="square" lIns="0" tIns="7509" rIns="0" bIns="0" rtlCol="0">
            <a:spAutoFit/>
          </a:bodyPr>
          <a:lstStyle/>
          <a:p>
            <a:pPr marL="5776">
              <a:spcBef>
                <a:spcPts val="59"/>
              </a:spcBef>
            </a:pPr>
            <a:r>
              <a:rPr sz="800" b="1" dirty="0">
                <a:latin typeface="Helvetica Neue"/>
                <a:cs typeface="Helvetica Neue"/>
              </a:rPr>
              <a:t>NSP</a:t>
            </a:r>
            <a:endParaRPr sz="800">
              <a:latin typeface="Helvetica Neue"/>
              <a:cs typeface="Helvetica Neue"/>
            </a:endParaRPr>
          </a:p>
        </p:txBody>
      </p:sp>
      <p:sp>
        <p:nvSpPr>
          <p:cNvPr id="15" name="object 15"/>
          <p:cNvSpPr txBox="1"/>
          <p:nvPr/>
        </p:nvSpPr>
        <p:spPr>
          <a:xfrm>
            <a:off x="3365501" y="2154381"/>
            <a:ext cx="354958" cy="220984"/>
          </a:xfrm>
          <a:prstGeom prst="rect">
            <a:avLst/>
          </a:prstGeom>
        </p:spPr>
        <p:txBody>
          <a:bodyPr vert="horz" wrap="square" lIns="0" tIns="5487" rIns="0" bIns="0" rtlCol="0">
            <a:spAutoFit/>
          </a:bodyPr>
          <a:lstStyle/>
          <a:p>
            <a:pPr marL="5776">
              <a:spcBef>
                <a:spcPts val="43"/>
              </a:spcBef>
            </a:pPr>
            <a:r>
              <a:rPr sz="700" spc="-2" dirty="0">
                <a:solidFill>
                  <a:srgbClr val="1D1D1B"/>
                </a:solidFill>
                <a:latin typeface="Helvetica Neue"/>
                <a:cs typeface="Helvetica Neue"/>
              </a:rPr>
              <a:t>N =</a:t>
            </a:r>
            <a:r>
              <a:rPr sz="700" spc="-34" dirty="0">
                <a:solidFill>
                  <a:srgbClr val="1D1D1B"/>
                </a:solidFill>
                <a:latin typeface="Helvetica Neue"/>
                <a:cs typeface="Helvetica Neue"/>
              </a:rPr>
              <a:t> </a:t>
            </a:r>
            <a:r>
              <a:rPr sz="700" spc="-2" dirty="0">
                <a:solidFill>
                  <a:srgbClr val="1D1D1B"/>
                </a:solidFill>
                <a:latin typeface="Helvetica Neue"/>
                <a:cs typeface="Helvetica Neue"/>
              </a:rPr>
              <a:t>1986</a:t>
            </a:r>
            <a:endParaRPr sz="700">
              <a:latin typeface="Helvetica Neue"/>
              <a:cs typeface="Helvetica Neue"/>
            </a:endParaRPr>
          </a:p>
        </p:txBody>
      </p:sp>
      <p:sp>
        <p:nvSpPr>
          <p:cNvPr id="16" name="object 16"/>
          <p:cNvSpPr txBox="1"/>
          <p:nvPr/>
        </p:nvSpPr>
        <p:spPr>
          <a:xfrm>
            <a:off x="5387096" y="2154381"/>
            <a:ext cx="308458" cy="220984"/>
          </a:xfrm>
          <a:prstGeom prst="rect">
            <a:avLst/>
          </a:prstGeom>
        </p:spPr>
        <p:txBody>
          <a:bodyPr vert="horz" wrap="square" lIns="0" tIns="5487" rIns="0" bIns="0" rtlCol="0">
            <a:spAutoFit/>
          </a:bodyPr>
          <a:lstStyle/>
          <a:p>
            <a:pPr marL="5776">
              <a:spcBef>
                <a:spcPts val="43"/>
              </a:spcBef>
            </a:pPr>
            <a:r>
              <a:rPr sz="700" spc="-2" dirty="0">
                <a:solidFill>
                  <a:srgbClr val="1D1D1B"/>
                </a:solidFill>
                <a:latin typeface="Helvetica Neue"/>
                <a:cs typeface="Helvetica Neue"/>
              </a:rPr>
              <a:t>N =</a:t>
            </a:r>
            <a:r>
              <a:rPr sz="700" spc="-34" dirty="0">
                <a:solidFill>
                  <a:srgbClr val="1D1D1B"/>
                </a:solidFill>
                <a:latin typeface="Helvetica Neue"/>
                <a:cs typeface="Helvetica Neue"/>
              </a:rPr>
              <a:t> </a:t>
            </a:r>
            <a:r>
              <a:rPr sz="700" spc="-2" dirty="0">
                <a:solidFill>
                  <a:srgbClr val="1D1D1B"/>
                </a:solidFill>
                <a:latin typeface="Helvetica Neue"/>
                <a:cs typeface="Helvetica Neue"/>
              </a:rPr>
              <a:t>433</a:t>
            </a:r>
            <a:endParaRPr sz="700">
              <a:latin typeface="Helvetica Neue"/>
              <a:cs typeface="Helvetica Neue"/>
            </a:endParaRPr>
          </a:p>
        </p:txBody>
      </p:sp>
      <p:sp>
        <p:nvSpPr>
          <p:cNvPr id="17" name="object 17"/>
          <p:cNvSpPr/>
          <p:nvPr/>
        </p:nvSpPr>
        <p:spPr>
          <a:xfrm>
            <a:off x="3596271" y="1789047"/>
            <a:ext cx="111773" cy="317967"/>
          </a:xfrm>
          <a:custGeom>
            <a:avLst/>
            <a:gdLst/>
            <a:ahLst/>
            <a:cxnLst/>
            <a:rect l="l" t="t" r="r" b="b"/>
            <a:pathLst>
              <a:path w="245745" h="699135">
                <a:moveTo>
                  <a:pt x="0" y="0"/>
                </a:moveTo>
                <a:lnTo>
                  <a:pt x="0" y="699109"/>
                </a:lnTo>
                <a:lnTo>
                  <a:pt x="41603" y="681038"/>
                </a:lnTo>
                <a:lnTo>
                  <a:pt x="80398" y="658249"/>
                </a:lnTo>
                <a:lnTo>
                  <a:pt x="116014" y="631102"/>
                </a:lnTo>
                <a:lnTo>
                  <a:pt x="148081" y="599962"/>
                </a:lnTo>
                <a:lnTo>
                  <a:pt x="176230" y="565190"/>
                </a:lnTo>
                <a:lnTo>
                  <a:pt x="200090" y="527150"/>
                </a:lnTo>
                <a:lnTo>
                  <a:pt x="219292" y="486205"/>
                </a:lnTo>
                <a:lnTo>
                  <a:pt x="233466" y="442716"/>
                </a:lnTo>
                <a:lnTo>
                  <a:pt x="242241" y="397047"/>
                </a:lnTo>
                <a:lnTo>
                  <a:pt x="245249" y="349560"/>
                </a:lnTo>
                <a:lnTo>
                  <a:pt x="242241" y="302073"/>
                </a:lnTo>
                <a:lnTo>
                  <a:pt x="233466" y="256403"/>
                </a:lnTo>
                <a:lnTo>
                  <a:pt x="219292" y="212914"/>
                </a:lnTo>
                <a:lnTo>
                  <a:pt x="200090" y="171968"/>
                </a:lnTo>
                <a:lnTo>
                  <a:pt x="176230" y="133927"/>
                </a:lnTo>
                <a:lnTo>
                  <a:pt x="148081" y="99155"/>
                </a:lnTo>
                <a:lnTo>
                  <a:pt x="116014" y="68013"/>
                </a:lnTo>
                <a:lnTo>
                  <a:pt x="80398" y="40865"/>
                </a:lnTo>
                <a:lnTo>
                  <a:pt x="41603" y="18073"/>
                </a:lnTo>
                <a:lnTo>
                  <a:pt x="0" y="0"/>
                </a:lnTo>
                <a:close/>
              </a:path>
            </a:pathLst>
          </a:custGeom>
          <a:solidFill>
            <a:srgbClr val="C60E33"/>
          </a:solidFill>
        </p:spPr>
        <p:txBody>
          <a:bodyPr wrap="square" lIns="0" tIns="0" rIns="0" bIns="0" rtlCol="0"/>
          <a:lstStyle/>
          <a:p>
            <a:endParaRPr/>
          </a:p>
        </p:txBody>
      </p:sp>
      <p:sp>
        <p:nvSpPr>
          <p:cNvPr id="18" name="object 18"/>
          <p:cNvSpPr/>
          <p:nvPr/>
        </p:nvSpPr>
        <p:spPr>
          <a:xfrm>
            <a:off x="3369188" y="1789047"/>
            <a:ext cx="111773" cy="317967"/>
          </a:xfrm>
          <a:custGeom>
            <a:avLst/>
            <a:gdLst/>
            <a:ahLst/>
            <a:cxnLst/>
            <a:rect l="l" t="t" r="r" b="b"/>
            <a:pathLst>
              <a:path w="245745" h="699135">
                <a:moveTo>
                  <a:pt x="245249" y="0"/>
                </a:moveTo>
                <a:lnTo>
                  <a:pt x="203645" y="18073"/>
                </a:lnTo>
                <a:lnTo>
                  <a:pt x="164850" y="40865"/>
                </a:lnTo>
                <a:lnTo>
                  <a:pt x="129234" y="68013"/>
                </a:lnTo>
                <a:lnTo>
                  <a:pt x="97167" y="99155"/>
                </a:lnTo>
                <a:lnTo>
                  <a:pt x="69018" y="133927"/>
                </a:lnTo>
                <a:lnTo>
                  <a:pt x="45158" y="171968"/>
                </a:lnTo>
                <a:lnTo>
                  <a:pt x="25956" y="212914"/>
                </a:lnTo>
                <a:lnTo>
                  <a:pt x="11782" y="256403"/>
                </a:lnTo>
                <a:lnTo>
                  <a:pt x="3007" y="302073"/>
                </a:lnTo>
                <a:lnTo>
                  <a:pt x="0" y="349560"/>
                </a:lnTo>
                <a:lnTo>
                  <a:pt x="3007" y="397047"/>
                </a:lnTo>
                <a:lnTo>
                  <a:pt x="11782" y="442716"/>
                </a:lnTo>
                <a:lnTo>
                  <a:pt x="25956" y="486205"/>
                </a:lnTo>
                <a:lnTo>
                  <a:pt x="45158" y="527150"/>
                </a:lnTo>
                <a:lnTo>
                  <a:pt x="69018" y="565190"/>
                </a:lnTo>
                <a:lnTo>
                  <a:pt x="97167" y="599962"/>
                </a:lnTo>
                <a:lnTo>
                  <a:pt x="129234" y="631102"/>
                </a:lnTo>
                <a:lnTo>
                  <a:pt x="164850" y="658249"/>
                </a:lnTo>
                <a:lnTo>
                  <a:pt x="203645" y="681038"/>
                </a:lnTo>
                <a:lnTo>
                  <a:pt x="245249" y="699109"/>
                </a:lnTo>
                <a:lnTo>
                  <a:pt x="245249" y="0"/>
                </a:lnTo>
                <a:close/>
              </a:path>
            </a:pathLst>
          </a:custGeom>
          <a:solidFill>
            <a:srgbClr val="354083"/>
          </a:solidFill>
        </p:spPr>
        <p:txBody>
          <a:bodyPr wrap="square" lIns="0" tIns="0" rIns="0" bIns="0" rtlCol="0"/>
          <a:lstStyle/>
          <a:p>
            <a:endParaRPr/>
          </a:p>
        </p:txBody>
      </p:sp>
      <p:sp>
        <p:nvSpPr>
          <p:cNvPr id="19" name="object 19"/>
          <p:cNvSpPr/>
          <p:nvPr/>
        </p:nvSpPr>
        <p:spPr>
          <a:xfrm>
            <a:off x="3480739" y="1778723"/>
            <a:ext cx="115527" cy="338761"/>
          </a:xfrm>
          <a:custGeom>
            <a:avLst/>
            <a:gdLst/>
            <a:ahLst/>
            <a:cxnLst/>
            <a:rect l="l" t="t" r="r" b="b"/>
            <a:pathLst>
              <a:path w="254000" h="744854">
                <a:moveTo>
                  <a:pt x="127001" y="0"/>
                </a:moveTo>
                <a:lnTo>
                  <a:pt x="93888" y="1517"/>
                </a:lnTo>
                <a:lnTo>
                  <a:pt x="61627" y="5939"/>
                </a:lnTo>
                <a:lnTo>
                  <a:pt x="30302" y="13066"/>
                </a:lnTo>
                <a:lnTo>
                  <a:pt x="0" y="22700"/>
                </a:lnTo>
                <a:lnTo>
                  <a:pt x="0" y="721810"/>
                </a:lnTo>
                <a:lnTo>
                  <a:pt x="30302" y="731446"/>
                </a:lnTo>
                <a:lnTo>
                  <a:pt x="61627" y="738576"/>
                </a:lnTo>
                <a:lnTo>
                  <a:pt x="93888" y="743002"/>
                </a:lnTo>
                <a:lnTo>
                  <a:pt x="127001" y="744521"/>
                </a:lnTo>
                <a:lnTo>
                  <a:pt x="160113" y="743002"/>
                </a:lnTo>
                <a:lnTo>
                  <a:pt x="192375" y="738576"/>
                </a:lnTo>
                <a:lnTo>
                  <a:pt x="223699" y="731446"/>
                </a:lnTo>
                <a:lnTo>
                  <a:pt x="254002" y="721810"/>
                </a:lnTo>
                <a:lnTo>
                  <a:pt x="254002" y="22700"/>
                </a:lnTo>
                <a:lnTo>
                  <a:pt x="223699" y="13066"/>
                </a:lnTo>
                <a:lnTo>
                  <a:pt x="192375" y="5939"/>
                </a:lnTo>
                <a:lnTo>
                  <a:pt x="160113" y="1517"/>
                </a:lnTo>
                <a:lnTo>
                  <a:pt x="127001" y="0"/>
                </a:lnTo>
                <a:close/>
              </a:path>
            </a:pathLst>
          </a:custGeom>
          <a:solidFill>
            <a:srgbClr val="FFFFFF"/>
          </a:solidFill>
        </p:spPr>
        <p:txBody>
          <a:bodyPr wrap="square" lIns="0" tIns="0" rIns="0" bIns="0" rtlCol="0"/>
          <a:lstStyle/>
          <a:p>
            <a:endParaRPr/>
          </a:p>
        </p:txBody>
      </p:sp>
      <p:sp>
        <p:nvSpPr>
          <p:cNvPr id="20" name="object 20"/>
          <p:cNvSpPr txBox="1"/>
          <p:nvPr/>
        </p:nvSpPr>
        <p:spPr>
          <a:xfrm>
            <a:off x="7386666" y="2151884"/>
            <a:ext cx="354958" cy="220984"/>
          </a:xfrm>
          <a:prstGeom prst="rect">
            <a:avLst/>
          </a:prstGeom>
        </p:spPr>
        <p:txBody>
          <a:bodyPr vert="horz" wrap="square" lIns="0" tIns="5487" rIns="0" bIns="0" rtlCol="0">
            <a:spAutoFit/>
          </a:bodyPr>
          <a:lstStyle/>
          <a:p>
            <a:pPr marL="5776">
              <a:spcBef>
                <a:spcPts val="43"/>
              </a:spcBef>
            </a:pPr>
            <a:r>
              <a:rPr sz="700" spc="-2" dirty="0">
                <a:solidFill>
                  <a:srgbClr val="1D1D1B"/>
                </a:solidFill>
                <a:latin typeface="Helvetica Neue"/>
                <a:cs typeface="Helvetica Neue"/>
              </a:rPr>
              <a:t>N =</a:t>
            </a:r>
            <a:r>
              <a:rPr sz="700" spc="-34" dirty="0">
                <a:solidFill>
                  <a:srgbClr val="1D1D1B"/>
                </a:solidFill>
                <a:latin typeface="Helvetica Neue"/>
                <a:cs typeface="Helvetica Neue"/>
              </a:rPr>
              <a:t> </a:t>
            </a:r>
            <a:r>
              <a:rPr sz="700" spc="-2" dirty="0">
                <a:solidFill>
                  <a:srgbClr val="1D1D1B"/>
                </a:solidFill>
                <a:latin typeface="Helvetica Neue"/>
                <a:cs typeface="Helvetica Neue"/>
              </a:rPr>
              <a:t>1992</a:t>
            </a:r>
            <a:endParaRPr sz="700">
              <a:latin typeface="Helvetica Neue"/>
              <a:cs typeface="Helvetica Neue"/>
            </a:endParaRPr>
          </a:p>
        </p:txBody>
      </p:sp>
      <p:sp>
        <p:nvSpPr>
          <p:cNvPr id="21" name="object 21"/>
          <p:cNvSpPr/>
          <p:nvPr/>
        </p:nvSpPr>
        <p:spPr>
          <a:xfrm>
            <a:off x="7393291" y="1776221"/>
            <a:ext cx="337637" cy="337614"/>
          </a:xfrm>
          <a:prstGeom prst="rect">
            <a:avLst/>
          </a:prstGeom>
          <a:blipFill>
            <a:blip r:embed="rId2" cstate="print"/>
            <a:stretch>
              <a:fillRect/>
            </a:stretch>
          </a:blipFill>
        </p:spPr>
        <p:txBody>
          <a:bodyPr wrap="square" lIns="0" tIns="0" rIns="0" bIns="0" rtlCol="0"/>
          <a:lstStyle/>
          <a:p>
            <a:endParaRPr/>
          </a:p>
        </p:txBody>
      </p:sp>
      <p:sp>
        <p:nvSpPr>
          <p:cNvPr id="22" name="object 22"/>
          <p:cNvSpPr/>
          <p:nvPr/>
        </p:nvSpPr>
        <p:spPr>
          <a:xfrm>
            <a:off x="3538502" y="2373517"/>
            <a:ext cx="140366" cy="735570"/>
          </a:xfrm>
          <a:custGeom>
            <a:avLst/>
            <a:gdLst/>
            <a:ahLst/>
            <a:cxnLst/>
            <a:rect l="l" t="t" r="r" b="b"/>
            <a:pathLst>
              <a:path w="308609" h="1617345">
                <a:moveTo>
                  <a:pt x="0" y="0"/>
                </a:moveTo>
                <a:lnTo>
                  <a:pt x="0" y="1617123"/>
                </a:lnTo>
                <a:lnTo>
                  <a:pt x="308576" y="29705"/>
                </a:lnTo>
                <a:lnTo>
                  <a:pt x="256631" y="20404"/>
                </a:lnTo>
                <a:lnTo>
                  <a:pt x="205635" y="12915"/>
                </a:lnTo>
                <a:lnTo>
                  <a:pt x="155030" y="7184"/>
                </a:lnTo>
                <a:lnTo>
                  <a:pt x="104261" y="3157"/>
                </a:lnTo>
                <a:lnTo>
                  <a:pt x="52770" y="780"/>
                </a:lnTo>
                <a:lnTo>
                  <a:pt x="0" y="0"/>
                </a:lnTo>
                <a:close/>
              </a:path>
            </a:pathLst>
          </a:custGeom>
          <a:solidFill>
            <a:srgbClr val="808080"/>
          </a:solidFill>
        </p:spPr>
        <p:txBody>
          <a:bodyPr wrap="square" lIns="0" tIns="0" rIns="0" bIns="0" rtlCol="0"/>
          <a:lstStyle/>
          <a:p>
            <a:endParaRPr/>
          </a:p>
        </p:txBody>
      </p:sp>
      <p:sp>
        <p:nvSpPr>
          <p:cNvPr id="23" name="object 23"/>
          <p:cNvSpPr/>
          <p:nvPr/>
        </p:nvSpPr>
        <p:spPr>
          <a:xfrm>
            <a:off x="3538503" y="2387027"/>
            <a:ext cx="571861" cy="721996"/>
          </a:xfrm>
          <a:custGeom>
            <a:avLst/>
            <a:gdLst/>
            <a:ahLst/>
            <a:cxnLst/>
            <a:rect l="l" t="t" r="r" b="b"/>
            <a:pathLst>
              <a:path w="1257300" h="1587500">
                <a:moveTo>
                  <a:pt x="308576" y="0"/>
                </a:moveTo>
                <a:lnTo>
                  <a:pt x="0" y="1587417"/>
                </a:lnTo>
                <a:lnTo>
                  <a:pt x="1256757" y="569731"/>
                </a:lnTo>
                <a:lnTo>
                  <a:pt x="1224115" y="530555"/>
                </a:lnTo>
                <a:lnTo>
                  <a:pt x="1190703" y="492694"/>
                </a:lnTo>
                <a:lnTo>
                  <a:pt x="1156518" y="456148"/>
                </a:lnTo>
                <a:lnTo>
                  <a:pt x="1121560" y="420916"/>
                </a:lnTo>
                <a:lnTo>
                  <a:pt x="1085827" y="386997"/>
                </a:lnTo>
                <a:lnTo>
                  <a:pt x="1049318" y="354389"/>
                </a:lnTo>
                <a:lnTo>
                  <a:pt x="1012031" y="323093"/>
                </a:lnTo>
                <a:lnTo>
                  <a:pt x="973965" y="293107"/>
                </a:lnTo>
                <a:lnTo>
                  <a:pt x="935119" y="264431"/>
                </a:lnTo>
                <a:lnTo>
                  <a:pt x="895491" y="237064"/>
                </a:lnTo>
                <a:lnTo>
                  <a:pt x="855080" y="211004"/>
                </a:lnTo>
                <a:lnTo>
                  <a:pt x="813884" y="186252"/>
                </a:lnTo>
                <a:lnTo>
                  <a:pt x="771903" y="162805"/>
                </a:lnTo>
                <a:lnTo>
                  <a:pt x="729135" y="140664"/>
                </a:lnTo>
                <a:lnTo>
                  <a:pt x="685578" y="119828"/>
                </a:lnTo>
                <a:lnTo>
                  <a:pt x="641232" y="100295"/>
                </a:lnTo>
                <a:lnTo>
                  <a:pt x="596094" y="82065"/>
                </a:lnTo>
                <a:lnTo>
                  <a:pt x="550164" y="65138"/>
                </a:lnTo>
                <a:lnTo>
                  <a:pt x="503439" y="49511"/>
                </a:lnTo>
                <a:lnTo>
                  <a:pt x="455920" y="35185"/>
                </a:lnTo>
                <a:lnTo>
                  <a:pt x="407604" y="22158"/>
                </a:lnTo>
                <a:lnTo>
                  <a:pt x="358490" y="10430"/>
                </a:lnTo>
                <a:lnTo>
                  <a:pt x="308576" y="0"/>
                </a:lnTo>
                <a:close/>
              </a:path>
            </a:pathLst>
          </a:custGeom>
          <a:solidFill>
            <a:srgbClr val="FF7900"/>
          </a:solidFill>
        </p:spPr>
        <p:txBody>
          <a:bodyPr wrap="square" lIns="0" tIns="0" rIns="0" bIns="0" rtlCol="0"/>
          <a:lstStyle/>
          <a:p>
            <a:endParaRPr/>
          </a:p>
        </p:txBody>
      </p:sp>
      <p:sp>
        <p:nvSpPr>
          <p:cNvPr id="24" name="object 24"/>
          <p:cNvSpPr/>
          <p:nvPr/>
        </p:nvSpPr>
        <p:spPr>
          <a:xfrm>
            <a:off x="3398166" y="2646141"/>
            <a:ext cx="877431" cy="1198513"/>
          </a:xfrm>
          <a:custGeom>
            <a:avLst/>
            <a:gdLst/>
            <a:ahLst/>
            <a:cxnLst/>
            <a:rect l="l" t="t" r="r" b="b"/>
            <a:pathLst>
              <a:path w="1929129" h="2635250">
                <a:moveTo>
                  <a:pt x="1565303" y="0"/>
                </a:moveTo>
                <a:lnTo>
                  <a:pt x="308545" y="1017686"/>
                </a:lnTo>
                <a:lnTo>
                  <a:pt x="0" y="2605114"/>
                </a:lnTo>
                <a:lnTo>
                  <a:pt x="47788" y="2613675"/>
                </a:lnTo>
                <a:lnTo>
                  <a:pt x="95498" y="2620778"/>
                </a:lnTo>
                <a:lnTo>
                  <a:pt x="143106" y="2626439"/>
                </a:lnTo>
                <a:lnTo>
                  <a:pt x="190589" y="2630674"/>
                </a:lnTo>
                <a:lnTo>
                  <a:pt x="237922" y="2633499"/>
                </a:lnTo>
                <a:lnTo>
                  <a:pt x="285083" y="2634929"/>
                </a:lnTo>
                <a:lnTo>
                  <a:pt x="332047" y="2634980"/>
                </a:lnTo>
                <a:lnTo>
                  <a:pt x="378792" y="2633669"/>
                </a:lnTo>
                <a:lnTo>
                  <a:pt x="425295" y="2631010"/>
                </a:lnTo>
                <a:lnTo>
                  <a:pt x="471530" y="2627020"/>
                </a:lnTo>
                <a:lnTo>
                  <a:pt x="517476" y="2621715"/>
                </a:lnTo>
                <a:lnTo>
                  <a:pt x="563109" y="2615110"/>
                </a:lnTo>
                <a:lnTo>
                  <a:pt x="608405" y="2607221"/>
                </a:lnTo>
                <a:lnTo>
                  <a:pt x="653340" y="2598065"/>
                </a:lnTo>
                <a:lnTo>
                  <a:pt x="697892" y="2587656"/>
                </a:lnTo>
                <a:lnTo>
                  <a:pt x="742037" y="2576011"/>
                </a:lnTo>
                <a:lnTo>
                  <a:pt x="785751" y="2563145"/>
                </a:lnTo>
                <a:lnTo>
                  <a:pt x="829011" y="2549075"/>
                </a:lnTo>
                <a:lnTo>
                  <a:pt x="871793" y="2533816"/>
                </a:lnTo>
                <a:lnTo>
                  <a:pt x="914074" y="2517384"/>
                </a:lnTo>
                <a:lnTo>
                  <a:pt x="955831" y="2499795"/>
                </a:lnTo>
                <a:lnTo>
                  <a:pt x="997040" y="2481065"/>
                </a:lnTo>
                <a:lnTo>
                  <a:pt x="1037678" y="2461209"/>
                </a:lnTo>
                <a:lnTo>
                  <a:pt x="1077720" y="2440243"/>
                </a:lnTo>
                <a:lnTo>
                  <a:pt x="1117145" y="2418184"/>
                </a:lnTo>
                <a:lnTo>
                  <a:pt x="1155927" y="2395046"/>
                </a:lnTo>
                <a:lnTo>
                  <a:pt x="1194044" y="2370846"/>
                </a:lnTo>
                <a:lnTo>
                  <a:pt x="1231473" y="2345600"/>
                </a:lnTo>
                <a:lnTo>
                  <a:pt x="1268189" y="2319324"/>
                </a:lnTo>
                <a:lnTo>
                  <a:pt x="1304170" y="2292032"/>
                </a:lnTo>
                <a:lnTo>
                  <a:pt x="1339391" y="2263742"/>
                </a:lnTo>
                <a:lnTo>
                  <a:pt x="1373830" y="2234468"/>
                </a:lnTo>
                <a:lnTo>
                  <a:pt x="1407463" y="2204228"/>
                </a:lnTo>
                <a:lnTo>
                  <a:pt x="1440267" y="2173036"/>
                </a:lnTo>
                <a:lnTo>
                  <a:pt x="1472217" y="2140908"/>
                </a:lnTo>
                <a:lnTo>
                  <a:pt x="1503291" y="2107861"/>
                </a:lnTo>
                <a:lnTo>
                  <a:pt x="1533465" y="2073909"/>
                </a:lnTo>
                <a:lnTo>
                  <a:pt x="1562716" y="2039070"/>
                </a:lnTo>
                <a:lnTo>
                  <a:pt x="1591020" y="2003358"/>
                </a:lnTo>
                <a:lnTo>
                  <a:pt x="1618354" y="1966790"/>
                </a:lnTo>
                <a:lnTo>
                  <a:pt x="1644694" y="1929381"/>
                </a:lnTo>
                <a:lnTo>
                  <a:pt x="1670017" y="1891147"/>
                </a:lnTo>
                <a:lnTo>
                  <a:pt x="1694299" y="1852105"/>
                </a:lnTo>
                <a:lnTo>
                  <a:pt x="1717517" y="1812269"/>
                </a:lnTo>
                <a:lnTo>
                  <a:pt x="1739647" y="1771656"/>
                </a:lnTo>
                <a:lnTo>
                  <a:pt x="1760667" y="1730281"/>
                </a:lnTo>
                <a:lnTo>
                  <a:pt x="1780552" y="1688161"/>
                </a:lnTo>
                <a:lnTo>
                  <a:pt x="1799279" y="1645310"/>
                </a:lnTo>
                <a:lnTo>
                  <a:pt x="1816824" y="1601746"/>
                </a:lnTo>
                <a:lnTo>
                  <a:pt x="1833165" y="1557484"/>
                </a:lnTo>
                <a:lnTo>
                  <a:pt x="1848277" y="1512539"/>
                </a:lnTo>
                <a:lnTo>
                  <a:pt x="1862137" y="1466928"/>
                </a:lnTo>
                <a:lnTo>
                  <a:pt x="1874723" y="1420665"/>
                </a:lnTo>
                <a:lnTo>
                  <a:pt x="1886009" y="1373768"/>
                </a:lnTo>
                <a:lnTo>
                  <a:pt x="1895973" y="1326252"/>
                </a:lnTo>
                <a:lnTo>
                  <a:pt x="1905108" y="1275623"/>
                </a:lnTo>
                <a:lnTo>
                  <a:pt x="1912768" y="1225314"/>
                </a:lnTo>
                <a:lnTo>
                  <a:pt x="1918955" y="1175327"/>
                </a:lnTo>
                <a:lnTo>
                  <a:pt x="1923669" y="1125667"/>
                </a:lnTo>
                <a:lnTo>
                  <a:pt x="1926911" y="1076337"/>
                </a:lnTo>
                <a:lnTo>
                  <a:pt x="1928682" y="1027339"/>
                </a:lnTo>
                <a:lnTo>
                  <a:pt x="1928983" y="978678"/>
                </a:lnTo>
                <a:lnTo>
                  <a:pt x="1927814" y="930357"/>
                </a:lnTo>
                <a:lnTo>
                  <a:pt x="1925177" y="882379"/>
                </a:lnTo>
                <a:lnTo>
                  <a:pt x="1921072" y="834747"/>
                </a:lnTo>
                <a:lnTo>
                  <a:pt x="1915500" y="787464"/>
                </a:lnTo>
                <a:lnTo>
                  <a:pt x="1908462" y="740535"/>
                </a:lnTo>
                <a:lnTo>
                  <a:pt x="1899958" y="693962"/>
                </a:lnTo>
                <a:lnTo>
                  <a:pt x="1889991" y="647749"/>
                </a:lnTo>
                <a:lnTo>
                  <a:pt x="1878559" y="601900"/>
                </a:lnTo>
                <a:lnTo>
                  <a:pt x="1865665" y="556416"/>
                </a:lnTo>
                <a:lnTo>
                  <a:pt x="1851309" y="511302"/>
                </a:lnTo>
                <a:lnTo>
                  <a:pt x="1835491" y="466562"/>
                </a:lnTo>
                <a:lnTo>
                  <a:pt x="1818214" y="422198"/>
                </a:lnTo>
                <a:lnTo>
                  <a:pt x="1799477" y="378214"/>
                </a:lnTo>
                <a:lnTo>
                  <a:pt x="1779281" y="334613"/>
                </a:lnTo>
                <a:lnTo>
                  <a:pt x="1757627" y="291398"/>
                </a:lnTo>
                <a:lnTo>
                  <a:pt x="1734517" y="248573"/>
                </a:lnTo>
                <a:lnTo>
                  <a:pt x="1709950" y="206142"/>
                </a:lnTo>
                <a:lnTo>
                  <a:pt x="1683928" y="164107"/>
                </a:lnTo>
                <a:lnTo>
                  <a:pt x="1656451" y="122472"/>
                </a:lnTo>
                <a:lnTo>
                  <a:pt x="1627521" y="81240"/>
                </a:lnTo>
                <a:lnTo>
                  <a:pt x="1597138" y="40415"/>
                </a:lnTo>
                <a:lnTo>
                  <a:pt x="1565303" y="0"/>
                </a:lnTo>
                <a:close/>
              </a:path>
            </a:pathLst>
          </a:custGeom>
          <a:solidFill>
            <a:srgbClr val="FFB400"/>
          </a:solidFill>
        </p:spPr>
        <p:txBody>
          <a:bodyPr wrap="square" lIns="0" tIns="0" rIns="0" bIns="0" rtlCol="0"/>
          <a:lstStyle/>
          <a:p>
            <a:endParaRPr/>
          </a:p>
        </p:txBody>
      </p:sp>
      <p:sp>
        <p:nvSpPr>
          <p:cNvPr id="25" name="object 25"/>
          <p:cNvSpPr/>
          <p:nvPr/>
        </p:nvSpPr>
        <p:spPr>
          <a:xfrm>
            <a:off x="2802987" y="2373517"/>
            <a:ext cx="735621" cy="1457566"/>
          </a:xfrm>
          <a:custGeom>
            <a:avLst/>
            <a:gdLst/>
            <a:ahLst/>
            <a:cxnLst/>
            <a:rect l="l" t="t" r="r" b="b"/>
            <a:pathLst>
              <a:path w="1617345" h="3204845">
                <a:moveTo>
                  <a:pt x="1617113" y="0"/>
                </a:moveTo>
                <a:lnTo>
                  <a:pt x="1568569" y="714"/>
                </a:lnTo>
                <a:lnTo>
                  <a:pt x="1520381" y="2845"/>
                </a:lnTo>
                <a:lnTo>
                  <a:pt x="1472568" y="6372"/>
                </a:lnTo>
                <a:lnTo>
                  <a:pt x="1425150" y="11275"/>
                </a:lnTo>
                <a:lnTo>
                  <a:pt x="1378148" y="17533"/>
                </a:lnTo>
                <a:lnTo>
                  <a:pt x="1331582" y="25128"/>
                </a:lnTo>
                <a:lnTo>
                  <a:pt x="1285470" y="34039"/>
                </a:lnTo>
                <a:lnTo>
                  <a:pt x="1239835" y="44246"/>
                </a:lnTo>
                <a:lnTo>
                  <a:pt x="1194695" y="55729"/>
                </a:lnTo>
                <a:lnTo>
                  <a:pt x="1150070" y="68468"/>
                </a:lnTo>
                <a:lnTo>
                  <a:pt x="1105981" y="82442"/>
                </a:lnTo>
                <a:lnTo>
                  <a:pt x="1062447" y="97633"/>
                </a:lnTo>
                <a:lnTo>
                  <a:pt x="1019489" y="114020"/>
                </a:lnTo>
                <a:lnTo>
                  <a:pt x="977127" y="131582"/>
                </a:lnTo>
                <a:lnTo>
                  <a:pt x="935380" y="150300"/>
                </a:lnTo>
                <a:lnTo>
                  <a:pt x="894269" y="170155"/>
                </a:lnTo>
                <a:lnTo>
                  <a:pt x="853813" y="191125"/>
                </a:lnTo>
                <a:lnTo>
                  <a:pt x="814033" y="213191"/>
                </a:lnTo>
                <a:lnTo>
                  <a:pt x="774948" y="236333"/>
                </a:lnTo>
                <a:lnTo>
                  <a:pt x="736579" y="260530"/>
                </a:lnTo>
                <a:lnTo>
                  <a:pt x="698946" y="285764"/>
                </a:lnTo>
                <a:lnTo>
                  <a:pt x="662068" y="312013"/>
                </a:lnTo>
                <a:lnTo>
                  <a:pt x="625966" y="339258"/>
                </a:lnTo>
                <a:lnTo>
                  <a:pt x="590660" y="367479"/>
                </a:lnTo>
                <a:lnTo>
                  <a:pt x="556169" y="396656"/>
                </a:lnTo>
                <a:lnTo>
                  <a:pt x="522514" y="426768"/>
                </a:lnTo>
                <a:lnTo>
                  <a:pt x="489715" y="457796"/>
                </a:lnTo>
                <a:lnTo>
                  <a:pt x="457791" y="489720"/>
                </a:lnTo>
                <a:lnTo>
                  <a:pt x="426763" y="522520"/>
                </a:lnTo>
                <a:lnTo>
                  <a:pt x="396651" y="556175"/>
                </a:lnTo>
                <a:lnTo>
                  <a:pt x="367475" y="590666"/>
                </a:lnTo>
                <a:lnTo>
                  <a:pt x="339254" y="625972"/>
                </a:lnTo>
                <a:lnTo>
                  <a:pt x="312009" y="662075"/>
                </a:lnTo>
                <a:lnTo>
                  <a:pt x="285760" y="698953"/>
                </a:lnTo>
                <a:lnTo>
                  <a:pt x="260527" y="736586"/>
                </a:lnTo>
                <a:lnTo>
                  <a:pt x="236330" y="774956"/>
                </a:lnTo>
                <a:lnTo>
                  <a:pt x="213188" y="814040"/>
                </a:lnTo>
                <a:lnTo>
                  <a:pt x="191123" y="853821"/>
                </a:lnTo>
                <a:lnTo>
                  <a:pt x="170153" y="894277"/>
                </a:lnTo>
                <a:lnTo>
                  <a:pt x="150299" y="935388"/>
                </a:lnTo>
                <a:lnTo>
                  <a:pt x="131580" y="977136"/>
                </a:lnTo>
                <a:lnTo>
                  <a:pt x="114018" y="1019498"/>
                </a:lnTo>
                <a:lnTo>
                  <a:pt x="97632" y="1062457"/>
                </a:lnTo>
                <a:lnTo>
                  <a:pt x="82441" y="1105990"/>
                </a:lnTo>
                <a:lnTo>
                  <a:pt x="68467" y="1150080"/>
                </a:lnTo>
                <a:lnTo>
                  <a:pt x="55728" y="1194704"/>
                </a:lnTo>
                <a:lnTo>
                  <a:pt x="44245" y="1239845"/>
                </a:lnTo>
                <a:lnTo>
                  <a:pt x="34039" y="1285481"/>
                </a:lnTo>
                <a:lnTo>
                  <a:pt x="25128" y="1331592"/>
                </a:lnTo>
                <a:lnTo>
                  <a:pt x="17533" y="1378158"/>
                </a:lnTo>
                <a:lnTo>
                  <a:pt x="11274" y="1425161"/>
                </a:lnTo>
                <a:lnTo>
                  <a:pt x="6372" y="1472578"/>
                </a:lnTo>
                <a:lnTo>
                  <a:pt x="2845" y="1520391"/>
                </a:lnTo>
                <a:lnTo>
                  <a:pt x="714" y="1568579"/>
                </a:lnTo>
                <a:lnTo>
                  <a:pt x="0" y="1617123"/>
                </a:lnTo>
                <a:lnTo>
                  <a:pt x="696" y="1666067"/>
                </a:lnTo>
                <a:lnTo>
                  <a:pt x="2775" y="1714641"/>
                </a:lnTo>
                <a:lnTo>
                  <a:pt x="6219" y="1762824"/>
                </a:lnTo>
                <a:lnTo>
                  <a:pt x="11013" y="1810598"/>
                </a:lnTo>
                <a:lnTo>
                  <a:pt x="17140" y="1857943"/>
                </a:lnTo>
                <a:lnTo>
                  <a:pt x="24583" y="1904837"/>
                </a:lnTo>
                <a:lnTo>
                  <a:pt x="33327" y="1951262"/>
                </a:lnTo>
                <a:lnTo>
                  <a:pt x="43354" y="1997197"/>
                </a:lnTo>
                <a:lnTo>
                  <a:pt x="54648" y="2042623"/>
                </a:lnTo>
                <a:lnTo>
                  <a:pt x="67193" y="2087520"/>
                </a:lnTo>
                <a:lnTo>
                  <a:pt x="80973" y="2131867"/>
                </a:lnTo>
                <a:lnTo>
                  <a:pt x="95970" y="2175645"/>
                </a:lnTo>
                <a:lnTo>
                  <a:pt x="112169" y="2218834"/>
                </a:lnTo>
                <a:lnTo>
                  <a:pt x="129554" y="2261414"/>
                </a:lnTo>
                <a:lnTo>
                  <a:pt x="148107" y="2303364"/>
                </a:lnTo>
                <a:lnTo>
                  <a:pt x="167812" y="2344667"/>
                </a:lnTo>
                <a:lnTo>
                  <a:pt x="188653" y="2385300"/>
                </a:lnTo>
                <a:lnTo>
                  <a:pt x="210614" y="2425244"/>
                </a:lnTo>
                <a:lnTo>
                  <a:pt x="233678" y="2464480"/>
                </a:lnTo>
                <a:lnTo>
                  <a:pt x="257829" y="2502988"/>
                </a:lnTo>
                <a:lnTo>
                  <a:pt x="283049" y="2540747"/>
                </a:lnTo>
                <a:lnTo>
                  <a:pt x="309324" y="2577737"/>
                </a:lnTo>
                <a:lnTo>
                  <a:pt x="336636" y="2613940"/>
                </a:lnTo>
                <a:lnTo>
                  <a:pt x="364969" y="2649334"/>
                </a:lnTo>
                <a:lnTo>
                  <a:pt x="394306" y="2683900"/>
                </a:lnTo>
                <a:lnTo>
                  <a:pt x="424632" y="2717618"/>
                </a:lnTo>
                <a:lnTo>
                  <a:pt x="455929" y="2750468"/>
                </a:lnTo>
                <a:lnTo>
                  <a:pt x="488182" y="2782430"/>
                </a:lnTo>
                <a:lnTo>
                  <a:pt x="521374" y="2813484"/>
                </a:lnTo>
                <a:lnTo>
                  <a:pt x="555488" y="2843611"/>
                </a:lnTo>
                <a:lnTo>
                  <a:pt x="590508" y="2872790"/>
                </a:lnTo>
                <a:lnTo>
                  <a:pt x="626418" y="2901002"/>
                </a:lnTo>
                <a:lnTo>
                  <a:pt x="663200" y="2928226"/>
                </a:lnTo>
                <a:lnTo>
                  <a:pt x="700840" y="2954443"/>
                </a:lnTo>
                <a:lnTo>
                  <a:pt x="739320" y="2979632"/>
                </a:lnTo>
                <a:lnTo>
                  <a:pt x="778625" y="3003774"/>
                </a:lnTo>
                <a:lnTo>
                  <a:pt x="818736" y="3026850"/>
                </a:lnTo>
                <a:lnTo>
                  <a:pt x="859639" y="3048838"/>
                </a:lnTo>
                <a:lnTo>
                  <a:pt x="901316" y="3069719"/>
                </a:lnTo>
                <a:lnTo>
                  <a:pt x="943752" y="3089473"/>
                </a:lnTo>
                <a:lnTo>
                  <a:pt x="986930" y="3108081"/>
                </a:lnTo>
                <a:lnTo>
                  <a:pt x="1030833" y="3125522"/>
                </a:lnTo>
                <a:lnTo>
                  <a:pt x="1075445" y="3141776"/>
                </a:lnTo>
                <a:lnTo>
                  <a:pt x="1120750" y="3156824"/>
                </a:lnTo>
                <a:lnTo>
                  <a:pt x="1166731" y="3170645"/>
                </a:lnTo>
                <a:lnTo>
                  <a:pt x="1213372" y="3183220"/>
                </a:lnTo>
                <a:lnTo>
                  <a:pt x="1260656" y="3194529"/>
                </a:lnTo>
                <a:lnTo>
                  <a:pt x="1308567" y="3204551"/>
                </a:lnTo>
                <a:lnTo>
                  <a:pt x="1617113" y="1617123"/>
                </a:lnTo>
                <a:lnTo>
                  <a:pt x="1617113" y="0"/>
                </a:lnTo>
                <a:close/>
              </a:path>
            </a:pathLst>
          </a:custGeom>
          <a:solidFill>
            <a:srgbClr val="5A5A5A"/>
          </a:solidFill>
        </p:spPr>
        <p:txBody>
          <a:bodyPr wrap="square" lIns="0" tIns="0" rIns="0" bIns="0" rtlCol="0"/>
          <a:lstStyle/>
          <a:p>
            <a:endParaRPr/>
          </a:p>
        </p:txBody>
      </p:sp>
      <p:sp>
        <p:nvSpPr>
          <p:cNvPr id="26" name="object 26"/>
          <p:cNvSpPr/>
          <p:nvPr/>
        </p:nvSpPr>
        <p:spPr>
          <a:xfrm>
            <a:off x="6825051" y="2373516"/>
            <a:ext cx="736777" cy="1093680"/>
          </a:xfrm>
          <a:custGeom>
            <a:avLst/>
            <a:gdLst/>
            <a:ahLst/>
            <a:cxnLst/>
            <a:rect l="l" t="t" r="r" b="b"/>
            <a:pathLst>
              <a:path w="1619884" h="2404745">
                <a:moveTo>
                  <a:pt x="1619565" y="0"/>
                </a:moveTo>
                <a:lnTo>
                  <a:pt x="1566332" y="755"/>
                </a:lnTo>
                <a:lnTo>
                  <a:pt x="1513923" y="3033"/>
                </a:lnTo>
                <a:lnTo>
                  <a:pt x="1462281" y="6847"/>
                </a:lnTo>
                <a:lnTo>
                  <a:pt x="1411348" y="12213"/>
                </a:lnTo>
                <a:lnTo>
                  <a:pt x="1361066" y="19145"/>
                </a:lnTo>
                <a:lnTo>
                  <a:pt x="1311378" y="27658"/>
                </a:lnTo>
                <a:lnTo>
                  <a:pt x="1262225" y="37767"/>
                </a:lnTo>
                <a:lnTo>
                  <a:pt x="1213551" y="49488"/>
                </a:lnTo>
                <a:lnTo>
                  <a:pt x="1165298" y="62834"/>
                </a:lnTo>
                <a:lnTo>
                  <a:pt x="1117408" y="77820"/>
                </a:lnTo>
                <a:lnTo>
                  <a:pt x="1069823" y="94463"/>
                </a:lnTo>
                <a:lnTo>
                  <a:pt x="1022485" y="112776"/>
                </a:lnTo>
                <a:lnTo>
                  <a:pt x="975338" y="132774"/>
                </a:lnTo>
                <a:lnTo>
                  <a:pt x="928323" y="154473"/>
                </a:lnTo>
                <a:lnTo>
                  <a:pt x="881382" y="177886"/>
                </a:lnTo>
                <a:lnTo>
                  <a:pt x="834458" y="203030"/>
                </a:lnTo>
                <a:lnTo>
                  <a:pt x="792288" y="227225"/>
                </a:lnTo>
                <a:lnTo>
                  <a:pt x="751116" y="252487"/>
                </a:lnTo>
                <a:lnTo>
                  <a:pt x="710950" y="278790"/>
                </a:lnTo>
                <a:lnTo>
                  <a:pt x="671799" y="306107"/>
                </a:lnTo>
                <a:lnTo>
                  <a:pt x="633670" y="334409"/>
                </a:lnTo>
                <a:lnTo>
                  <a:pt x="596571" y="363670"/>
                </a:lnTo>
                <a:lnTo>
                  <a:pt x="560510" y="393862"/>
                </a:lnTo>
                <a:lnTo>
                  <a:pt x="525495" y="424958"/>
                </a:lnTo>
                <a:lnTo>
                  <a:pt x="491533" y="456932"/>
                </a:lnTo>
                <a:lnTo>
                  <a:pt x="458632" y="489755"/>
                </a:lnTo>
                <a:lnTo>
                  <a:pt x="426800" y="523401"/>
                </a:lnTo>
                <a:lnTo>
                  <a:pt x="396046" y="557841"/>
                </a:lnTo>
                <a:lnTo>
                  <a:pt x="366375" y="593050"/>
                </a:lnTo>
                <a:lnTo>
                  <a:pt x="337798" y="629000"/>
                </a:lnTo>
                <a:lnTo>
                  <a:pt x="310321" y="665663"/>
                </a:lnTo>
                <a:lnTo>
                  <a:pt x="283951" y="703013"/>
                </a:lnTo>
                <a:lnTo>
                  <a:pt x="258698" y="741021"/>
                </a:lnTo>
                <a:lnTo>
                  <a:pt x="234569" y="779661"/>
                </a:lnTo>
                <a:lnTo>
                  <a:pt x="211571" y="818906"/>
                </a:lnTo>
                <a:lnTo>
                  <a:pt x="189712" y="858728"/>
                </a:lnTo>
                <a:lnTo>
                  <a:pt x="169001" y="899100"/>
                </a:lnTo>
                <a:lnTo>
                  <a:pt x="149445" y="939995"/>
                </a:lnTo>
                <a:lnTo>
                  <a:pt x="131051" y="981385"/>
                </a:lnTo>
                <a:lnTo>
                  <a:pt x="113828" y="1023244"/>
                </a:lnTo>
                <a:lnTo>
                  <a:pt x="97784" y="1065544"/>
                </a:lnTo>
                <a:lnTo>
                  <a:pt x="82926" y="1108258"/>
                </a:lnTo>
                <a:lnTo>
                  <a:pt x="69262" y="1151358"/>
                </a:lnTo>
                <a:lnTo>
                  <a:pt x="56799" y="1194818"/>
                </a:lnTo>
                <a:lnTo>
                  <a:pt x="45547" y="1238610"/>
                </a:lnTo>
                <a:lnTo>
                  <a:pt x="35512" y="1282707"/>
                </a:lnTo>
                <a:lnTo>
                  <a:pt x="26702" y="1327081"/>
                </a:lnTo>
                <a:lnTo>
                  <a:pt x="19126" y="1371706"/>
                </a:lnTo>
                <a:lnTo>
                  <a:pt x="12790" y="1416553"/>
                </a:lnTo>
                <a:lnTo>
                  <a:pt x="7703" y="1461597"/>
                </a:lnTo>
                <a:lnTo>
                  <a:pt x="3873" y="1506810"/>
                </a:lnTo>
                <a:lnTo>
                  <a:pt x="1307" y="1552163"/>
                </a:lnTo>
                <a:lnTo>
                  <a:pt x="13" y="1597631"/>
                </a:lnTo>
                <a:lnTo>
                  <a:pt x="0" y="1643186"/>
                </a:lnTo>
                <a:lnTo>
                  <a:pt x="1274" y="1688801"/>
                </a:lnTo>
                <a:lnTo>
                  <a:pt x="3843" y="1734448"/>
                </a:lnTo>
                <a:lnTo>
                  <a:pt x="7717" y="1780100"/>
                </a:lnTo>
                <a:lnTo>
                  <a:pt x="12901" y="1825731"/>
                </a:lnTo>
                <a:lnTo>
                  <a:pt x="19405" y="1871312"/>
                </a:lnTo>
                <a:lnTo>
                  <a:pt x="27235" y="1916816"/>
                </a:lnTo>
                <a:lnTo>
                  <a:pt x="36400" y="1962217"/>
                </a:lnTo>
                <a:lnTo>
                  <a:pt x="46908" y="2007486"/>
                </a:lnTo>
                <a:lnTo>
                  <a:pt x="58766" y="2052598"/>
                </a:lnTo>
                <a:lnTo>
                  <a:pt x="71982" y="2097524"/>
                </a:lnTo>
                <a:lnTo>
                  <a:pt x="86564" y="2142237"/>
                </a:lnTo>
                <a:lnTo>
                  <a:pt x="102520" y="2186710"/>
                </a:lnTo>
                <a:lnTo>
                  <a:pt x="119857" y="2230916"/>
                </a:lnTo>
                <a:lnTo>
                  <a:pt x="138584" y="2274828"/>
                </a:lnTo>
                <a:lnTo>
                  <a:pt x="158708" y="2318418"/>
                </a:lnTo>
                <a:lnTo>
                  <a:pt x="180237" y="2361658"/>
                </a:lnTo>
                <a:lnTo>
                  <a:pt x="203179" y="2404523"/>
                </a:lnTo>
                <a:lnTo>
                  <a:pt x="1619565" y="1619427"/>
                </a:lnTo>
                <a:lnTo>
                  <a:pt x="1619565" y="0"/>
                </a:lnTo>
                <a:close/>
              </a:path>
            </a:pathLst>
          </a:custGeom>
          <a:solidFill>
            <a:srgbClr val="5A5A5A"/>
          </a:solidFill>
        </p:spPr>
        <p:txBody>
          <a:bodyPr wrap="square" lIns="0" tIns="0" rIns="0" bIns="0" rtlCol="0"/>
          <a:lstStyle/>
          <a:p>
            <a:endParaRPr/>
          </a:p>
        </p:txBody>
      </p:sp>
      <p:sp>
        <p:nvSpPr>
          <p:cNvPr id="27" name="object 27"/>
          <p:cNvSpPr/>
          <p:nvPr/>
        </p:nvSpPr>
        <p:spPr>
          <a:xfrm>
            <a:off x="6917464" y="2787157"/>
            <a:ext cx="1381131" cy="1059024"/>
          </a:xfrm>
          <a:custGeom>
            <a:avLst/>
            <a:gdLst/>
            <a:ahLst/>
            <a:cxnLst/>
            <a:rect l="l" t="t" r="r" b="b"/>
            <a:pathLst>
              <a:path w="3036569" h="2328545">
                <a:moveTo>
                  <a:pt x="2871912" y="0"/>
                </a:moveTo>
                <a:lnTo>
                  <a:pt x="1416386" y="709926"/>
                </a:lnTo>
                <a:lnTo>
                  <a:pt x="0" y="1495022"/>
                </a:lnTo>
                <a:lnTo>
                  <a:pt x="24115" y="1537042"/>
                </a:lnTo>
                <a:lnTo>
                  <a:pt x="49318" y="1578081"/>
                </a:lnTo>
                <a:lnTo>
                  <a:pt x="75580" y="1618130"/>
                </a:lnTo>
                <a:lnTo>
                  <a:pt x="102874" y="1657181"/>
                </a:lnTo>
                <a:lnTo>
                  <a:pt x="131172" y="1695224"/>
                </a:lnTo>
                <a:lnTo>
                  <a:pt x="160447" y="1732252"/>
                </a:lnTo>
                <a:lnTo>
                  <a:pt x="190670" y="1768256"/>
                </a:lnTo>
                <a:lnTo>
                  <a:pt x="221814" y="1803225"/>
                </a:lnTo>
                <a:lnTo>
                  <a:pt x="253851" y="1837153"/>
                </a:lnTo>
                <a:lnTo>
                  <a:pt x="286753" y="1870030"/>
                </a:lnTo>
                <a:lnTo>
                  <a:pt x="320493" y="1901847"/>
                </a:lnTo>
                <a:lnTo>
                  <a:pt x="355042" y="1932596"/>
                </a:lnTo>
                <a:lnTo>
                  <a:pt x="390374" y="1962268"/>
                </a:lnTo>
                <a:lnTo>
                  <a:pt x="426460" y="1990854"/>
                </a:lnTo>
                <a:lnTo>
                  <a:pt x="463272" y="2018345"/>
                </a:lnTo>
                <a:lnTo>
                  <a:pt x="500832" y="2044765"/>
                </a:lnTo>
                <a:lnTo>
                  <a:pt x="538966" y="2070009"/>
                </a:lnTo>
                <a:lnTo>
                  <a:pt x="577791" y="2094163"/>
                </a:lnTo>
                <a:lnTo>
                  <a:pt x="617232" y="2117189"/>
                </a:lnTo>
                <a:lnTo>
                  <a:pt x="657261" y="2139076"/>
                </a:lnTo>
                <a:lnTo>
                  <a:pt x="697850" y="2159815"/>
                </a:lnTo>
                <a:lnTo>
                  <a:pt x="738971" y="2179399"/>
                </a:lnTo>
                <a:lnTo>
                  <a:pt x="780597" y="2197819"/>
                </a:lnTo>
                <a:lnTo>
                  <a:pt x="822699" y="2215065"/>
                </a:lnTo>
                <a:lnTo>
                  <a:pt x="865250" y="2231128"/>
                </a:lnTo>
                <a:lnTo>
                  <a:pt x="908223" y="2246001"/>
                </a:lnTo>
                <a:lnTo>
                  <a:pt x="951589" y="2259675"/>
                </a:lnTo>
                <a:lnTo>
                  <a:pt x="995321" y="2272140"/>
                </a:lnTo>
                <a:lnTo>
                  <a:pt x="1039391" y="2283387"/>
                </a:lnTo>
                <a:lnTo>
                  <a:pt x="1083771" y="2293409"/>
                </a:lnTo>
                <a:lnTo>
                  <a:pt x="1128433" y="2302197"/>
                </a:lnTo>
                <a:lnTo>
                  <a:pt x="1173351" y="2309741"/>
                </a:lnTo>
                <a:lnTo>
                  <a:pt x="1218495" y="2316033"/>
                </a:lnTo>
                <a:lnTo>
                  <a:pt x="1263838" y="2321064"/>
                </a:lnTo>
                <a:lnTo>
                  <a:pt x="1309353" y="2324825"/>
                </a:lnTo>
                <a:lnTo>
                  <a:pt x="1355012" y="2327308"/>
                </a:lnTo>
                <a:lnTo>
                  <a:pt x="1400786" y="2328504"/>
                </a:lnTo>
                <a:lnTo>
                  <a:pt x="1446649" y="2328404"/>
                </a:lnTo>
                <a:lnTo>
                  <a:pt x="1492572" y="2327000"/>
                </a:lnTo>
                <a:lnTo>
                  <a:pt x="1538528" y="2324282"/>
                </a:lnTo>
                <a:lnTo>
                  <a:pt x="1584489" y="2320242"/>
                </a:lnTo>
                <a:lnTo>
                  <a:pt x="1630427" y="2314871"/>
                </a:lnTo>
                <a:lnTo>
                  <a:pt x="1676314" y="2308160"/>
                </a:lnTo>
                <a:lnTo>
                  <a:pt x="1722123" y="2300101"/>
                </a:lnTo>
                <a:lnTo>
                  <a:pt x="1767826" y="2290686"/>
                </a:lnTo>
                <a:lnTo>
                  <a:pt x="1813395" y="2279904"/>
                </a:lnTo>
                <a:lnTo>
                  <a:pt x="1858803" y="2267747"/>
                </a:lnTo>
                <a:lnTo>
                  <a:pt x="1904021" y="2254207"/>
                </a:lnTo>
                <a:lnTo>
                  <a:pt x="1949023" y="2239276"/>
                </a:lnTo>
                <a:lnTo>
                  <a:pt x="1993779" y="2222943"/>
                </a:lnTo>
                <a:lnTo>
                  <a:pt x="2038263" y="2205200"/>
                </a:lnTo>
                <a:lnTo>
                  <a:pt x="2082446" y="2186040"/>
                </a:lnTo>
                <a:lnTo>
                  <a:pt x="2126301" y="2165452"/>
                </a:lnTo>
                <a:lnTo>
                  <a:pt x="2169680" y="2143498"/>
                </a:lnTo>
                <a:lnTo>
                  <a:pt x="2212117" y="2120426"/>
                </a:lnTo>
                <a:lnTo>
                  <a:pt x="2253604" y="2096261"/>
                </a:lnTo>
                <a:lnTo>
                  <a:pt x="2294130" y="2071032"/>
                </a:lnTo>
                <a:lnTo>
                  <a:pt x="2333733" y="2044733"/>
                </a:lnTo>
                <a:lnTo>
                  <a:pt x="2372266" y="2017487"/>
                </a:lnTo>
                <a:lnTo>
                  <a:pt x="2409858" y="1989223"/>
                </a:lnTo>
                <a:lnTo>
                  <a:pt x="2446452" y="1960003"/>
                </a:lnTo>
                <a:lnTo>
                  <a:pt x="2482040" y="1929851"/>
                </a:lnTo>
                <a:lnTo>
                  <a:pt x="2516614" y="1898795"/>
                </a:lnTo>
                <a:lnTo>
                  <a:pt x="2550162" y="1866862"/>
                </a:lnTo>
                <a:lnTo>
                  <a:pt x="2582677" y="1834078"/>
                </a:lnTo>
                <a:lnTo>
                  <a:pt x="2614148" y="1800471"/>
                </a:lnTo>
                <a:lnTo>
                  <a:pt x="2644568" y="1766066"/>
                </a:lnTo>
                <a:lnTo>
                  <a:pt x="2673926" y="1730891"/>
                </a:lnTo>
                <a:lnTo>
                  <a:pt x="2702213" y="1694973"/>
                </a:lnTo>
                <a:lnTo>
                  <a:pt x="2729421" y="1658339"/>
                </a:lnTo>
                <a:lnTo>
                  <a:pt x="2755539" y="1621015"/>
                </a:lnTo>
                <a:lnTo>
                  <a:pt x="2780559" y="1583027"/>
                </a:lnTo>
                <a:lnTo>
                  <a:pt x="2804471" y="1544404"/>
                </a:lnTo>
                <a:lnTo>
                  <a:pt x="2827267" y="1505171"/>
                </a:lnTo>
                <a:lnTo>
                  <a:pt x="2848936" y="1465355"/>
                </a:lnTo>
                <a:lnTo>
                  <a:pt x="2869470" y="1424984"/>
                </a:lnTo>
                <a:lnTo>
                  <a:pt x="2888860" y="1384084"/>
                </a:lnTo>
                <a:lnTo>
                  <a:pt x="2907096" y="1342682"/>
                </a:lnTo>
                <a:lnTo>
                  <a:pt x="2924169" y="1300804"/>
                </a:lnTo>
                <a:lnTo>
                  <a:pt x="2940069" y="1258477"/>
                </a:lnTo>
                <a:lnTo>
                  <a:pt x="2954789" y="1215729"/>
                </a:lnTo>
                <a:lnTo>
                  <a:pt x="2968317" y="1172586"/>
                </a:lnTo>
                <a:lnTo>
                  <a:pt x="2980646" y="1129074"/>
                </a:lnTo>
                <a:lnTo>
                  <a:pt x="2991766" y="1085222"/>
                </a:lnTo>
                <a:lnTo>
                  <a:pt x="3001667" y="1041054"/>
                </a:lnTo>
                <a:lnTo>
                  <a:pt x="3010341" y="996599"/>
                </a:lnTo>
                <a:lnTo>
                  <a:pt x="3017778" y="951882"/>
                </a:lnTo>
                <a:lnTo>
                  <a:pt x="3023969" y="906932"/>
                </a:lnTo>
                <a:lnTo>
                  <a:pt x="3028904" y="861774"/>
                </a:lnTo>
                <a:lnTo>
                  <a:pt x="3032576" y="816435"/>
                </a:lnTo>
                <a:lnTo>
                  <a:pt x="3034973" y="770943"/>
                </a:lnTo>
                <a:lnTo>
                  <a:pt x="3036088" y="725323"/>
                </a:lnTo>
                <a:lnTo>
                  <a:pt x="3035910" y="679604"/>
                </a:lnTo>
                <a:lnTo>
                  <a:pt x="3034431" y="633810"/>
                </a:lnTo>
                <a:lnTo>
                  <a:pt x="3031642" y="587971"/>
                </a:lnTo>
                <a:lnTo>
                  <a:pt x="3027532" y="542111"/>
                </a:lnTo>
                <a:lnTo>
                  <a:pt x="3022094" y="496258"/>
                </a:lnTo>
                <a:lnTo>
                  <a:pt x="3015317" y="450439"/>
                </a:lnTo>
                <a:lnTo>
                  <a:pt x="3007193" y="404681"/>
                </a:lnTo>
                <a:lnTo>
                  <a:pt x="2997711" y="359009"/>
                </a:lnTo>
                <a:lnTo>
                  <a:pt x="2986864" y="313452"/>
                </a:lnTo>
                <a:lnTo>
                  <a:pt x="2974642" y="268036"/>
                </a:lnTo>
                <a:lnTo>
                  <a:pt x="2961035" y="222788"/>
                </a:lnTo>
                <a:lnTo>
                  <a:pt x="2946035" y="177734"/>
                </a:lnTo>
                <a:lnTo>
                  <a:pt x="2929632" y="132901"/>
                </a:lnTo>
                <a:lnTo>
                  <a:pt x="2911816" y="88317"/>
                </a:lnTo>
                <a:lnTo>
                  <a:pt x="2892579" y="44007"/>
                </a:lnTo>
                <a:lnTo>
                  <a:pt x="2871912" y="0"/>
                </a:lnTo>
                <a:close/>
              </a:path>
            </a:pathLst>
          </a:custGeom>
          <a:solidFill>
            <a:srgbClr val="FFB400"/>
          </a:solidFill>
        </p:spPr>
        <p:txBody>
          <a:bodyPr wrap="square" lIns="0" tIns="0" rIns="0" bIns="0" rtlCol="0"/>
          <a:lstStyle/>
          <a:p>
            <a:endParaRPr/>
          </a:p>
        </p:txBody>
      </p:sp>
      <p:sp>
        <p:nvSpPr>
          <p:cNvPr id="28" name="object 28"/>
          <p:cNvSpPr/>
          <p:nvPr/>
        </p:nvSpPr>
        <p:spPr>
          <a:xfrm>
            <a:off x="7561683" y="2374525"/>
            <a:ext cx="662261" cy="735570"/>
          </a:xfrm>
          <a:custGeom>
            <a:avLst/>
            <a:gdLst/>
            <a:ahLst/>
            <a:cxnLst/>
            <a:rect l="l" t="t" r="r" b="b"/>
            <a:pathLst>
              <a:path w="1456055" h="1617345">
                <a:moveTo>
                  <a:pt x="84751" y="0"/>
                </a:moveTo>
                <a:lnTo>
                  <a:pt x="0" y="1617207"/>
                </a:lnTo>
                <a:lnTo>
                  <a:pt x="1455526" y="907281"/>
                </a:lnTo>
                <a:lnTo>
                  <a:pt x="1432778" y="862236"/>
                </a:lnTo>
                <a:lnTo>
                  <a:pt x="1408980" y="818209"/>
                </a:lnTo>
                <a:lnTo>
                  <a:pt x="1384147" y="775211"/>
                </a:lnTo>
                <a:lnTo>
                  <a:pt x="1358294" y="733251"/>
                </a:lnTo>
                <a:lnTo>
                  <a:pt x="1331437" y="692341"/>
                </a:lnTo>
                <a:lnTo>
                  <a:pt x="1303591" y="652490"/>
                </a:lnTo>
                <a:lnTo>
                  <a:pt x="1274772" y="613708"/>
                </a:lnTo>
                <a:lnTo>
                  <a:pt x="1244995" y="576005"/>
                </a:lnTo>
                <a:lnTo>
                  <a:pt x="1214275" y="539393"/>
                </a:lnTo>
                <a:lnTo>
                  <a:pt x="1182628" y="503880"/>
                </a:lnTo>
                <a:lnTo>
                  <a:pt x="1150069" y="469477"/>
                </a:lnTo>
                <a:lnTo>
                  <a:pt x="1116614" y="436195"/>
                </a:lnTo>
                <a:lnTo>
                  <a:pt x="1082277" y="404043"/>
                </a:lnTo>
                <a:lnTo>
                  <a:pt x="1047075" y="373032"/>
                </a:lnTo>
                <a:lnTo>
                  <a:pt x="1011023" y="343171"/>
                </a:lnTo>
                <a:lnTo>
                  <a:pt x="974135" y="314472"/>
                </a:lnTo>
                <a:lnTo>
                  <a:pt x="936428" y="286944"/>
                </a:lnTo>
                <a:lnTo>
                  <a:pt x="897917" y="260598"/>
                </a:lnTo>
                <a:lnTo>
                  <a:pt x="858617" y="235443"/>
                </a:lnTo>
                <a:lnTo>
                  <a:pt x="818544" y="211489"/>
                </a:lnTo>
                <a:lnTo>
                  <a:pt x="777713" y="188748"/>
                </a:lnTo>
                <a:lnTo>
                  <a:pt x="736139" y="167229"/>
                </a:lnTo>
                <a:lnTo>
                  <a:pt x="693838" y="146943"/>
                </a:lnTo>
                <a:lnTo>
                  <a:pt x="650825" y="127899"/>
                </a:lnTo>
                <a:lnTo>
                  <a:pt x="607116" y="110107"/>
                </a:lnTo>
                <a:lnTo>
                  <a:pt x="562726" y="93579"/>
                </a:lnTo>
                <a:lnTo>
                  <a:pt x="517670" y="78324"/>
                </a:lnTo>
                <a:lnTo>
                  <a:pt x="471963" y="64352"/>
                </a:lnTo>
                <a:lnTo>
                  <a:pt x="425622" y="51674"/>
                </a:lnTo>
                <a:lnTo>
                  <a:pt x="378662" y="40299"/>
                </a:lnTo>
                <a:lnTo>
                  <a:pt x="331097" y="30238"/>
                </a:lnTo>
                <a:lnTo>
                  <a:pt x="282944" y="21502"/>
                </a:lnTo>
                <a:lnTo>
                  <a:pt x="234217" y="14099"/>
                </a:lnTo>
                <a:lnTo>
                  <a:pt x="184932" y="8041"/>
                </a:lnTo>
                <a:lnTo>
                  <a:pt x="135105" y="3338"/>
                </a:lnTo>
                <a:lnTo>
                  <a:pt x="84751" y="0"/>
                </a:lnTo>
                <a:close/>
              </a:path>
            </a:pathLst>
          </a:custGeom>
          <a:solidFill>
            <a:srgbClr val="FF7900"/>
          </a:solidFill>
        </p:spPr>
        <p:txBody>
          <a:bodyPr wrap="square" lIns="0" tIns="0" rIns="0" bIns="0" rtlCol="0"/>
          <a:lstStyle/>
          <a:p>
            <a:endParaRPr/>
          </a:p>
        </p:txBody>
      </p:sp>
      <p:sp>
        <p:nvSpPr>
          <p:cNvPr id="29" name="object 29"/>
          <p:cNvSpPr/>
          <p:nvPr/>
        </p:nvSpPr>
        <p:spPr>
          <a:xfrm>
            <a:off x="7561683" y="2373516"/>
            <a:ext cx="38702" cy="736725"/>
          </a:xfrm>
          <a:custGeom>
            <a:avLst/>
            <a:gdLst/>
            <a:ahLst/>
            <a:cxnLst/>
            <a:rect l="l" t="t" r="r" b="b"/>
            <a:pathLst>
              <a:path w="85090" h="1619884">
                <a:moveTo>
                  <a:pt x="0" y="0"/>
                </a:moveTo>
                <a:lnTo>
                  <a:pt x="0" y="1619427"/>
                </a:lnTo>
                <a:lnTo>
                  <a:pt x="84751" y="2219"/>
                </a:lnTo>
                <a:lnTo>
                  <a:pt x="61471" y="1082"/>
                </a:lnTo>
                <a:lnTo>
                  <a:pt x="42395" y="407"/>
                </a:lnTo>
                <a:lnTo>
                  <a:pt x="23309" y="83"/>
                </a:lnTo>
                <a:lnTo>
                  <a:pt x="0" y="0"/>
                </a:lnTo>
                <a:close/>
              </a:path>
            </a:pathLst>
          </a:custGeom>
          <a:solidFill>
            <a:srgbClr val="808080"/>
          </a:solidFill>
        </p:spPr>
        <p:txBody>
          <a:bodyPr wrap="square" lIns="0" tIns="0" rIns="0" bIns="0" rtlCol="0"/>
          <a:lstStyle/>
          <a:p>
            <a:endParaRPr/>
          </a:p>
        </p:txBody>
      </p:sp>
      <p:sp>
        <p:nvSpPr>
          <p:cNvPr id="30" name="object 30"/>
          <p:cNvSpPr/>
          <p:nvPr/>
        </p:nvSpPr>
        <p:spPr>
          <a:xfrm>
            <a:off x="4817983" y="2373513"/>
            <a:ext cx="732444" cy="1006463"/>
          </a:xfrm>
          <a:custGeom>
            <a:avLst/>
            <a:gdLst/>
            <a:ahLst/>
            <a:cxnLst/>
            <a:rect l="l" t="t" r="r" b="b"/>
            <a:pathLst>
              <a:path w="1610359" h="2212975">
                <a:moveTo>
                  <a:pt x="1610031" y="0"/>
                </a:moveTo>
                <a:lnTo>
                  <a:pt x="1557123" y="780"/>
                </a:lnTo>
                <a:lnTo>
                  <a:pt x="1505019" y="3132"/>
                </a:lnTo>
                <a:lnTo>
                  <a:pt x="1453622" y="7076"/>
                </a:lnTo>
                <a:lnTo>
                  <a:pt x="1402837" y="12629"/>
                </a:lnTo>
                <a:lnTo>
                  <a:pt x="1352567" y="19811"/>
                </a:lnTo>
                <a:lnTo>
                  <a:pt x="1302717" y="28639"/>
                </a:lnTo>
                <a:lnTo>
                  <a:pt x="1253191" y="39132"/>
                </a:lnTo>
                <a:lnTo>
                  <a:pt x="1203893" y="51308"/>
                </a:lnTo>
                <a:lnTo>
                  <a:pt x="1154728" y="65187"/>
                </a:lnTo>
                <a:lnTo>
                  <a:pt x="1105598" y="80787"/>
                </a:lnTo>
                <a:lnTo>
                  <a:pt x="1056409" y="98125"/>
                </a:lnTo>
                <a:lnTo>
                  <a:pt x="1007065" y="117221"/>
                </a:lnTo>
                <a:lnTo>
                  <a:pt x="962531" y="135981"/>
                </a:lnTo>
                <a:lnTo>
                  <a:pt x="918852" y="155916"/>
                </a:lnTo>
                <a:lnTo>
                  <a:pt x="876040" y="176999"/>
                </a:lnTo>
                <a:lnTo>
                  <a:pt x="834107" y="199204"/>
                </a:lnTo>
                <a:lnTo>
                  <a:pt x="793062" y="222506"/>
                </a:lnTo>
                <a:lnTo>
                  <a:pt x="752918" y="246879"/>
                </a:lnTo>
                <a:lnTo>
                  <a:pt x="713685" y="272296"/>
                </a:lnTo>
                <a:lnTo>
                  <a:pt x="675373" y="298732"/>
                </a:lnTo>
                <a:lnTo>
                  <a:pt x="637995" y="326161"/>
                </a:lnTo>
                <a:lnTo>
                  <a:pt x="601561" y="354557"/>
                </a:lnTo>
                <a:lnTo>
                  <a:pt x="566082" y="383893"/>
                </a:lnTo>
                <a:lnTo>
                  <a:pt x="531569" y="414145"/>
                </a:lnTo>
                <a:lnTo>
                  <a:pt x="498033" y="445286"/>
                </a:lnTo>
                <a:lnTo>
                  <a:pt x="465485" y="477290"/>
                </a:lnTo>
                <a:lnTo>
                  <a:pt x="433936" y="510131"/>
                </a:lnTo>
                <a:lnTo>
                  <a:pt x="403398" y="543783"/>
                </a:lnTo>
                <a:lnTo>
                  <a:pt x="373880" y="578221"/>
                </a:lnTo>
                <a:lnTo>
                  <a:pt x="345395" y="613418"/>
                </a:lnTo>
                <a:lnTo>
                  <a:pt x="317953" y="649349"/>
                </a:lnTo>
                <a:lnTo>
                  <a:pt x="291565" y="685987"/>
                </a:lnTo>
                <a:lnTo>
                  <a:pt x="266242" y="723307"/>
                </a:lnTo>
                <a:lnTo>
                  <a:pt x="241995" y="761282"/>
                </a:lnTo>
                <a:lnTo>
                  <a:pt x="218835" y="799888"/>
                </a:lnTo>
                <a:lnTo>
                  <a:pt x="196774" y="839097"/>
                </a:lnTo>
                <a:lnTo>
                  <a:pt x="175821" y="878884"/>
                </a:lnTo>
                <a:lnTo>
                  <a:pt x="155989" y="919223"/>
                </a:lnTo>
                <a:lnTo>
                  <a:pt x="137288" y="960089"/>
                </a:lnTo>
                <a:lnTo>
                  <a:pt x="119730" y="1001454"/>
                </a:lnTo>
                <a:lnTo>
                  <a:pt x="103324" y="1043294"/>
                </a:lnTo>
                <a:lnTo>
                  <a:pt x="88083" y="1085582"/>
                </a:lnTo>
                <a:lnTo>
                  <a:pt x="74016" y="1128292"/>
                </a:lnTo>
                <a:lnTo>
                  <a:pt x="61136" y="1171398"/>
                </a:lnTo>
                <a:lnTo>
                  <a:pt x="49454" y="1214876"/>
                </a:lnTo>
                <a:lnTo>
                  <a:pt x="38979" y="1258697"/>
                </a:lnTo>
                <a:lnTo>
                  <a:pt x="29724" y="1302838"/>
                </a:lnTo>
                <a:lnTo>
                  <a:pt x="21699" y="1347271"/>
                </a:lnTo>
                <a:lnTo>
                  <a:pt x="14915" y="1391970"/>
                </a:lnTo>
                <a:lnTo>
                  <a:pt x="9383" y="1436911"/>
                </a:lnTo>
                <a:lnTo>
                  <a:pt x="5115" y="1482066"/>
                </a:lnTo>
                <a:lnTo>
                  <a:pt x="2121" y="1527411"/>
                </a:lnTo>
                <a:lnTo>
                  <a:pt x="412" y="1572918"/>
                </a:lnTo>
                <a:lnTo>
                  <a:pt x="0" y="1618563"/>
                </a:lnTo>
                <a:lnTo>
                  <a:pt x="894" y="1664319"/>
                </a:lnTo>
                <a:lnTo>
                  <a:pt x="3107" y="1710160"/>
                </a:lnTo>
                <a:lnTo>
                  <a:pt x="6650" y="1756060"/>
                </a:lnTo>
                <a:lnTo>
                  <a:pt x="11532" y="1801994"/>
                </a:lnTo>
                <a:lnTo>
                  <a:pt x="17766" y="1847936"/>
                </a:lnTo>
                <a:lnTo>
                  <a:pt x="25362" y="1893858"/>
                </a:lnTo>
                <a:lnTo>
                  <a:pt x="34332" y="1939737"/>
                </a:lnTo>
                <a:lnTo>
                  <a:pt x="44686" y="1985545"/>
                </a:lnTo>
                <a:lnTo>
                  <a:pt x="56435" y="2031257"/>
                </a:lnTo>
                <a:lnTo>
                  <a:pt x="69591" y="2076847"/>
                </a:lnTo>
                <a:lnTo>
                  <a:pt x="84163" y="2122288"/>
                </a:lnTo>
                <a:lnTo>
                  <a:pt x="100165" y="2167556"/>
                </a:lnTo>
                <a:lnTo>
                  <a:pt x="117605" y="2212623"/>
                </a:lnTo>
                <a:lnTo>
                  <a:pt x="1610031" y="1609636"/>
                </a:lnTo>
                <a:lnTo>
                  <a:pt x="1610031" y="0"/>
                </a:lnTo>
                <a:close/>
              </a:path>
            </a:pathLst>
          </a:custGeom>
          <a:solidFill>
            <a:srgbClr val="5A5A5A"/>
          </a:solidFill>
        </p:spPr>
        <p:txBody>
          <a:bodyPr wrap="square" lIns="0" tIns="0" rIns="0" bIns="0" rtlCol="0"/>
          <a:lstStyle/>
          <a:p>
            <a:endParaRPr dirty="0"/>
          </a:p>
        </p:txBody>
      </p:sp>
      <p:sp>
        <p:nvSpPr>
          <p:cNvPr id="31" name="object 31"/>
          <p:cNvSpPr/>
          <p:nvPr/>
        </p:nvSpPr>
        <p:spPr>
          <a:xfrm>
            <a:off x="4871474" y="2916110"/>
            <a:ext cx="1411168" cy="922133"/>
          </a:xfrm>
          <a:custGeom>
            <a:avLst/>
            <a:gdLst/>
            <a:ahLst/>
            <a:cxnLst/>
            <a:rect l="l" t="t" r="r" b="b"/>
            <a:pathLst>
              <a:path w="3102609" h="2027554">
                <a:moveTo>
                  <a:pt x="3047195" y="0"/>
                </a:moveTo>
                <a:lnTo>
                  <a:pt x="1492425" y="416594"/>
                </a:lnTo>
                <a:lnTo>
                  <a:pt x="0" y="1019581"/>
                </a:lnTo>
                <a:lnTo>
                  <a:pt x="18985" y="1064653"/>
                </a:lnTo>
                <a:lnTo>
                  <a:pt x="39160" y="1108865"/>
                </a:lnTo>
                <a:lnTo>
                  <a:pt x="60500" y="1152205"/>
                </a:lnTo>
                <a:lnTo>
                  <a:pt x="82978" y="1194658"/>
                </a:lnTo>
                <a:lnTo>
                  <a:pt x="106570" y="1236214"/>
                </a:lnTo>
                <a:lnTo>
                  <a:pt x="131250" y="1276859"/>
                </a:lnTo>
                <a:lnTo>
                  <a:pt x="157076" y="1316700"/>
                </a:lnTo>
                <a:lnTo>
                  <a:pt x="183774" y="1355365"/>
                </a:lnTo>
                <a:lnTo>
                  <a:pt x="211566" y="1393202"/>
                </a:lnTo>
                <a:lnTo>
                  <a:pt x="240345" y="1430077"/>
                </a:lnTo>
                <a:lnTo>
                  <a:pt x="270086" y="1465977"/>
                </a:lnTo>
                <a:lnTo>
                  <a:pt x="300762" y="1500892"/>
                </a:lnTo>
                <a:lnTo>
                  <a:pt x="332348" y="1534806"/>
                </a:lnTo>
                <a:lnTo>
                  <a:pt x="364820" y="1567709"/>
                </a:lnTo>
                <a:lnTo>
                  <a:pt x="398151" y="1599587"/>
                </a:lnTo>
                <a:lnTo>
                  <a:pt x="432317" y="1630428"/>
                </a:lnTo>
                <a:lnTo>
                  <a:pt x="467291" y="1660218"/>
                </a:lnTo>
                <a:lnTo>
                  <a:pt x="503049" y="1688946"/>
                </a:lnTo>
                <a:lnTo>
                  <a:pt x="539565" y="1716598"/>
                </a:lnTo>
                <a:lnTo>
                  <a:pt x="576814" y="1743163"/>
                </a:lnTo>
                <a:lnTo>
                  <a:pt x="614770" y="1768627"/>
                </a:lnTo>
                <a:lnTo>
                  <a:pt x="653408" y="1792977"/>
                </a:lnTo>
                <a:lnTo>
                  <a:pt x="692702" y="1816201"/>
                </a:lnTo>
                <a:lnTo>
                  <a:pt x="732628" y="1838287"/>
                </a:lnTo>
                <a:lnTo>
                  <a:pt x="773159" y="1859222"/>
                </a:lnTo>
                <a:lnTo>
                  <a:pt x="814271" y="1878992"/>
                </a:lnTo>
                <a:lnTo>
                  <a:pt x="855938" y="1897586"/>
                </a:lnTo>
                <a:lnTo>
                  <a:pt x="898134" y="1914991"/>
                </a:lnTo>
                <a:lnTo>
                  <a:pt x="940834" y="1931193"/>
                </a:lnTo>
                <a:lnTo>
                  <a:pt x="984014" y="1946181"/>
                </a:lnTo>
                <a:lnTo>
                  <a:pt x="1027646" y="1959942"/>
                </a:lnTo>
                <a:lnTo>
                  <a:pt x="1071707" y="1972463"/>
                </a:lnTo>
                <a:lnTo>
                  <a:pt x="1116170" y="1983732"/>
                </a:lnTo>
                <a:lnTo>
                  <a:pt x="1161010" y="1993735"/>
                </a:lnTo>
                <a:lnTo>
                  <a:pt x="1206203" y="2002460"/>
                </a:lnTo>
                <a:lnTo>
                  <a:pt x="1251722" y="2009895"/>
                </a:lnTo>
                <a:lnTo>
                  <a:pt x="1297541" y="2016026"/>
                </a:lnTo>
                <a:lnTo>
                  <a:pt x="1343637" y="2020842"/>
                </a:lnTo>
                <a:lnTo>
                  <a:pt x="1389982" y="2024329"/>
                </a:lnTo>
                <a:lnTo>
                  <a:pt x="1436553" y="2026475"/>
                </a:lnTo>
                <a:lnTo>
                  <a:pt x="1483323" y="2027267"/>
                </a:lnTo>
                <a:lnTo>
                  <a:pt x="1530267" y="2026692"/>
                </a:lnTo>
                <a:lnTo>
                  <a:pt x="1577360" y="2024739"/>
                </a:lnTo>
                <a:lnTo>
                  <a:pt x="1624576" y="2021394"/>
                </a:lnTo>
                <a:lnTo>
                  <a:pt x="1671890" y="2016644"/>
                </a:lnTo>
                <a:lnTo>
                  <a:pt x="1719277" y="2010477"/>
                </a:lnTo>
                <a:lnTo>
                  <a:pt x="1766711" y="2002880"/>
                </a:lnTo>
                <a:lnTo>
                  <a:pt x="1814166" y="1993841"/>
                </a:lnTo>
                <a:lnTo>
                  <a:pt x="1861618" y="1983347"/>
                </a:lnTo>
                <a:lnTo>
                  <a:pt x="1909041" y="1971385"/>
                </a:lnTo>
                <a:lnTo>
                  <a:pt x="1955529" y="1958191"/>
                </a:lnTo>
                <a:lnTo>
                  <a:pt x="2001310" y="1943728"/>
                </a:lnTo>
                <a:lnTo>
                  <a:pt x="2046370" y="1928019"/>
                </a:lnTo>
                <a:lnTo>
                  <a:pt x="2090696" y="1911090"/>
                </a:lnTo>
                <a:lnTo>
                  <a:pt x="2134274" y="1892963"/>
                </a:lnTo>
                <a:lnTo>
                  <a:pt x="2177088" y="1873665"/>
                </a:lnTo>
                <a:lnTo>
                  <a:pt x="2219126" y="1853218"/>
                </a:lnTo>
                <a:lnTo>
                  <a:pt x="2260372" y="1831648"/>
                </a:lnTo>
                <a:lnTo>
                  <a:pt x="2300813" y="1808979"/>
                </a:lnTo>
                <a:lnTo>
                  <a:pt x="2340436" y="1785235"/>
                </a:lnTo>
                <a:lnTo>
                  <a:pt x="2379225" y="1760441"/>
                </a:lnTo>
                <a:lnTo>
                  <a:pt x="2417166" y="1734621"/>
                </a:lnTo>
                <a:lnTo>
                  <a:pt x="2454246" y="1707799"/>
                </a:lnTo>
                <a:lnTo>
                  <a:pt x="2490451" y="1680000"/>
                </a:lnTo>
                <a:lnTo>
                  <a:pt x="2525766" y="1651249"/>
                </a:lnTo>
                <a:lnTo>
                  <a:pt x="2560177" y="1621569"/>
                </a:lnTo>
                <a:lnTo>
                  <a:pt x="2593671" y="1590985"/>
                </a:lnTo>
                <a:lnTo>
                  <a:pt x="2626233" y="1559522"/>
                </a:lnTo>
                <a:lnTo>
                  <a:pt x="2657849" y="1527203"/>
                </a:lnTo>
                <a:lnTo>
                  <a:pt x="2688504" y="1494054"/>
                </a:lnTo>
                <a:lnTo>
                  <a:pt x="2718186" y="1460098"/>
                </a:lnTo>
                <a:lnTo>
                  <a:pt x="2746879" y="1425361"/>
                </a:lnTo>
                <a:lnTo>
                  <a:pt x="2774571" y="1389866"/>
                </a:lnTo>
                <a:lnTo>
                  <a:pt x="2801245" y="1353637"/>
                </a:lnTo>
                <a:lnTo>
                  <a:pt x="2826968" y="1316580"/>
                </a:lnTo>
                <a:lnTo>
                  <a:pt x="2851489" y="1279079"/>
                </a:lnTo>
                <a:lnTo>
                  <a:pt x="2875031" y="1240797"/>
                </a:lnTo>
                <a:lnTo>
                  <a:pt x="2897499" y="1201880"/>
                </a:lnTo>
                <a:lnTo>
                  <a:pt x="2918881" y="1162352"/>
                </a:lnTo>
                <a:lnTo>
                  <a:pt x="2939162" y="1122237"/>
                </a:lnTo>
                <a:lnTo>
                  <a:pt x="2958327" y="1081559"/>
                </a:lnTo>
                <a:lnTo>
                  <a:pt x="2976364" y="1040343"/>
                </a:lnTo>
                <a:lnTo>
                  <a:pt x="2993258" y="998614"/>
                </a:lnTo>
                <a:lnTo>
                  <a:pt x="3008994" y="956396"/>
                </a:lnTo>
                <a:lnTo>
                  <a:pt x="3023559" y="913712"/>
                </a:lnTo>
                <a:lnTo>
                  <a:pt x="3036939" y="870589"/>
                </a:lnTo>
                <a:lnTo>
                  <a:pt x="3049119" y="827049"/>
                </a:lnTo>
                <a:lnTo>
                  <a:pt x="3060086" y="783118"/>
                </a:lnTo>
                <a:lnTo>
                  <a:pt x="3069825" y="738819"/>
                </a:lnTo>
                <a:lnTo>
                  <a:pt x="3078322" y="694177"/>
                </a:lnTo>
                <a:lnTo>
                  <a:pt x="3085563" y="649217"/>
                </a:lnTo>
                <a:lnTo>
                  <a:pt x="3091535" y="603963"/>
                </a:lnTo>
                <a:lnTo>
                  <a:pt x="3096223" y="558440"/>
                </a:lnTo>
                <a:lnTo>
                  <a:pt x="3099612" y="512671"/>
                </a:lnTo>
                <a:lnTo>
                  <a:pt x="3101689" y="466681"/>
                </a:lnTo>
                <a:lnTo>
                  <a:pt x="3102440" y="420494"/>
                </a:lnTo>
                <a:lnTo>
                  <a:pt x="3101851" y="374136"/>
                </a:lnTo>
                <a:lnTo>
                  <a:pt x="3099907" y="327629"/>
                </a:lnTo>
                <a:lnTo>
                  <a:pt x="3096595" y="281000"/>
                </a:lnTo>
                <a:lnTo>
                  <a:pt x="3091900" y="234272"/>
                </a:lnTo>
                <a:lnTo>
                  <a:pt x="3085809" y="187469"/>
                </a:lnTo>
                <a:lnTo>
                  <a:pt x="3078307" y="140616"/>
                </a:lnTo>
                <a:lnTo>
                  <a:pt x="3069380" y="93737"/>
                </a:lnTo>
                <a:lnTo>
                  <a:pt x="3059014" y="46857"/>
                </a:lnTo>
                <a:lnTo>
                  <a:pt x="3047195" y="0"/>
                </a:lnTo>
                <a:close/>
              </a:path>
            </a:pathLst>
          </a:custGeom>
          <a:solidFill>
            <a:srgbClr val="FFB400"/>
          </a:solidFill>
        </p:spPr>
        <p:txBody>
          <a:bodyPr wrap="square" lIns="0" tIns="0" rIns="0" bIns="0" rtlCol="0"/>
          <a:lstStyle/>
          <a:p>
            <a:endParaRPr/>
          </a:p>
        </p:txBody>
      </p:sp>
      <p:sp>
        <p:nvSpPr>
          <p:cNvPr id="32" name="object 32"/>
          <p:cNvSpPr/>
          <p:nvPr/>
        </p:nvSpPr>
        <p:spPr>
          <a:xfrm>
            <a:off x="5550278" y="2395261"/>
            <a:ext cx="707317" cy="710444"/>
          </a:xfrm>
          <a:custGeom>
            <a:avLst/>
            <a:gdLst/>
            <a:ahLst/>
            <a:cxnLst/>
            <a:rect l="l" t="t" r="r" b="b"/>
            <a:pathLst>
              <a:path w="1555115" h="1562100">
                <a:moveTo>
                  <a:pt x="389401" y="0"/>
                </a:moveTo>
                <a:lnTo>
                  <a:pt x="0" y="1561816"/>
                </a:lnTo>
                <a:lnTo>
                  <a:pt x="1554769" y="1145221"/>
                </a:lnTo>
                <a:lnTo>
                  <a:pt x="1540711" y="1095589"/>
                </a:lnTo>
                <a:lnTo>
                  <a:pt x="1525365" y="1046797"/>
                </a:lnTo>
                <a:lnTo>
                  <a:pt x="1508745" y="998860"/>
                </a:lnTo>
                <a:lnTo>
                  <a:pt x="1490865" y="951792"/>
                </a:lnTo>
                <a:lnTo>
                  <a:pt x="1471740" y="905607"/>
                </a:lnTo>
                <a:lnTo>
                  <a:pt x="1451383" y="860318"/>
                </a:lnTo>
                <a:lnTo>
                  <a:pt x="1429809" y="815941"/>
                </a:lnTo>
                <a:lnTo>
                  <a:pt x="1407032" y="772488"/>
                </a:lnTo>
                <a:lnTo>
                  <a:pt x="1383067" y="729974"/>
                </a:lnTo>
                <a:lnTo>
                  <a:pt x="1357927" y="688414"/>
                </a:lnTo>
                <a:lnTo>
                  <a:pt x="1331627" y="647819"/>
                </a:lnTo>
                <a:lnTo>
                  <a:pt x="1304181" y="608206"/>
                </a:lnTo>
                <a:lnTo>
                  <a:pt x="1275603" y="569588"/>
                </a:lnTo>
                <a:lnTo>
                  <a:pt x="1245908" y="531978"/>
                </a:lnTo>
                <a:lnTo>
                  <a:pt x="1215110" y="495391"/>
                </a:lnTo>
                <a:lnTo>
                  <a:pt x="1183223" y="459841"/>
                </a:lnTo>
                <a:lnTo>
                  <a:pt x="1150261" y="425342"/>
                </a:lnTo>
                <a:lnTo>
                  <a:pt x="1116238" y="391908"/>
                </a:lnTo>
                <a:lnTo>
                  <a:pt x="1081170" y="359552"/>
                </a:lnTo>
                <a:lnTo>
                  <a:pt x="1045069" y="328289"/>
                </a:lnTo>
                <a:lnTo>
                  <a:pt x="1007950" y="298133"/>
                </a:lnTo>
                <a:lnTo>
                  <a:pt x="969828" y="269098"/>
                </a:lnTo>
                <a:lnTo>
                  <a:pt x="930717" y="241198"/>
                </a:lnTo>
                <a:lnTo>
                  <a:pt x="890631" y="214446"/>
                </a:lnTo>
                <a:lnTo>
                  <a:pt x="849584" y="188857"/>
                </a:lnTo>
                <a:lnTo>
                  <a:pt x="807590" y="164445"/>
                </a:lnTo>
                <a:lnTo>
                  <a:pt x="764664" y="141224"/>
                </a:lnTo>
                <a:lnTo>
                  <a:pt x="720820" y="119207"/>
                </a:lnTo>
                <a:lnTo>
                  <a:pt x="676072" y="98409"/>
                </a:lnTo>
                <a:lnTo>
                  <a:pt x="630435" y="78844"/>
                </a:lnTo>
                <a:lnTo>
                  <a:pt x="583922" y="60526"/>
                </a:lnTo>
                <a:lnTo>
                  <a:pt x="536548" y="43468"/>
                </a:lnTo>
                <a:lnTo>
                  <a:pt x="488327" y="27685"/>
                </a:lnTo>
                <a:lnTo>
                  <a:pt x="439273" y="13191"/>
                </a:lnTo>
                <a:lnTo>
                  <a:pt x="389401" y="0"/>
                </a:lnTo>
                <a:close/>
              </a:path>
            </a:pathLst>
          </a:custGeom>
          <a:solidFill>
            <a:srgbClr val="FF7900"/>
          </a:solidFill>
        </p:spPr>
        <p:txBody>
          <a:bodyPr wrap="square" lIns="0" tIns="0" rIns="0" bIns="0" rtlCol="0"/>
          <a:lstStyle/>
          <a:p>
            <a:endParaRPr/>
          </a:p>
        </p:txBody>
      </p:sp>
      <p:sp>
        <p:nvSpPr>
          <p:cNvPr id="33" name="object 33"/>
          <p:cNvSpPr/>
          <p:nvPr/>
        </p:nvSpPr>
        <p:spPr>
          <a:xfrm>
            <a:off x="5550278" y="2373513"/>
            <a:ext cx="177335" cy="732104"/>
          </a:xfrm>
          <a:custGeom>
            <a:avLst/>
            <a:gdLst/>
            <a:ahLst/>
            <a:cxnLst/>
            <a:rect l="l" t="t" r="r" b="b"/>
            <a:pathLst>
              <a:path w="389890" h="1609725">
                <a:moveTo>
                  <a:pt x="0" y="0"/>
                </a:moveTo>
                <a:lnTo>
                  <a:pt x="0" y="1609636"/>
                </a:lnTo>
                <a:lnTo>
                  <a:pt x="389401" y="47820"/>
                </a:lnTo>
                <a:lnTo>
                  <a:pt x="338880" y="35887"/>
                </a:lnTo>
                <a:lnTo>
                  <a:pt x="290338" y="25832"/>
                </a:lnTo>
                <a:lnTo>
                  <a:pt x="243049" y="17569"/>
                </a:lnTo>
                <a:lnTo>
                  <a:pt x="196287" y="11007"/>
                </a:lnTo>
                <a:lnTo>
                  <a:pt x="149327" y="6058"/>
                </a:lnTo>
                <a:lnTo>
                  <a:pt x="101442" y="2633"/>
                </a:lnTo>
                <a:lnTo>
                  <a:pt x="51909" y="643"/>
                </a:lnTo>
                <a:lnTo>
                  <a:pt x="0" y="0"/>
                </a:lnTo>
                <a:close/>
              </a:path>
            </a:pathLst>
          </a:custGeom>
          <a:solidFill>
            <a:srgbClr val="808080"/>
          </a:solidFill>
        </p:spPr>
        <p:txBody>
          <a:bodyPr wrap="square" lIns="0" tIns="0" rIns="0" bIns="0" rtlCol="0"/>
          <a:lstStyle/>
          <a:p>
            <a:endParaRPr/>
          </a:p>
        </p:txBody>
      </p:sp>
      <p:sp>
        <p:nvSpPr>
          <p:cNvPr id="34" name="object 34"/>
          <p:cNvSpPr/>
          <p:nvPr/>
        </p:nvSpPr>
        <p:spPr>
          <a:xfrm>
            <a:off x="3174036" y="2733147"/>
            <a:ext cx="742264" cy="742212"/>
          </a:xfrm>
          <a:custGeom>
            <a:avLst/>
            <a:gdLst/>
            <a:ahLst/>
            <a:cxnLst/>
            <a:rect l="l" t="t" r="r" b="b"/>
            <a:pathLst>
              <a:path w="1631950" h="1631950">
                <a:moveTo>
                  <a:pt x="815786" y="0"/>
                </a:moveTo>
                <a:lnTo>
                  <a:pt x="767853" y="1384"/>
                </a:lnTo>
                <a:lnTo>
                  <a:pt x="720649" y="5488"/>
                </a:lnTo>
                <a:lnTo>
                  <a:pt x="674251" y="12234"/>
                </a:lnTo>
                <a:lnTo>
                  <a:pt x="628735" y="21545"/>
                </a:lnTo>
                <a:lnTo>
                  <a:pt x="584179" y="33346"/>
                </a:lnTo>
                <a:lnTo>
                  <a:pt x="540657" y="47559"/>
                </a:lnTo>
                <a:lnTo>
                  <a:pt x="498247" y="64109"/>
                </a:lnTo>
                <a:lnTo>
                  <a:pt x="457026" y="82918"/>
                </a:lnTo>
                <a:lnTo>
                  <a:pt x="417070" y="103910"/>
                </a:lnTo>
                <a:lnTo>
                  <a:pt x="378455" y="127009"/>
                </a:lnTo>
                <a:lnTo>
                  <a:pt x="341258" y="152139"/>
                </a:lnTo>
                <a:lnTo>
                  <a:pt x="305555" y="179221"/>
                </a:lnTo>
                <a:lnTo>
                  <a:pt x="271424" y="208181"/>
                </a:lnTo>
                <a:lnTo>
                  <a:pt x="238940" y="238941"/>
                </a:lnTo>
                <a:lnTo>
                  <a:pt x="208180" y="271426"/>
                </a:lnTo>
                <a:lnTo>
                  <a:pt x="179220" y="305557"/>
                </a:lnTo>
                <a:lnTo>
                  <a:pt x="152138" y="341260"/>
                </a:lnTo>
                <a:lnTo>
                  <a:pt x="127009" y="378458"/>
                </a:lnTo>
                <a:lnTo>
                  <a:pt x="103910" y="417073"/>
                </a:lnTo>
                <a:lnTo>
                  <a:pt x="82918" y="457030"/>
                </a:lnTo>
                <a:lnTo>
                  <a:pt x="64109" y="498252"/>
                </a:lnTo>
                <a:lnTo>
                  <a:pt x="47559" y="540662"/>
                </a:lnTo>
                <a:lnTo>
                  <a:pt x="33346" y="584184"/>
                </a:lnTo>
                <a:lnTo>
                  <a:pt x="21545" y="628742"/>
                </a:lnTo>
                <a:lnTo>
                  <a:pt x="12234" y="674259"/>
                </a:lnTo>
                <a:lnTo>
                  <a:pt x="5488" y="720658"/>
                </a:lnTo>
                <a:lnTo>
                  <a:pt x="1384" y="767862"/>
                </a:lnTo>
                <a:lnTo>
                  <a:pt x="0" y="815797"/>
                </a:lnTo>
                <a:lnTo>
                  <a:pt x="1384" y="863730"/>
                </a:lnTo>
                <a:lnTo>
                  <a:pt x="5488" y="910934"/>
                </a:lnTo>
                <a:lnTo>
                  <a:pt x="12234" y="957332"/>
                </a:lnTo>
                <a:lnTo>
                  <a:pt x="21545" y="1002847"/>
                </a:lnTo>
                <a:lnTo>
                  <a:pt x="33346" y="1047404"/>
                </a:lnTo>
                <a:lnTo>
                  <a:pt x="47559" y="1090926"/>
                </a:lnTo>
                <a:lnTo>
                  <a:pt x="64109" y="1133335"/>
                </a:lnTo>
                <a:lnTo>
                  <a:pt x="82918" y="1174557"/>
                </a:lnTo>
                <a:lnTo>
                  <a:pt x="103910" y="1214513"/>
                </a:lnTo>
                <a:lnTo>
                  <a:pt x="127009" y="1253128"/>
                </a:lnTo>
                <a:lnTo>
                  <a:pt x="152138" y="1290325"/>
                </a:lnTo>
                <a:lnTo>
                  <a:pt x="179220" y="1326027"/>
                </a:lnTo>
                <a:lnTo>
                  <a:pt x="208180" y="1360159"/>
                </a:lnTo>
                <a:lnTo>
                  <a:pt x="238940" y="1392643"/>
                </a:lnTo>
                <a:lnTo>
                  <a:pt x="271424" y="1423403"/>
                </a:lnTo>
                <a:lnTo>
                  <a:pt x="305555" y="1452362"/>
                </a:lnTo>
                <a:lnTo>
                  <a:pt x="341258" y="1479445"/>
                </a:lnTo>
                <a:lnTo>
                  <a:pt x="378455" y="1504574"/>
                </a:lnTo>
                <a:lnTo>
                  <a:pt x="417070" y="1527673"/>
                </a:lnTo>
                <a:lnTo>
                  <a:pt x="457026" y="1548665"/>
                </a:lnTo>
                <a:lnTo>
                  <a:pt x="498247" y="1567474"/>
                </a:lnTo>
                <a:lnTo>
                  <a:pt x="540657" y="1584024"/>
                </a:lnTo>
                <a:lnTo>
                  <a:pt x="584179" y="1598237"/>
                </a:lnTo>
                <a:lnTo>
                  <a:pt x="628735" y="1610038"/>
                </a:lnTo>
                <a:lnTo>
                  <a:pt x="674251" y="1619349"/>
                </a:lnTo>
                <a:lnTo>
                  <a:pt x="720649" y="1626095"/>
                </a:lnTo>
                <a:lnTo>
                  <a:pt x="767853" y="1630198"/>
                </a:lnTo>
                <a:lnTo>
                  <a:pt x="815786" y="1631583"/>
                </a:lnTo>
                <a:lnTo>
                  <a:pt x="863720" y="1630198"/>
                </a:lnTo>
                <a:lnTo>
                  <a:pt x="910925" y="1626095"/>
                </a:lnTo>
                <a:lnTo>
                  <a:pt x="957324" y="1619349"/>
                </a:lnTo>
                <a:lnTo>
                  <a:pt x="1002841" y="1610038"/>
                </a:lnTo>
                <a:lnTo>
                  <a:pt x="1047398" y="1598237"/>
                </a:lnTo>
                <a:lnTo>
                  <a:pt x="1090921" y="1584024"/>
                </a:lnTo>
                <a:lnTo>
                  <a:pt x="1133331" y="1567474"/>
                </a:lnTo>
                <a:lnTo>
                  <a:pt x="1174553" y="1548665"/>
                </a:lnTo>
                <a:lnTo>
                  <a:pt x="1214510" y="1527673"/>
                </a:lnTo>
                <a:lnTo>
                  <a:pt x="1253125" y="1504574"/>
                </a:lnTo>
                <a:lnTo>
                  <a:pt x="1290323" y="1479445"/>
                </a:lnTo>
                <a:lnTo>
                  <a:pt x="1326025" y="1452362"/>
                </a:lnTo>
                <a:lnTo>
                  <a:pt x="1360157" y="1423403"/>
                </a:lnTo>
                <a:lnTo>
                  <a:pt x="1392642" y="1392643"/>
                </a:lnTo>
                <a:lnTo>
                  <a:pt x="1423402" y="1360159"/>
                </a:lnTo>
                <a:lnTo>
                  <a:pt x="1452362" y="1326027"/>
                </a:lnTo>
                <a:lnTo>
                  <a:pt x="1479444" y="1290325"/>
                </a:lnTo>
                <a:lnTo>
                  <a:pt x="1504573" y="1253128"/>
                </a:lnTo>
                <a:lnTo>
                  <a:pt x="1527672" y="1214513"/>
                </a:lnTo>
                <a:lnTo>
                  <a:pt x="1548665" y="1174557"/>
                </a:lnTo>
                <a:lnTo>
                  <a:pt x="1567474" y="1133335"/>
                </a:lnTo>
                <a:lnTo>
                  <a:pt x="1584023" y="1090926"/>
                </a:lnTo>
                <a:lnTo>
                  <a:pt x="1598237" y="1047404"/>
                </a:lnTo>
                <a:lnTo>
                  <a:pt x="1610038" y="1002847"/>
                </a:lnTo>
                <a:lnTo>
                  <a:pt x="1619349" y="957332"/>
                </a:lnTo>
                <a:lnTo>
                  <a:pt x="1626095" y="910934"/>
                </a:lnTo>
                <a:lnTo>
                  <a:pt x="1630198" y="863730"/>
                </a:lnTo>
                <a:lnTo>
                  <a:pt x="1631583" y="815797"/>
                </a:lnTo>
                <a:lnTo>
                  <a:pt x="1630198" y="767862"/>
                </a:lnTo>
                <a:lnTo>
                  <a:pt x="1626095" y="720658"/>
                </a:lnTo>
                <a:lnTo>
                  <a:pt x="1619349" y="674259"/>
                </a:lnTo>
                <a:lnTo>
                  <a:pt x="1610038" y="628742"/>
                </a:lnTo>
                <a:lnTo>
                  <a:pt x="1598237" y="584184"/>
                </a:lnTo>
                <a:lnTo>
                  <a:pt x="1584023" y="540662"/>
                </a:lnTo>
                <a:lnTo>
                  <a:pt x="1567474" y="498252"/>
                </a:lnTo>
                <a:lnTo>
                  <a:pt x="1548665" y="457030"/>
                </a:lnTo>
                <a:lnTo>
                  <a:pt x="1527672" y="417073"/>
                </a:lnTo>
                <a:lnTo>
                  <a:pt x="1504573" y="378458"/>
                </a:lnTo>
                <a:lnTo>
                  <a:pt x="1479444" y="341260"/>
                </a:lnTo>
                <a:lnTo>
                  <a:pt x="1452362" y="305557"/>
                </a:lnTo>
                <a:lnTo>
                  <a:pt x="1423402" y="271426"/>
                </a:lnTo>
                <a:lnTo>
                  <a:pt x="1392642" y="238941"/>
                </a:lnTo>
                <a:lnTo>
                  <a:pt x="1360157" y="208181"/>
                </a:lnTo>
                <a:lnTo>
                  <a:pt x="1326025" y="179221"/>
                </a:lnTo>
                <a:lnTo>
                  <a:pt x="1290323" y="152139"/>
                </a:lnTo>
                <a:lnTo>
                  <a:pt x="1253125" y="127009"/>
                </a:lnTo>
                <a:lnTo>
                  <a:pt x="1214510" y="103910"/>
                </a:lnTo>
                <a:lnTo>
                  <a:pt x="1174553" y="82918"/>
                </a:lnTo>
                <a:lnTo>
                  <a:pt x="1133331" y="64109"/>
                </a:lnTo>
                <a:lnTo>
                  <a:pt x="1090921" y="47559"/>
                </a:lnTo>
                <a:lnTo>
                  <a:pt x="1047398" y="33346"/>
                </a:lnTo>
                <a:lnTo>
                  <a:pt x="1002841" y="21545"/>
                </a:lnTo>
                <a:lnTo>
                  <a:pt x="957324" y="12234"/>
                </a:lnTo>
                <a:lnTo>
                  <a:pt x="910925" y="5488"/>
                </a:lnTo>
                <a:lnTo>
                  <a:pt x="863720" y="1384"/>
                </a:lnTo>
                <a:lnTo>
                  <a:pt x="815786" y="0"/>
                </a:lnTo>
                <a:close/>
              </a:path>
            </a:pathLst>
          </a:custGeom>
          <a:solidFill>
            <a:srgbClr val="FFFFFF"/>
          </a:solidFill>
        </p:spPr>
        <p:txBody>
          <a:bodyPr wrap="square" lIns="0" tIns="0" rIns="0" bIns="0" rtlCol="0"/>
          <a:lstStyle/>
          <a:p>
            <a:endParaRPr/>
          </a:p>
        </p:txBody>
      </p:sp>
      <p:sp>
        <p:nvSpPr>
          <p:cNvPr id="35" name="object 35"/>
          <p:cNvSpPr/>
          <p:nvPr/>
        </p:nvSpPr>
        <p:spPr>
          <a:xfrm>
            <a:off x="5176109" y="2733147"/>
            <a:ext cx="742264" cy="742212"/>
          </a:xfrm>
          <a:custGeom>
            <a:avLst/>
            <a:gdLst/>
            <a:ahLst/>
            <a:cxnLst/>
            <a:rect l="l" t="t" r="r" b="b"/>
            <a:pathLst>
              <a:path w="1631950" h="1631950">
                <a:moveTo>
                  <a:pt x="815786" y="0"/>
                </a:moveTo>
                <a:lnTo>
                  <a:pt x="767853" y="1384"/>
                </a:lnTo>
                <a:lnTo>
                  <a:pt x="720649" y="5488"/>
                </a:lnTo>
                <a:lnTo>
                  <a:pt x="674251" y="12234"/>
                </a:lnTo>
                <a:lnTo>
                  <a:pt x="628735" y="21545"/>
                </a:lnTo>
                <a:lnTo>
                  <a:pt x="584179" y="33346"/>
                </a:lnTo>
                <a:lnTo>
                  <a:pt x="540657" y="47559"/>
                </a:lnTo>
                <a:lnTo>
                  <a:pt x="498247" y="64109"/>
                </a:lnTo>
                <a:lnTo>
                  <a:pt x="457026" y="82918"/>
                </a:lnTo>
                <a:lnTo>
                  <a:pt x="417070" y="103910"/>
                </a:lnTo>
                <a:lnTo>
                  <a:pt x="378455" y="127009"/>
                </a:lnTo>
                <a:lnTo>
                  <a:pt x="341258" y="152139"/>
                </a:lnTo>
                <a:lnTo>
                  <a:pt x="305555" y="179221"/>
                </a:lnTo>
                <a:lnTo>
                  <a:pt x="271424" y="208181"/>
                </a:lnTo>
                <a:lnTo>
                  <a:pt x="238940" y="238941"/>
                </a:lnTo>
                <a:lnTo>
                  <a:pt x="208180" y="271426"/>
                </a:lnTo>
                <a:lnTo>
                  <a:pt x="179220" y="305557"/>
                </a:lnTo>
                <a:lnTo>
                  <a:pt x="152138" y="341260"/>
                </a:lnTo>
                <a:lnTo>
                  <a:pt x="127009" y="378458"/>
                </a:lnTo>
                <a:lnTo>
                  <a:pt x="103910" y="417073"/>
                </a:lnTo>
                <a:lnTo>
                  <a:pt x="82918" y="457030"/>
                </a:lnTo>
                <a:lnTo>
                  <a:pt x="64109" y="498252"/>
                </a:lnTo>
                <a:lnTo>
                  <a:pt x="47559" y="540662"/>
                </a:lnTo>
                <a:lnTo>
                  <a:pt x="33346" y="584184"/>
                </a:lnTo>
                <a:lnTo>
                  <a:pt x="21545" y="628742"/>
                </a:lnTo>
                <a:lnTo>
                  <a:pt x="12234" y="674259"/>
                </a:lnTo>
                <a:lnTo>
                  <a:pt x="5488" y="720658"/>
                </a:lnTo>
                <a:lnTo>
                  <a:pt x="1384" y="767862"/>
                </a:lnTo>
                <a:lnTo>
                  <a:pt x="0" y="815797"/>
                </a:lnTo>
                <a:lnTo>
                  <a:pt x="1384" y="863730"/>
                </a:lnTo>
                <a:lnTo>
                  <a:pt x="5488" y="910934"/>
                </a:lnTo>
                <a:lnTo>
                  <a:pt x="12234" y="957332"/>
                </a:lnTo>
                <a:lnTo>
                  <a:pt x="21545" y="1002847"/>
                </a:lnTo>
                <a:lnTo>
                  <a:pt x="33346" y="1047404"/>
                </a:lnTo>
                <a:lnTo>
                  <a:pt x="47559" y="1090926"/>
                </a:lnTo>
                <a:lnTo>
                  <a:pt x="64109" y="1133335"/>
                </a:lnTo>
                <a:lnTo>
                  <a:pt x="82918" y="1174557"/>
                </a:lnTo>
                <a:lnTo>
                  <a:pt x="103910" y="1214513"/>
                </a:lnTo>
                <a:lnTo>
                  <a:pt x="127009" y="1253128"/>
                </a:lnTo>
                <a:lnTo>
                  <a:pt x="152138" y="1290325"/>
                </a:lnTo>
                <a:lnTo>
                  <a:pt x="179220" y="1326027"/>
                </a:lnTo>
                <a:lnTo>
                  <a:pt x="208180" y="1360159"/>
                </a:lnTo>
                <a:lnTo>
                  <a:pt x="238940" y="1392643"/>
                </a:lnTo>
                <a:lnTo>
                  <a:pt x="271424" y="1423403"/>
                </a:lnTo>
                <a:lnTo>
                  <a:pt x="305555" y="1452362"/>
                </a:lnTo>
                <a:lnTo>
                  <a:pt x="341258" y="1479445"/>
                </a:lnTo>
                <a:lnTo>
                  <a:pt x="378455" y="1504574"/>
                </a:lnTo>
                <a:lnTo>
                  <a:pt x="417070" y="1527673"/>
                </a:lnTo>
                <a:lnTo>
                  <a:pt x="457026" y="1548665"/>
                </a:lnTo>
                <a:lnTo>
                  <a:pt x="498247" y="1567474"/>
                </a:lnTo>
                <a:lnTo>
                  <a:pt x="540657" y="1584024"/>
                </a:lnTo>
                <a:lnTo>
                  <a:pt x="584179" y="1598237"/>
                </a:lnTo>
                <a:lnTo>
                  <a:pt x="628735" y="1610038"/>
                </a:lnTo>
                <a:lnTo>
                  <a:pt x="674251" y="1619349"/>
                </a:lnTo>
                <a:lnTo>
                  <a:pt x="720649" y="1626095"/>
                </a:lnTo>
                <a:lnTo>
                  <a:pt x="767853" y="1630198"/>
                </a:lnTo>
                <a:lnTo>
                  <a:pt x="815786" y="1631583"/>
                </a:lnTo>
                <a:lnTo>
                  <a:pt x="863720" y="1630198"/>
                </a:lnTo>
                <a:lnTo>
                  <a:pt x="910925" y="1626095"/>
                </a:lnTo>
                <a:lnTo>
                  <a:pt x="957324" y="1619349"/>
                </a:lnTo>
                <a:lnTo>
                  <a:pt x="1002841" y="1610038"/>
                </a:lnTo>
                <a:lnTo>
                  <a:pt x="1047398" y="1598237"/>
                </a:lnTo>
                <a:lnTo>
                  <a:pt x="1090921" y="1584024"/>
                </a:lnTo>
                <a:lnTo>
                  <a:pt x="1133331" y="1567474"/>
                </a:lnTo>
                <a:lnTo>
                  <a:pt x="1174553" y="1548665"/>
                </a:lnTo>
                <a:lnTo>
                  <a:pt x="1214510" y="1527673"/>
                </a:lnTo>
                <a:lnTo>
                  <a:pt x="1253125" y="1504574"/>
                </a:lnTo>
                <a:lnTo>
                  <a:pt x="1290323" y="1479445"/>
                </a:lnTo>
                <a:lnTo>
                  <a:pt x="1326025" y="1452362"/>
                </a:lnTo>
                <a:lnTo>
                  <a:pt x="1360157" y="1423403"/>
                </a:lnTo>
                <a:lnTo>
                  <a:pt x="1392642" y="1392643"/>
                </a:lnTo>
                <a:lnTo>
                  <a:pt x="1423402" y="1360159"/>
                </a:lnTo>
                <a:lnTo>
                  <a:pt x="1452362" y="1326027"/>
                </a:lnTo>
                <a:lnTo>
                  <a:pt x="1479444" y="1290325"/>
                </a:lnTo>
                <a:lnTo>
                  <a:pt x="1504573" y="1253128"/>
                </a:lnTo>
                <a:lnTo>
                  <a:pt x="1527672" y="1214513"/>
                </a:lnTo>
                <a:lnTo>
                  <a:pt x="1548665" y="1174557"/>
                </a:lnTo>
                <a:lnTo>
                  <a:pt x="1567474" y="1133335"/>
                </a:lnTo>
                <a:lnTo>
                  <a:pt x="1584023" y="1090926"/>
                </a:lnTo>
                <a:lnTo>
                  <a:pt x="1598237" y="1047404"/>
                </a:lnTo>
                <a:lnTo>
                  <a:pt x="1610038" y="1002847"/>
                </a:lnTo>
                <a:lnTo>
                  <a:pt x="1619349" y="957332"/>
                </a:lnTo>
                <a:lnTo>
                  <a:pt x="1626095" y="910934"/>
                </a:lnTo>
                <a:lnTo>
                  <a:pt x="1630198" y="863730"/>
                </a:lnTo>
                <a:lnTo>
                  <a:pt x="1631583" y="815797"/>
                </a:lnTo>
                <a:lnTo>
                  <a:pt x="1630198" y="767862"/>
                </a:lnTo>
                <a:lnTo>
                  <a:pt x="1626095" y="720658"/>
                </a:lnTo>
                <a:lnTo>
                  <a:pt x="1619349" y="674259"/>
                </a:lnTo>
                <a:lnTo>
                  <a:pt x="1610038" y="628742"/>
                </a:lnTo>
                <a:lnTo>
                  <a:pt x="1598237" y="584184"/>
                </a:lnTo>
                <a:lnTo>
                  <a:pt x="1584023" y="540662"/>
                </a:lnTo>
                <a:lnTo>
                  <a:pt x="1567474" y="498252"/>
                </a:lnTo>
                <a:lnTo>
                  <a:pt x="1548665" y="457030"/>
                </a:lnTo>
                <a:lnTo>
                  <a:pt x="1527672" y="417073"/>
                </a:lnTo>
                <a:lnTo>
                  <a:pt x="1504573" y="378458"/>
                </a:lnTo>
                <a:lnTo>
                  <a:pt x="1479444" y="341260"/>
                </a:lnTo>
                <a:lnTo>
                  <a:pt x="1452362" y="305557"/>
                </a:lnTo>
                <a:lnTo>
                  <a:pt x="1423402" y="271426"/>
                </a:lnTo>
                <a:lnTo>
                  <a:pt x="1392642" y="238941"/>
                </a:lnTo>
                <a:lnTo>
                  <a:pt x="1360157" y="208181"/>
                </a:lnTo>
                <a:lnTo>
                  <a:pt x="1326025" y="179221"/>
                </a:lnTo>
                <a:lnTo>
                  <a:pt x="1290323" y="152139"/>
                </a:lnTo>
                <a:lnTo>
                  <a:pt x="1253125" y="127009"/>
                </a:lnTo>
                <a:lnTo>
                  <a:pt x="1214510" y="103910"/>
                </a:lnTo>
                <a:lnTo>
                  <a:pt x="1174553" y="82918"/>
                </a:lnTo>
                <a:lnTo>
                  <a:pt x="1133331" y="64109"/>
                </a:lnTo>
                <a:lnTo>
                  <a:pt x="1090921" y="47559"/>
                </a:lnTo>
                <a:lnTo>
                  <a:pt x="1047398" y="33346"/>
                </a:lnTo>
                <a:lnTo>
                  <a:pt x="1002841" y="21545"/>
                </a:lnTo>
                <a:lnTo>
                  <a:pt x="957324" y="12234"/>
                </a:lnTo>
                <a:lnTo>
                  <a:pt x="910925" y="5488"/>
                </a:lnTo>
                <a:lnTo>
                  <a:pt x="863720" y="1384"/>
                </a:lnTo>
                <a:lnTo>
                  <a:pt x="815786" y="0"/>
                </a:lnTo>
                <a:close/>
              </a:path>
            </a:pathLst>
          </a:custGeom>
          <a:solidFill>
            <a:srgbClr val="FFFFFF"/>
          </a:solidFill>
        </p:spPr>
        <p:txBody>
          <a:bodyPr wrap="square" lIns="0" tIns="0" rIns="0" bIns="0" rtlCol="0"/>
          <a:lstStyle/>
          <a:p>
            <a:endParaRPr/>
          </a:p>
        </p:txBody>
      </p:sp>
      <p:sp>
        <p:nvSpPr>
          <p:cNvPr id="36" name="object 36"/>
          <p:cNvSpPr/>
          <p:nvPr/>
        </p:nvSpPr>
        <p:spPr>
          <a:xfrm>
            <a:off x="7178183" y="2733147"/>
            <a:ext cx="742264" cy="742212"/>
          </a:xfrm>
          <a:custGeom>
            <a:avLst/>
            <a:gdLst/>
            <a:ahLst/>
            <a:cxnLst/>
            <a:rect l="l" t="t" r="r" b="b"/>
            <a:pathLst>
              <a:path w="1631950" h="1631950">
                <a:moveTo>
                  <a:pt x="815786" y="0"/>
                </a:moveTo>
                <a:lnTo>
                  <a:pt x="767853" y="1384"/>
                </a:lnTo>
                <a:lnTo>
                  <a:pt x="720649" y="5488"/>
                </a:lnTo>
                <a:lnTo>
                  <a:pt x="674251" y="12234"/>
                </a:lnTo>
                <a:lnTo>
                  <a:pt x="628735" y="21545"/>
                </a:lnTo>
                <a:lnTo>
                  <a:pt x="584179" y="33346"/>
                </a:lnTo>
                <a:lnTo>
                  <a:pt x="540657" y="47559"/>
                </a:lnTo>
                <a:lnTo>
                  <a:pt x="498247" y="64109"/>
                </a:lnTo>
                <a:lnTo>
                  <a:pt x="457026" y="82918"/>
                </a:lnTo>
                <a:lnTo>
                  <a:pt x="417070" y="103910"/>
                </a:lnTo>
                <a:lnTo>
                  <a:pt x="378455" y="127009"/>
                </a:lnTo>
                <a:lnTo>
                  <a:pt x="341258" y="152139"/>
                </a:lnTo>
                <a:lnTo>
                  <a:pt x="305555" y="179221"/>
                </a:lnTo>
                <a:lnTo>
                  <a:pt x="271424" y="208181"/>
                </a:lnTo>
                <a:lnTo>
                  <a:pt x="238940" y="238941"/>
                </a:lnTo>
                <a:lnTo>
                  <a:pt x="208180" y="271426"/>
                </a:lnTo>
                <a:lnTo>
                  <a:pt x="179220" y="305557"/>
                </a:lnTo>
                <a:lnTo>
                  <a:pt x="152138" y="341260"/>
                </a:lnTo>
                <a:lnTo>
                  <a:pt x="127009" y="378458"/>
                </a:lnTo>
                <a:lnTo>
                  <a:pt x="103910" y="417073"/>
                </a:lnTo>
                <a:lnTo>
                  <a:pt x="82918" y="457030"/>
                </a:lnTo>
                <a:lnTo>
                  <a:pt x="64109" y="498252"/>
                </a:lnTo>
                <a:lnTo>
                  <a:pt x="47559" y="540662"/>
                </a:lnTo>
                <a:lnTo>
                  <a:pt x="33346" y="584184"/>
                </a:lnTo>
                <a:lnTo>
                  <a:pt x="21545" y="628742"/>
                </a:lnTo>
                <a:lnTo>
                  <a:pt x="12234" y="674259"/>
                </a:lnTo>
                <a:lnTo>
                  <a:pt x="5488" y="720658"/>
                </a:lnTo>
                <a:lnTo>
                  <a:pt x="1384" y="767862"/>
                </a:lnTo>
                <a:lnTo>
                  <a:pt x="0" y="815797"/>
                </a:lnTo>
                <a:lnTo>
                  <a:pt x="1384" y="863730"/>
                </a:lnTo>
                <a:lnTo>
                  <a:pt x="5488" y="910934"/>
                </a:lnTo>
                <a:lnTo>
                  <a:pt x="12234" y="957332"/>
                </a:lnTo>
                <a:lnTo>
                  <a:pt x="21545" y="1002847"/>
                </a:lnTo>
                <a:lnTo>
                  <a:pt x="33346" y="1047404"/>
                </a:lnTo>
                <a:lnTo>
                  <a:pt x="47559" y="1090926"/>
                </a:lnTo>
                <a:lnTo>
                  <a:pt x="64109" y="1133335"/>
                </a:lnTo>
                <a:lnTo>
                  <a:pt x="82918" y="1174557"/>
                </a:lnTo>
                <a:lnTo>
                  <a:pt x="103910" y="1214513"/>
                </a:lnTo>
                <a:lnTo>
                  <a:pt x="127009" y="1253128"/>
                </a:lnTo>
                <a:lnTo>
                  <a:pt x="152138" y="1290325"/>
                </a:lnTo>
                <a:lnTo>
                  <a:pt x="179220" y="1326027"/>
                </a:lnTo>
                <a:lnTo>
                  <a:pt x="208180" y="1360159"/>
                </a:lnTo>
                <a:lnTo>
                  <a:pt x="238940" y="1392643"/>
                </a:lnTo>
                <a:lnTo>
                  <a:pt x="271424" y="1423403"/>
                </a:lnTo>
                <a:lnTo>
                  <a:pt x="305555" y="1452362"/>
                </a:lnTo>
                <a:lnTo>
                  <a:pt x="341258" y="1479445"/>
                </a:lnTo>
                <a:lnTo>
                  <a:pt x="378455" y="1504574"/>
                </a:lnTo>
                <a:lnTo>
                  <a:pt x="417070" y="1527673"/>
                </a:lnTo>
                <a:lnTo>
                  <a:pt x="457026" y="1548665"/>
                </a:lnTo>
                <a:lnTo>
                  <a:pt x="498247" y="1567474"/>
                </a:lnTo>
                <a:lnTo>
                  <a:pt x="540657" y="1584024"/>
                </a:lnTo>
                <a:lnTo>
                  <a:pt x="584179" y="1598237"/>
                </a:lnTo>
                <a:lnTo>
                  <a:pt x="628735" y="1610038"/>
                </a:lnTo>
                <a:lnTo>
                  <a:pt x="674251" y="1619349"/>
                </a:lnTo>
                <a:lnTo>
                  <a:pt x="720649" y="1626095"/>
                </a:lnTo>
                <a:lnTo>
                  <a:pt x="767853" y="1630198"/>
                </a:lnTo>
                <a:lnTo>
                  <a:pt x="815786" y="1631583"/>
                </a:lnTo>
                <a:lnTo>
                  <a:pt x="863720" y="1630198"/>
                </a:lnTo>
                <a:lnTo>
                  <a:pt x="910925" y="1626095"/>
                </a:lnTo>
                <a:lnTo>
                  <a:pt x="957324" y="1619349"/>
                </a:lnTo>
                <a:lnTo>
                  <a:pt x="1002841" y="1610038"/>
                </a:lnTo>
                <a:lnTo>
                  <a:pt x="1047398" y="1598237"/>
                </a:lnTo>
                <a:lnTo>
                  <a:pt x="1090921" y="1584024"/>
                </a:lnTo>
                <a:lnTo>
                  <a:pt x="1133331" y="1567474"/>
                </a:lnTo>
                <a:lnTo>
                  <a:pt x="1174553" y="1548665"/>
                </a:lnTo>
                <a:lnTo>
                  <a:pt x="1214510" y="1527673"/>
                </a:lnTo>
                <a:lnTo>
                  <a:pt x="1253125" y="1504574"/>
                </a:lnTo>
                <a:lnTo>
                  <a:pt x="1290323" y="1479445"/>
                </a:lnTo>
                <a:lnTo>
                  <a:pt x="1326025" y="1452362"/>
                </a:lnTo>
                <a:lnTo>
                  <a:pt x="1360157" y="1423403"/>
                </a:lnTo>
                <a:lnTo>
                  <a:pt x="1392642" y="1392643"/>
                </a:lnTo>
                <a:lnTo>
                  <a:pt x="1423402" y="1360159"/>
                </a:lnTo>
                <a:lnTo>
                  <a:pt x="1452362" y="1326027"/>
                </a:lnTo>
                <a:lnTo>
                  <a:pt x="1479444" y="1290325"/>
                </a:lnTo>
                <a:lnTo>
                  <a:pt x="1504573" y="1253128"/>
                </a:lnTo>
                <a:lnTo>
                  <a:pt x="1527672" y="1214513"/>
                </a:lnTo>
                <a:lnTo>
                  <a:pt x="1548665" y="1174557"/>
                </a:lnTo>
                <a:lnTo>
                  <a:pt x="1567474" y="1133335"/>
                </a:lnTo>
                <a:lnTo>
                  <a:pt x="1584023" y="1090926"/>
                </a:lnTo>
                <a:lnTo>
                  <a:pt x="1598237" y="1047404"/>
                </a:lnTo>
                <a:lnTo>
                  <a:pt x="1610038" y="1002847"/>
                </a:lnTo>
                <a:lnTo>
                  <a:pt x="1619349" y="957332"/>
                </a:lnTo>
                <a:lnTo>
                  <a:pt x="1626095" y="910934"/>
                </a:lnTo>
                <a:lnTo>
                  <a:pt x="1630198" y="863730"/>
                </a:lnTo>
                <a:lnTo>
                  <a:pt x="1631583" y="815797"/>
                </a:lnTo>
                <a:lnTo>
                  <a:pt x="1630198" y="767862"/>
                </a:lnTo>
                <a:lnTo>
                  <a:pt x="1626095" y="720658"/>
                </a:lnTo>
                <a:lnTo>
                  <a:pt x="1619349" y="674259"/>
                </a:lnTo>
                <a:lnTo>
                  <a:pt x="1610038" y="628742"/>
                </a:lnTo>
                <a:lnTo>
                  <a:pt x="1598237" y="584184"/>
                </a:lnTo>
                <a:lnTo>
                  <a:pt x="1584023" y="540662"/>
                </a:lnTo>
                <a:lnTo>
                  <a:pt x="1567474" y="498252"/>
                </a:lnTo>
                <a:lnTo>
                  <a:pt x="1548665" y="457030"/>
                </a:lnTo>
                <a:lnTo>
                  <a:pt x="1527672" y="417073"/>
                </a:lnTo>
                <a:lnTo>
                  <a:pt x="1504573" y="378458"/>
                </a:lnTo>
                <a:lnTo>
                  <a:pt x="1479444" y="341260"/>
                </a:lnTo>
                <a:lnTo>
                  <a:pt x="1452362" y="305557"/>
                </a:lnTo>
                <a:lnTo>
                  <a:pt x="1423402" y="271426"/>
                </a:lnTo>
                <a:lnTo>
                  <a:pt x="1392642" y="238941"/>
                </a:lnTo>
                <a:lnTo>
                  <a:pt x="1360157" y="208181"/>
                </a:lnTo>
                <a:lnTo>
                  <a:pt x="1326025" y="179221"/>
                </a:lnTo>
                <a:lnTo>
                  <a:pt x="1290323" y="152139"/>
                </a:lnTo>
                <a:lnTo>
                  <a:pt x="1253125" y="127009"/>
                </a:lnTo>
                <a:lnTo>
                  <a:pt x="1214510" y="103910"/>
                </a:lnTo>
                <a:lnTo>
                  <a:pt x="1174553" y="82918"/>
                </a:lnTo>
                <a:lnTo>
                  <a:pt x="1133331" y="64109"/>
                </a:lnTo>
                <a:lnTo>
                  <a:pt x="1090921" y="47559"/>
                </a:lnTo>
                <a:lnTo>
                  <a:pt x="1047398" y="33346"/>
                </a:lnTo>
                <a:lnTo>
                  <a:pt x="1002841" y="21545"/>
                </a:lnTo>
                <a:lnTo>
                  <a:pt x="957324" y="12234"/>
                </a:lnTo>
                <a:lnTo>
                  <a:pt x="910925" y="5488"/>
                </a:lnTo>
                <a:lnTo>
                  <a:pt x="863720" y="1384"/>
                </a:lnTo>
                <a:lnTo>
                  <a:pt x="815786" y="0"/>
                </a:lnTo>
                <a:close/>
              </a:path>
            </a:pathLst>
          </a:custGeom>
          <a:solidFill>
            <a:srgbClr val="FFFFFF"/>
          </a:solidFill>
        </p:spPr>
        <p:txBody>
          <a:bodyPr wrap="square" lIns="0" tIns="0" rIns="0" bIns="0" rtlCol="0"/>
          <a:lstStyle/>
          <a:p>
            <a:endParaRPr/>
          </a:p>
        </p:txBody>
      </p:sp>
      <p:sp>
        <p:nvSpPr>
          <p:cNvPr id="37" name="object 37"/>
          <p:cNvSpPr txBox="1"/>
          <p:nvPr/>
        </p:nvSpPr>
        <p:spPr>
          <a:xfrm>
            <a:off x="3303231" y="3021160"/>
            <a:ext cx="516408" cy="298618"/>
          </a:xfrm>
          <a:prstGeom prst="rect">
            <a:avLst/>
          </a:prstGeom>
        </p:spPr>
        <p:txBody>
          <a:bodyPr vert="horz" wrap="square" lIns="0" tIns="7798" rIns="0" bIns="0" rtlCol="0">
            <a:spAutoFit/>
          </a:bodyPr>
          <a:lstStyle/>
          <a:p>
            <a:pPr marL="5776">
              <a:spcBef>
                <a:spcPts val="61"/>
              </a:spcBef>
            </a:pPr>
            <a:r>
              <a:rPr sz="1900" b="1" spc="11" dirty="0">
                <a:solidFill>
                  <a:srgbClr val="FF7900"/>
                </a:solidFill>
                <a:latin typeface="Helvetica Neue"/>
                <a:cs typeface="Helvetica Neue"/>
              </a:rPr>
              <a:t>50%</a:t>
            </a:r>
            <a:endParaRPr sz="1900">
              <a:latin typeface="Helvetica Neue"/>
              <a:cs typeface="Helvetica Neue"/>
            </a:endParaRPr>
          </a:p>
        </p:txBody>
      </p:sp>
      <p:sp>
        <p:nvSpPr>
          <p:cNvPr id="38" name="object 38"/>
          <p:cNvSpPr txBox="1"/>
          <p:nvPr/>
        </p:nvSpPr>
        <p:spPr>
          <a:xfrm>
            <a:off x="2844343" y="3028821"/>
            <a:ext cx="313368" cy="183098"/>
          </a:xfrm>
          <a:prstGeom prst="rect">
            <a:avLst/>
          </a:prstGeom>
        </p:spPr>
        <p:txBody>
          <a:bodyPr vert="horz" wrap="square" lIns="0" tIns="6931" rIns="0" bIns="0" rtlCol="0">
            <a:spAutoFit/>
          </a:bodyPr>
          <a:lstStyle/>
          <a:p>
            <a:pPr marL="5776">
              <a:spcBef>
                <a:spcPts val="55"/>
              </a:spcBef>
            </a:pPr>
            <a:r>
              <a:rPr sz="1100" b="1" spc="7" dirty="0">
                <a:solidFill>
                  <a:srgbClr val="FFFFFF"/>
                </a:solidFill>
                <a:latin typeface="Helvetica Neue"/>
                <a:cs typeface="Helvetica Neue"/>
              </a:rPr>
              <a:t>47%</a:t>
            </a:r>
            <a:endParaRPr sz="1100">
              <a:latin typeface="Helvetica Neue"/>
              <a:cs typeface="Helvetica Neue"/>
            </a:endParaRPr>
          </a:p>
        </p:txBody>
      </p:sp>
      <p:sp>
        <p:nvSpPr>
          <p:cNvPr id="39" name="object 39"/>
          <p:cNvSpPr txBox="1"/>
          <p:nvPr/>
        </p:nvSpPr>
        <p:spPr>
          <a:xfrm>
            <a:off x="3303231" y="2371499"/>
            <a:ext cx="683345" cy="686763"/>
          </a:xfrm>
          <a:prstGeom prst="rect">
            <a:avLst/>
          </a:prstGeom>
        </p:spPr>
        <p:txBody>
          <a:bodyPr vert="horz" wrap="square" lIns="0" tIns="6931" rIns="0" bIns="0" rtlCol="0">
            <a:spAutoFit/>
          </a:bodyPr>
          <a:lstStyle/>
          <a:p>
            <a:pPr marL="177322">
              <a:lnSpc>
                <a:spcPts val="1328"/>
              </a:lnSpc>
              <a:spcBef>
                <a:spcPts val="55"/>
              </a:spcBef>
            </a:pPr>
            <a:r>
              <a:rPr sz="1100" b="1" spc="7" dirty="0">
                <a:solidFill>
                  <a:srgbClr val="FFFFFF"/>
                </a:solidFill>
                <a:latin typeface="Helvetica Neue"/>
                <a:cs typeface="Helvetica Neue"/>
              </a:rPr>
              <a:t>3%</a:t>
            </a:r>
            <a:endParaRPr sz="1100" dirty="0">
              <a:latin typeface="Helvetica Neue"/>
              <a:cs typeface="Helvetica Neue"/>
            </a:endParaRPr>
          </a:p>
          <a:p>
            <a:pPr marL="375437">
              <a:lnSpc>
                <a:spcPts val="1328"/>
              </a:lnSpc>
            </a:pPr>
            <a:r>
              <a:rPr sz="1100" b="1" spc="7" dirty="0">
                <a:solidFill>
                  <a:srgbClr val="FFFFFF"/>
                </a:solidFill>
                <a:latin typeface="Helvetica Neue"/>
                <a:cs typeface="Helvetica Neue"/>
              </a:rPr>
              <a:t>11%</a:t>
            </a:r>
            <a:endParaRPr sz="1100" dirty="0">
              <a:latin typeface="Helvetica Neue"/>
              <a:cs typeface="Helvetica Neue"/>
            </a:endParaRPr>
          </a:p>
          <a:p>
            <a:pPr marL="5776">
              <a:spcBef>
                <a:spcPts val="1069"/>
              </a:spcBef>
            </a:pPr>
            <a:r>
              <a:rPr sz="1300" b="1" spc="-2" dirty="0">
                <a:solidFill>
                  <a:srgbClr val="1D1D1B"/>
                </a:solidFill>
                <a:latin typeface="Helvetica Neue"/>
                <a:cs typeface="Helvetica Neue"/>
              </a:rPr>
              <a:t>Oui</a:t>
            </a:r>
            <a:endParaRPr sz="1300" dirty="0">
              <a:latin typeface="Helvetica Neue"/>
              <a:cs typeface="Helvetica Neue"/>
            </a:endParaRPr>
          </a:p>
        </p:txBody>
      </p:sp>
      <p:sp>
        <p:nvSpPr>
          <p:cNvPr id="40" name="object 40"/>
          <p:cNvSpPr txBox="1"/>
          <p:nvPr/>
        </p:nvSpPr>
        <p:spPr>
          <a:xfrm>
            <a:off x="3874329" y="3254976"/>
            <a:ext cx="313368" cy="183098"/>
          </a:xfrm>
          <a:prstGeom prst="rect">
            <a:avLst/>
          </a:prstGeom>
        </p:spPr>
        <p:txBody>
          <a:bodyPr vert="horz" wrap="square" lIns="0" tIns="6931" rIns="0" bIns="0" rtlCol="0">
            <a:spAutoFit/>
          </a:bodyPr>
          <a:lstStyle/>
          <a:p>
            <a:pPr marL="5776">
              <a:spcBef>
                <a:spcPts val="55"/>
              </a:spcBef>
            </a:pPr>
            <a:r>
              <a:rPr sz="1100" b="1" spc="7" dirty="0">
                <a:solidFill>
                  <a:srgbClr val="FFFFFF"/>
                </a:solidFill>
                <a:latin typeface="Helvetica Neue"/>
                <a:cs typeface="Helvetica Neue"/>
              </a:rPr>
              <a:t>39%</a:t>
            </a:r>
            <a:endParaRPr sz="1100">
              <a:latin typeface="Helvetica Neue"/>
              <a:cs typeface="Helvetica Neue"/>
            </a:endParaRPr>
          </a:p>
        </p:txBody>
      </p:sp>
      <p:sp>
        <p:nvSpPr>
          <p:cNvPr id="41" name="object 41"/>
          <p:cNvSpPr txBox="1"/>
          <p:nvPr/>
        </p:nvSpPr>
        <p:spPr>
          <a:xfrm>
            <a:off x="4961750" y="2670230"/>
            <a:ext cx="313368" cy="183098"/>
          </a:xfrm>
          <a:prstGeom prst="rect">
            <a:avLst/>
          </a:prstGeom>
        </p:spPr>
        <p:txBody>
          <a:bodyPr vert="horz" wrap="square" lIns="0" tIns="6931" rIns="0" bIns="0" rtlCol="0">
            <a:spAutoFit/>
          </a:bodyPr>
          <a:lstStyle/>
          <a:p>
            <a:pPr marL="5776">
              <a:spcBef>
                <a:spcPts val="55"/>
              </a:spcBef>
            </a:pPr>
            <a:r>
              <a:rPr sz="1100" b="1" spc="7" dirty="0">
                <a:solidFill>
                  <a:srgbClr val="FFFFFF"/>
                </a:solidFill>
                <a:latin typeface="Helvetica Neue"/>
                <a:cs typeface="Helvetica Neue"/>
              </a:rPr>
              <a:t>31%</a:t>
            </a:r>
            <a:endParaRPr sz="1100">
              <a:latin typeface="Helvetica Neue"/>
              <a:cs typeface="Helvetica Neue"/>
            </a:endParaRPr>
          </a:p>
        </p:txBody>
      </p:sp>
      <p:sp>
        <p:nvSpPr>
          <p:cNvPr id="42" name="object 42"/>
          <p:cNvSpPr txBox="1"/>
          <p:nvPr/>
        </p:nvSpPr>
        <p:spPr>
          <a:xfrm>
            <a:off x="5790425" y="2601798"/>
            <a:ext cx="313368" cy="183098"/>
          </a:xfrm>
          <a:prstGeom prst="rect">
            <a:avLst/>
          </a:prstGeom>
        </p:spPr>
        <p:txBody>
          <a:bodyPr vert="horz" wrap="square" lIns="0" tIns="6931" rIns="0" bIns="0" rtlCol="0">
            <a:spAutoFit/>
          </a:bodyPr>
          <a:lstStyle/>
          <a:p>
            <a:pPr marL="5776">
              <a:spcBef>
                <a:spcPts val="55"/>
              </a:spcBef>
            </a:pPr>
            <a:r>
              <a:rPr sz="1100" b="1" spc="7" dirty="0">
                <a:solidFill>
                  <a:srgbClr val="FFFFFF"/>
                </a:solidFill>
                <a:latin typeface="Helvetica Neue"/>
                <a:cs typeface="Helvetica Neue"/>
              </a:rPr>
              <a:t>17%</a:t>
            </a:r>
            <a:endParaRPr sz="1100">
              <a:latin typeface="Helvetica Neue"/>
              <a:cs typeface="Helvetica Neue"/>
            </a:endParaRPr>
          </a:p>
        </p:txBody>
      </p:sp>
      <p:sp>
        <p:nvSpPr>
          <p:cNvPr id="43" name="object 43"/>
          <p:cNvSpPr txBox="1"/>
          <p:nvPr/>
        </p:nvSpPr>
        <p:spPr>
          <a:xfrm>
            <a:off x="5512676" y="2371500"/>
            <a:ext cx="233943" cy="183098"/>
          </a:xfrm>
          <a:prstGeom prst="rect">
            <a:avLst/>
          </a:prstGeom>
        </p:spPr>
        <p:txBody>
          <a:bodyPr vert="horz" wrap="square" lIns="0" tIns="6931" rIns="0" bIns="0" rtlCol="0">
            <a:spAutoFit/>
          </a:bodyPr>
          <a:lstStyle/>
          <a:p>
            <a:pPr marL="5776">
              <a:spcBef>
                <a:spcPts val="55"/>
              </a:spcBef>
            </a:pPr>
            <a:r>
              <a:rPr sz="1100" b="1" spc="7" dirty="0">
                <a:solidFill>
                  <a:srgbClr val="FFFFFF"/>
                </a:solidFill>
                <a:latin typeface="Helvetica Neue"/>
                <a:cs typeface="Helvetica Neue"/>
              </a:rPr>
              <a:t>4%</a:t>
            </a:r>
            <a:endParaRPr sz="1100">
              <a:latin typeface="Helvetica Neue"/>
              <a:cs typeface="Helvetica Neue"/>
            </a:endParaRPr>
          </a:p>
        </p:txBody>
      </p:sp>
      <p:sp>
        <p:nvSpPr>
          <p:cNvPr id="44" name="object 44"/>
          <p:cNvSpPr txBox="1"/>
          <p:nvPr/>
        </p:nvSpPr>
        <p:spPr>
          <a:xfrm>
            <a:off x="6972002" y="2670230"/>
            <a:ext cx="313368" cy="183098"/>
          </a:xfrm>
          <a:prstGeom prst="rect">
            <a:avLst/>
          </a:prstGeom>
        </p:spPr>
        <p:txBody>
          <a:bodyPr vert="horz" wrap="square" lIns="0" tIns="6931" rIns="0" bIns="0" rtlCol="0">
            <a:spAutoFit/>
          </a:bodyPr>
          <a:lstStyle/>
          <a:p>
            <a:pPr marL="5776">
              <a:spcBef>
                <a:spcPts val="55"/>
              </a:spcBef>
            </a:pPr>
            <a:r>
              <a:rPr sz="1100" b="1" spc="7" dirty="0">
                <a:solidFill>
                  <a:srgbClr val="FFFFFF"/>
                </a:solidFill>
                <a:latin typeface="Helvetica Neue"/>
                <a:cs typeface="Helvetica Neue"/>
              </a:rPr>
              <a:t>33%</a:t>
            </a:r>
            <a:endParaRPr sz="1100">
              <a:latin typeface="Helvetica Neue"/>
              <a:cs typeface="Helvetica Neue"/>
            </a:endParaRPr>
          </a:p>
        </p:txBody>
      </p:sp>
      <p:sp>
        <p:nvSpPr>
          <p:cNvPr id="45" name="object 45"/>
          <p:cNvSpPr txBox="1"/>
          <p:nvPr/>
        </p:nvSpPr>
        <p:spPr>
          <a:xfrm>
            <a:off x="7800676" y="2601798"/>
            <a:ext cx="313368" cy="183098"/>
          </a:xfrm>
          <a:prstGeom prst="rect">
            <a:avLst/>
          </a:prstGeom>
        </p:spPr>
        <p:txBody>
          <a:bodyPr vert="horz" wrap="square" lIns="0" tIns="6931" rIns="0" bIns="0" rtlCol="0">
            <a:spAutoFit/>
          </a:bodyPr>
          <a:lstStyle/>
          <a:p>
            <a:pPr marL="5776">
              <a:spcBef>
                <a:spcPts val="55"/>
              </a:spcBef>
            </a:pPr>
            <a:r>
              <a:rPr sz="1100" b="1" spc="7" dirty="0">
                <a:solidFill>
                  <a:srgbClr val="FFFFFF"/>
                </a:solidFill>
                <a:latin typeface="Helvetica Neue"/>
                <a:cs typeface="Helvetica Neue"/>
              </a:rPr>
              <a:t>17%</a:t>
            </a:r>
            <a:endParaRPr sz="1100">
              <a:latin typeface="Helvetica Neue"/>
              <a:cs typeface="Helvetica Neue"/>
            </a:endParaRPr>
          </a:p>
        </p:txBody>
      </p:sp>
      <p:sp>
        <p:nvSpPr>
          <p:cNvPr id="46" name="object 46"/>
          <p:cNvSpPr txBox="1"/>
          <p:nvPr/>
        </p:nvSpPr>
        <p:spPr>
          <a:xfrm>
            <a:off x="7522927" y="2371500"/>
            <a:ext cx="233943" cy="183098"/>
          </a:xfrm>
          <a:prstGeom prst="rect">
            <a:avLst/>
          </a:prstGeom>
        </p:spPr>
        <p:txBody>
          <a:bodyPr vert="horz" wrap="square" lIns="0" tIns="6931" rIns="0" bIns="0" rtlCol="0">
            <a:spAutoFit/>
          </a:bodyPr>
          <a:lstStyle/>
          <a:p>
            <a:pPr marL="5776">
              <a:spcBef>
                <a:spcPts val="55"/>
              </a:spcBef>
            </a:pPr>
            <a:r>
              <a:rPr sz="1100" b="1" spc="7" dirty="0">
                <a:solidFill>
                  <a:srgbClr val="FFFFFF"/>
                </a:solidFill>
                <a:latin typeface="Helvetica Neue"/>
                <a:cs typeface="Helvetica Neue"/>
              </a:rPr>
              <a:t>1%</a:t>
            </a:r>
            <a:endParaRPr sz="1100">
              <a:latin typeface="Helvetica Neue"/>
              <a:cs typeface="Helvetica Neue"/>
            </a:endParaRPr>
          </a:p>
        </p:txBody>
      </p:sp>
      <p:sp>
        <p:nvSpPr>
          <p:cNvPr id="47" name="object 47"/>
          <p:cNvSpPr txBox="1"/>
          <p:nvPr/>
        </p:nvSpPr>
        <p:spPr>
          <a:xfrm>
            <a:off x="5297086" y="2845730"/>
            <a:ext cx="617494" cy="849067"/>
          </a:xfrm>
          <a:prstGeom prst="rect">
            <a:avLst/>
          </a:prstGeom>
        </p:spPr>
        <p:txBody>
          <a:bodyPr vert="horz" wrap="square" lIns="0" tIns="5487" rIns="0" bIns="0" rtlCol="0">
            <a:spAutoFit/>
          </a:bodyPr>
          <a:lstStyle/>
          <a:p>
            <a:pPr marL="5776">
              <a:lnSpc>
                <a:spcPts val="1491"/>
              </a:lnSpc>
              <a:spcBef>
                <a:spcPts val="43"/>
              </a:spcBef>
            </a:pPr>
            <a:r>
              <a:rPr sz="1300" b="1" spc="-2" dirty="0">
                <a:solidFill>
                  <a:srgbClr val="1D1D1B"/>
                </a:solidFill>
                <a:latin typeface="Helvetica Neue"/>
                <a:cs typeface="Helvetica Neue"/>
              </a:rPr>
              <a:t>Oui</a:t>
            </a:r>
            <a:endParaRPr sz="1300">
              <a:latin typeface="Helvetica Neue"/>
              <a:cs typeface="Helvetica Neue"/>
            </a:endParaRPr>
          </a:p>
          <a:p>
            <a:pPr marL="5776">
              <a:lnSpc>
                <a:spcPts val="2147"/>
              </a:lnSpc>
            </a:pPr>
            <a:r>
              <a:rPr sz="1900" b="1" spc="11" dirty="0">
                <a:solidFill>
                  <a:srgbClr val="FF7900"/>
                </a:solidFill>
                <a:latin typeface="Helvetica Neue"/>
                <a:cs typeface="Helvetica Neue"/>
              </a:rPr>
              <a:t>65%</a:t>
            </a:r>
            <a:endParaRPr sz="1900">
              <a:latin typeface="Helvetica Neue"/>
              <a:cs typeface="Helvetica Neue"/>
            </a:endParaRPr>
          </a:p>
          <a:p>
            <a:pPr marL="309880">
              <a:spcBef>
                <a:spcPts val="1619"/>
              </a:spcBef>
            </a:pPr>
            <a:r>
              <a:rPr sz="1100" b="1" spc="7" dirty="0">
                <a:solidFill>
                  <a:srgbClr val="FFFFFF"/>
                </a:solidFill>
                <a:latin typeface="Helvetica Neue"/>
                <a:cs typeface="Helvetica Neue"/>
              </a:rPr>
              <a:t>48%</a:t>
            </a:r>
            <a:endParaRPr sz="1100">
              <a:latin typeface="Helvetica Neue"/>
              <a:cs typeface="Helvetica Neue"/>
            </a:endParaRPr>
          </a:p>
        </p:txBody>
      </p:sp>
      <p:sp>
        <p:nvSpPr>
          <p:cNvPr id="48" name="object 48"/>
          <p:cNvSpPr txBox="1"/>
          <p:nvPr/>
        </p:nvSpPr>
        <p:spPr>
          <a:xfrm>
            <a:off x="7290950" y="2845730"/>
            <a:ext cx="633957" cy="849067"/>
          </a:xfrm>
          <a:prstGeom prst="rect">
            <a:avLst/>
          </a:prstGeom>
        </p:spPr>
        <p:txBody>
          <a:bodyPr vert="horz" wrap="square" lIns="0" tIns="5487" rIns="0" bIns="0" rtlCol="0">
            <a:spAutoFit/>
          </a:bodyPr>
          <a:lstStyle/>
          <a:p>
            <a:pPr marL="5776">
              <a:lnSpc>
                <a:spcPts val="1491"/>
              </a:lnSpc>
              <a:spcBef>
                <a:spcPts val="43"/>
              </a:spcBef>
            </a:pPr>
            <a:r>
              <a:rPr sz="1300" b="1" spc="-2" dirty="0">
                <a:solidFill>
                  <a:srgbClr val="1D1D1B"/>
                </a:solidFill>
                <a:latin typeface="Helvetica Neue"/>
                <a:cs typeface="Helvetica Neue"/>
              </a:rPr>
              <a:t>Oui</a:t>
            </a:r>
            <a:endParaRPr sz="1300">
              <a:latin typeface="Helvetica Neue"/>
              <a:cs typeface="Helvetica Neue"/>
            </a:endParaRPr>
          </a:p>
          <a:p>
            <a:pPr marL="5776">
              <a:lnSpc>
                <a:spcPts val="2147"/>
              </a:lnSpc>
            </a:pPr>
            <a:r>
              <a:rPr sz="1900" b="1" spc="11" dirty="0">
                <a:solidFill>
                  <a:srgbClr val="FF7900"/>
                </a:solidFill>
                <a:latin typeface="Helvetica Neue"/>
                <a:cs typeface="Helvetica Neue"/>
              </a:rPr>
              <a:t>66%</a:t>
            </a:r>
            <a:endParaRPr sz="1900">
              <a:latin typeface="Helvetica Neue"/>
              <a:cs typeface="Helvetica Neue"/>
            </a:endParaRPr>
          </a:p>
          <a:p>
            <a:pPr marL="326053">
              <a:spcBef>
                <a:spcPts val="1619"/>
              </a:spcBef>
            </a:pPr>
            <a:r>
              <a:rPr sz="1100" b="1" spc="7" dirty="0">
                <a:solidFill>
                  <a:srgbClr val="FFFFFF"/>
                </a:solidFill>
                <a:latin typeface="Helvetica Neue"/>
                <a:cs typeface="Helvetica Neue"/>
              </a:rPr>
              <a:t>49%</a:t>
            </a:r>
            <a:endParaRPr sz="1100">
              <a:latin typeface="Helvetica Neue"/>
              <a:cs typeface="Helvetica Neue"/>
            </a:endParaRPr>
          </a:p>
        </p:txBody>
      </p:sp>
      <p:sp>
        <p:nvSpPr>
          <p:cNvPr id="49" name="object 49"/>
          <p:cNvSpPr/>
          <p:nvPr/>
        </p:nvSpPr>
        <p:spPr>
          <a:xfrm>
            <a:off x="5608044" y="1999810"/>
            <a:ext cx="98227" cy="93248"/>
          </a:xfrm>
          <a:prstGeom prst="rect">
            <a:avLst/>
          </a:prstGeom>
          <a:blipFill>
            <a:blip r:embed="rId3" cstate="print"/>
            <a:stretch>
              <a:fillRect/>
            </a:stretch>
          </a:blipFill>
        </p:spPr>
        <p:txBody>
          <a:bodyPr wrap="square" lIns="0" tIns="0" rIns="0" bIns="0" rtlCol="0"/>
          <a:lstStyle/>
          <a:p>
            <a:endParaRPr/>
          </a:p>
        </p:txBody>
      </p:sp>
      <p:sp>
        <p:nvSpPr>
          <p:cNvPr id="50" name="object 50"/>
          <p:cNvSpPr/>
          <p:nvPr/>
        </p:nvSpPr>
        <p:spPr>
          <a:xfrm>
            <a:off x="5394284" y="1999810"/>
            <a:ext cx="98227" cy="93248"/>
          </a:xfrm>
          <a:prstGeom prst="rect">
            <a:avLst/>
          </a:prstGeom>
          <a:blipFill>
            <a:blip r:embed="rId4" cstate="print"/>
            <a:stretch>
              <a:fillRect/>
            </a:stretch>
          </a:blipFill>
        </p:spPr>
        <p:txBody>
          <a:bodyPr wrap="square" lIns="0" tIns="0" rIns="0" bIns="0" rtlCol="0"/>
          <a:lstStyle/>
          <a:p>
            <a:endParaRPr/>
          </a:p>
        </p:txBody>
      </p:sp>
      <p:sp>
        <p:nvSpPr>
          <p:cNvPr id="51" name="object 51"/>
          <p:cNvSpPr/>
          <p:nvPr/>
        </p:nvSpPr>
        <p:spPr>
          <a:xfrm>
            <a:off x="5492512" y="1999810"/>
            <a:ext cx="115816" cy="103679"/>
          </a:xfrm>
          <a:custGeom>
            <a:avLst/>
            <a:gdLst/>
            <a:ahLst/>
            <a:cxnLst/>
            <a:rect l="l" t="t" r="r" b="b"/>
            <a:pathLst>
              <a:path w="254634" h="227964">
                <a:moveTo>
                  <a:pt x="254013" y="0"/>
                </a:moveTo>
                <a:lnTo>
                  <a:pt x="0" y="0"/>
                </a:lnTo>
                <a:lnTo>
                  <a:pt x="0" y="205030"/>
                </a:lnTo>
                <a:lnTo>
                  <a:pt x="30308" y="214666"/>
                </a:lnTo>
                <a:lnTo>
                  <a:pt x="61635" y="221796"/>
                </a:lnTo>
                <a:lnTo>
                  <a:pt x="93894" y="226222"/>
                </a:lnTo>
                <a:lnTo>
                  <a:pt x="127001" y="227741"/>
                </a:lnTo>
                <a:lnTo>
                  <a:pt x="160113" y="226222"/>
                </a:lnTo>
                <a:lnTo>
                  <a:pt x="192376" y="221796"/>
                </a:lnTo>
                <a:lnTo>
                  <a:pt x="223704" y="214666"/>
                </a:lnTo>
                <a:lnTo>
                  <a:pt x="254013" y="205030"/>
                </a:lnTo>
                <a:lnTo>
                  <a:pt x="254013" y="0"/>
                </a:lnTo>
                <a:close/>
              </a:path>
            </a:pathLst>
          </a:custGeom>
          <a:solidFill>
            <a:srgbClr val="FFFFFF"/>
          </a:solidFill>
        </p:spPr>
        <p:txBody>
          <a:bodyPr wrap="square" lIns="0" tIns="0" rIns="0" bIns="0" rtlCol="0"/>
          <a:lstStyle/>
          <a:p>
            <a:endParaRPr/>
          </a:p>
        </p:txBody>
      </p:sp>
      <p:sp>
        <p:nvSpPr>
          <p:cNvPr id="52" name="object 52"/>
          <p:cNvSpPr/>
          <p:nvPr/>
        </p:nvSpPr>
        <p:spPr>
          <a:xfrm>
            <a:off x="5380964" y="1764780"/>
            <a:ext cx="338784" cy="235082"/>
          </a:xfrm>
          <a:custGeom>
            <a:avLst/>
            <a:gdLst/>
            <a:ahLst/>
            <a:cxnLst/>
            <a:rect l="l" t="t" r="r" b="b"/>
            <a:pathLst>
              <a:path w="744854" h="516889">
                <a:moveTo>
                  <a:pt x="372260" y="0"/>
                </a:moveTo>
                <a:lnTo>
                  <a:pt x="306885" y="5939"/>
                </a:lnTo>
                <a:lnTo>
                  <a:pt x="245249" y="22700"/>
                </a:lnTo>
                <a:lnTo>
                  <a:pt x="203645" y="40774"/>
                </a:lnTo>
                <a:lnTo>
                  <a:pt x="164850" y="63566"/>
                </a:lnTo>
                <a:lnTo>
                  <a:pt x="129234" y="90714"/>
                </a:lnTo>
                <a:lnTo>
                  <a:pt x="97167" y="121856"/>
                </a:lnTo>
                <a:lnTo>
                  <a:pt x="69018" y="156628"/>
                </a:lnTo>
                <a:lnTo>
                  <a:pt x="45158" y="194669"/>
                </a:lnTo>
                <a:lnTo>
                  <a:pt x="25956" y="235615"/>
                </a:lnTo>
                <a:lnTo>
                  <a:pt x="11782" y="279104"/>
                </a:lnTo>
                <a:lnTo>
                  <a:pt x="3007" y="324773"/>
                </a:lnTo>
                <a:lnTo>
                  <a:pt x="0" y="372260"/>
                </a:lnTo>
                <a:lnTo>
                  <a:pt x="1931" y="410235"/>
                </a:lnTo>
                <a:lnTo>
                  <a:pt x="7591" y="447096"/>
                </a:lnTo>
                <a:lnTo>
                  <a:pt x="16777" y="482669"/>
                </a:lnTo>
                <a:lnTo>
                  <a:pt x="29287" y="516780"/>
                </a:lnTo>
                <a:lnTo>
                  <a:pt x="715224" y="516780"/>
                </a:lnTo>
                <a:lnTo>
                  <a:pt x="727734" y="482669"/>
                </a:lnTo>
                <a:lnTo>
                  <a:pt x="736919" y="447096"/>
                </a:lnTo>
                <a:lnTo>
                  <a:pt x="742579" y="410235"/>
                </a:lnTo>
                <a:lnTo>
                  <a:pt x="744511" y="372260"/>
                </a:lnTo>
                <a:lnTo>
                  <a:pt x="741504" y="324773"/>
                </a:lnTo>
                <a:lnTo>
                  <a:pt x="732729" y="279104"/>
                </a:lnTo>
                <a:lnTo>
                  <a:pt x="718556" y="235615"/>
                </a:lnTo>
                <a:lnTo>
                  <a:pt x="699355" y="194669"/>
                </a:lnTo>
                <a:lnTo>
                  <a:pt x="675496" y="156628"/>
                </a:lnTo>
                <a:lnTo>
                  <a:pt x="647348" y="121856"/>
                </a:lnTo>
                <a:lnTo>
                  <a:pt x="615281" y="90714"/>
                </a:lnTo>
                <a:lnTo>
                  <a:pt x="579664" y="63566"/>
                </a:lnTo>
                <a:lnTo>
                  <a:pt x="540868" y="40774"/>
                </a:lnTo>
                <a:lnTo>
                  <a:pt x="499262" y="22700"/>
                </a:lnTo>
                <a:lnTo>
                  <a:pt x="437626" y="5939"/>
                </a:lnTo>
                <a:lnTo>
                  <a:pt x="372260" y="0"/>
                </a:lnTo>
                <a:close/>
              </a:path>
            </a:pathLst>
          </a:custGeom>
          <a:solidFill>
            <a:srgbClr val="4AA1D5"/>
          </a:solidFill>
        </p:spPr>
        <p:txBody>
          <a:bodyPr wrap="square" lIns="0" tIns="0" rIns="0" bIns="0" rtlCol="0"/>
          <a:lstStyle/>
          <a:p>
            <a:endParaRPr/>
          </a:p>
        </p:txBody>
      </p:sp>
      <p:sp>
        <p:nvSpPr>
          <p:cNvPr id="53" name="object 53"/>
          <p:cNvSpPr/>
          <p:nvPr/>
        </p:nvSpPr>
        <p:spPr>
          <a:xfrm>
            <a:off x="5506912" y="1802281"/>
            <a:ext cx="98776" cy="167792"/>
          </a:xfrm>
          <a:custGeom>
            <a:avLst/>
            <a:gdLst/>
            <a:ahLst/>
            <a:cxnLst/>
            <a:rect l="l" t="t" r="r" b="b"/>
            <a:pathLst>
              <a:path w="217170" h="368935">
                <a:moveTo>
                  <a:pt x="195166" y="0"/>
                </a:moveTo>
                <a:lnTo>
                  <a:pt x="21664" y="0"/>
                </a:lnTo>
                <a:lnTo>
                  <a:pt x="13230" y="1703"/>
                </a:lnTo>
                <a:lnTo>
                  <a:pt x="6344" y="6350"/>
                </a:lnTo>
                <a:lnTo>
                  <a:pt x="1702" y="13243"/>
                </a:lnTo>
                <a:lnTo>
                  <a:pt x="0" y="21685"/>
                </a:lnTo>
                <a:lnTo>
                  <a:pt x="0" y="346921"/>
                </a:lnTo>
                <a:lnTo>
                  <a:pt x="1702" y="355363"/>
                </a:lnTo>
                <a:lnTo>
                  <a:pt x="6344" y="362255"/>
                </a:lnTo>
                <a:lnTo>
                  <a:pt x="13230" y="366902"/>
                </a:lnTo>
                <a:lnTo>
                  <a:pt x="21664" y="368606"/>
                </a:lnTo>
                <a:lnTo>
                  <a:pt x="195166" y="368606"/>
                </a:lnTo>
                <a:lnTo>
                  <a:pt x="203596" y="366902"/>
                </a:lnTo>
                <a:lnTo>
                  <a:pt x="210483" y="362255"/>
                </a:lnTo>
                <a:lnTo>
                  <a:pt x="213506" y="357769"/>
                </a:lnTo>
                <a:lnTo>
                  <a:pt x="102426" y="357769"/>
                </a:lnTo>
                <a:lnTo>
                  <a:pt x="97578" y="352910"/>
                </a:lnTo>
                <a:lnTo>
                  <a:pt x="97578" y="340932"/>
                </a:lnTo>
                <a:lnTo>
                  <a:pt x="102426" y="336073"/>
                </a:lnTo>
                <a:lnTo>
                  <a:pt x="216831" y="336073"/>
                </a:lnTo>
                <a:lnTo>
                  <a:pt x="216831" y="325236"/>
                </a:lnTo>
                <a:lnTo>
                  <a:pt x="21685" y="325236"/>
                </a:lnTo>
                <a:lnTo>
                  <a:pt x="21685" y="32522"/>
                </a:lnTo>
                <a:lnTo>
                  <a:pt x="216831" y="32522"/>
                </a:lnTo>
                <a:lnTo>
                  <a:pt x="216831" y="21685"/>
                </a:lnTo>
                <a:lnTo>
                  <a:pt x="89170" y="21685"/>
                </a:lnTo>
                <a:lnTo>
                  <a:pt x="86730" y="19235"/>
                </a:lnTo>
                <a:lnTo>
                  <a:pt x="86764" y="13243"/>
                </a:lnTo>
                <a:lnTo>
                  <a:pt x="89170" y="10847"/>
                </a:lnTo>
                <a:lnTo>
                  <a:pt x="213513" y="10847"/>
                </a:lnTo>
                <a:lnTo>
                  <a:pt x="210483" y="6350"/>
                </a:lnTo>
                <a:lnTo>
                  <a:pt x="203596" y="1703"/>
                </a:lnTo>
                <a:lnTo>
                  <a:pt x="195166" y="0"/>
                </a:lnTo>
                <a:close/>
              </a:path>
              <a:path w="217170" h="368935">
                <a:moveTo>
                  <a:pt x="216831" y="336073"/>
                </a:moveTo>
                <a:lnTo>
                  <a:pt x="114394" y="336073"/>
                </a:lnTo>
                <a:lnTo>
                  <a:pt x="119252" y="340932"/>
                </a:lnTo>
                <a:lnTo>
                  <a:pt x="119252" y="352910"/>
                </a:lnTo>
                <a:lnTo>
                  <a:pt x="114394" y="357769"/>
                </a:lnTo>
                <a:lnTo>
                  <a:pt x="213506" y="357769"/>
                </a:lnTo>
                <a:lnTo>
                  <a:pt x="215127" y="355363"/>
                </a:lnTo>
                <a:lnTo>
                  <a:pt x="216831" y="346921"/>
                </a:lnTo>
                <a:lnTo>
                  <a:pt x="216831" y="336073"/>
                </a:lnTo>
                <a:close/>
              </a:path>
              <a:path w="217170" h="368935">
                <a:moveTo>
                  <a:pt x="216831" y="32522"/>
                </a:moveTo>
                <a:lnTo>
                  <a:pt x="195145" y="32522"/>
                </a:lnTo>
                <a:lnTo>
                  <a:pt x="195145" y="325236"/>
                </a:lnTo>
                <a:lnTo>
                  <a:pt x="216831" y="325236"/>
                </a:lnTo>
                <a:lnTo>
                  <a:pt x="216831" y="32522"/>
                </a:lnTo>
                <a:close/>
              </a:path>
              <a:path w="217170" h="368935">
                <a:moveTo>
                  <a:pt x="108415" y="119252"/>
                </a:moveTo>
                <a:lnTo>
                  <a:pt x="83094" y="124364"/>
                </a:lnTo>
                <a:lnTo>
                  <a:pt x="62415" y="138303"/>
                </a:lnTo>
                <a:lnTo>
                  <a:pt x="48472" y="158978"/>
                </a:lnTo>
                <a:lnTo>
                  <a:pt x="43359" y="184298"/>
                </a:lnTo>
                <a:lnTo>
                  <a:pt x="48472" y="209623"/>
                </a:lnTo>
                <a:lnTo>
                  <a:pt x="62415" y="230301"/>
                </a:lnTo>
                <a:lnTo>
                  <a:pt x="83094" y="244242"/>
                </a:lnTo>
                <a:lnTo>
                  <a:pt x="108415" y="249353"/>
                </a:lnTo>
                <a:lnTo>
                  <a:pt x="133734" y="244242"/>
                </a:lnTo>
                <a:lnTo>
                  <a:pt x="142242" y="238505"/>
                </a:lnTo>
                <a:lnTo>
                  <a:pt x="108415" y="238505"/>
                </a:lnTo>
                <a:lnTo>
                  <a:pt x="87316" y="234245"/>
                </a:lnTo>
                <a:lnTo>
                  <a:pt x="70085" y="222628"/>
                </a:lnTo>
                <a:lnTo>
                  <a:pt x="58467" y="205397"/>
                </a:lnTo>
                <a:lnTo>
                  <a:pt x="54207" y="184298"/>
                </a:lnTo>
                <a:lnTo>
                  <a:pt x="58467" y="163203"/>
                </a:lnTo>
                <a:lnTo>
                  <a:pt x="70085" y="145971"/>
                </a:lnTo>
                <a:lnTo>
                  <a:pt x="87316" y="134351"/>
                </a:lnTo>
                <a:lnTo>
                  <a:pt x="108415" y="130090"/>
                </a:lnTo>
                <a:lnTo>
                  <a:pt x="142228" y="130090"/>
                </a:lnTo>
                <a:lnTo>
                  <a:pt x="133734" y="124364"/>
                </a:lnTo>
                <a:lnTo>
                  <a:pt x="108415" y="119252"/>
                </a:lnTo>
                <a:close/>
              </a:path>
              <a:path w="217170" h="368935">
                <a:moveTo>
                  <a:pt x="142228" y="130090"/>
                </a:moveTo>
                <a:lnTo>
                  <a:pt x="108415" y="130090"/>
                </a:lnTo>
                <a:lnTo>
                  <a:pt x="129513" y="134351"/>
                </a:lnTo>
                <a:lnTo>
                  <a:pt x="146740" y="145971"/>
                </a:lnTo>
                <a:lnTo>
                  <a:pt x="158354" y="163203"/>
                </a:lnTo>
                <a:lnTo>
                  <a:pt x="162612" y="184298"/>
                </a:lnTo>
                <a:lnTo>
                  <a:pt x="158354" y="205397"/>
                </a:lnTo>
                <a:lnTo>
                  <a:pt x="146740" y="222628"/>
                </a:lnTo>
                <a:lnTo>
                  <a:pt x="129513" y="234245"/>
                </a:lnTo>
                <a:lnTo>
                  <a:pt x="108415" y="238505"/>
                </a:lnTo>
                <a:lnTo>
                  <a:pt x="142242" y="238505"/>
                </a:lnTo>
                <a:lnTo>
                  <a:pt x="154410" y="230301"/>
                </a:lnTo>
                <a:lnTo>
                  <a:pt x="168349" y="209623"/>
                </a:lnTo>
                <a:lnTo>
                  <a:pt x="173460" y="184298"/>
                </a:lnTo>
                <a:lnTo>
                  <a:pt x="168349" y="158978"/>
                </a:lnTo>
                <a:lnTo>
                  <a:pt x="154410" y="138303"/>
                </a:lnTo>
                <a:lnTo>
                  <a:pt x="142228" y="130090"/>
                </a:lnTo>
                <a:close/>
              </a:path>
              <a:path w="217170" h="368935">
                <a:moveTo>
                  <a:pt x="92688" y="199281"/>
                </a:moveTo>
                <a:lnTo>
                  <a:pt x="80374" y="199281"/>
                </a:lnTo>
                <a:lnTo>
                  <a:pt x="81861" y="206663"/>
                </a:lnTo>
                <a:lnTo>
                  <a:pt x="84908" y="212894"/>
                </a:lnTo>
                <a:lnTo>
                  <a:pt x="95243" y="222946"/>
                </a:lnTo>
                <a:lnTo>
                  <a:pt x="102342" y="225312"/>
                </a:lnTo>
                <a:lnTo>
                  <a:pt x="110991" y="225312"/>
                </a:lnTo>
                <a:lnTo>
                  <a:pt x="120156" y="224353"/>
                </a:lnTo>
                <a:lnTo>
                  <a:pt x="127481" y="221419"/>
                </a:lnTo>
                <a:lnTo>
                  <a:pt x="133147" y="216424"/>
                </a:lnTo>
                <a:lnTo>
                  <a:pt x="134917" y="213407"/>
                </a:lnTo>
                <a:lnTo>
                  <a:pt x="101682" y="213407"/>
                </a:lnTo>
                <a:lnTo>
                  <a:pt x="95201" y="209124"/>
                </a:lnTo>
                <a:lnTo>
                  <a:pt x="92688" y="199281"/>
                </a:lnTo>
                <a:close/>
              </a:path>
              <a:path w="217170" h="368935">
                <a:moveTo>
                  <a:pt x="131524" y="200611"/>
                </a:moveTo>
                <a:lnTo>
                  <a:pt x="128226" y="200611"/>
                </a:lnTo>
                <a:lnTo>
                  <a:pt x="126153" y="202088"/>
                </a:lnTo>
                <a:lnTo>
                  <a:pt x="124980" y="204810"/>
                </a:lnTo>
                <a:lnTo>
                  <a:pt x="122561" y="210820"/>
                </a:lnTo>
                <a:lnTo>
                  <a:pt x="119033" y="213407"/>
                </a:lnTo>
                <a:lnTo>
                  <a:pt x="134917" y="213407"/>
                </a:lnTo>
                <a:lnTo>
                  <a:pt x="137336" y="209281"/>
                </a:lnTo>
                <a:lnTo>
                  <a:pt x="137723" y="208485"/>
                </a:lnTo>
                <a:lnTo>
                  <a:pt x="137901" y="207669"/>
                </a:lnTo>
                <a:lnTo>
                  <a:pt x="137901" y="204203"/>
                </a:lnTo>
                <a:lnTo>
                  <a:pt x="135849" y="201742"/>
                </a:lnTo>
                <a:lnTo>
                  <a:pt x="133022" y="200978"/>
                </a:lnTo>
                <a:lnTo>
                  <a:pt x="132268" y="200737"/>
                </a:lnTo>
                <a:lnTo>
                  <a:pt x="131524" y="200611"/>
                </a:lnTo>
                <a:close/>
              </a:path>
              <a:path w="217170" h="368935">
                <a:moveTo>
                  <a:pt x="119399" y="188203"/>
                </a:moveTo>
                <a:lnTo>
                  <a:pt x="72594" y="188203"/>
                </a:lnTo>
                <a:lnTo>
                  <a:pt x="70574" y="190685"/>
                </a:lnTo>
                <a:lnTo>
                  <a:pt x="70531" y="197103"/>
                </a:lnTo>
                <a:lnTo>
                  <a:pt x="72647" y="199281"/>
                </a:lnTo>
                <a:lnTo>
                  <a:pt x="119242" y="199281"/>
                </a:lnTo>
                <a:lnTo>
                  <a:pt x="121122" y="197103"/>
                </a:lnTo>
                <a:lnTo>
                  <a:pt x="121158" y="190685"/>
                </a:lnTo>
                <a:lnTo>
                  <a:pt x="119399" y="188203"/>
                </a:lnTo>
                <a:close/>
              </a:path>
              <a:path w="217170" h="368935">
                <a:moveTo>
                  <a:pt x="91452" y="182046"/>
                </a:moveTo>
                <a:lnTo>
                  <a:pt x="79557" y="182046"/>
                </a:lnTo>
                <a:lnTo>
                  <a:pt x="79557" y="188203"/>
                </a:lnTo>
                <a:lnTo>
                  <a:pt x="91452" y="188203"/>
                </a:lnTo>
                <a:lnTo>
                  <a:pt x="91452" y="182046"/>
                </a:lnTo>
                <a:close/>
              </a:path>
              <a:path w="217170" h="368935">
                <a:moveTo>
                  <a:pt x="124268" y="170162"/>
                </a:moveTo>
                <a:lnTo>
                  <a:pt x="72647" y="170162"/>
                </a:lnTo>
                <a:lnTo>
                  <a:pt x="70591" y="173062"/>
                </a:lnTo>
                <a:lnTo>
                  <a:pt x="70531" y="179470"/>
                </a:lnTo>
                <a:lnTo>
                  <a:pt x="72647" y="182046"/>
                </a:lnTo>
                <a:lnTo>
                  <a:pt x="124216" y="182046"/>
                </a:lnTo>
                <a:lnTo>
                  <a:pt x="126163" y="179470"/>
                </a:lnTo>
                <a:lnTo>
                  <a:pt x="126195" y="173062"/>
                </a:lnTo>
                <a:lnTo>
                  <a:pt x="124268" y="170162"/>
                </a:lnTo>
                <a:close/>
              </a:path>
              <a:path w="217170" h="368935">
                <a:moveTo>
                  <a:pt x="110991" y="143294"/>
                </a:moveTo>
                <a:lnTo>
                  <a:pt x="103012" y="143294"/>
                </a:lnTo>
                <a:lnTo>
                  <a:pt x="95965" y="145660"/>
                </a:lnTo>
                <a:lnTo>
                  <a:pt x="85662" y="155513"/>
                </a:lnTo>
                <a:lnTo>
                  <a:pt x="82479" y="162351"/>
                </a:lnTo>
                <a:lnTo>
                  <a:pt x="80782" y="170162"/>
                </a:lnTo>
                <a:lnTo>
                  <a:pt x="93096" y="170162"/>
                </a:lnTo>
                <a:lnTo>
                  <a:pt x="95892" y="159900"/>
                </a:lnTo>
                <a:lnTo>
                  <a:pt x="102206" y="155126"/>
                </a:lnTo>
                <a:lnTo>
                  <a:pt x="134517" y="155126"/>
                </a:lnTo>
                <a:lnTo>
                  <a:pt x="132884" y="152296"/>
                </a:lnTo>
                <a:lnTo>
                  <a:pt x="127226" y="147280"/>
                </a:lnTo>
                <a:lnTo>
                  <a:pt x="119943" y="144287"/>
                </a:lnTo>
                <a:lnTo>
                  <a:pt x="110991" y="143294"/>
                </a:lnTo>
                <a:close/>
              </a:path>
              <a:path w="217170" h="368935">
                <a:moveTo>
                  <a:pt x="134517" y="155126"/>
                </a:moveTo>
                <a:lnTo>
                  <a:pt x="118582" y="155126"/>
                </a:lnTo>
                <a:lnTo>
                  <a:pt x="122278" y="157670"/>
                </a:lnTo>
                <a:lnTo>
                  <a:pt x="126100" y="166864"/>
                </a:lnTo>
                <a:lnTo>
                  <a:pt x="128121" y="168549"/>
                </a:lnTo>
                <a:lnTo>
                  <a:pt x="131587" y="168549"/>
                </a:lnTo>
                <a:lnTo>
                  <a:pt x="132571" y="168717"/>
                </a:lnTo>
                <a:lnTo>
                  <a:pt x="133315" y="168309"/>
                </a:lnTo>
                <a:lnTo>
                  <a:pt x="133514" y="168068"/>
                </a:lnTo>
                <a:lnTo>
                  <a:pt x="136121" y="167000"/>
                </a:lnTo>
                <a:lnTo>
                  <a:pt x="137608" y="164853"/>
                </a:lnTo>
                <a:lnTo>
                  <a:pt x="137545" y="160571"/>
                </a:lnTo>
                <a:lnTo>
                  <a:pt x="136959" y="159356"/>
                </a:lnTo>
                <a:lnTo>
                  <a:pt x="134517" y="155126"/>
                </a:lnTo>
                <a:close/>
              </a:path>
              <a:path w="217170" h="368935">
                <a:moveTo>
                  <a:pt x="213513" y="10847"/>
                </a:moveTo>
                <a:lnTo>
                  <a:pt x="127661" y="10847"/>
                </a:lnTo>
                <a:lnTo>
                  <a:pt x="130056" y="13243"/>
                </a:lnTo>
                <a:lnTo>
                  <a:pt x="130090" y="19235"/>
                </a:lnTo>
                <a:lnTo>
                  <a:pt x="127661" y="21685"/>
                </a:lnTo>
                <a:lnTo>
                  <a:pt x="216831" y="21685"/>
                </a:lnTo>
                <a:lnTo>
                  <a:pt x="215127" y="13243"/>
                </a:lnTo>
                <a:lnTo>
                  <a:pt x="213513" y="10847"/>
                </a:lnTo>
                <a:close/>
              </a:path>
            </a:pathLst>
          </a:custGeom>
          <a:solidFill>
            <a:srgbClr val="FFFFFF"/>
          </a:solidFill>
        </p:spPr>
        <p:txBody>
          <a:bodyPr wrap="square" lIns="0" tIns="0" rIns="0" bIns="0" rtlCol="0"/>
          <a:lstStyle/>
          <a:p>
            <a:endParaRPr/>
          </a:p>
        </p:txBody>
      </p:sp>
      <p:sp>
        <p:nvSpPr>
          <p:cNvPr id="54" name="object 54"/>
          <p:cNvSpPr/>
          <p:nvPr/>
        </p:nvSpPr>
        <p:spPr>
          <a:xfrm>
            <a:off x="1011765" y="2882333"/>
            <a:ext cx="1095778" cy="790730"/>
          </a:xfrm>
          <a:custGeom>
            <a:avLst/>
            <a:gdLst/>
            <a:ahLst/>
            <a:cxnLst/>
            <a:rect l="l" t="t" r="r" b="b"/>
            <a:pathLst>
              <a:path w="2409190" h="1738629">
                <a:moveTo>
                  <a:pt x="2136897" y="0"/>
                </a:moveTo>
                <a:lnTo>
                  <a:pt x="2089294" y="4295"/>
                </a:lnTo>
                <a:lnTo>
                  <a:pt x="2041388" y="15524"/>
                </a:lnTo>
                <a:lnTo>
                  <a:pt x="1994043" y="33800"/>
                </a:lnTo>
                <a:lnTo>
                  <a:pt x="1948123" y="59234"/>
                </a:lnTo>
                <a:lnTo>
                  <a:pt x="160575" y="1215293"/>
                </a:lnTo>
                <a:lnTo>
                  <a:pt x="118543" y="1246739"/>
                </a:lnTo>
                <a:lnTo>
                  <a:pt x="82454" y="1282421"/>
                </a:lnTo>
                <a:lnTo>
                  <a:pt x="52562" y="1321505"/>
                </a:lnTo>
                <a:lnTo>
                  <a:pt x="29117" y="1363157"/>
                </a:lnTo>
                <a:lnTo>
                  <a:pt x="12374" y="1406544"/>
                </a:lnTo>
                <a:lnTo>
                  <a:pt x="2584" y="1450832"/>
                </a:lnTo>
                <a:lnTo>
                  <a:pt x="0" y="1495187"/>
                </a:lnTo>
                <a:lnTo>
                  <a:pt x="4873" y="1538775"/>
                </a:lnTo>
                <a:lnTo>
                  <a:pt x="17457" y="1580763"/>
                </a:lnTo>
                <a:lnTo>
                  <a:pt x="38003" y="1620318"/>
                </a:lnTo>
                <a:lnTo>
                  <a:pt x="68638" y="1659908"/>
                </a:lnTo>
                <a:lnTo>
                  <a:pt x="101766" y="1688606"/>
                </a:lnTo>
                <a:lnTo>
                  <a:pt x="139518" y="1710929"/>
                </a:lnTo>
                <a:lnTo>
                  <a:pt x="181028" y="1726764"/>
                </a:lnTo>
                <a:lnTo>
                  <a:pt x="225434" y="1736001"/>
                </a:lnTo>
                <a:lnTo>
                  <a:pt x="271872" y="1738527"/>
                </a:lnTo>
                <a:lnTo>
                  <a:pt x="319476" y="1734231"/>
                </a:lnTo>
                <a:lnTo>
                  <a:pt x="367383" y="1723000"/>
                </a:lnTo>
                <a:lnTo>
                  <a:pt x="414729" y="1704724"/>
                </a:lnTo>
                <a:lnTo>
                  <a:pt x="460650" y="1679290"/>
                </a:lnTo>
                <a:lnTo>
                  <a:pt x="2248197" y="523231"/>
                </a:lnTo>
                <a:lnTo>
                  <a:pt x="2290227" y="491784"/>
                </a:lnTo>
                <a:lnTo>
                  <a:pt x="2326313" y="456103"/>
                </a:lnTo>
                <a:lnTo>
                  <a:pt x="2356204" y="417019"/>
                </a:lnTo>
                <a:lnTo>
                  <a:pt x="2379648" y="375368"/>
                </a:lnTo>
                <a:lnTo>
                  <a:pt x="2396391" y="331982"/>
                </a:lnTo>
                <a:lnTo>
                  <a:pt x="2406181" y="287697"/>
                </a:lnTo>
                <a:lnTo>
                  <a:pt x="2408766" y="243344"/>
                </a:lnTo>
                <a:lnTo>
                  <a:pt x="2403895" y="199760"/>
                </a:lnTo>
                <a:lnTo>
                  <a:pt x="2391313" y="157776"/>
                </a:lnTo>
                <a:lnTo>
                  <a:pt x="2370770" y="118227"/>
                </a:lnTo>
                <a:lnTo>
                  <a:pt x="2340124" y="78619"/>
                </a:lnTo>
                <a:lnTo>
                  <a:pt x="2306997" y="49922"/>
                </a:lnTo>
                <a:lnTo>
                  <a:pt x="2269247" y="27600"/>
                </a:lnTo>
                <a:lnTo>
                  <a:pt x="2227737" y="11764"/>
                </a:lnTo>
                <a:lnTo>
                  <a:pt x="2183333" y="2527"/>
                </a:lnTo>
                <a:lnTo>
                  <a:pt x="2136897" y="0"/>
                </a:lnTo>
                <a:close/>
              </a:path>
            </a:pathLst>
          </a:custGeom>
          <a:solidFill>
            <a:srgbClr val="F4CFB1"/>
          </a:solidFill>
        </p:spPr>
        <p:txBody>
          <a:bodyPr wrap="square" lIns="0" tIns="0" rIns="0" bIns="0" rtlCol="0"/>
          <a:lstStyle/>
          <a:p>
            <a:endParaRPr/>
          </a:p>
        </p:txBody>
      </p:sp>
      <p:sp>
        <p:nvSpPr>
          <p:cNvPr id="55" name="object 55"/>
          <p:cNvSpPr/>
          <p:nvPr/>
        </p:nvSpPr>
        <p:spPr>
          <a:xfrm>
            <a:off x="1690251" y="3309081"/>
            <a:ext cx="375175" cy="372839"/>
          </a:xfrm>
          <a:custGeom>
            <a:avLst/>
            <a:gdLst/>
            <a:ahLst/>
            <a:cxnLst/>
            <a:rect l="l" t="t" r="r" b="b"/>
            <a:pathLst>
              <a:path w="824864" h="819784">
                <a:moveTo>
                  <a:pt x="530900" y="0"/>
                </a:moveTo>
                <a:lnTo>
                  <a:pt x="485981" y="7377"/>
                </a:lnTo>
                <a:lnTo>
                  <a:pt x="442697" y="22488"/>
                </a:lnTo>
                <a:lnTo>
                  <a:pt x="402116" y="45340"/>
                </a:lnTo>
                <a:lnTo>
                  <a:pt x="365302" y="75943"/>
                </a:lnTo>
                <a:lnTo>
                  <a:pt x="76410" y="359515"/>
                </a:lnTo>
                <a:lnTo>
                  <a:pt x="45706" y="396243"/>
                </a:lnTo>
                <a:lnTo>
                  <a:pt x="22739" y="436761"/>
                </a:lnTo>
                <a:lnTo>
                  <a:pt x="7506" y="480002"/>
                </a:lnTo>
                <a:lnTo>
                  <a:pt x="0" y="524902"/>
                </a:lnTo>
                <a:lnTo>
                  <a:pt x="216" y="570394"/>
                </a:lnTo>
                <a:lnTo>
                  <a:pt x="8149" y="615411"/>
                </a:lnTo>
                <a:lnTo>
                  <a:pt x="23794" y="658889"/>
                </a:lnTo>
                <a:lnTo>
                  <a:pt x="47147" y="699760"/>
                </a:lnTo>
                <a:lnTo>
                  <a:pt x="78200" y="736959"/>
                </a:lnTo>
                <a:lnTo>
                  <a:pt x="119142" y="771966"/>
                </a:lnTo>
                <a:lnTo>
                  <a:pt x="159944" y="795439"/>
                </a:lnTo>
                <a:lnTo>
                  <a:pt x="203375" y="811210"/>
                </a:lnTo>
                <a:lnTo>
                  <a:pt x="248368" y="819274"/>
                </a:lnTo>
                <a:lnTo>
                  <a:pt x="293857" y="819621"/>
                </a:lnTo>
                <a:lnTo>
                  <a:pt x="338777" y="812243"/>
                </a:lnTo>
                <a:lnTo>
                  <a:pt x="382060" y="797133"/>
                </a:lnTo>
                <a:lnTo>
                  <a:pt x="422642" y="774282"/>
                </a:lnTo>
                <a:lnTo>
                  <a:pt x="459456" y="743682"/>
                </a:lnTo>
                <a:lnTo>
                  <a:pt x="748348" y="460109"/>
                </a:lnTo>
                <a:lnTo>
                  <a:pt x="779052" y="423382"/>
                </a:lnTo>
                <a:lnTo>
                  <a:pt x="802018" y="382865"/>
                </a:lnTo>
                <a:lnTo>
                  <a:pt x="817251" y="339625"/>
                </a:lnTo>
                <a:lnTo>
                  <a:pt x="824757" y="294726"/>
                </a:lnTo>
                <a:lnTo>
                  <a:pt x="824540" y="249235"/>
                </a:lnTo>
                <a:lnTo>
                  <a:pt x="816605" y="204218"/>
                </a:lnTo>
                <a:lnTo>
                  <a:pt x="800958" y="160740"/>
                </a:lnTo>
                <a:lnTo>
                  <a:pt x="777604" y="119867"/>
                </a:lnTo>
                <a:lnTo>
                  <a:pt x="746547" y="82665"/>
                </a:lnTo>
                <a:lnTo>
                  <a:pt x="705616" y="47658"/>
                </a:lnTo>
                <a:lnTo>
                  <a:pt x="664813" y="24185"/>
                </a:lnTo>
                <a:lnTo>
                  <a:pt x="621382" y="8412"/>
                </a:lnTo>
                <a:lnTo>
                  <a:pt x="576389" y="347"/>
                </a:lnTo>
                <a:lnTo>
                  <a:pt x="530900" y="0"/>
                </a:lnTo>
                <a:close/>
              </a:path>
            </a:pathLst>
          </a:custGeom>
          <a:solidFill>
            <a:srgbClr val="D4A687"/>
          </a:solidFill>
        </p:spPr>
        <p:txBody>
          <a:bodyPr wrap="square" lIns="0" tIns="0" rIns="0" bIns="0" rtlCol="0"/>
          <a:lstStyle/>
          <a:p>
            <a:endParaRPr/>
          </a:p>
        </p:txBody>
      </p:sp>
      <p:sp>
        <p:nvSpPr>
          <p:cNvPr id="56" name="object 56"/>
          <p:cNvSpPr/>
          <p:nvPr/>
        </p:nvSpPr>
        <p:spPr>
          <a:xfrm>
            <a:off x="1681285" y="3583049"/>
            <a:ext cx="392793" cy="367352"/>
          </a:xfrm>
          <a:custGeom>
            <a:avLst/>
            <a:gdLst/>
            <a:ahLst/>
            <a:cxnLst/>
            <a:rect l="l" t="t" r="r" b="b"/>
            <a:pathLst>
              <a:path w="863600" h="807720">
                <a:moveTo>
                  <a:pt x="587814" y="0"/>
                </a:moveTo>
                <a:lnTo>
                  <a:pt x="541672" y="3096"/>
                </a:lnTo>
                <a:lnTo>
                  <a:pt x="496504" y="14190"/>
                </a:lnTo>
                <a:lnTo>
                  <a:pt x="453387" y="33393"/>
                </a:lnTo>
                <a:lnTo>
                  <a:pt x="413400" y="60818"/>
                </a:lnTo>
                <a:lnTo>
                  <a:pt x="95797" y="320066"/>
                </a:lnTo>
                <a:lnTo>
                  <a:pt x="61457" y="354298"/>
                </a:lnTo>
                <a:lnTo>
                  <a:pt x="34618" y="393125"/>
                </a:lnTo>
                <a:lnTo>
                  <a:pt x="15369" y="435468"/>
                </a:lnTo>
                <a:lnTo>
                  <a:pt x="3800" y="480244"/>
                </a:lnTo>
                <a:lnTo>
                  <a:pt x="0" y="526374"/>
                </a:lnTo>
                <a:lnTo>
                  <a:pt x="4056" y="572776"/>
                </a:lnTo>
                <a:lnTo>
                  <a:pt x="16059" y="618370"/>
                </a:lnTo>
                <a:lnTo>
                  <a:pt x="36097" y="662074"/>
                </a:lnTo>
                <a:lnTo>
                  <a:pt x="64259" y="702809"/>
                </a:lnTo>
                <a:lnTo>
                  <a:pt x="102625" y="742278"/>
                </a:lnTo>
                <a:lnTo>
                  <a:pt x="141871" y="770049"/>
                </a:lnTo>
                <a:lnTo>
                  <a:pt x="184459" y="790270"/>
                </a:lnTo>
                <a:lnTo>
                  <a:pt x="229310" y="802831"/>
                </a:lnTo>
                <a:lnTo>
                  <a:pt x="275345" y="807619"/>
                </a:lnTo>
                <a:lnTo>
                  <a:pt x="321485" y="804521"/>
                </a:lnTo>
                <a:lnTo>
                  <a:pt x="366653" y="793426"/>
                </a:lnTo>
                <a:lnTo>
                  <a:pt x="409769" y="774222"/>
                </a:lnTo>
                <a:lnTo>
                  <a:pt x="449755" y="746797"/>
                </a:lnTo>
                <a:lnTo>
                  <a:pt x="767369" y="487538"/>
                </a:lnTo>
                <a:lnTo>
                  <a:pt x="801706" y="453307"/>
                </a:lnTo>
                <a:lnTo>
                  <a:pt x="828544" y="414480"/>
                </a:lnTo>
                <a:lnTo>
                  <a:pt x="847791" y="372139"/>
                </a:lnTo>
                <a:lnTo>
                  <a:pt x="859360" y="327364"/>
                </a:lnTo>
                <a:lnTo>
                  <a:pt x="863161" y="281236"/>
                </a:lnTo>
                <a:lnTo>
                  <a:pt x="859104" y="234836"/>
                </a:lnTo>
                <a:lnTo>
                  <a:pt x="847101" y="189243"/>
                </a:lnTo>
                <a:lnTo>
                  <a:pt x="827061" y="145540"/>
                </a:lnTo>
                <a:lnTo>
                  <a:pt x="798896" y="104806"/>
                </a:lnTo>
                <a:lnTo>
                  <a:pt x="760533" y="65339"/>
                </a:lnTo>
                <a:lnTo>
                  <a:pt x="721288" y="37570"/>
                </a:lnTo>
                <a:lnTo>
                  <a:pt x="678701" y="17349"/>
                </a:lnTo>
                <a:lnTo>
                  <a:pt x="633850" y="4788"/>
                </a:lnTo>
                <a:lnTo>
                  <a:pt x="587814" y="0"/>
                </a:lnTo>
                <a:close/>
              </a:path>
            </a:pathLst>
          </a:custGeom>
          <a:solidFill>
            <a:srgbClr val="D4A687"/>
          </a:solidFill>
        </p:spPr>
        <p:txBody>
          <a:bodyPr wrap="square" lIns="0" tIns="0" rIns="0" bIns="0" rtlCol="0"/>
          <a:lstStyle/>
          <a:p>
            <a:endParaRPr/>
          </a:p>
        </p:txBody>
      </p:sp>
      <p:sp>
        <p:nvSpPr>
          <p:cNvPr id="57" name="object 57"/>
          <p:cNvSpPr/>
          <p:nvPr/>
        </p:nvSpPr>
        <p:spPr>
          <a:xfrm>
            <a:off x="1733160" y="3865921"/>
            <a:ext cx="357269" cy="293708"/>
          </a:xfrm>
          <a:custGeom>
            <a:avLst/>
            <a:gdLst/>
            <a:ahLst/>
            <a:cxnLst/>
            <a:rect l="l" t="t" r="r" b="b"/>
            <a:pathLst>
              <a:path w="785495" h="645795">
                <a:moveTo>
                  <a:pt x="523922" y="0"/>
                </a:moveTo>
                <a:lnTo>
                  <a:pt x="478731" y="8685"/>
                </a:lnTo>
                <a:lnTo>
                  <a:pt x="435020" y="26877"/>
                </a:lnTo>
                <a:lnTo>
                  <a:pt x="120160" y="194432"/>
                </a:lnTo>
                <a:lnTo>
                  <a:pt x="81072" y="221148"/>
                </a:lnTo>
                <a:lnTo>
                  <a:pt x="49144" y="254290"/>
                </a:lnTo>
                <a:lnTo>
                  <a:pt x="24744" y="292565"/>
                </a:lnTo>
                <a:lnTo>
                  <a:pt x="8239" y="334682"/>
                </a:lnTo>
                <a:lnTo>
                  <a:pt x="0" y="379348"/>
                </a:lnTo>
                <a:lnTo>
                  <a:pt x="392" y="425271"/>
                </a:lnTo>
                <a:lnTo>
                  <a:pt x="9787" y="471159"/>
                </a:lnTo>
                <a:lnTo>
                  <a:pt x="28550" y="515721"/>
                </a:lnTo>
                <a:lnTo>
                  <a:pt x="57965" y="559992"/>
                </a:lnTo>
                <a:lnTo>
                  <a:pt x="91298" y="592894"/>
                </a:lnTo>
                <a:lnTo>
                  <a:pt x="129571" y="618270"/>
                </a:lnTo>
                <a:lnTo>
                  <a:pt x="171499" y="635726"/>
                </a:lnTo>
                <a:lnTo>
                  <a:pt x="215799" y="644865"/>
                </a:lnTo>
                <a:lnTo>
                  <a:pt x="261186" y="645290"/>
                </a:lnTo>
                <a:lnTo>
                  <a:pt x="306378" y="636607"/>
                </a:lnTo>
                <a:lnTo>
                  <a:pt x="350090" y="618419"/>
                </a:lnTo>
                <a:lnTo>
                  <a:pt x="664950" y="450864"/>
                </a:lnTo>
                <a:lnTo>
                  <a:pt x="704037" y="424145"/>
                </a:lnTo>
                <a:lnTo>
                  <a:pt x="735966" y="391002"/>
                </a:lnTo>
                <a:lnTo>
                  <a:pt x="760366" y="352726"/>
                </a:lnTo>
                <a:lnTo>
                  <a:pt x="776870" y="310610"/>
                </a:lnTo>
                <a:lnTo>
                  <a:pt x="785110" y="265945"/>
                </a:lnTo>
                <a:lnTo>
                  <a:pt x="784717" y="220024"/>
                </a:lnTo>
                <a:lnTo>
                  <a:pt x="775323" y="174136"/>
                </a:lnTo>
                <a:lnTo>
                  <a:pt x="756560" y="129575"/>
                </a:lnTo>
                <a:lnTo>
                  <a:pt x="727142" y="85300"/>
                </a:lnTo>
                <a:lnTo>
                  <a:pt x="693807" y="52396"/>
                </a:lnTo>
                <a:lnTo>
                  <a:pt x="655534" y="27018"/>
                </a:lnTo>
                <a:lnTo>
                  <a:pt x="613607" y="9562"/>
                </a:lnTo>
                <a:lnTo>
                  <a:pt x="569309" y="424"/>
                </a:lnTo>
                <a:lnTo>
                  <a:pt x="523922" y="0"/>
                </a:lnTo>
                <a:close/>
              </a:path>
            </a:pathLst>
          </a:custGeom>
          <a:solidFill>
            <a:srgbClr val="D4A687"/>
          </a:solidFill>
        </p:spPr>
        <p:txBody>
          <a:bodyPr wrap="square" lIns="0" tIns="0" rIns="0" bIns="0" rtlCol="0"/>
          <a:lstStyle/>
          <a:p>
            <a:endParaRPr/>
          </a:p>
        </p:txBody>
      </p:sp>
      <p:sp>
        <p:nvSpPr>
          <p:cNvPr id="58" name="object 58"/>
          <p:cNvSpPr/>
          <p:nvPr/>
        </p:nvSpPr>
        <p:spPr>
          <a:xfrm>
            <a:off x="574592" y="3239975"/>
            <a:ext cx="1338097" cy="1449768"/>
          </a:xfrm>
          <a:custGeom>
            <a:avLst/>
            <a:gdLst/>
            <a:ahLst/>
            <a:cxnLst/>
            <a:rect l="l" t="t" r="r" b="b"/>
            <a:pathLst>
              <a:path w="2941954" h="3187700">
                <a:moveTo>
                  <a:pt x="1576301" y="0"/>
                </a:moveTo>
                <a:lnTo>
                  <a:pt x="1511025" y="6151"/>
                </a:lnTo>
                <a:lnTo>
                  <a:pt x="1442681" y="25540"/>
                </a:lnTo>
                <a:lnTo>
                  <a:pt x="1406970" y="40394"/>
                </a:lnTo>
                <a:lnTo>
                  <a:pt x="1370026" y="58790"/>
                </a:lnTo>
                <a:lnTo>
                  <a:pt x="1331692" y="80809"/>
                </a:lnTo>
                <a:lnTo>
                  <a:pt x="1291815" y="106526"/>
                </a:lnTo>
                <a:lnTo>
                  <a:pt x="1250239" y="136020"/>
                </a:lnTo>
                <a:lnTo>
                  <a:pt x="1206808" y="169369"/>
                </a:lnTo>
                <a:lnTo>
                  <a:pt x="1161367" y="206651"/>
                </a:lnTo>
                <a:lnTo>
                  <a:pt x="1113760" y="247944"/>
                </a:lnTo>
                <a:lnTo>
                  <a:pt x="97477" y="1344613"/>
                </a:lnTo>
                <a:lnTo>
                  <a:pt x="75167" y="1410610"/>
                </a:lnTo>
                <a:lnTo>
                  <a:pt x="55876" y="1474403"/>
                </a:lnTo>
                <a:lnTo>
                  <a:pt x="39540" y="1536014"/>
                </a:lnTo>
                <a:lnTo>
                  <a:pt x="26097" y="1595465"/>
                </a:lnTo>
                <a:lnTo>
                  <a:pt x="15484" y="1652778"/>
                </a:lnTo>
                <a:lnTo>
                  <a:pt x="7638" y="1707976"/>
                </a:lnTo>
                <a:lnTo>
                  <a:pt x="2498" y="1761081"/>
                </a:lnTo>
                <a:lnTo>
                  <a:pt x="0" y="1812115"/>
                </a:lnTo>
                <a:lnTo>
                  <a:pt x="81" y="1861101"/>
                </a:lnTo>
                <a:lnTo>
                  <a:pt x="2680" y="1908060"/>
                </a:lnTo>
                <a:lnTo>
                  <a:pt x="7733" y="1953016"/>
                </a:lnTo>
                <a:lnTo>
                  <a:pt x="15178" y="1995990"/>
                </a:lnTo>
                <a:lnTo>
                  <a:pt x="24952" y="2037004"/>
                </a:lnTo>
                <a:lnTo>
                  <a:pt x="36993" y="2076081"/>
                </a:lnTo>
                <a:lnTo>
                  <a:pt x="51237" y="2113244"/>
                </a:lnTo>
                <a:lnTo>
                  <a:pt x="67623" y="2148513"/>
                </a:lnTo>
                <a:lnTo>
                  <a:pt x="86088" y="2181913"/>
                </a:lnTo>
                <a:lnTo>
                  <a:pt x="129003" y="2243189"/>
                </a:lnTo>
                <a:lnTo>
                  <a:pt x="179482" y="2297252"/>
                </a:lnTo>
                <a:lnTo>
                  <a:pt x="237022" y="2344278"/>
                </a:lnTo>
                <a:lnTo>
                  <a:pt x="270051" y="2368293"/>
                </a:lnTo>
                <a:lnTo>
                  <a:pt x="303857" y="2393537"/>
                </a:lnTo>
                <a:lnTo>
                  <a:pt x="338564" y="2419936"/>
                </a:lnTo>
                <a:lnTo>
                  <a:pt x="449321" y="2505318"/>
                </a:lnTo>
                <a:lnTo>
                  <a:pt x="529918" y="2566649"/>
                </a:lnTo>
                <a:lnTo>
                  <a:pt x="572614" y="2598414"/>
                </a:lnTo>
                <a:lnTo>
                  <a:pt x="617072" y="2630813"/>
                </a:lnTo>
                <a:lnTo>
                  <a:pt x="663415" y="2663772"/>
                </a:lnTo>
                <a:lnTo>
                  <a:pt x="711766" y="2697215"/>
                </a:lnTo>
                <a:lnTo>
                  <a:pt x="762248" y="2731070"/>
                </a:lnTo>
                <a:lnTo>
                  <a:pt x="814984" y="2765260"/>
                </a:lnTo>
                <a:lnTo>
                  <a:pt x="998690" y="2882241"/>
                </a:lnTo>
                <a:lnTo>
                  <a:pt x="1101639" y="2946505"/>
                </a:lnTo>
                <a:lnTo>
                  <a:pt x="1151434" y="2976721"/>
                </a:lnTo>
                <a:lnTo>
                  <a:pt x="1200146" y="3005479"/>
                </a:lnTo>
                <a:lnTo>
                  <a:pt x="1247804" y="3032643"/>
                </a:lnTo>
                <a:lnTo>
                  <a:pt x="1294434" y="3058079"/>
                </a:lnTo>
                <a:lnTo>
                  <a:pt x="1340064" y="3081650"/>
                </a:lnTo>
                <a:lnTo>
                  <a:pt x="1384722" y="3103221"/>
                </a:lnTo>
                <a:lnTo>
                  <a:pt x="1428436" y="3122658"/>
                </a:lnTo>
                <a:lnTo>
                  <a:pt x="1471234" y="3139823"/>
                </a:lnTo>
                <a:lnTo>
                  <a:pt x="1513143" y="3154583"/>
                </a:lnTo>
                <a:lnTo>
                  <a:pt x="1554190" y="3166801"/>
                </a:lnTo>
                <a:lnTo>
                  <a:pt x="1594404" y="3176342"/>
                </a:lnTo>
                <a:lnTo>
                  <a:pt x="1633812" y="3183071"/>
                </a:lnTo>
                <a:lnTo>
                  <a:pt x="1672441" y="3186852"/>
                </a:lnTo>
                <a:lnTo>
                  <a:pt x="1710321" y="3187550"/>
                </a:lnTo>
                <a:lnTo>
                  <a:pt x="1747477" y="3185029"/>
                </a:lnTo>
                <a:lnTo>
                  <a:pt x="1820322" y="3169850"/>
                </a:lnTo>
                <a:lnTo>
                  <a:pt x="1891361" y="3142228"/>
                </a:lnTo>
                <a:lnTo>
                  <a:pt x="1926140" y="3124238"/>
                </a:lnTo>
                <a:lnTo>
                  <a:pt x="1960506" y="3103680"/>
                </a:lnTo>
                <a:lnTo>
                  <a:pt x="1994523" y="3080718"/>
                </a:lnTo>
                <a:lnTo>
                  <a:pt x="2028252" y="3055517"/>
                </a:lnTo>
                <a:lnTo>
                  <a:pt x="2061753" y="3028240"/>
                </a:lnTo>
                <a:lnTo>
                  <a:pt x="2095090" y="2999050"/>
                </a:lnTo>
                <a:lnTo>
                  <a:pt x="2128323" y="2968112"/>
                </a:lnTo>
                <a:lnTo>
                  <a:pt x="2161514" y="2935590"/>
                </a:lnTo>
                <a:lnTo>
                  <a:pt x="2194724" y="2901647"/>
                </a:lnTo>
                <a:lnTo>
                  <a:pt x="2228017" y="2866448"/>
                </a:lnTo>
                <a:lnTo>
                  <a:pt x="2261452" y="2830156"/>
                </a:lnTo>
                <a:lnTo>
                  <a:pt x="2295091" y="2792936"/>
                </a:lnTo>
                <a:lnTo>
                  <a:pt x="2432929" y="2638042"/>
                </a:lnTo>
                <a:lnTo>
                  <a:pt x="2468516" y="2598635"/>
                </a:lnTo>
                <a:lnTo>
                  <a:pt x="2504678" y="2559283"/>
                </a:lnTo>
                <a:lnTo>
                  <a:pt x="2541476" y="2520149"/>
                </a:lnTo>
                <a:lnTo>
                  <a:pt x="2578971" y="2481397"/>
                </a:lnTo>
                <a:lnTo>
                  <a:pt x="2617226" y="2443191"/>
                </a:lnTo>
                <a:lnTo>
                  <a:pt x="2656302" y="2405696"/>
                </a:lnTo>
                <a:lnTo>
                  <a:pt x="2696260" y="2369074"/>
                </a:lnTo>
                <a:lnTo>
                  <a:pt x="2737162" y="2333490"/>
                </a:lnTo>
                <a:lnTo>
                  <a:pt x="2779071" y="2299107"/>
                </a:lnTo>
                <a:lnTo>
                  <a:pt x="2820577" y="2259785"/>
                </a:lnTo>
                <a:lnTo>
                  <a:pt x="2854370" y="2215370"/>
                </a:lnTo>
                <a:lnTo>
                  <a:pt x="2881235" y="2167381"/>
                </a:lnTo>
                <a:lnTo>
                  <a:pt x="2901961" y="2117340"/>
                </a:lnTo>
                <a:lnTo>
                  <a:pt x="2917337" y="2066766"/>
                </a:lnTo>
                <a:lnTo>
                  <a:pt x="2928151" y="2017179"/>
                </a:lnTo>
                <a:lnTo>
                  <a:pt x="2935189" y="1970098"/>
                </a:lnTo>
                <a:lnTo>
                  <a:pt x="2939241" y="1927045"/>
                </a:lnTo>
                <a:lnTo>
                  <a:pt x="2941537" y="1859100"/>
                </a:lnTo>
                <a:lnTo>
                  <a:pt x="2940161" y="1833449"/>
                </a:lnTo>
                <a:lnTo>
                  <a:pt x="2935612" y="1768132"/>
                </a:lnTo>
                <a:lnTo>
                  <a:pt x="2927255" y="1680605"/>
                </a:lnTo>
                <a:lnTo>
                  <a:pt x="2914459" y="1588322"/>
                </a:lnTo>
                <a:lnTo>
                  <a:pt x="2910995" y="1566934"/>
                </a:lnTo>
                <a:lnTo>
                  <a:pt x="2907354" y="1542874"/>
                </a:lnTo>
                <a:lnTo>
                  <a:pt x="2898880" y="1487296"/>
                </a:lnTo>
                <a:lnTo>
                  <a:pt x="2887722" y="1422701"/>
                </a:lnTo>
                <a:lnTo>
                  <a:pt x="2872564" y="1350201"/>
                </a:lnTo>
                <a:lnTo>
                  <a:pt x="2863074" y="1311334"/>
                </a:lnTo>
                <a:lnTo>
                  <a:pt x="2852091" y="1270908"/>
                </a:lnTo>
                <a:lnTo>
                  <a:pt x="2839450" y="1229061"/>
                </a:lnTo>
                <a:lnTo>
                  <a:pt x="2824986" y="1185934"/>
                </a:lnTo>
                <a:lnTo>
                  <a:pt x="2808536" y="1141665"/>
                </a:lnTo>
                <a:lnTo>
                  <a:pt x="2789934" y="1096392"/>
                </a:lnTo>
                <a:lnTo>
                  <a:pt x="2769016" y="1050256"/>
                </a:lnTo>
                <a:lnTo>
                  <a:pt x="2745619" y="1003394"/>
                </a:lnTo>
                <a:lnTo>
                  <a:pt x="2719576" y="955947"/>
                </a:lnTo>
                <a:lnTo>
                  <a:pt x="2690725" y="908053"/>
                </a:lnTo>
                <a:lnTo>
                  <a:pt x="2658899" y="859851"/>
                </a:lnTo>
                <a:lnTo>
                  <a:pt x="2623936" y="811480"/>
                </a:lnTo>
                <a:lnTo>
                  <a:pt x="2585669" y="763079"/>
                </a:lnTo>
                <a:lnTo>
                  <a:pt x="2543936" y="714788"/>
                </a:lnTo>
                <a:lnTo>
                  <a:pt x="2498571" y="666745"/>
                </a:lnTo>
                <a:lnTo>
                  <a:pt x="2449410" y="619089"/>
                </a:lnTo>
                <a:lnTo>
                  <a:pt x="2396289" y="571960"/>
                </a:lnTo>
                <a:lnTo>
                  <a:pt x="2230731" y="437488"/>
                </a:lnTo>
                <a:lnTo>
                  <a:pt x="2051689" y="275240"/>
                </a:lnTo>
                <a:lnTo>
                  <a:pt x="2011612" y="239640"/>
                </a:lnTo>
                <a:lnTo>
                  <a:pt x="1973099" y="206180"/>
                </a:lnTo>
                <a:lnTo>
                  <a:pt x="1935993" y="174939"/>
                </a:lnTo>
                <a:lnTo>
                  <a:pt x="1900139" y="145995"/>
                </a:lnTo>
                <a:lnTo>
                  <a:pt x="1865382" y="119425"/>
                </a:lnTo>
                <a:lnTo>
                  <a:pt x="1831567" y="95307"/>
                </a:lnTo>
                <a:lnTo>
                  <a:pt x="1798538" y="73719"/>
                </a:lnTo>
                <a:lnTo>
                  <a:pt x="1734218" y="38447"/>
                </a:lnTo>
                <a:lnTo>
                  <a:pt x="1671178" y="14230"/>
                </a:lnTo>
                <a:lnTo>
                  <a:pt x="1608176" y="1693"/>
                </a:lnTo>
                <a:lnTo>
                  <a:pt x="1576301" y="0"/>
                </a:lnTo>
                <a:close/>
              </a:path>
            </a:pathLst>
          </a:custGeom>
          <a:solidFill>
            <a:srgbClr val="F4CFB1"/>
          </a:solidFill>
        </p:spPr>
        <p:txBody>
          <a:bodyPr wrap="square" lIns="0" tIns="0" rIns="0" bIns="0" rtlCol="0"/>
          <a:lstStyle/>
          <a:p>
            <a:endParaRPr/>
          </a:p>
        </p:txBody>
      </p:sp>
      <p:sp>
        <p:nvSpPr>
          <p:cNvPr id="59" name="object 59"/>
          <p:cNvSpPr/>
          <p:nvPr/>
        </p:nvSpPr>
        <p:spPr>
          <a:xfrm>
            <a:off x="228377" y="4109108"/>
            <a:ext cx="1161918" cy="1034187"/>
          </a:xfrm>
          <a:custGeom>
            <a:avLst/>
            <a:gdLst/>
            <a:ahLst/>
            <a:cxnLst/>
            <a:rect l="l" t="t" r="r" b="b"/>
            <a:pathLst>
              <a:path w="2554605" h="2273934">
                <a:moveTo>
                  <a:pt x="1124154" y="0"/>
                </a:moveTo>
                <a:lnTo>
                  <a:pt x="0" y="1765056"/>
                </a:lnTo>
                <a:lnTo>
                  <a:pt x="798463" y="2273592"/>
                </a:lnTo>
                <a:lnTo>
                  <a:pt x="1686611" y="2273592"/>
                </a:lnTo>
                <a:lnTo>
                  <a:pt x="2554466" y="910956"/>
                </a:lnTo>
                <a:lnTo>
                  <a:pt x="1124154" y="0"/>
                </a:lnTo>
                <a:close/>
              </a:path>
            </a:pathLst>
          </a:custGeom>
          <a:solidFill>
            <a:srgbClr val="F4CFB1"/>
          </a:solidFill>
        </p:spPr>
        <p:txBody>
          <a:bodyPr wrap="square" lIns="0" tIns="0" rIns="0" bIns="0" rtlCol="0"/>
          <a:lstStyle/>
          <a:p>
            <a:endParaRPr/>
          </a:p>
        </p:txBody>
      </p:sp>
      <p:sp>
        <p:nvSpPr>
          <p:cNvPr id="60" name="object 60"/>
          <p:cNvSpPr/>
          <p:nvPr/>
        </p:nvSpPr>
        <p:spPr>
          <a:xfrm>
            <a:off x="910909" y="2433121"/>
            <a:ext cx="1008555" cy="2134798"/>
          </a:xfrm>
          <a:custGeom>
            <a:avLst/>
            <a:gdLst/>
            <a:ahLst/>
            <a:cxnLst/>
            <a:rect l="l" t="t" r="r" b="b"/>
            <a:pathLst>
              <a:path w="2217420" h="4693920">
                <a:moveTo>
                  <a:pt x="1880246" y="0"/>
                </a:moveTo>
                <a:lnTo>
                  <a:pt x="336869" y="0"/>
                </a:lnTo>
                <a:lnTo>
                  <a:pt x="291222" y="3081"/>
                </a:lnTo>
                <a:lnTo>
                  <a:pt x="247421" y="12057"/>
                </a:lnTo>
                <a:lnTo>
                  <a:pt x="205873" y="26523"/>
                </a:lnTo>
                <a:lnTo>
                  <a:pt x="166980" y="46073"/>
                </a:lnTo>
                <a:lnTo>
                  <a:pt x="131148" y="70303"/>
                </a:lnTo>
                <a:lnTo>
                  <a:pt x="98781" y="98809"/>
                </a:lnTo>
                <a:lnTo>
                  <a:pt x="70283" y="131186"/>
                </a:lnTo>
                <a:lnTo>
                  <a:pt x="46060" y="167030"/>
                </a:lnTo>
                <a:lnTo>
                  <a:pt x="26515" y="205934"/>
                </a:lnTo>
                <a:lnTo>
                  <a:pt x="12054" y="247497"/>
                </a:lnTo>
                <a:lnTo>
                  <a:pt x="3081" y="291311"/>
                </a:lnTo>
                <a:lnTo>
                  <a:pt x="0" y="336974"/>
                </a:lnTo>
                <a:lnTo>
                  <a:pt x="0" y="4356642"/>
                </a:lnTo>
                <a:lnTo>
                  <a:pt x="3081" y="4402291"/>
                </a:lnTo>
                <a:lnTo>
                  <a:pt x="12054" y="4446094"/>
                </a:lnTo>
                <a:lnTo>
                  <a:pt x="26515" y="4487644"/>
                </a:lnTo>
                <a:lnTo>
                  <a:pt x="46060" y="4526538"/>
                </a:lnTo>
                <a:lnTo>
                  <a:pt x="70283" y="4562371"/>
                </a:lnTo>
                <a:lnTo>
                  <a:pt x="98781" y="4594739"/>
                </a:lnTo>
                <a:lnTo>
                  <a:pt x="131148" y="4623237"/>
                </a:lnTo>
                <a:lnTo>
                  <a:pt x="166980" y="4647461"/>
                </a:lnTo>
                <a:lnTo>
                  <a:pt x="205873" y="4667006"/>
                </a:lnTo>
                <a:lnTo>
                  <a:pt x="247421" y="4681467"/>
                </a:lnTo>
                <a:lnTo>
                  <a:pt x="291222" y="4690440"/>
                </a:lnTo>
                <a:lnTo>
                  <a:pt x="336869" y="4693522"/>
                </a:lnTo>
                <a:lnTo>
                  <a:pt x="1880246" y="4693522"/>
                </a:lnTo>
                <a:lnTo>
                  <a:pt x="1925893" y="4690440"/>
                </a:lnTo>
                <a:lnTo>
                  <a:pt x="1969692" y="4681467"/>
                </a:lnTo>
                <a:lnTo>
                  <a:pt x="2011239" y="4667006"/>
                </a:lnTo>
                <a:lnTo>
                  <a:pt x="2050129" y="4647461"/>
                </a:lnTo>
                <a:lnTo>
                  <a:pt x="2085959" y="4623237"/>
                </a:lnTo>
                <a:lnTo>
                  <a:pt x="2118324" y="4594739"/>
                </a:lnTo>
                <a:lnTo>
                  <a:pt x="2146819" y="4562371"/>
                </a:lnTo>
                <a:lnTo>
                  <a:pt x="2171039" y="4526538"/>
                </a:lnTo>
                <a:lnTo>
                  <a:pt x="2190582" y="4487644"/>
                </a:lnTo>
                <a:lnTo>
                  <a:pt x="2205041" y="4446094"/>
                </a:lnTo>
                <a:lnTo>
                  <a:pt x="2214014" y="4402291"/>
                </a:lnTo>
                <a:lnTo>
                  <a:pt x="2217094" y="4356642"/>
                </a:lnTo>
                <a:lnTo>
                  <a:pt x="2217094" y="336974"/>
                </a:lnTo>
                <a:lnTo>
                  <a:pt x="2214014" y="291311"/>
                </a:lnTo>
                <a:lnTo>
                  <a:pt x="2205041" y="247497"/>
                </a:lnTo>
                <a:lnTo>
                  <a:pt x="2190582" y="205934"/>
                </a:lnTo>
                <a:lnTo>
                  <a:pt x="2171039" y="167030"/>
                </a:lnTo>
                <a:lnTo>
                  <a:pt x="2146819" y="131186"/>
                </a:lnTo>
                <a:lnTo>
                  <a:pt x="2118324" y="98809"/>
                </a:lnTo>
                <a:lnTo>
                  <a:pt x="2085959" y="70303"/>
                </a:lnTo>
                <a:lnTo>
                  <a:pt x="2050129" y="46073"/>
                </a:lnTo>
                <a:lnTo>
                  <a:pt x="2011239" y="26523"/>
                </a:lnTo>
                <a:lnTo>
                  <a:pt x="1969692" y="12057"/>
                </a:lnTo>
                <a:lnTo>
                  <a:pt x="1925893" y="3081"/>
                </a:lnTo>
                <a:lnTo>
                  <a:pt x="1880246" y="0"/>
                </a:lnTo>
                <a:close/>
              </a:path>
            </a:pathLst>
          </a:custGeom>
          <a:solidFill>
            <a:srgbClr val="1D1D1B"/>
          </a:solidFill>
        </p:spPr>
        <p:txBody>
          <a:bodyPr wrap="square" lIns="0" tIns="0" rIns="0" bIns="0" rtlCol="0"/>
          <a:lstStyle/>
          <a:p>
            <a:endParaRPr/>
          </a:p>
        </p:txBody>
      </p:sp>
      <p:sp>
        <p:nvSpPr>
          <p:cNvPr id="61" name="object 61"/>
          <p:cNvSpPr/>
          <p:nvPr/>
        </p:nvSpPr>
        <p:spPr>
          <a:xfrm>
            <a:off x="975484" y="2724739"/>
            <a:ext cx="879453" cy="1560667"/>
          </a:xfrm>
          <a:custGeom>
            <a:avLst/>
            <a:gdLst/>
            <a:ahLst/>
            <a:cxnLst/>
            <a:rect l="l" t="t" r="r" b="b"/>
            <a:pathLst>
              <a:path w="1933575" h="3431540">
                <a:moveTo>
                  <a:pt x="0" y="3431340"/>
                </a:moveTo>
                <a:lnTo>
                  <a:pt x="1933145" y="3431340"/>
                </a:lnTo>
                <a:lnTo>
                  <a:pt x="1933145" y="0"/>
                </a:lnTo>
                <a:lnTo>
                  <a:pt x="0" y="0"/>
                </a:lnTo>
                <a:lnTo>
                  <a:pt x="0" y="3431340"/>
                </a:lnTo>
                <a:close/>
              </a:path>
            </a:pathLst>
          </a:custGeom>
          <a:solidFill>
            <a:srgbClr val="808080"/>
          </a:solidFill>
        </p:spPr>
        <p:txBody>
          <a:bodyPr wrap="square" lIns="0" tIns="0" rIns="0" bIns="0" rtlCol="0"/>
          <a:lstStyle/>
          <a:p>
            <a:endParaRPr/>
          </a:p>
        </p:txBody>
      </p:sp>
      <p:sp>
        <p:nvSpPr>
          <p:cNvPr id="62" name="object 62"/>
          <p:cNvSpPr/>
          <p:nvPr/>
        </p:nvSpPr>
        <p:spPr>
          <a:xfrm>
            <a:off x="975485" y="2724739"/>
            <a:ext cx="879453" cy="1560667"/>
          </a:xfrm>
          <a:custGeom>
            <a:avLst/>
            <a:gdLst/>
            <a:ahLst/>
            <a:cxnLst/>
            <a:rect l="l" t="t" r="r" b="b"/>
            <a:pathLst>
              <a:path w="1933575" h="3431540">
                <a:moveTo>
                  <a:pt x="302692" y="0"/>
                </a:moveTo>
                <a:lnTo>
                  <a:pt x="0" y="0"/>
                </a:lnTo>
                <a:lnTo>
                  <a:pt x="0" y="3431340"/>
                </a:lnTo>
                <a:lnTo>
                  <a:pt x="1933145" y="3431340"/>
                </a:lnTo>
                <a:lnTo>
                  <a:pt x="1933145" y="2360755"/>
                </a:lnTo>
                <a:lnTo>
                  <a:pt x="302692" y="0"/>
                </a:lnTo>
                <a:close/>
              </a:path>
            </a:pathLst>
          </a:custGeom>
          <a:solidFill>
            <a:srgbClr val="5A5A5A"/>
          </a:solidFill>
        </p:spPr>
        <p:txBody>
          <a:bodyPr wrap="square" lIns="0" tIns="0" rIns="0" bIns="0" rtlCol="0"/>
          <a:lstStyle/>
          <a:p>
            <a:endParaRPr/>
          </a:p>
        </p:txBody>
      </p:sp>
      <p:sp>
        <p:nvSpPr>
          <p:cNvPr id="63" name="object 63"/>
          <p:cNvSpPr/>
          <p:nvPr/>
        </p:nvSpPr>
        <p:spPr>
          <a:xfrm>
            <a:off x="1326928" y="2580539"/>
            <a:ext cx="176468" cy="43031"/>
          </a:xfrm>
          <a:custGeom>
            <a:avLst/>
            <a:gdLst/>
            <a:ahLst/>
            <a:cxnLst/>
            <a:rect l="l" t="t" r="r" b="b"/>
            <a:pathLst>
              <a:path w="387985" h="94614">
                <a:moveTo>
                  <a:pt x="340596" y="0"/>
                </a:moveTo>
                <a:lnTo>
                  <a:pt x="47192" y="0"/>
                </a:lnTo>
                <a:lnTo>
                  <a:pt x="28889" y="3703"/>
                </a:lnTo>
                <a:lnTo>
                  <a:pt x="13881" y="13788"/>
                </a:lnTo>
                <a:lnTo>
                  <a:pt x="3730" y="28717"/>
                </a:lnTo>
                <a:lnTo>
                  <a:pt x="0" y="46951"/>
                </a:lnTo>
                <a:lnTo>
                  <a:pt x="3730" y="65206"/>
                </a:lnTo>
                <a:lnTo>
                  <a:pt x="13881" y="80182"/>
                </a:lnTo>
                <a:lnTo>
                  <a:pt x="28889" y="90314"/>
                </a:lnTo>
                <a:lnTo>
                  <a:pt x="47192" y="94039"/>
                </a:lnTo>
                <a:lnTo>
                  <a:pt x="340596" y="94039"/>
                </a:lnTo>
                <a:lnTo>
                  <a:pt x="358900" y="90314"/>
                </a:lnTo>
                <a:lnTo>
                  <a:pt x="373900" y="80182"/>
                </a:lnTo>
                <a:lnTo>
                  <a:pt x="384042" y="65206"/>
                </a:lnTo>
                <a:lnTo>
                  <a:pt x="387768" y="46951"/>
                </a:lnTo>
                <a:lnTo>
                  <a:pt x="384042" y="28717"/>
                </a:lnTo>
                <a:lnTo>
                  <a:pt x="373900" y="13788"/>
                </a:lnTo>
                <a:lnTo>
                  <a:pt x="358900" y="3703"/>
                </a:lnTo>
                <a:lnTo>
                  <a:pt x="340596" y="0"/>
                </a:lnTo>
                <a:close/>
              </a:path>
            </a:pathLst>
          </a:custGeom>
          <a:solidFill>
            <a:srgbClr val="626A76"/>
          </a:solidFill>
        </p:spPr>
        <p:txBody>
          <a:bodyPr wrap="square" lIns="0" tIns="0" rIns="0" bIns="0" rtlCol="0"/>
          <a:lstStyle/>
          <a:p>
            <a:endParaRPr/>
          </a:p>
        </p:txBody>
      </p:sp>
      <p:sp>
        <p:nvSpPr>
          <p:cNvPr id="64" name="object 64"/>
          <p:cNvSpPr/>
          <p:nvPr/>
        </p:nvSpPr>
        <p:spPr>
          <a:xfrm>
            <a:off x="1302509" y="4397877"/>
            <a:ext cx="225279" cy="63247"/>
          </a:xfrm>
          <a:custGeom>
            <a:avLst/>
            <a:gdLst/>
            <a:ahLst/>
            <a:cxnLst/>
            <a:rect l="l" t="t" r="r" b="b"/>
            <a:pathLst>
              <a:path w="495300" h="139065">
                <a:moveTo>
                  <a:pt x="434908" y="0"/>
                </a:moveTo>
                <a:lnTo>
                  <a:pt x="60249" y="0"/>
                </a:lnTo>
                <a:lnTo>
                  <a:pt x="36889" y="5457"/>
                </a:lnTo>
                <a:lnTo>
                  <a:pt x="17728" y="20321"/>
                </a:lnTo>
                <a:lnTo>
                  <a:pt x="4765" y="42327"/>
                </a:lnTo>
                <a:lnTo>
                  <a:pt x="0" y="69212"/>
                </a:lnTo>
                <a:lnTo>
                  <a:pt x="4765" y="96125"/>
                </a:lnTo>
                <a:lnTo>
                  <a:pt x="17728" y="118204"/>
                </a:lnTo>
                <a:lnTo>
                  <a:pt x="36889" y="133142"/>
                </a:lnTo>
                <a:lnTo>
                  <a:pt x="60249" y="138634"/>
                </a:lnTo>
                <a:lnTo>
                  <a:pt x="434908" y="138634"/>
                </a:lnTo>
                <a:lnTo>
                  <a:pt x="458279" y="133142"/>
                </a:lnTo>
                <a:lnTo>
                  <a:pt x="477435" y="118204"/>
                </a:lnTo>
                <a:lnTo>
                  <a:pt x="490387" y="96125"/>
                </a:lnTo>
                <a:lnTo>
                  <a:pt x="495147" y="69212"/>
                </a:lnTo>
                <a:lnTo>
                  <a:pt x="490387" y="42327"/>
                </a:lnTo>
                <a:lnTo>
                  <a:pt x="477435" y="20321"/>
                </a:lnTo>
                <a:lnTo>
                  <a:pt x="458279" y="5457"/>
                </a:lnTo>
                <a:lnTo>
                  <a:pt x="434908" y="0"/>
                </a:lnTo>
                <a:close/>
              </a:path>
            </a:pathLst>
          </a:custGeom>
          <a:solidFill>
            <a:srgbClr val="FF7900"/>
          </a:solidFill>
        </p:spPr>
        <p:txBody>
          <a:bodyPr wrap="square" lIns="0" tIns="0" rIns="0" bIns="0" rtlCol="0"/>
          <a:lstStyle/>
          <a:p>
            <a:endParaRPr/>
          </a:p>
        </p:txBody>
      </p:sp>
      <p:sp>
        <p:nvSpPr>
          <p:cNvPr id="65" name="object 65"/>
          <p:cNvSpPr/>
          <p:nvPr/>
        </p:nvSpPr>
        <p:spPr>
          <a:xfrm>
            <a:off x="304628" y="4463972"/>
            <a:ext cx="886962" cy="679254"/>
          </a:xfrm>
          <a:custGeom>
            <a:avLst/>
            <a:gdLst/>
            <a:ahLst/>
            <a:cxnLst/>
            <a:rect l="l" t="t" r="r" b="b"/>
            <a:pathLst>
              <a:path w="1950085" h="1493520">
                <a:moveTo>
                  <a:pt x="276572" y="0"/>
                </a:moveTo>
                <a:lnTo>
                  <a:pt x="3205" y="397388"/>
                </a:lnTo>
                <a:lnTo>
                  <a:pt x="0" y="405518"/>
                </a:lnTo>
                <a:lnTo>
                  <a:pt x="154" y="413947"/>
                </a:lnTo>
                <a:lnTo>
                  <a:pt x="3460" y="421701"/>
                </a:lnTo>
                <a:lnTo>
                  <a:pt x="9707" y="427806"/>
                </a:lnTo>
                <a:lnTo>
                  <a:pt x="1654950" y="1493327"/>
                </a:lnTo>
                <a:lnTo>
                  <a:pt x="1695537" y="1493327"/>
                </a:lnTo>
                <a:lnTo>
                  <a:pt x="1946580" y="1105701"/>
                </a:lnTo>
                <a:lnTo>
                  <a:pt x="1949785" y="1097573"/>
                </a:lnTo>
                <a:lnTo>
                  <a:pt x="1949627" y="1089140"/>
                </a:lnTo>
                <a:lnTo>
                  <a:pt x="1946321" y="1081380"/>
                </a:lnTo>
                <a:lnTo>
                  <a:pt x="1940078" y="1075273"/>
                </a:lnTo>
                <a:lnTo>
                  <a:pt x="284694" y="3201"/>
                </a:lnTo>
                <a:lnTo>
                  <a:pt x="276572" y="0"/>
                </a:lnTo>
                <a:close/>
              </a:path>
            </a:pathLst>
          </a:custGeom>
          <a:solidFill>
            <a:srgbClr val="EBEAEA"/>
          </a:solidFill>
        </p:spPr>
        <p:txBody>
          <a:bodyPr wrap="square" lIns="0" tIns="0" rIns="0" bIns="0" rtlCol="0"/>
          <a:lstStyle/>
          <a:p>
            <a:endParaRPr/>
          </a:p>
        </p:txBody>
      </p:sp>
      <p:sp>
        <p:nvSpPr>
          <p:cNvPr id="66" name="object 66"/>
          <p:cNvSpPr/>
          <p:nvPr/>
        </p:nvSpPr>
        <p:spPr>
          <a:xfrm>
            <a:off x="413138" y="4554130"/>
            <a:ext cx="71405" cy="71401"/>
          </a:xfrm>
          <a:prstGeom prst="rect">
            <a:avLst/>
          </a:prstGeom>
          <a:blipFill>
            <a:blip r:embed="rId5" cstate="print"/>
            <a:stretch>
              <a:fillRect/>
            </a:stretch>
          </a:blipFill>
        </p:spPr>
        <p:txBody>
          <a:bodyPr wrap="square" lIns="0" tIns="0" rIns="0" bIns="0" rtlCol="0"/>
          <a:lstStyle/>
          <a:p>
            <a:endParaRPr/>
          </a:p>
        </p:txBody>
      </p:sp>
      <p:sp>
        <p:nvSpPr>
          <p:cNvPr id="67" name="object 67"/>
          <p:cNvSpPr/>
          <p:nvPr/>
        </p:nvSpPr>
        <p:spPr>
          <a:xfrm>
            <a:off x="0" y="4595707"/>
            <a:ext cx="1128126" cy="547562"/>
          </a:xfrm>
          <a:custGeom>
            <a:avLst/>
            <a:gdLst/>
            <a:ahLst/>
            <a:cxnLst/>
            <a:rect l="l" t="t" r="r" b="b"/>
            <a:pathLst>
              <a:path w="2480310" h="1203959">
                <a:moveTo>
                  <a:pt x="659890" y="0"/>
                </a:moveTo>
                <a:lnTo>
                  <a:pt x="644055" y="357"/>
                </a:lnTo>
                <a:lnTo>
                  <a:pt x="629462" y="6646"/>
                </a:lnTo>
                <a:lnTo>
                  <a:pt x="617949" y="18460"/>
                </a:lnTo>
                <a:lnTo>
                  <a:pt x="0" y="921655"/>
                </a:lnTo>
                <a:lnTo>
                  <a:pt x="0" y="1203673"/>
                </a:lnTo>
                <a:lnTo>
                  <a:pt x="2479923" y="1203673"/>
                </a:lnTo>
                <a:lnTo>
                  <a:pt x="2479712" y="1189193"/>
                </a:lnTo>
                <a:lnTo>
                  <a:pt x="2473563" y="1174596"/>
                </a:lnTo>
                <a:lnTo>
                  <a:pt x="2461883" y="1163137"/>
                </a:lnTo>
                <a:lnTo>
                  <a:pt x="675131" y="5979"/>
                </a:lnTo>
                <a:lnTo>
                  <a:pt x="659890" y="0"/>
                </a:lnTo>
                <a:close/>
              </a:path>
            </a:pathLst>
          </a:custGeom>
          <a:solidFill>
            <a:srgbClr val="A885D7"/>
          </a:solidFill>
        </p:spPr>
        <p:txBody>
          <a:bodyPr wrap="square" lIns="0" tIns="0" rIns="0" bIns="0" rtlCol="0"/>
          <a:lstStyle/>
          <a:p>
            <a:endParaRPr/>
          </a:p>
        </p:txBody>
      </p:sp>
      <p:sp>
        <p:nvSpPr>
          <p:cNvPr id="68" name="object 68"/>
          <p:cNvSpPr/>
          <p:nvPr/>
        </p:nvSpPr>
        <p:spPr>
          <a:xfrm>
            <a:off x="607519" y="3188532"/>
            <a:ext cx="340228" cy="955345"/>
          </a:xfrm>
          <a:custGeom>
            <a:avLst/>
            <a:gdLst/>
            <a:ahLst/>
            <a:cxnLst/>
            <a:rect l="l" t="t" r="r" b="b"/>
            <a:pathLst>
              <a:path w="748030" h="2100579">
                <a:moveTo>
                  <a:pt x="450374" y="0"/>
                </a:moveTo>
                <a:lnTo>
                  <a:pt x="409133" y="2495"/>
                </a:lnTo>
                <a:lnTo>
                  <a:pt x="370515" y="10005"/>
                </a:lnTo>
                <a:lnTo>
                  <a:pt x="334887" y="23740"/>
                </a:lnTo>
                <a:lnTo>
                  <a:pt x="302613" y="44905"/>
                </a:lnTo>
                <a:lnTo>
                  <a:pt x="274058" y="74709"/>
                </a:lnTo>
                <a:lnTo>
                  <a:pt x="249587" y="114359"/>
                </a:lnTo>
                <a:lnTo>
                  <a:pt x="229566" y="165063"/>
                </a:lnTo>
                <a:lnTo>
                  <a:pt x="214359" y="228027"/>
                </a:lnTo>
                <a:lnTo>
                  <a:pt x="2324" y="1793843"/>
                </a:lnTo>
                <a:lnTo>
                  <a:pt x="0" y="1841902"/>
                </a:lnTo>
                <a:lnTo>
                  <a:pt x="5759" y="1888979"/>
                </a:lnTo>
                <a:lnTo>
                  <a:pt x="19130" y="1933994"/>
                </a:lnTo>
                <a:lnTo>
                  <a:pt x="39641" y="1975868"/>
                </a:lnTo>
                <a:lnTo>
                  <a:pt x="66818" y="2013522"/>
                </a:lnTo>
                <a:lnTo>
                  <a:pt x="100191" y="2045876"/>
                </a:lnTo>
                <a:lnTo>
                  <a:pt x="139286" y="2071851"/>
                </a:lnTo>
                <a:lnTo>
                  <a:pt x="183632" y="2090368"/>
                </a:lnTo>
                <a:lnTo>
                  <a:pt x="232756" y="2100347"/>
                </a:lnTo>
                <a:lnTo>
                  <a:pt x="296088" y="2100261"/>
                </a:lnTo>
                <a:lnTo>
                  <a:pt x="341418" y="2091288"/>
                </a:lnTo>
                <a:lnTo>
                  <a:pt x="385156" y="2074390"/>
                </a:lnTo>
                <a:lnTo>
                  <a:pt x="426489" y="2050604"/>
                </a:lnTo>
                <a:lnTo>
                  <a:pt x="464601" y="2020963"/>
                </a:lnTo>
                <a:lnTo>
                  <a:pt x="498679" y="1986504"/>
                </a:lnTo>
                <a:lnTo>
                  <a:pt x="527907" y="1948262"/>
                </a:lnTo>
                <a:lnTo>
                  <a:pt x="551470" y="1907273"/>
                </a:lnTo>
                <a:lnTo>
                  <a:pt x="568556" y="1864571"/>
                </a:lnTo>
                <a:lnTo>
                  <a:pt x="578348" y="1821193"/>
                </a:lnTo>
                <a:lnTo>
                  <a:pt x="744144" y="504584"/>
                </a:lnTo>
                <a:lnTo>
                  <a:pt x="747594" y="461801"/>
                </a:lnTo>
                <a:lnTo>
                  <a:pt x="747798" y="447486"/>
                </a:lnTo>
                <a:lnTo>
                  <a:pt x="746987" y="397563"/>
                </a:lnTo>
                <a:lnTo>
                  <a:pt x="744627" y="347984"/>
                </a:lnTo>
                <a:lnTo>
                  <a:pt x="740305" y="299361"/>
                </a:lnTo>
                <a:lnTo>
                  <a:pt x="733608" y="252306"/>
                </a:lnTo>
                <a:lnTo>
                  <a:pt x="724123" y="207433"/>
                </a:lnTo>
                <a:lnTo>
                  <a:pt x="711436" y="165352"/>
                </a:lnTo>
                <a:lnTo>
                  <a:pt x="695133" y="126677"/>
                </a:lnTo>
                <a:lnTo>
                  <a:pt x="674801" y="92020"/>
                </a:lnTo>
                <a:lnTo>
                  <a:pt x="650026" y="61993"/>
                </a:lnTo>
                <a:lnTo>
                  <a:pt x="620396" y="37208"/>
                </a:lnTo>
                <a:lnTo>
                  <a:pt x="585497" y="18277"/>
                </a:lnTo>
                <a:lnTo>
                  <a:pt x="544914" y="5814"/>
                </a:lnTo>
                <a:lnTo>
                  <a:pt x="493875" y="1313"/>
                </a:lnTo>
                <a:lnTo>
                  <a:pt x="450374" y="0"/>
                </a:lnTo>
                <a:close/>
              </a:path>
            </a:pathLst>
          </a:custGeom>
          <a:solidFill>
            <a:srgbClr val="D4A687"/>
          </a:solidFill>
        </p:spPr>
        <p:txBody>
          <a:bodyPr wrap="square" lIns="0" tIns="0" rIns="0" bIns="0" rtlCol="0"/>
          <a:lstStyle/>
          <a:p>
            <a:endParaRPr/>
          </a:p>
        </p:txBody>
      </p:sp>
      <p:sp>
        <p:nvSpPr>
          <p:cNvPr id="69" name="object 69"/>
          <p:cNvSpPr/>
          <p:nvPr/>
        </p:nvSpPr>
        <p:spPr>
          <a:xfrm>
            <a:off x="577552" y="3178763"/>
            <a:ext cx="370265" cy="973540"/>
          </a:xfrm>
          <a:custGeom>
            <a:avLst/>
            <a:gdLst/>
            <a:ahLst/>
            <a:cxnLst/>
            <a:rect l="l" t="t" r="r" b="b"/>
            <a:pathLst>
              <a:path w="814069" h="2140584">
                <a:moveTo>
                  <a:pt x="515459" y="0"/>
                </a:moveTo>
                <a:lnTo>
                  <a:pt x="471555" y="1791"/>
                </a:lnTo>
                <a:lnTo>
                  <a:pt x="429007" y="7743"/>
                </a:lnTo>
                <a:lnTo>
                  <a:pt x="388993" y="18595"/>
                </a:lnTo>
                <a:lnTo>
                  <a:pt x="352688" y="35084"/>
                </a:lnTo>
                <a:lnTo>
                  <a:pt x="321269" y="57951"/>
                </a:lnTo>
                <a:lnTo>
                  <a:pt x="295913" y="87935"/>
                </a:lnTo>
                <a:lnTo>
                  <a:pt x="277796" y="125774"/>
                </a:lnTo>
                <a:lnTo>
                  <a:pt x="268094" y="172208"/>
                </a:lnTo>
                <a:lnTo>
                  <a:pt x="268107" y="230734"/>
                </a:lnTo>
                <a:lnTo>
                  <a:pt x="275187" y="388546"/>
                </a:lnTo>
                <a:lnTo>
                  <a:pt x="250032" y="609272"/>
                </a:lnTo>
                <a:lnTo>
                  <a:pt x="167715" y="1040636"/>
                </a:lnTo>
                <a:lnTo>
                  <a:pt x="3436" y="1833120"/>
                </a:lnTo>
                <a:lnTo>
                  <a:pt x="0" y="1881931"/>
                </a:lnTo>
                <a:lnTo>
                  <a:pt x="5531" y="1928996"/>
                </a:lnTo>
                <a:lnTo>
                  <a:pt x="19364" y="1973454"/>
                </a:lnTo>
                <a:lnTo>
                  <a:pt x="40832" y="2014447"/>
                </a:lnTo>
                <a:lnTo>
                  <a:pt x="69269" y="2051115"/>
                </a:lnTo>
                <a:lnTo>
                  <a:pt x="104007" y="2082599"/>
                </a:lnTo>
                <a:lnTo>
                  <a:pt x="144380" y="2108039"/>
                </a:lnTo>
                <a:lnTo>
                  <a:pt x="189722" y="2126577"/>
                </a:lnTo>
                <a:lnTo>
                  <a:pt x="239366" y="2137351"/>
                </a:lnTo>
                <a:lnTo>
                  <a:pt x="291050" y="2140386"/>
                </a:lnTo>
                <a:lnTo>
                  <a:pt x="335833" y="2135742"/>
                </a:lnTo>
                <a:lnTo>
                  <a:pt x="378710" y="2124621"/>
                </a:lnTo>
                <a:lnTo>
                  <a:pt x="419014" y="2107501"/>
                </a:lnTo>
                <a:lnTo>
                  <a:pt x="456078" y="2084862"/>
                </a:lnTo>
                <a:lnTo>
                  <a:pt x="489233" y="2057182"/>
                </a:lnTo>
                <a:lnTo>
                  <a:pt x="517811" y="2024940"/>
                </a:lnTo>
                <a:lnTo>
                  <a:pt x="541145" y="1988615"/>
                </a:lnTo>
                <a:lnTo>
                  <a:pt x="558567" y="1948686"/>
                </a:lnTo>
                <a:lnTo>
                  <a:pt x="569408" y="1905631"/>
                </a:lnTo>
                <a:lnTo>
                  <a:pt x="805296" y="500794"/>
                </a:lnTo>
                <a:lnTo>
                  <a:pt x="810792" y="460757"/>
                </a:lnTo>
                <a:lnTo>
                  <a:pt x="813502" y="417401"/>
                </a:lnTo>
                <a:lnTo>
                  <a:pt x="813247" y="371723"/>
                </a:lnTo>
                <a:lnTo>
                  <a:pt x="809849" y="324721"/>
                </a:lnTo>
                <a:lnTo>
                  <a:pt x="803129" y="277392"/>
                </a:lnTo>
                <a:lnTo>
                  <a:pt x="792908" y="230734"/>
                </a:lnTo>
                <a:lnTo>
                  <a:pt x="779006" y="185743"/>
                </a:lnTo>
                <a:lnTo>
                  <a:pt x="761246" y="143417"/>
                </a:lnTo>
                <a:lnTo>
                  <a:pt x="739447" y="104753"/>
                </a:lnTo>
                <a:lnTo>
                  <a:pt x="713432" y="70748"/>
                </a:lnTo>
                <a:lnTo>
                  <a:pt x="683021" y="42400"/>
                </a:lnTo>
                <a:lnTo>
                  <a:pt x="648036" y="20706"/>
                </a:lnTo>
                <a:lnTo>
                  <a:pt x="608297" y="6662"/>
                </a:lnTo>
                <a:lnTo>
                  <a:pt x="559544" y="1629"/>
                </a:lnTo>
                <a:lnTo>
                  <a:pt x="515459" y="0"/>
                </a:lnTo>
                <a:close/>
              </a:path>
            </a:pathLst>
          </a:custGeom>
          <a:solidFill>
            <a:srgbClr val="F4CFB1"/>
          </a:solidFill>
        </p:spPr>
        <p:txBody>
          <a:bodyPr wrap="square" lIns="0" tIns="0" rIns="0" bIns="0" rtlCol="0"/>
          <a:lstStyle/>
          <a:p>
            <a:endParaRPr/>
          </a:p>
        </p:txBody>
      </p:sp>
      <p:sp>
        <p:nvSpPr>
          <p:cNvPr id="70" name="object 70"/>
          <p:cNvSpPr/>
          <p:nvPr/>
        </p:nvSpPr>
        <p:spPr>
          <a:xfrm>
            <a:off x="692023" y="3183074"/>
            <a:ext cx="116105" cy="209667"/>
          </a:xfrm>
          <a:custGeom>
            <a:avLst/>
            <a:gdLst/>
            <a:ahLst/>
            <a:cxnLst/>
            <a:rect l="l" t="t" r="r" b="b"/>
            <a:pathLst>
              <a:path w="255269" h="461009">
                <a:moveTo>
                  <a:pt x="151985" y="0"/>
                </a:moveTo>
                <a:lnTo>
                  <a:pt x="104084" y="12130"/>
                </a:lnTo>
                <a:lnTo>
                  <a:pt x="51481" y="51953"/>
                </a:lnTo>
                <a:lnTo>
                  <a:pt x="30641" y="86053"/>
                </a:lnTo>
                <a:lnTo>
                  <a:pt x="19029" y="131435"/>
                </a:lnTo>
                <a:lnTo>
                  <a:pt x="12824" y="191733"/>
                </a:lnTo>
                <a:lnTo>
                  <a:pt x="7006" y="256319"/>
                </a:lnTo>
                <a:lnTo>
                  <a:pt x="2442" y="319161"/>
                </a:lnTo>
                <a:lnTo>
                  <a:pt x="0" y="374229"/>
                </a:lnTo>
                <a:lnTo>
                  <a:pt x="545" y="415493"/>
                </a:lnTo>
                <a:lnTo>
                  <a:pt x="4946" y="436923"/>
                </a:lnTo>
                <a:lnTo>
                  <a:pt x="22510" y="450445"/>
                </a:lnTo>
                <a:lnTo>
                  <a:pt x="53450" y="459750"/>
                </a:lnTo>
                <a:lnTo>
                  <a:pt x="94893" y="460730"/>
                </a:lnTo>
                <a:lnTo>
                  <a:pt x="143968" y="449279"/>
                </a:lnTo>
                <a:lnTo>
                  <a:pt x="186523" y="431898"/>
                </a:lnTo>
                <a:lnTo>
                  <a:pt x="231447" y="391103"/>
                </a:lnTo>
                <a:lnTo>
                  <a:pt x="251092" y="318410"/>
                </a:lnTo>
                <a:lnTo>
                  <a:pt x="254358" y="263714"/>
                </a:lnTo>
                <a:lnTo>
                  <a:pt x="255061" y="202447"/>
                </a:lnTo>
                <a:lnTo>
                  <a:pt x="253924" y="144073"/>
                </a:lnTo>
                <a:lnTo>
                  <a:pt x="251666" y="98055"/>
                </a:lnTo>
                <a:lnTo>
                  <a:pt x="243790" y="55296"/>
                </a:lnTo>
                <a:lnTo>
                  <a:pt x="208515" y="11414"/>
                </a:lnTo>
                <a:lnTo>
                  <a:pt x="168407" y="193"/>
                </a:lnTo>
                <a:lnTo>
                  <a:pt x="151985" y="0"/>
                </a:lnTo>
                <a:close/>
              </a:path>
            </a:pathLst>
          </a:custGeom>
          <a:solidFill>
            <a:srgbClr val="DDD4CA"/>
          </a:solidFill>
        </p:spPr>
        <p:txBody>
          <a:bodyPr wrap="square" lIns="0" tIns="0" rIns="0" bIns="0" rtlCol="0"/>
          <a:lstStyle/>
          <a:p>
            <a:endParaRPr/>
          </a:p>
        </p:txBody>
      </p:sp>
      <p:sp>
        <p:nvSpPr>
          <p:cNvPr id="71" name="object 71"/>
          <p:cNvSpPr/>
          <p:nvPr/>
        </p:nvSpPr>
        <p:spPr>
          <a:xfrm>
            <a:off x="1677345" y="3303531"/>
            <a:ext cx="390194" cy="304105"/>
          </a:xfrm>
          <a:custGeom>
            <a:avLst/>
            <a:gdLst/>
            <a:ahLst/>
            <a:cxnLst/>
            <a:rect l="l" t="t" r="r" b="b"/>
            <a:pathLst>
              <a:path w="857885" h="668654">
                <a:moveTo>
                  <a:pt x="592724" y="0"/>
                </a:moveTo>
                <a:lnTo>
                  <a:pt x="549049" y="5477"/>
                </a:lnTo>
                <a:lnTo>
                  <a:pt x="505931" y="19245"/>
                </a:lnTo>
                <a:lnTo>
                  <a:pt x="152203" y="166015"/>
                </a:lnTo>
                <a:lnTo>
                  <a:pt x="112270" y="187486"/>
                </a:lnTo>
                <a:lnTo>
                  <a:pt x="77778" y="215175"/>
                </a:lnTo>
                <a:lnTo>
                  <a:pt x="49101" y="248129"/>
                </a:lnTo>
                <a:lnTo>
                  <a:pt x="26611" y="285397"/>
                </a:lnTo>
                <a:lnTo>
                  <a:pt x="10682" y="326026"/>
                </a:lnTo>
                <a:lnTo>
                  <a:pt x="1687" y="369065"/>
                </a:lnTo>
                <a:lnTo>
                  <a:pt x="0" y="413561"/>
                </a:lnTo>
                <a:lnTo>
                  <a:pt x="5993" y="458561"/>
                </a:lnTo>
                <a:lnTo>
                  <a:pt x="20040" y="503115"/>
                </a:lnTo>
                <a:lnTo>
                  <a:pt x="43520" y="549337"/>
                </a:lnTo>
                <a:lnTo>
                  <a:pt x="70974" y="585233"/>
                </a:lnTo>
                <a:lnTo>
                  <a:pt x="103461" y="615230"/>
                </a:lnTo>
                <a:lnTo>
                  <a:pt x="140048" y="638930"/>
                </a:lnTo>
                <a:lnTo>
                  <a:pt x="179804" y="655934"/>
                </a:lnTo>
                <a:lnTo>
                  <a:pt x="221797" y="665843"/>
                </a:lnTo>
                <a:lnTo>
                  <a:pt x="265095" y="668259"/>
                </a:lnTo>
                <a:lnTo>
                  <a:pt x="308768" y="662783"/>
                </a:lnTo>
                <a:lnTo>
                  <a:pt x="351883" y="649016"/>
                </a:lnTo>
                <a:lnTo>
                  <a:pt x="705631" y="502246"/>
                </a:lnTo>
                <a:lnTo>
                  <a:pt x="745561" y="480775"/>
                </a:lnTo>
                <a:lnTo>
                  <a:pt x="780051" y="453086"/>
                </a:lnTo>
                <a:lnTo>
                  <a:pt x="808727" y="420131"/>
                </a:lnTo>
                <a:lnTo>
                  <a:pt x="831216" y="382864"/>
                </a:lnTo>
                <a:lnTo>
                  <a:pt x="847145" y="342234"/>
                </a:lnTo>
                <a:lnTo>
                  <a:pt x="856141" y="299196"/>
                </a:lnTo>
                <a:lnTo>
                  <a:pt x="857830" y="254700"/>
                </a:lnTo>
                <a:lnTo>
                  <a:pt x="851839" y="209700"/>
                </a:lnTo>
                <a:lnTo>
                  <a:pt x="837795" y="165146"/>
                </a:lnTo>
                <a:lnTo>
                  <a:pt x="814304" y="118910"/>
                </a:lnTo>
                <a:lnTo>
                  <a:pt x="786850" y="83014"/>
                </a:lnTo>
                <a:lnTo>
                  <a:pt x="754363" y="53018"/>
                </a:lnTo>
                <a:lnTo>
                  <a:pt x="717775" y="29321"/>
                </a:lnTo>
                <a:lnTo>
                  <a:pt x="678019" y="12319"/>
                </a:lnTo>
                <a:lnTo>
                  <a:pt x="636024" y="2413"/>
                </a:lnTo>
                <a:lnTo>
                  <a:pt x="592724" y="0"/>
                </a:lnTo>
                <a:close/>
              </a:path>
            </a:pathLst>
          </a:custGeom>
          <a:solidFill>
            <a:srgbClr val="F4CFB1"/>
          </a:solidFill>
        </p:spPr>
        <p:txBody>
          <a:bodyPr wrap="square" lIns="0" tIns="0" rIns="0" bIns="0" rtlCol="0"/>
          <a:lstStyle/>
          <a:p>
            <a:endParaRPr/>
          </a:p>
        </p:txBody>
      </p:sp>
      <p:sp>
        <p:nvSpPr>
          <p:cNvPr id="72" name="object 72"/>
          <p:cNvSpPr/>
          <p:nvPr/>
        </p:nvSpPr>
        <p:spPr>
          <a:xfrm>
            <a:off x="1680713" y="3404738"/>
            <a:ext cx="191198" cy="181654"/>
          </a:xfrm>
          <a:custGeom>
            <a:avLst/>
            <a:gdLst/>
            <a:ahLst/>
            <a:cxnLst/>
            <a:rect l="l" t="t" r="r" b="b"/>
            <a:pathLst>
              <a:path w="420370" h="399415">
                <a:moveTo>
                  <a:pt x="244614" y="0"/>
                </a:moveTo>
                <a:lnTo>
                  <a:pt x="194945" y="13699"/>
                </a:lnTo>
                <a:lnTo>
                  <a:pt x="102434" y="52001"/>
                </a:lnTo>
                <a:lnTo>
                  <a:pt x="56479" y="77869"/>
                </a:lnTo>
                <a:lnTo>
                  <a:pt x="24899" y="110268"/>
                </a:lnTo>
                <a:lnTo>
                  <a:pt x="6478" y="147877"/>
                </a:lnTo>
                <a:lnTo>
                  <a:pt x="0" y="189372"/>
                </a:lnTo>
                <a:lnTo>
                  <a:pt x="4248" y="233433"/>
                </a:lnTo>
                <a:lnTo>
                  <a:pt x="18007" y="278738"/>
                </a:lnTo>
                <a:lnTo>
                  <a:pt x="40445" y="324327"/>
                </a:lnTo>
                <a:lnTo>
                  <a:pt x="67527" y="358956"/>
                </a:lnTo>
                <a:lnTo>
                  <a:pt x="100549" y="384126"/>
                </a:lnTo>
                <a:lnTo>
                  <a:pt x="139477" y="398022"/>
                </a:lnTo>
                <a:lnTo>
                  <a:pt x="184276" y="398827"/>
                </a:lnTo>
                <a:lnTo>
                  <a:pt x="234912" y="384724"/>
                </a:lnTo>
                <a:lnTo>
                  <a:pt x="327433" y="346432"/>
                </a:lnTo>
                <a:lnTo>
                  <a:pt x="372416" y="320959"/>
                </a:lnTo>
                <a:lnTo>
                  <a:pt x="401566" y="289554"/>
                </a:lnTo>
                <a:lnTo>
                  <a:pt x="416829" y="253240"/>
                </a:lnTo>
                <a:lnTo>
                  <a:pt x="420149" y="213041"/>
                </a:lnTo>
                <a:lnTo>
                  <a:pt x="413471" y="169979"/>
                </a:lnTo>
                <a:lnTo>
                  <a:pt x="398739" y="125078"/>
                </a:lnTo>
                <a:lnTo>
                  <a:pt x="377283" y="79090"/>
                </a:lnTo>
                <a:lnTo>
                  <a:pt x="352628" y="43464"/>
                </a:lnTo>
                <a:lnTo>
                  <a:pt x="322761" y="16997"/>
                </a:lnTo>
                <a:lnTo>
                  <a:pt x="286988" y="1804"/>
                </a:lnTo>
                <a:lnTo>
                  <a:pt x="244614" y="0"/>
                </a:lnTo>
                <a:close/>
              </a:path>
            </a:pathLst>
          </a:custGeom>
          <a:solidFill>
            <a:srgbClr val="DDD4CA"/>
          </a:solidFill>
        </p:spPr>
        <p:txBody>
          <a:bodyPr wrap="square" lIns="0" tIns="0" rIns="0" bIns="0" rtlCol="0"/>
          <a:lstStyle/>
          <a:p>
            <a:endParaRPr/>
          </a:p>
        </p:txBody>
      </p:sp>
      <p:sp>
        <p:nvSpPr>
          <p:cNvPr id="73" name="object 73"/>
          <p:cNvSpPr/>
          <p:nvPr/>
        </p:nvSpPr>
        <p:spPr>
          <a:xfrm>
            <a:off x="1674741" y="3583443"/>
            <a:ext cx="396548" cy="305549"/>
          </a:xfrm>
          <a:custGeom>
            <a:avLst/>
            <a:gdLst/>
            <a:ahLst/>
            <a:cxnLst/>
            <a:rect l="l" t="t" r="r" b="b"/>
            <a:pathLst>
              <a:path w="871854" h="671829">
                <a:moveTo>
                  <a:pt x="602081" y="0"/>
                </a:moveTo>
                <a:lnTo>
                  <a:pt x="557718" y="5505"/>
                </a:lnTo>
                <a:lnTo>
                  <a:pt x="513921" y="19342"/>
                </a:lnTo>
                <a:lnTo>
                  <a:pt x="154602" y="166845"/>
                </a:lnTo>
                <a:lnTo>
                  <a:pt x="114040" y="188424"/>
                </a:lnTo>
                <a:lnTo>
                  <a:pt x="79004" y="216253"/>
                </a:lnTo>
                <a:lnTo>
                  <a:pt x="49875" y="249374"/>
                </a:lnTo>
                <a:lnTo>
                  <a:pt x="27031" y="286830"/>
                </a:lnTo>
                <a:lnTo>
                  <a:pt x="10850" y="327665"/>
                </a:lnTo>
                <a:lnTo>
                  <a:pt x="1714" y="370922"/>
                </a:lnTo>
                <a:lnTo>
                  <a:pt x="0" y="415643"/>
                </a:lnTo>
                <a:lnTo>
                  <a:pt x="6087" y="460872"/>
                </a:lnTo>
                <a:lnTo>
                  <a:pt x="20355" y="505652"/>
                </a:lnTo>
                <a:lnTo>
                  <a:pt x="44215" y="552115"/>
                </a:lnTo>
                <a:lnTo>
                  <a:pt x="72101" y="588191"/>
                </a:lnTo>
                <a:lnTo>
                  <a:pt x="105099" y="618339"/>
                </a:lnTo>
                <a:lnTo>
                  <a:pt x="142263" y="642156"/>
                </a:lnTo>
                <a:lnTo>
                  <a:pt x="182645" y="659244"/>
                </a:lnTo>
                <a:lnTo>
                  <a:pt x="225301" y="669201"/>
                </a:lnTo>
                <a:lnTo>
                  <a:pt x="269283" y="671627"/>
                </a:lnTo>
                <a:lnTo>
                  <a:pt x="313646" y="666122"/>
                </a:lnTo>
                <a:lnTo>
                  <a:pt x="357444" y="652286"/>
                </a:lnTo>
                <a:lnTo>
                  <a:pt x="716763" y="504772"/>
                </a:lnTo>
                <a:lnTo>
                  <a:pt x="757325" y="483193"/>
                </a:lnTo>
                <a:lnTo>
                  <a:pt x="792360" y="455366"/>
                </a:lnTo>
                <a:lnTo>
                  <a:pt x="821490" y="422246"/>
                </a:lnTo>
                <a:lnTo>
                  <a:pt x="844334" y="384791"/>
                </a:lnTo>
                <a:lnTo>
                  <a:pt x="860514" y="343958"/>
                </a:lnTo>
                <a:lnTo>
                  <a:pt x="869651" y="300703"/>
                </a:lnTo>
                <a:lnTo>
                  <a:pt x="871365" y="255983"/>
                </a:lnTo>
                <a:lnTo>
                  <a:pt x="865278" y="210755"/>
                </a:lnTo>
                <a:lnTo>
                  <a:pt x="851010" y="165976"/>
                </a:lnTo>
                <a:lnTo>
                  <a:pt x="827157" y="119510"/>
                </a:lnTo>
                <a:lnTo>
                  <a:pt x="799268" y="83432"/>
                </a:lnTo>
                <a:lnTo>
                  <a:pt x="766268" y="53285"/>
                </a:lnTo>
                <a:lnTo>
                  <a:pt x="729104" y="29467"/>
                </a:lnTo>
                <a:lnTo>
                  <a:pt x="688720" y="12381"/>
                </a:lnTo>
                <a:lnTo>
                  <a:pt x="646064" y="2425"/>
                </a:lnTo>
                <a:lnTo>
                  <a:pt x="602081" y="0"/>
                </a:lnTo>
                <a:close/>
              </a:path>
            </a:pathLst>
          </a:custGeom>
          <a:solidFill>
            <a:srgbClr val="F4CFB1"/>
          </a:solidFill>
        </p:spPr>
        <p:txBody>
          <a:bodyPr wrap="square" lIns="0" tIns="0" rIns="0" bIns="0" rtlCol="0"/>
          <a:lstStyle/>
          <a:p>
            <a:endParaRPr/>
          </a:p>
        </p:txBody>
      </p:sp>
      <p:sp>
        <p:nvSpPr>
          <p:cNvPr id="74" name="object 74"/>
          <p:cNvSpPr/>
          <p:nvPr/>
        </p:nvSpPr>
        <p:spPr>
          <a:xfrm>
            <a:off x="1677845" y="3687657"/>
            <a:ext cx="188310" cy="177033"/>
          </a:xfrm>
          <a:custGeom>
            <a:avLst/>
            <a:gdLst/>
            <a:ahLst/>
            <a:cxnLst/>
            <a:rect l="l" t="t" r="r" b="b"/>
            <a:pathLst>
              <a:path w="414020" h="389254">
                <a:moveTo>
                  <a:pt x="241022" y="0"/>
                </a:moveTo>
                <a:lnTo>
                  <a:pt x="192082" y="13360"/>
                </a:lnTo>
                <a:lnTo>
                  <a:pt x="100933" y="50679"/>
                </a:lnTo>
                <a:lnTo>
                  <a:pt x="55651" y="75904"/>
                </a:lnTo>
                <a:lnTo>
                  <a:pt x="24534" y="107495"/>
                </a:lnTo>
                <a:lnTo>
                  <a:pt x="6383" y="144164"/>
                </a:lnTo>
                <a:lnTo>
                  <a:pt x="0" y="184621"/>
                </a:lnTo>
                <a:lnTo>
                  <a:pt x="4185" y="227576"/>
                </a:lnTo>
                <a:lnTo>
                  <a:pt x="17741" y="271740"/>
                </a:lnTo>
                <a:lnTo>
                  <a:pt x="39848" y="316186"/>
                </a:lnTo>
                <a:lnTo>
                  <a:pt x="66533" y="349947"/>
                </a:lnTo>
                <a:lnTo>
                  <a:pt x="99071" y="374488"/>
                </a:lnTo>
                <a:lnTo>
                  <a:pt x="137430" y="388036"/>
                </a:lnTo>
                <a:lnTo>
                  <a:pt x="181575" y="388820"/>
                </a:lnTo>
                <a:lnTo>
                  <a:pt x="231473" y="375067"/>
                </a:lnTo>
                <a:lnTo>
                  <a:pt x="322633" y="337727"/>
                </a:lnTo>
                <a:lnTo>
                  <a:pt x="366952" y="312896"/>
                </a:lnTo>
                <a:lnTo>
                  <a:pt x="395671" y="282281"/>
                </a:lnTo>
                <a:lnTo>
                  <a:pt x="410707" y="246879"/>
                </a:lnTo>
                <a:lnTo>
                  <a:pt x="413977" y="207689"/>
                </a:lnTo>
                <a:lnTo>
                  <a:pt x="407396" y="165708"/>
                </a:lnTo>
                <a:lnTo>
                  <a:pt x="392882" y="121933"/>
                </a:lnTo>
                <a:lnTo>
                  <a:pt x="371733" y="77093"/>
                </a:lnTo>
                <a:lnTo>
                  <a:pt x="347443" y="42365"/>
                </a:lnTo>
                <a:lnTo>
                  <a:pt x="318018" y="16564"/>
                </a:lnTo>
                <a:lnTo>
                  <a:pt x="282772" y="1755"/>
                </a:lnTo>
                <a:lnTo>
                  <a:pt x="241022" y="0"/>
                </a:lnTo>
                <a:close/>
              </a:path>
            </a:pathLst>
          </a:custGeom>
          <a:solidFill>
            <a:srgbClr val="DDD4CA"/>
          </a:solidFill>
        </p:spPr>
        <p:txBody>
          <a:bodyPr wrap="square" lIns="0" tIns="0" rIns="0" bIns="0" rtlCol="0"/>
          <a:lstStyle/>
          <a:p>
            <a:endParaRPr/>
          </a:p>
        </p:txBody>
      </p:sp>
      <p:sp>
        <p:nvSpPr>
          <p:cNvPr id="75" name="object 75"/>
          <p:cNvSpPr/>
          <p:nvPr/>
        </p:nvSpPr>
        <p:spPr>
          <a:xfrm>
            <a:off x="1690531" y="3862619"/>
            <a:ext cx="398570" cy="289087"/>
          </a:xfrm>
          <a:custGeom>
            <a:avLst/>
            <a:gdLst/>
            <a:ahLst/>
            <a:cxnLst/>
            <a:rect l="l" t="t" r="r" b="b"/>
            <a:pathLst>
              <a:path w="876300" h="635634">
                <a:moveTo>
                  <a:pt x="613948" y="0"/>
                </a:moveTo>
                <a:lnTo>
                  <a:pt x="569428" y="6387"/>
                </a:lnTo>
                <a:lnTo>
                  <a:pt x="525236" y="20525"/>
                </a:lnTo>
                <a:lnTo>
                  <a:pt x="161677" y="168227"/>
                </a:lnTo>
                <a:lnTo>
                  <a:pt x="115719" y="192567"/>
                </a:lnTo>
                <a:lnTo>
                  <a:pt x="76594" y="223940"/>
                </a:lnTo>
                <a:lnTo>
                  <a:pt x="44880" y="261059"/>
                </a:lnTo>
                <a:lnTo>
                  <a:pt x="21157" y="302641"/>
                </a:lnTo>
                <a:lnTo>
                  <a:pt x="6004" y="347398"/>
                </a:lnTo>
                <a:lnTo>
                  <a:pt x="0" y="394047"/>
                </a:lnTo>
                <a:lnTo>
                  <a:pt x="3723" y="441300"/>
                </a:lnTo>
                <a:lnTo>
                  <a:pt x="17754" y="487872"/>
                </a:lnTo>
                <a:lnTo>
                  <a:pt x="40283" y="530500"/>
                </a:lnTo>
                <a:lnTo>
                  <a:pt x="67143" y="563341"/>
                </a:lnTo>
                <a:lnTo>
                  <a:pt x="99283" y="590509"/>
                </a:lnTo>
                <a:lnTo>
                  <a:pt x="135770" y="611659"/>
                </a:lnTo>
                <a:lnTo>
                  <a:pt x="175668" y="626445"/>
                </a:lnTo>
                <a:lnTo>
                  <a:pt x="218042" y="634519"/>
                </a:lnTo>
                <a:lnTo>
                  <a:pt x="261958" y="635535"/>
                </a:lnTo>
                <a:lnTo>
                  <a:pt x="306481" y="629148"/>
                </a:lnTo>
                <a:lnTo>
                  <a:pt x="350676" y="615010"/>
                </a:lnTo>
                <a:lnTo>
                  <a:pt x="714215" y="467318"/>
                </a:lnTo>
                <a:lnTo>
                  <a:pt x="760176" y="442978"/>
                </a:lnTo>
                <a:lnTo>
                  <a:pt x="799303" y="411606"/>
                </a:lnTo>
                <a:lnTo>
                  <a:pt x="831019" y="374486"/>
                </a:lnTo>
                <a:lnTo>
                  <a:pt x="854744" y="332904"/>
                </a:lnTo>
                <a:lnTo>
                  <a:pt x="869900" y="288147"/>
                </a:lnTo>
                <a:lnTo>
                  <a:pt x="875906" y="241499"/>
                </a:lnTo>
                <a:lnTo>
                  <a:pt x="872185" y="194245"/>
                </a:lnTo>
                <a:lnTo>
                  <a:pt x="858158" y="147673"/>
                </a:lnTo>
                <a:lnTo>
                  <a:pt x="835619" y="105035"/>
                </a:lnTo>
                <a:lnTo>
                  <a:pt x="808759" y="72194"/>
                </a:lnTo>
                <a:lnTo>
                  <a:pt x="776619" y="45025"/>
                </a:lnTo>
                <a:lnTo>
                  <a:pt x="740133" y="23875"/>
                </a:lnTo>
                <a:lnTo>
                  <a:pt x="700236" y="9090"/>
                </a:lnTo>
                <a:lnTo>
                  <a:pt x="657863" y="1016"/>
                </a:lnTo>
                <a:lnTo>
                  <a:pt x="613948" y="0"/>
                </a:lnTo>
                <a:close/>
              </a:path>
            </a:pathLst>
          </a:custGeom>
          <a:solidFill>
            <a:srgbClr val="F4CFB1"/>
          </a:solidFill>
        </p:spPr>
        <p:txBody>
          <a:bodyPr wrap="square" lIns="0" tIns="0" rIns="0" bIns="0" rtlCol="0"/>
          <a:lstStyle/>
          <a:p>
            <a:endParaRPr/>
          </a:p>
        </p:txBody>
      </p:sp>
      <p:sp>
        <p:nvSpPr>
          <p:cNvPr id="76" name="object 76"/>
          <p:cNvSpPr/>
          <p:nvPr/>
        </p:nvSpPr>
        <p:spPr>
          <a:xfrm>
            <a:off x="1695728" y="3972497"/>
            <a:ext cx="170692" cy="159706"/>
          </a:xfrm>
          <a:custGeom>
            <a:avLst/>
            <a:gdLst/>
            <a:ahLst/>
            <a:cxnLst/>
            <a:rect l="l" t="t" r="r" b="b"/>
            <a:pathLst>
              <a:path w="375285" h="351154">
                <a:moveTo>
                  <a:pt x="226129" y="0"/>
                </a:moveTo>
                <a:lnTo>
                  <a:pt x="173539" y="12712"/>
                </a:lnTo>
                <a:lnTo>
                  <a:pt x="90651" y="46240"/>
                </a:lnTo>
                <a:lnTo>
                  <a:pt x="42833" y="74147"/>
                </a:lnTo>
                <a:lnTo>
                  <a:pt x="13243" y="109954"/>
                </a:lnTo>
                <a:lnTo>
                  <a:pt x="0" y="151660"/>
                </a:lnTo>
                <a:lnTo>
                  <a:pt x="1219" y="197265"/>
                </a:lnTo>
                <a:lnTo>
                  <a:pt x="15020" y="244768"/>
                </a:lnTo>
                <a:lnTo>
                  <a:pt x="39550" y="291337"/>
                </a:lnTo>
                <a:lnTo>
                  <a:pt x="70583" y="324905"/>
                </a:lnTo>
                <a:lnTo>
                  <a:pt x="109263" y="345635"/>
                </a:lnTo>
                <a:lnTo>
                  <a:pt x="155535" y="350774"/>
                </a:lnTo>
                <a:lnTo>
                  <a:pt x="209349" y="337572"/>
                </a:lnTo>
                <a:lnTo>
                  <a:pt x="292226" y="304044"/>
                </a:lnTo>
                <a:lnTo>
                  <a:pt x="338827" y="276631"/>
                </a:lnTo>
                <a:lnTo>
                  <a:pt x="365503" y="241994"/>
                </a:lnTo>
                <a:lnTo>
                  <a:pt x="375266" y="201680"/>
                </a:lnTo>
                <a:lnTo>
                  <a:pt x="371127" y="157242"/>
                </a:lnTo>
                <a:lnTo>
                  <a:pt x="356099" y="110228"/>
                </a:lnTo>
                <a:lnTo>
                  <a:pt x="332802" y="63165"/>
                </a:lnTo>
                <a:lnTo>
                  <a:pt x="304685" y="28428"/>
                </a:lnTo>
                <a:lnTo>
                  <a:pt x="269486" y="6305"/>
                </a:lnTo>
                <a:lnTo>
                  <a:pt x="226129" y="0"/>
                </a:lnTo>
                <a:close/>
              </a:path>
            </a:pathLst>
          </a:custGeom>
          <a:solidFill>
            <a:srgbClr val="DDD4CA"/>
          </a:solidFill>
        </p:spPr>
        <p:txBody>
          <a:bodyPr wrap="square" lIns="0" tIns="0" rIns="0" bIns="0" rtlCol="0"/>
          <a:lstStyle/>
          <a:p>
            <a:endParaRPr/>
          </a:p>
        </p:txBody>
      </p:sp>
      <p:sp>
        <p:nvSpPr>
          <p:cNvPr id="77" name="object 77"/>
          <p:cNvSpPr/>
          <p:nvPr/>
        </p:nvSpPr>
        <p:spPr>
          <a:xfrm>
            <a:off x="1134585" y="3375381"/>
            <a:ext cx="508610" cy="469297"/>
          </a:xfrm>
          <a:custGeom>
            <a:avLst/>
            <a:gdLst/>
            <a:ahLst/>
            <a:cxnLst/>
            <a:rect l="l" t="t" r="r" b="b"/>
            <a:pathLst>
              <a:path w="1118235" h="1031875">
                <a:moveTo>
                  <a:pt x="941867" y="965289"/>
                </a:moveTo>
                <a:lnTo>
                  <a:pt x="779651" y="965289"/>
                </a:lnTo>
                <a:lnTo>
                  <a:pt x="807384" y="970359"/>
                </a:lnTo>
                <a:lnTo>
                  <a:pt x="830811" y="984309"/>
                </a:lnTo>
                <a:lnTo>
                  <a:pt x="848102" y="1005254"/>
                </a:lnTo>
                <a:lnTo>
                  <a:pt x="857429" y="1031308"/>
                </a:lnTo>
                <a:lnTo>
                  <a:pt x="895432" y="1004999"/>
                </a:lnTo>
                <a:lnTo>
                  <a:pt x="931076" y="975734"/>
                </a:lnTo>
                <a:lnTo>
                  <a:pt x="941867" y="965289"/>
                </a:lnTo>
                <a:close/>
              </a:path>
              <a:path w="1118235" h="1031875">
                <a:moveTo>
                  <a:pt x="559061" y="0"/>
                </a:moveTo>
                <a:lnTo>
                  <a:pt x="510824" y="2052"/>
                </a:lnTo>
                <a:lnTo>
                  <a:pt x="463726" y="8096"/>
                </a:lnTo>
                <a:lnTo>
                  <a:pt x="417935" y="17965"/>
                </a:lnTo>
                <a:lnTo>
                  <a:pt x="373620" y="31491"/>
                </a:lnTo>
                <a:lnTo>
                  <a:pt x="330947" y="48506"/>
                </a:lnTo>
                <a:lnTo>
                  <a:pt x="290084" y="68842"/>
                </a:lnTo>
                <a:lnTo>
                  <a:pt x="251200" y="92331"/>
                </a:lnTo>
                <a:lnTo>
                  <a:pt x="214462" y="118806"/>
                </a:lnTo>
                <a:lnTo>
                  <a:pt x="180039" y="148098"/>
                </a:lnTo>
                <a:lnTo>
                  <a:pt x="148097" y="180040"/>
                </a:lnTo>
                <a:lnTo>
                  <a:pt x="118805" y="214464"/>
                </a:lnTo>
                <a:lnTo>
                  <a:pt x="92331" y="251203"/>
                </a:lnTo>
                <a:lnTo>
                  <a:pt x="68842" y="290087"/>
                </a:lnTo>
                <a:lnTo>
                  <a:pt x="48506" y="330951"/>
                </a:lnTo>
                <a:lnTo>
                  <a:pt x="31491" y="373625"/>
                </a:lnTo>
                <a:lnTo>
                  <a:pt x="17965" y="417942"/>
                </a:lnTo>
                <a:lnTo>
                  <a:pt x="8096" y="463734"/>
                </a:lnTo>
                <a:lnTo>
                  <a:pt x="2052" y="510833"/>
                </a:lnTo>
                <a:lnTo>
                  <a:pt x="0" y="559071"/>
                </a:lnTo>
                <a:lnTo>
                  <a:pt x="2456" y="611783"/>
                </a:lnTo>
                <a:lnTo>
                  <a:pt x="9680" y="663102"/>
                </a:lnTo>
                <a:lnTo>
                  <a:pt x="21448" y="712811"/>
                </a:lnTo>
                <a:lnTo>
                  <a:pt x="37540" y="760691"/>
                </a:lnTo>
                <a:lnTo>
                  <a:pt x="57735" y="806526"/>
                </a:lnTo>
                <a:lnTo>
                  <a:pt x="81810" y="850099"/>
                </a:lnTo>
                <a:lnTo>
                  <a:pt x="109546" y="891191"/>
                </a:lnTo>
                <a:lnTo>
                  <a:pt x="140720" y="929585"/>
                </a:lnTo>
                <a:lnTo>
                  <a:pt x="175112" y="965065"/>
                </a:lnTo>
                <a:lnTo>
                  <a:pt x="212499" y="997411"/>
                </a:lnTo>
                <a:lnTo>
                  <a:pt x="252662" y="1026408"/>
                </a:lnTo>
                <a:lnTo>
                  <a:pt x="262889" y="1002144"/>
                </a:lnTo>
                <a:lnTo>
                  <a:pt x="280172" y="982769"/>
                </a:lnTo>
                <a:lnTo>
                  <a:pt x="302908" y="969934"/>
                </a:lnTo>
                <a:lnTo>
                  <a:pt x="329497" y="965289"/>
                </a:lnTo>
                <a:lnTo>
                  <a:pt x="941867" y="965289"/>
                </a:lnTo>
                <a:lnTo>
                  <a:pt x="964182" y="943690"/>
                </a:lnTo>
                <a:lnTo>
                  <a:pt x="994569" y="909042"/>
                </a:lnTo>
                <a:lnTo>
                  <a:pt x="1022056" y="871963"/>
                </a:lnTo>
                <a:lnTo>
                  <a:pt x="1046464" y="832630"/>
                </a:lnTo>
                <a:lnTo>
                  <a:pt x="1067611" y="791216"/>
                </a:lnTo>
                <a:lnTo>
                  <a:pt x="1085318" y="747898"/>
                </a:lnTo>
                <a:lnTo>
                  <a:pt x="1099404" y="702849"/>
                </a:lnTo>
                <a:lnTo>
                  <a:pt x="1109689" y="656245"/>
                </a:lnTo>
                <a:lnTo>
                  <a:pt x="1115992" y="608261"/>
                </a:lnTo>
                <a:lnTo>
                  <a:pt x="1118133" y="559071"/>
                </a:lnTo>
                <a:lnTo>
                  <a:pt x="1116081" y="510833"/>
                </a:lnTo>
                <a:lnTo>
                  <a:pt x="1110036" y="463734"/>
                </a:lnTo>
                <a:lnTo>
                  <a:pt x="1100167" y="417942"/>
                </a:lnTo>
                <a:lnTo>
                  <a:pt x="1086641" y="373625"/>
                </a:lnTo>
                <a:lnTo>
                  <a:pt x="1069627" y="330951"/>
                </a:lnTo>
                <a:lnTo>
                  <a:pt x="1049291" y="290087"/>
                </a:lnTo>
                <a:lnTo>
                  <a:pt x="1025801" y="251203"/>
                </a:lnTo>
                <a:lnTo>
                  <a:pt x="999327" y="214464"/>
                </a:lnTo>
                <a:lnTo>
                  <a:pt x="970034" y="180040"/>
                </a:lnTo>
                <a:lnTo>
                  <a:pt x="938092" y="148098"/>
                </a:lnTo>
                <a:lnTo>
                  <a:pt x="903668" y="118806"/>
                </a:lnTo>
                <a:lnTo>
                  <a:pt x="866930" y="92331"/>
                </a:lnTo>
                <a:lnTo>
                  <a:pt x="828045" y="68842"/>
                </a:lnTo>
                <a:lnTo>
                  <a:pt x="787182" y="48506"/>
                </a:lnTo>
                <a:lnTo>
                  <a:pt x="744508" y="31491"/>
                </a:lnTo>
                <a:lnTo>
                  <a:pt x="700191" y="17965"/>
                </a:lnTo>
                <a:lnTo>
                  <a:pt x="654399" y="8096"/>
                </a:lnTo>
                <a:lnTo>
                  <a:pt x="607300" y="2052"/>
                </a:lnTo>
                <a:lnTo>
                  <a:pt x="559061" y="0"/>
                </a:lnTo>
                <a:close/>
              </a:path>
            </a:pathLst>
          </a:custGeom>
          <a:solidFill>
            <a:srgbClr val="000000"/>
          </a:solidFill>
        </p:spPr>
        <p:txBody>
          <a:bodyPr wrap="square" lIns="0" tIns="0" rIns="0" bIns="0" rtlCol="0"/>
          <a:lstStyle/>
          <a:p>
            <a:endParaRPr/>
          </a:p>
        </p:txBody>
      </p:sp>
      <p:sp>
        <p:nvSpPr>
          <p:cNvPr id="78" name="object 78"/>
          <p:cNvSpPr/>
          <p:nvPr/>
        </p:nvSpPr>
        <p:spPr>
          <a:xfrm>
            <a:off x="1249501" y="3814396"/>
            <a:ext cx="275244" cy="69600"/>
          </a:xfrm>
          <a:custGeom>
            <a:avLst/>
            <a:gdLst/>
            <a:ahLst/>
            <a:cxnLst/>
            <a:rect l="l" t="t" r="r" b="b"/>
            <a:pathLst>
              <a:path w="605154" h="153034">
                <a:moveTo>
                  <a:pt x="526999" y="0"/>
                </a:moveTo>
                <a:lnTo>
                  <a:pt x="76835" y="0"/>
                </a:lnTo>
                <a:lnTo>
                  <a:pt x="50252" y="4644"/>
                </a:lnTo>
                <a:lnTo>
                  <a:pt x="27517" y="17479"/>
                </a:lnTo>
                <a:lnTo>
                  <a:pt x="10232" y="36854"/>
                </a:lnTo>
                <a:lnTo>
                  <a:pt x="0" y="61118"/>
                </a:lnTo>
                <a:lnTo>
                  <a:pt x="45405" y="87993"/>
                </a:lnTo>
                <a:lnTo>
                  <a:pt x="93412" y="110604"/>
                </a:lnTo>
                <a:lnTo>
                  <a:pt x="143769" y="128672"/>
                </a:lnTo>
                <a:lnTo>
                  <a:pt x="196222" y="141921"/>
                </a:lnTo>
                <a:lnTo>
                  <a:pt x="250520" y="150074"/>
                </a:lnTo>
                <a:lnTo>
                  <a:pt x="306409" y="152853"/>
                </a:lnTo>
                <a:lnTo>
                  <a:pt x="360645" y="150220"/>
                </a:lnTo>
                <a:lnTo>
                  <a:pt x="413375" y="142496"/>
                </a:lnTo>
                <a:lnTo>
                  <a:pt x="464377" y="129948"/>
                </a:lnTo>
                <a:lnTo>
                  <a:pt x="513426" y="112842"/>
                </a:lnTo>
                <a:lnTo>
                  <a:pt x="560301" y="91444"/>
                </a:lnTo>
                <a:lnTo>
                  <a:pt x="604777" y="66018"/>
                </a:lnTo>
                <a:lnTo>
                  <a:pt x="595445" y="39964"/>
                </a:lnTo>
                <a:lnTo>
                  <a:pt x="578155" y="19019"/>
                </a:lnTo>
                <a:lnTo>
                  <a:pt x="554731" y="5069"/>
                </a:lnTo>
                <a:lnTo>
                  <a:pt x="526999" y="0"/>
                </a:lnTo>
                <a:close/>
              </a:path>
            </a:pathLst>
          </a:custGeom>
          <a:solidFill>
            <a:srgbClr val="FF7900"/>
          </a:solidFill>
        </p:spPr>
        <p:txBody>
          <a:bodyPr wrap="square" lIns="0" tIns="0" rIns="0" bIns="0" rtlCol="0"/>
          <a:lstStyle/>
          <a:p>
            <a:endParaRPr/>
          </a:p>
        </p:txBody>
      </p:sp>
      <p:sp>
        <p:nvSpPr>
          <p:cNvPr id="79" name="object 79"/>
          <p:cNvSpPr/>
          <p:nvPr/>
        </p:nvSpPr>
        <p:spPr>
          <a:xfrm>
            <a:off x="1323422" y="3762558"/>
            <a:ext cx="116972" cy="23393"/>
          </a:xfrm>
          <a:custGeom>
            <a:avLst/>
            <a:gdLst/>
            <a:ahLst/>
            <a:cxnLst/>
            <a:rect l="l" t="t" r="r" b="b"/>
            <a:pathLst>
              <a:path w="257175" h="51434">
                <a:moveTo>
                  <a:pt x="0" y="50846"/>
                </a:moveTo>
                <a:lnTo>
                  <a:pt x="256714" y="50846"/>
                </a:lnTo>
                <a:lnTo>
                  <a:pt x="256714" y="0"/>
                </a:lnTo>
                <a:lnTo>
                  <a:pt x="0" y="0"/>
                </a:lnTo>
                <a:lnTo>
                  <a:pt x="0" y="50846"/>
                </a:lnTo>
                <a:close/>
              </a:path>
            </a:pathLst>
          </a:custGeom>
          <a:solidFill>
            <a:srgbClr val="FFF6B6"/>
          </a:solidFill>
        </p:spPr>
        <p:txBody>
          <a:bodyPr wrap="square" lIns="0" tIns="0" rIns="0" bIns="0" rtlCol="0"/>
          <a:lstStyle/>
          <a:p>
            <a:endParaRPr/>
          </a:p>
        </p:txBody>
      </p:sp>
      <p:sp>
        <p:nvSpPr>
          <p:cNvPr id="80" name="object 80"/>
          <p:cNvSpPr/>
          <p:nvPr/>
        </p:nvSpPr>
        <p:spPr>
          <a:xfrm>
            <a:off x="1323422" y="3785683"/>
            <a:ext cx="116972" cy="28880"/>
          </a:xfrm>
          <a:custGeom>
            <a:avLst/>
            <a:gdLst/>
            <a:ahLst/>
            <a:cxnLst/>
            <a:rect l="l" t="t" r="r" b="b"/>
            <a:pathLst>
              <a:path w="257175" h="63500">
                <a:moveTo>
                  <a:pt x="0" y="63128"/>
                </a:moveTo>
                <a:lnTo>
                  <a:pt x="256714" y="63128"/>
                </a:lnTo>
                <a:lnTo>
                  <a:pt x="256714" y="0"/>
                </a:lnTo>
                <a:lnTo>
                  <a:pt x="0" y="0"/>
                </a:lnTo>
                <a:lnTo>
                  <a:pt x="0" y="63128"/>
                </a:lnTo>
                <a:close/>
              </a:path>
            </a:pathLst>
          </a:custGeom>
          <a:solidFill>
            <a:srgbClr val="FFB400"/>
          </a:solidFill>
        </p:spPr>
        <p:txBody>
          <a:bodyPr wrap="square" lIns="0" tIns="0" rIns="0" bIns="0" rtlCol="0"/>
          <a:lstStyle/>
          <a:p>
            <a:endParaRPr/>
          </a:p>
        </p:txBody>
      </p:sp>
      <p:sp>
        <p:nvSpPr>
          <p:cNvPr id="81" name="object 81"/>
          <p:cNvSpPr/>
          <p:nvPr/>
        </p:nvSpPr>
        <p:spPr>
          <a:xfrm>
            <a:off x="1323422" y="3719322"/>
            <a:ext cx="116972" cy="43320"/>
          </a:xfrm>
          <a:custGeom>
            <a:avLst/>
            <a:gdLst/>
            <a:ahLst/>
            <a:cxnLst/>
            <a:rect l="l" t="t" r="r" b="b"/>
            <a:pathLst>
              <a:path w="257175" h="95250">
                <a:moveTo>
                  <a:pt x="256714" y="95065"/>
                </a:moveTo>
                <a:lnTo>
                  <a:pt x="0" y="95065"/>
                </a:lnTo>
                <a:lnTo>
                  <a:pt x="0" y="0"/>
                </a:lnTo>
                <a:lnTo>
                  <a:pt x="256714" y="0"/>
                </a:lnTo>
                <a:lnTo>
                  <a:pt x="256714" y="95065"/>
                </a:lnTo>
                <a:close/>
              </a:path>
            </a:pathLst>
          </a:custGeom>
          <a:solidFill>
            <a:srgbClr val="FFB400"/>
          </a:solidFill>
        </p:spPr>
        <p:txBody>
          <a:bodyPr wrap="square" lIns="0" tIns="0" rIns="0" bIns="0" rtlCol="0"/>
          <a:lstStyle/>
          <a:p>
            <a:endParaRPr/>
          </a:p>
        </p:txBody>
      </p:sp>
      <p:sp>
        <p:nvSpPr>
          <p:cNvPr id="82" name="object 82"/>
          <p:cNvSpPr/>
          <p:nvPr/>
        </p:nvSpPr>
        <p:spPr>
          <a:xfrm>
            <a:off x="1191113" y="3492680"/>
            <a:ext cx="38810" cy="111255"/>
          </a:xfrm>
          <a:prstGeom prst="rect">
            <a:avLst/>
          </a:prstGeom>
          <a:blipFill>
            <a:blip r:embed="rId6" cstate="print"/>
            <a:stretch>
              <a:fillRect/>
            </a:stretch>
          </a:blipFill>
        </p:spPr>
        <p:txBody>
          <a:bodyPr wrap="square" lIns="0" tIns="0" rIns="0" bIns="0" rtlCol="0"/>
          <a:lstStyle/>
          <a:p>
            <a:endParaRPr/>
          </a:p>
        </p:txBody>
      </p:sp>
      <p:sp>
        <p:nvSpPr>
          <p:cNvPr id="83" name="object 83"/>
          <p:cNvSpPr/>
          <p:nvPr/>
        </p:nvSpPr>
        <p:spPr>
          <a:xfrm>
            <a:off x="1533693" y="3492680"/>
            <a:ext cx="38804" cy="111255"/>
          </a:xfrm>
          <a:prstGeom prst="rect">
            <a:avLst/>
          </a:prstGeom>
          <a:blipFill>
            <a:blip r:embed="rId7" cstate="print"/>
            <a:stretch>
              <a:fillRect/>
            </a:stretch>
          </a:blipFill>
        </p:spPr>
        <p:txBody>
          <a:bodyPr wrap="square" lIns="0" tIns="0" rIns="0" bIns="0" rtlCol="0"/>
          <a:lstStyle/>
          <a:p>
            <a:endParaRPr/>
          </a:p>
        </p:txBody>
      </p:sp>
      <p:sp>
        <p:nvSpPr>
          <p:cNvPr id="84" name="object 84"/>
          <p:cNvSpPr/>
          <p:nvPr/>
        </p:nvSpPr>
        <p:spPr>
          <a:xfrm>
            <a:off x="1515155" y="3586638"/>
            <a:ext cx="65851" cy="119563"/>
          </a:xfrm>
          <a:custGeom>
            <a:avLst/>
            <a:gdLst/>
            <a:ahLst/>
            <a:cxnLst/>
            <a:rect l="l" t="t" r="r" b="b"/>
            <a:pathLst>
              <a:path w="144779" h="262890">
                <a:moveTo>
                  <a:pt x="95976" y="0"/>
                </a:moveTo>
                <a:lnTo>
                  <a:pt x="0" y="0"/>
                </a:lnTo>
                <a:lnTo>
                  <a:pt x="0" y="262662"/>
                </a:lnTo>
                <a:lnTo>
                  <a:pt x="95976" y="262662"/>
                </a:lnTo>
                <a:lnTo>
                  <a:pt x="114872" y="258849"/>
                </a:lnTo>
                <a:lnTo>
                  <a:pt x="130310" y="248447"/>
                </a:lnTo>
                <a:lnTo>
                  <a:pt x="140721" y="233012"/>
                </a:lnTo>
                <a:lnTo>
                  <a:pt x="144540" y="214098"/>
                </a:lnTo>
                <a:lnTo>
                  <a:pt x="144540" y="48563"/>
                </a:lnTo>
                <a:lnTo>
                  <a:pt x="140721" y="29662"/>
                </a:lnTo>
                <a:lnTo>
                  <a:pt x="130310" y="14226"/>
                </a:lnTo>
                <a:lnTo>
                  <a:pt x="114872" y="3817"/>
                </a:lnTo>
                <a:lnTo>
                  <a:pt x="95976" y="0"/>
                </a:lnTo>
                <a:close/>
              </a:path>
            </a:pathLst>
          </a:custGeom>
          <a:solidFill>
            <a:srgbClr val="FFF6B6"/>
          </a:solidFill>
        </p:spPr>
        <p:txBody>
          <a:bodyPr wrap="square" lIns="0" tIns="0" rIns="0" bIns="0" rtlCol="0"/>
          <a:lstStyle/>
          <a:p>
            <a:endParaRPr/>
          </a:p>
        </p:txBody>
      </p:sp>
      <p:sp>
        <p:nvSpPr>
          <p:cNvPr id="85" name="object 85"/>
          <p:cNvSpPr/>
          <p:nvPr/>
        </p:nvSpPr>
        <p:spPr>
          <a:xfrm>
            <a:off x="1182715" y="3586639"/>
            <a:ext cx="65851" cy="119563"/>
          </a:xfrm>
          <a:custGeom>
            <a:avLst/>
            <a:gdLst/>
            <a:ahLst/>
            <a:cxnLst/>
            <a:rect l="l" t="t" r="r" b="b"/>
            <a:pathLst>
              <a:path w="144780" h="262890">
                <a:moveTo>
                  <a:pt x="144571" y="0"/>
                </a:moveTo>
                <a:lnTo>
                  <a:pt x="48563" y="0"/>
                </a:lnTo>
                <a:lnTo>
                  <a:pt x="29667" y="3817"/>
                </a:lnTo>
                <a:lnTo>
                  <a:pt x="14229" y="14226"/>
                </a:lnTo>
                <a:lnTo>
                  <a:pt x="3818" y="29662"/>
                </a:lnTo>
                <a:lnTo>
                  <a:pt x="0" y="48563"/>
                </a:lnTo>
                <a:lnTo>
                  <a:pt x="0" y="214087"/>
                </a:lnTo>
                <a:lnTo>
                  <a:pt x="3818" y="233008"/>
                </a:lnTo>
                <a:lnTo>
                  <a:pt x="14229" y="248446"/>
                </a:lnTo>
                <a:lnTo>
                  <a:pt x="29667" y="258849"/>
                </a:lnTo>
                <a:lnTo>
                  <a:pt x="48563" y="262662"/>
                </a:lnTo>
                <a:lnTo>
                  <a:pt x="144571" y="262662"/>
                </a:lnTo>
                <a:lnTo>
                  <a:pt x="144571" y="0"/>
                </a:lnTo>
                <a:close/>
              </a:path>
            </a:pathLst>
          </a:custGeom>
          <a:solidFill>
            <a:srgbClr val="FFF6B6"/>
          </a:solidFill>
        </p:spPr>
        <p:txBody>
          <a:bodyPr wrap="square" lIns="0" tIns="0" rIns="0" bIns="0" rtlCol="0"/>
          <a:lstStyle/>
          <a:p>
            <a:endParaRPr/>
          </a:p>
        </p:txBody>
      </p:sp>
      <p:sp>
        <p:nvSpPr>
          <p:cNvPr id="86" name="object 86"/>
          <p:cNvSpPr/>
          <p:nvPr/>
        </p:nvSpPr>
        <p:spPr>
          <a:xfrm>
            <a:off x="1205461" y="3586639"/>
            <a:ext cx="43034" cy="119563"/>
          </a:xfrm>
          <a:custGeom>
            <a:avLst/>
            <a:gdLst/>
            <a:ahLst/>
            <a:cxnLst/>
            <a:rect l="l" t="t" r="r" b="b"/>
            <a:pathLst>
              <a:path w="94614" h="262890">
                <a:moveTo>
                  <a:pt x="94562" y="0"/>
                </a:moveTo>
                <a:lnTo>
                  <a:pt x="22512" y="0"/>
                </a:lnTo>
                <a:lnTo>
                  <a:pt x="12845" y="28467"/>
                </a:lnTo>
                <a:lnTo>
                  <a:pt x="5790" y="57901"/>
                </a:lnTo>
                <a:lnTo>
                  <a:pt x="1467" y="88194"/>
                </a:lnTo>
                <a:lnTo>
                  <a:pt x="0" y="119242"/>
                </a:lnTo>
                <a:lnTo>
                  <a:pt x="0" y="246348"/>
                </a:lnTo>
                <a:lnTo>
                  <a:pt x="1005" y="254683"/>
                </a:lnTo>
                <a:lnTo>
                  <a:pt x="2921" y="262662"/>
                </a:lnTo>
                <a:lnTo>
                  <a:pt x="94562" y="262662"/>
                </a:lnTo>
                <a:lnTo>
                  <a:pt x="94562" y="0"/>
                </a:lnTo>
                <a:close/>
              </a:path>
            </a:pathLst>
          </a:custGeom>
          <a:solidFill>
            <a:srgbClr val="FFB400"/>
          </a:solidFill>
        </p:spPr>
        <p:txBody>
          <a:bodyPr wrap="square" lIns="0" tIns="0" rIns="0" bIns="0" rtlCol="0"/>
          <a:lstStyle/>
          <a:p>
            <a:endParaRPr/>
          </a:p>
        </p:txBody>
      </p:sp>
      <p:sp>
        <p:nvSpPr>
          <p:cNvPr id="87" name="object 87"/>
          <p:cNvSpPr/>
          <p:nvPr/>
        </p:nvSpPr>
        <p:spPr>
          <a:xfrm>
            <a:off x="1515158" y="3586638"/>
            <a:ext cx="43034" cy="119563"/>
          </a:xfrm>
          <a:custGeom>
            <a:avLst/>
            <a:gdLst/>
            <a:ahLst/>
            <a:cxnLst/>
            <a:rect l="l" t="t" r="r" b="b"/>
            <a:pathLst>
              <a:path w="94614" h="262890">
                <a:moveTo>
                  <a:pt x="72050" y="0"/>
                </a:moveTo>
                <a:lnTo>
                  <a:pt x="0" y="0"/>
                </a:lnTo>
                <a:lnTo>
                  <a:pt x="0" y="262662"/>
                </a:lnTo>
                <a:lnTo>
                  <a:pt x="91641" y="262662"/>
                </a:lnTo>
                <a:lnTo>
                  <a:pt x="93557" y="254693"/>
                </a:lnTo>
                <a:lnTo>
                  <a:pt x="94562" y="246358"/>
                </a:lnTo>
                <a:lnTo>
                  <a:pt x="94562" y="119242"/>
                </a:lnTo>
                <a:lnTo>
                  <a:pt x="93094" y="88194"/>
                </a:lnTo>
                <a:lnTo>
                  <a:pt x="88772" y="57901"/>
                </a:lnTo>
                <a:lnTo>
                  <a:pt x="81716" y="28467"/>
                </a:lnTo>
                <a:lnTo>
                  <a:pt x="72050" y="0"/>
                </a:lnTo>
                <a:close/>
              </a:path>
            </a:pathLst>
          </a:custGeom>
          <a:solidFill>
            <a:srgbClr val="FFB400"/>
          </a:solidFill>
        </p:spPr>
        <p:txBody>
          <a:bodyPr wrap="square" lIns="0" tIns="0" rIns="0" bIns="0" rtlCol="0"/>
          <a:lstStyle/>
          <a:p>
            <a:endParaRPr/>
          </a:p>
        </p:txBody>
      </p:sp>
      <p:sp>
        <p:nvSpPr>
          <p:cNvPr id="88" name="object 88"/>
          <p:cNvSpPr/>
          <p:nvPr/>
        </p:nvSpPr>
        <p:spPr>
          <a:xfrm>
            <a:off x="1220582" y="3479662"/>
            <a:ext cx="322610" cy="268005"/>
          </a:xfrm>
          <a:custGeom>
            <a:avLst/>
            <a:gdLst/>
            <a:ahLst/>
            <a:cxnLst/>
            <a:rect l="l" t="t" r="r" b="b"/>
            <a:pathLst>
              <a:path w="709295" h="589279">
                <a:moveTo>
                  <a:pt x="354470" y="0"/>
                </a:moveTo>
                <a:lnTo>
                  <a:pt x="306370" y="3235"/>
                </a:lnTo>
                <a:lnTo>
                  <a:pt x="260236" y="12661"/>
                </a:lnTo>
                <a:lnTo>
                  <a:pt x="216492" y="27855"/>
                </a:lnTo>
                <a:lnTo>
                  <a:pt x="175560" y="48394"/>
                </a:lnTo>
                <a:lnTo>
                  <a:pt x="137862" y="73856"/>
                </a:lnTo>
                <a:lnTo>
                  <a:pt x="103820" y="103820"/>
                </a:lnTo>
                <a:lnTo>
                  <a:pt x="73856" y="137862"/>
                </a:lnTo>
                <a:lnTo>
                  <a:pt x="48394" y="175560"/>
                </a:lnTo>
                <a:lnTo>
                  <a:pt x="27855" y="216492"/>
                </a:lnTo>
                <a:lnTo>
                  <a:pt x="12661" y="260236"/>
                </a:lnTo>
                <a:lnTo>
                  <a:pt x="3235" y="306370"/>
                </a:lnTo>
                <a:lnTo>
                  <a:pt x="0" y="354470"/>
                </a:lnTo>
                <a:lnTo>
                  <a:pt x="0" y="473053"/>
                </a:lnTo>
                <a:lnTo>
                  <a:pt x="9106" y="518153"/>
                </a:lnTo>
                <a:lnTo>
                  <a:pt x="33940" y="554984"/>
                </a:lnTo>
                <a:lnTo>
                  <a:pt x="70771" y="579817"/>
                </a:lnTo>
                <a:lnTo>
                  <a:pt x="115870" y="588924"/>
                </a:lnTo>
                <a:lnTo>
                  <a:pt x="593070" y="588924"/>
                </a:lnTo>
                <a:lnTo>
                  <a:pt x="638170" y="579817"/>
                </a:lnTo>
                <a:lnTo>
                  <a:pt x="675001" y="554984"/>
                </a:lnTo>
                <a:lnTo>
                  <a:pt x="699835" y="518153"/>
                </a:lnTo>
                <a:lnTo>
                  <a:pt x="708941" y="473053"/>
                </a:lnTo>
                <a:lnTo>
                  <a:pt x="708941" y="354470"/>
                </a:lnTo>
                <a:lnTo>
                  <a:pt x="705705" y="306370"/>
                </a:lnTo>
                <a:lnTo>
                  <a:pt x="696279" y="260236"/>
                </a:lnTo>
                <a:lnTo>
                  <a:pt x="681084" y="216492"/>
                </a:lnTo>
                <a:lnTo>
                  <a:pt x="660544" y="175560"/>
                </a:lnTo>
                <a:lnTo>
                  <a:pt x="635081" y="137862"/>
                </a:lnTo>
                <a:lnTo>
                  <a:pt x="605117" y="103820"/>
                </a:lnTo>
                <a:lnTo>
                  <a:pt x="571075" y="73856"/>
                </a:lnTo>
                <a:lnTo>
                  <a:pt x="533376" y="48394"/>
                </a:lnTo>
                <a:lnTo>
                  <a:pt x="492444" y="27855"/>
                </a:lnTo>
                <a:lnTo>
                  <a:pt x="448701" y="12661"/>
                </a:lnTo>
                <a:lnTo>
                  <a:pt x="402569" y="3235"/>
                </a:lnTo>
                <a:lnTo>
                  <a:pt x="354470" y="0"/>
                </a:lnTo>
                <a:close/>
              </a:path>
            </a:pathLst>
          </a:custGeom>
          <a:solidFill>
            <a:srgbClr val="FF7900"/>
          </a:solidFill>
        </p:spPr>
        <p:txBody>
          <a:bodyPr wrap="square" lIns="0" tIns="0" rIns="0" bIns="0" rtlCol="0"/>
          <a:lstStyle/>
          <a:p>
            <a:endParaRPr/>
          </a:p>
        </p:txBody>
      </p:sp>
      <p:sp>
        <p:nvSpPr>
          <p:cNvPr id="89" name="object 89"/>
          <p:cNvSpPr/>
          <p:nvPr/>
        </p:nvSpPr>
        <p:spPr>
          <a:xfrm>
            <a:off x="1260371" y="3554258"/>
            <a:ext cx="242897" cy="112053"/>
          </a:xfrm>
          <a:custGeom>
            <a:avLst/>
            <a:gdLst/>
            <a:ahLst/>
            <a:cxnLst/>
            <a:rect l="l" t="t" r="r" b="b"/>
            <a:pathLst>
              <a:path w="534035" h="246379">
                <a:moveTo>
                  <a:pt x="410898" y="0"/>
                </a:moveTo>
                <a:lnTo>
                  <a:pt x="123074" y="0"/>
                </a:lnTo>
                <a:lnTo>
                  <a:pt x="75285" y="9712"/>
                </a:lnTo>
                <a:lnTo>
                  <a:pt x="36152" y="36157"/>
                </a:lnTo>
                <a:lnTo>
                  <a:pt x="9710" y="75294"/>
                </a:lnTo>
                <a:lnTo>
                  <a:pt x="0" y="123085"/>
                </a:lnTo>
                <a:lnTo>
                  <a:pt x="9710" y="170875"/>
                </a:lnTo>
                <a:lnTo>
                  <a:pt x="36152" y="210013"/>
                </a:lnTo>
                <a:lnTo>
                  <a:pt x="75285" y="236457"/>
                </a:lnTo>
                <a:lnTo>
                  <a:pt x="123074" y="246170"/>
                </a:lnTo>
                <a:lnTo>
                  <a:pt x="410898" y="246170"/>
                </a:lnTo>
                <a:lnTo>
                  <a:pt x="458689" y="236457"/>
                </a:lnTo>
                <a:lnTo>
                  <a:pt x="497826" y="210013"/>
                </a:lnTo>
                <a:lnTo>
                  <a:pt x="524271" y="170875"/>
                </a:lnTo>
                <a:lnTo>
                  <a:pt x="533983" y="123085"/>
                </a:lnTo>
                <a:lnTo>
                  <a:pt x="524271" y="75294"/>
                </a:lnTo>
                <a:lnTo>
                  <a:pt x="497826" y="36157"/>
                </a:lnTo>
                <a:lnTo>
                  <a:pt x="458689" y="9712"/>
                </a:lnTo>
                <a:lnTo>
                  <a:pt x="410898" y="0"/>
                </a:lnTo>
                <a:close/>
              </a:path>
            </a:pathLst>
          </a:custGeom>
          <a:solidFill>
            <a:srgbClr val="CCDED9"/>
          </a:solidFill>
        </p:spPr>
        <p:txBody>
          <a:bodyPr wrap="square" lIns="0" tIns="0" rIns="0" bIns="0" rtlCol="0"/>
          <a:lstStyle/>
          <a:p>
            <a:endParaRPr/>
          </a:p>
        </p:txBody>
      </p:sp>
      <p:sp>
        <p:nvSpPr>
          <p:cNvPr id="90" name="object 90"/>
          <p:cNvSpPr/>
          <p:nvPr/>
        </p:nvSpPr>
        <p:spPr>
          <a:xfrm>
            <a:off x="1300342" y="3594841"/>
            <a:ext cx="54298" cy="28302"/>
          </a:xfrm>
          <a:custGeom>
            <a:avLst/>
            <a:gdLst/>
            <a:ahLst/>
            <a:cxnLst/>
            <a:rect l="l" t="t" r="r" b="b"/>
            <a:pathLst>
              <a:path w="119380" h="62229">
                <a:moveTo>
                  <a:pt x="118916" y="41380"/>
                </a:moveTo>
                <a:lnTo>
                  <a:pt x="66471" y="41380"/>
                </a:lnTo>
                <a:lnTo>
                  <a:pt x="72471" y="42993"/>
                </a:lnTo>
                <a:lnTo>
                  <a:pt x="77518" y="46700"/>
                </a:lnTo>
                <a:lnTo>
                  <a:pt x="78607" y="48071"/>
                </a:lnTo>
                <a:lnTo>
                  <a:pt x="79287" y="49684"/>
                </a:lnTo>
                <a:lnTo>
                  <a:pt x="82565" y="57254"/>
                </a:lnTo>
                <a:lnTo>
                  <a:pt x="90009" y="62155"/>
                </a:lnTo>
                <a:lnTo>
                  <a:pt x="101098" y="62155"/>
                </a:lnTo>
                <a:lnTo>
                  <a:pt x="103852" y="61579"/>
                </a:lnTo>
                <a:lnTo>
                  <a:pt x="106470" y="60448"/>
                </a:lnTo>
                <a:lnTo>
                  <a:pt x="113201" y="55769"/>
                </a:lnTo>
                <a:lnTo>
                  <a:pt x="117471" y="49092"/>
                </a:lnTo>
                <a:lnTo>
                  <a:pt x="118916" y="41380"/>
                </a:lnTo>
                <a:close/>
              </a:path>
              <a:path w="119380" h="62229">
                <a:moveTo>
                  <a:pt x="60283" y="0"/>
                </a:moveTo>
                <a:lnTo>
                  <a:pt x="54178" y="0"/>
                </a:lnTo>
                <a:lnTo>
                  <a:pt x="48094" y="722"/>
                </a:lnTo>
                <a:lnTo>
                  <a:pt x="8980" y="21737"/>
                </a:lnTo>
                <a:lnTo>
                  <a:pt x="0" y="39996"/>
                </a:lnTo>
                <a:lnTo>
                  <a:pt x="1019" y="47855"/>
                </a:lnTo>
                <a:lnTo>
                  <a:pt x="4906" y="54763"/>
                </a:lnTo>
                <a:lnTo>
                  <a:pt x="11363" y="59820"/>
                </a:lnTo>
                <a:lnTo>
                  <a:pt x="14232" y="61254"/>
                </a:lnTo>
                <a:lnTo>
                  <a:pt x="17425" y="62008"/>
                </a:lnTo>
                <a:lnTo>
                  <a:pt x="28493" y="62008"/>
                </a:lnTo>
                <a:lnTo>
                  <a:pt x="35571" y="57642"/>
                </a:lnTo>
                <a:lnTo>
                  <a:pt x="41780" y="45265"/>
                </a:lnTo>
                <a:lnTo>
                  <a:pt x="48932" y="43035"/>
                </a:lnTo>
                <a:lnTo>
                  <a:pt x="54503" y="41695"/>
                </a:lnTo>
                <a:lnTo>
                  <a:pt x="57277" y="41380"/>
                </a:lnTo>
                <a:lnTo>
                  <a:pt x="118916" y="41380"/>
                </a:lnTo>
                <a:lnTo>
                  <a:pt x="91871" y="7085"/>
                </a:lnTo>
                <a:lnTo>
                  <a:pt x="71446" y="812"/>
                </a:lnTo>
                <a:lnTo>
                  <a:pt x="60283" y="0"/>
                </a:lnTo>
                <a:close/>
              </a:path>
            </a:pathLst>
          </a:custGeom>
          <a:solidFill>
            <a:srgbClr val="03231E"/>
          </a:solidFill>
        </p:spPr>
        <p:txBody>
          <a:bodyPr wrap="square" lIns="0" tIns="0" rIns="0" bIns="0" rtlCol="0"/>
          <a:lstStyle/>
          <a:p>
            <a:endParaRPr/>
          </a:p>
        </p:txBody>
      </p:sp>
      <p:sp>
        <p:nvSpPr>
          <p:cNvPr id="91" name="object 91"/>
          <p:cNvSpPr/>
          <p:nvPr/>
        </p:nvSpPr>
        <p:spPr>
          <a:xfrm>
            <a:off x="1408905" y="3594842"/>
            <a:ext cx="54586" cy="28302"/>
          </a:xfrm>
          <a:custGeom>
            <a:avLst/>
            <a:gdLst/>
            <a:ahLst/>
            <a:cxnLst/>
            <a:rect l="l" t="t" r="r" b="b"/>
            <a:pathLst>
              <a:path w="120014" h="62229">
                <a:moveTo>
                  <a:pt x="119551" y="41370"/>
                </a:moveTo>
                <a:lnTo>
                  <a:pt x="67106" y="41370"/>
                </a:lnTo>
                <a:lnTo>
                  <a:pt x="73106" y="42993"/>
                </a:lnTo>
                <a:lnTo>
                  <a:pt x="78153" y="46700"/>
                </a:lnTo>
                <a:lnTo>
                  <a:pt x="79231" y="48071"/>
                </a:lnTo>
                <a:lnTo>
                  <a:pt x="83189" y="57254"/>
                </a:lnTo>
                <a:lnTo>
                  <a:pt x="90644" y="62155"/>
                </a:lnTo>
                <a:lnTo>
                  <a:pt x="101733" y="62155"/>
                </a:lnTo>
                <a:lnTo>
                  <a:pt x="104487" y="61579"/>
                </a:lnTo>
                <a:lnTo>
                  <a:pt x="107105" y="60448"/>
                </a:lnTo>
                <a:lnTo>
                  <a:pt x="113831" y="55765"/>
                </a:lnTo>
                <a:lnTo>
                  <a:pt x="118102" y="49088"/>
                </a:lnTo>
                <a:lnTo>
                  <a:pt x="119551" y="41370"/>
                </a:lnTo>
                <a:close/>
              </a:path>
              <a:path w="120014" h="62229">
                <a:moveTo>
                  <a:pt x="60917" y="0"/>
                </a:moveTo>
                <a:lnTo>
                  <a:pt x="54813" y="0"/>
                </a:lnTo>
                <a:lnTo>
                  <a:pt x="48729" y="722"/>
                </a:lnTo>
                <a:lnTo>
                  <a:pt x="9614" y="21733"/>
                </a:lnTo>
                <a:lnTo>
                  <a:pt x="0" y="41298"/>
                </a:lnTo>
                <a:lnTo>
                  <a:pt x="29" y="42993"/>
                </a:lnTo>
                <a:lnTo>
                  <a:pt x="3380" y="53097"/>
                </a:lnTo>
                <a:lnTo>
                  <a:pt x="7055" y="57349"/>
                </a:lnTo>
                <a:lnTo>
                  <a:pt x="14867" y="61254"/>
                </a:lnTo>
                <a:lnTo>
                  <a:pt x="18060" y="62008"/>
                </a:lnTo>
                <a:lnTo>
                  <a:pt x="29117" y="62008"/>
                </a:lnTo>
                <a:lnTo>
                  <a:pt x="36206" y="57642"/>
                </a:lnTo>
                <a:lnTo>
                  <a:pt x="42415" y="45265"/>
                </a:lnTo>
                <a:lnTo>
                  <a:pt x="49557" y="43035"/>
                </a:lnTo>
                <a:lnTo>
                  <a:pt x="55127" y="41695"/>
                </a:lnTo>
                <a:lnTo>
                  <a:pt x="57902" y="41370"/>
                </a:lnTo>
                <a:lnTo>
                  <a:pt x="119551" y="41370"/>
                </a:lnTo>
                <a:lnTo>
                  <a:pt x="92506" y="7085"/>
                </a:lnTo>
                <a:lnTo>
                  <a:pt x="72081" y="812"/>
                </a:lnTo>
                <a:lnTo>
                  <a:pt x="60917" y="0"/>
                </a:lnTo>
                <a:close/>
              </a:path>
            </a:pathLst>
          </a:custGeom>
          <a:solidFill>
            <a:srgbClr val="03231E"/>
          </a:solidFill>
        </p:spPr>
        <p:txBody>
          <a:bodyPr wrap="square" lIns="0" tIns="0" rIns="0" bIns="0" rtlCol="0"/>
          <a:lstStyle/>
          <a:p>
            <a:endParaRPr/>
          </a:p>
        </p:txBody>
      </p:sp>
      <p:sp>
        <p:nvSpPr>
          <p:cNvPr id="92" name="object 92"/>
          <p:cNvSpPr/>
          <p:nvPr/>
        </p:nvSpPr>
        <p:spPr>
          <a:xfrm>
            <a:off x="1049204" y="2787142"/>
            <a:ext cx="382107" cy="382080"/>
          </a:xfrm>
          <a:custGeom>
            <a:avLst/>
            <a:gdLst/>
            <a:ahLst/>
            <a:cxnLst/>
            <a:rect l="l" t="t" r="r" b="b"/>
            <a:pathLst>
              <a:path w="840105" h="840104">
                <a:moveTo>
                  <a:pt x="419934" y="0"/>
                </a:moveTo>
                <a:lnTo>
                  <a:pt x="370971" y="2826"/>
                </a:lnTo>
                <a:lnTo>
                  <a:pt x="323665" y="11093"/>
                </a:lnTo>
                <a:lnTo>
                  <a:pt x="278330" y="24487"/>
                </a:lnTo>
                <a:lnTo>
                  <a:pt x="235282" y="42693"/>
                </a:lnTo>
                <a:lnTo>
                  <a:pt x="194837" y="65393"/>
                </a:lnTo>
                <a:lnTo>
                  <a:pt x="157310" y="92274"/>
                </a:lnTo>
                <a:lnTo>
                  <a:pt x="123017" y="123019"/>
                </a:lnTo>
                <a:lnTo>
                  <a:pt x="92272" y="157314"/>
                </a:lnTo>
                <a:lnTo>
                  <a:pt x="65392" y="194843"/>
                </a:lnTo>
                <a:lnTo>
                  <a:pt x="42692" y="235290"/>
                </a:lnTo>
                <a:lnTo>
                  <a:pt x="24487" y="278340"/>
                </a:lnTo>
                <a:lnTo>
                  <a:pt x="11093" y="323678"/>
                </a:lnTo>
                <a:lnTo>
                  <a:pt x="2826" y="370988"/>
                </a:lnTo>
                <a:lnTo>
                  <a:pt x="0" y="419955"/>
                </a:lnTo>
                <a:lnTo>
                  <a:pt x="3275" y="472688"/>
                </a:lnTo>
                <a:lnTo>
                  <a:pt x="12851" y="523485"/>
                </a:lnTo>
                <a:lnTo>
                  <a:pt x="28267" y="571764"/>
                </a:lnTo>
                <a:lnTo>
                  <a:pt x="49211" y="617375"/>
                </a:lnTo>
                <a:lnTo>
                  <a:pt x="75264" y="659843"/>
                </a:lnTo>
                <a:lnTo>
                  <a:pt x="106036" y="698777"/>
                </a:lnTo>
                <a:lnTo>
                  <a:pt x="141137" y="733789"/>
                </a:lnTo>
                <a:lnTo>
                  <a:pt x="180039" y="764558"/>
                </a:lnTo>
                <a:lnTo>
                  <a:pt x="222522" y="790622"/>
                </a:lnTo>
                <a:lnTo>
                  <a:pt x="268171" y="811586"/>
                </a:lnTo>
                <a:lnTo>
                  <a:pt x="316567" y="827052"/>
                </a:lnTo>
                <a:lnTo>
                  <a:pt x="367293" y="836622"/>
                </a:lnTo>
                <a:lnTo>
                  <a:pt x="419934" y="839901"/>
                </a:lnTo>
                <a:lnTo>
                  <a:pt x="472653" y="836622"/>
                </a:lnTo>
                <a:lnTo>
                  <a:pt x="523218" y="827121"/>
                </a:lnTo>
                <a:lnTo>
                  <a:pt x="571515" y="811742"/>
                </a:lnTo>
                <a:lnTo>
                  <a:pt x="617061" y="790898"/>
                </a:lnTo>
                <a:lnTo>
                  <a:pt x="659464" y="764988"/>
                </a:lnTo>
                <a:lnTo>
                  <a:pt x="698334" y="734406"/>
                </a:lnTo>
                <a:lnTo>
                  <a:pt x="733534" y="699298"/>
                </a:lnTo>
                <a:lnTo>
                  <a:pt x="764397" y="660251"/>
                </a:lnTo>
                <a:lnTo>
                  <a:pt x="790530" y="617666"/>
                </a:lnTo>
                <a:lnTo>
                  <a:pt x="811540" y="571944"/>
                </a:lnTo>
                <a:lnTo>
                  <a:pt x="827050" y="523397"/>
                </a:lnTo>
                <a:lnTo>
                  <a:pt x="836620" y="472664"/>
                </a:lnTo>
                <a:lnTo>
                  <a:pt x="839901" y="419955"/>
                </a:lnTo>
                <a:lnTo>
                  <a:pt x="837075" y="370988"/>
                </a:lnTo>
                <a:lnTo>
                  <a:pt x="828808" y="323678"/>
                </a:lnTo>
                <a:lnTo>
                  <a:pt x="815415" y="278340"/>
                </a:lnTo>
                <a:lnTo>
                  <a:pt x="797211" y="235290"/>
                </a:lnTo>
                <a:lnTo>
                  <a:pt x="774512" y="194843"/>
                </a:lnTo>
                <a:lnTo>
                  <a:pt x="747632" y="157314"/>
                </a:lnTo>
                <a:lnTo>
                  <a:pt x="716887" y="123019"/>
                </a:lnTo>
                <a:lnTo>
                  <a:pt x="682593" y="92274"/>
                </a:lnTo>
                <a:lnTo>
                  <a:pt x="645064" y="65393"/>
                </a:lnTo>
                <a:lnTo>
                  <a:pt x="604616" y="42693"/>
                </a:lnTo>
                <a:lnTo>
                  <a:pt x="561563" y="24487"/>
                </a:lnTo>
                <a:lnTo>
                  <a:pt x="516222" y="11093"/>
                </a:lnTo>
                <a:lnTo>
                  <a:pt x="468907" y="2826"/>
                </a:lnTo>
                <a:lnTo>
                  <a:pt x="419934" y="0"/>
                </a:lnTo>
                <a:close/>
              </a:path>
            </a:pathLst>
          </a:custGeom>
          <a:solidFill>
            <a:srgbClr val="FFFFFF"/>
          </a:solidFill>
        </p:spPr>
        <p:txBody>
          <a:bodyPr wrap="square" lIns="0" tIns="0" rIns="0" bIns="0" rtlCol="0"/>
          <a:lstStyle/>
          <a:p>
            <a:endParaRPr/>
          </a:p>
        </p:txBody>
      </p:sp>
      <p:sp>
        <p:nvSpPr>
          <p:cNvPr id="93" name="object 93"/>
          <p:cNvSpPr/>
          <p:nvPr/>
        </p:nvSpPr>
        <p:spPr>
          <a:xfrm>
            <a:off x="1113396" y="3060220"/>
            <a:ext cx="253583" cy="109165"/>
          </a:xfrm>
          <a:custGeom>
            <a:avLst/>
            <a:gdLst/>
            <a:ahLst/>
            <a:cxnLst/>
            <a:rect l="l" t="t" r="r" b="b"/>
            <a:pathLst>
              <a:path w="557530" h="240029">
                <a:moveTo>
                  <a:pt x="276347" y="0"/>
                </a:moveTo>
                <a:lnTo>
                  <a:pt x="276347" y="1654"/>
                </a:lnTo>
                <a:lnTo>
                  <a:pt x="271855" y="6355"/>
                </a:lnTo>
                <a:lnTo>
                  <a:pt x="246264" y="33810"/>
                </a:lnTo>
                <a:lnTo>
                  <a:pt x="245427" y="34815"/>
                </a:lnTo>
                <a:lnTo>
                  <a:pt x="184381" y="44260"/>
                </a:lnTo>
                <a:lnTo>
                  <a:pt x="184172" y="44260"/>
                </a:lnTo>
                <a:lnTo>
                  <a:pt x="157932" y="56532"/>
                </a:lnTo>
                <a:lnTo>
                  <a:pt x="24198" y="118394"/>
                </a:lnTo>
                <a:lnTo>
                  <a:pt x="0" y="133346"/>
                </a:lnTo>
                <a:lnTo>
                  <a:pt x="38902" y="164119"/>
                </a:lnTo>
                <a:lnTo>
                  <a:pt x="81385" y="190187"/>
                </a:lnTo>
                <a:lnTo>
                  <a:pt x="127034" y="211153"/>
                </a:lnTo>
                <a:lnTo>
                  <a:pt x="175429" y="226619"/>
                </a:lnTo>
                <a:lnTo>
                  <a:pt x="226156" y="236190"/>
                </a:lnTo>
                <a:lnTo>
                  <a:pt x="278797" y="239469"/>
                </a:lnTo>
                <a:lnTo>
                  <a:pt x="331516" y="236190"/>
                </a:lnTo>
                <a:lnTo>
                  <a:pt x="382081" y="226689"/>
                </a:lnTo>
                <a:lnTo>
                  <a:pt x="430378" y="211310"/>
                </a:lnTo>
                <a:lnTo>
                  <a:pt x="475924" y="190466"/>
                </a:lnTo>
                <a:lnTo>
                  <a:pt x="518327" y="164556"/>
                </a:lnTo>
                <a:lnTo>
                  <a:pt x="557197" y="133974"/>
                </a:lnTo>
                <a:lnTo>
                  <a:pt x="551144" y="129433"/>
                </a:lnTo>
                <a:lnTo>
                  <a:pt x="544948" y="125340"/>
                </a:lnTo>
                <a:lnTo>
                  <a:pt x="538628" y="121669"/>
                </a:lnTo>
                <a:lnTo>
                  <a:pt x="532203" y="118394"/>
                </a:lnTo>
                <a:lnTo>
                  <a:pt x="419348" y="66175"/>
                </a:lnTo>
                <a:lnTo>
                  <a:pt x="415872" y="64511"/>
                </a:lnTo>
                <a:lnTo>
                  <a:pt x="372428" y="44448"/>
                </a:lnTo>
                <a:lnTo>
                  <a:pt x="310995" y="34815"/>
                </a:lnTo>
                <a:lnTo>
                  <a:pt x="310168" y="33810"/>
                </a:lnTo>
                <a:lnTo>
                  <a:pt x="284755" y="6785"/>
                </a:lnTo>
                <a:lnTo>
                  <a:pt x="279844" y="1654"/>
                </a:lnTo>
                <a:lnTo>
                  <a:pt x="279844" y="816"/>
                </a:lnTo>
                <a:lnTo>
                  <a:pt x="278200" y="816"/>
                </a:lnTo>
                <a:lnTo>
                  <a:pt x="276347" y="0"/>
                </a:lnTo>
                <a:close/>
              </a:path>
              <a:path w="557530" h="240029">
                <a:moveTo>
                  <a:pt x="279844" y="0"/>
                </a:moveTo>
                <a:lnTo>
                  <a:pt x="278200" y="816"/>
                </a:lnTo>
                <a:lnTo>
                  <a:pt x="279844" y="816"/>
                </a:lnTo>
                <a:lnTo>
                  <a:pt x="279844" y="0"/>
                </a:lnTo>
                <a:close/>
              </a:path>
            </a:pathLst>
          </a:custGeom>
          <a:solidFill>
            <a:srgbClr val="50AED6"/>
          </a:solidFill>
        </p:spPr>
        <p:txBody>
          <a:bodyPr wrap="square" lIns="0" tIns="0" rIns="0" bIns="0" rtlCol="0"/>
          <a:lstStyle/>
          <a:p>
            <a:endParaRPr/>
          </a:p>
        </p:txBody>
      </p:sp>
      <p:sp>
        <p:nvSpPr>
          <p:cNvPr id="94" name="object 94"/>
          <p:cNvSpPr/>
          <p:nvPr/>
        </p:nvSpPr>
        <p:spPr>
          <a:xfrm>
            <a:off x="1196732" y="3009599"/>
            <a:ext cx="86357" cy="73932"/>
          </a:xfrm>
          <a:custGeom>
            <a:avLst/>
            <a:gdLst/>
            <a:ahLst/>
            <a:cxnLst/>
            <a:rect l="l" t="t" r="r" b="b"/>
            <a:pathLst>
              <a:path w="189864" h="162559">
                <a:moveTo>
                  <a:pt x="165994" y="0"/>
                </a:moveTo>
                <a:lnTo>
                  <a:pt x="24606" y="0"/>
                </a:lnTo>
                <a:lnTo>
                  <a:pt x="0" y="162539"/>
                </a:lnTo>
                <a:lnTo>
                  <a:pt x="189826" y="159419"/>
                </a:lnTo>
                <a:lnTo>
                  <a:pt x="165994" y="0"/>
                </a:lnTo>
                <a:close/>
              </a:path>
            </a:pathLst>
          </a:custGeom>
          <a:solidFill>
            <a:srgbClr val="50AED6"/>
          </a:solidFill>
        </p:spPr>
        <p:txBody>
          <a:bodyPr wrap="square" lIns="0" tIns="0" rIns="0" bIns="0" rtlCol="0"/>
          <a:lstStyle/>
          <a:p>
            <a:endParaRPr/>
          </a:p>
        </p:txBody>
      </p:sp>
      <p:sp>
        <p:nvSpPr>
          <p:cNvPr id="95" name="object 95"/>
          <p:cNvSpPr/>
          <p:nvPr/>
        </p:nvSpPr>
        <p:spPr>
          <a:xfrm>
            <a:off x="1178703" y="2869775"/>
            <a:ext cx="122748" cy="193783"/>
          </a:xfrm>
          <a:custGeom>
            <a:avLst/>
            <a:gdLst/>
            <a:ahLst/>
            <a:cxnLst/>
            <a:rect l="l" t="t" r="r" b="b"/>
            <a:pathLst>
              <a:path w="269875" h="426084">
                <a:moveTo>
                  <a:pt x="121992" y="0"/>
                </a:moveTo>
                <a:lnTo>
                  <a:pt x="74089" y="7077"/>
                </a:lnTo>
                <a:lnTo>
                  <a:pt x="11298" y="46384"/>
                </a:lnTo>
                <a:lnTo>
                  <a:pt x="1359" y="90578"/>
                </a:lnTo>
                <a:lnTo>
                  <a:pt x="1016" y="139737"/>
                </a:lnTo>
                <a:lnTo>
                  <a:pt x="0" y="183160"/>
                </a:lnTo>
                <a:lnTo>
                  <a:pt x="3252" y="230121"/>
                </a:lnTo>
                <a:lnTo>
                  <a:pt x="18525" y="288373"/>
                </a:lnTo>
                <a:lnTo>
                  <a:pt x="39747" y="344836"/>
                </a:lnTo>
                <a:lnTo>
                  <a:pt x="60846" y="386431"/>
                </a:lnTo>
                <a:lnTo>
                  <a:pt x="93101" y="415282"/>
                </a:lnTo>
                <a:lnTo>
                  <a:pt x="135378" y="425708"/>
                </a:lnTo>
                <a:lnTo>
                  <a:pt x="178384" y="417050"/>
                </a:lnTo>
                <a:lnTo>
                  <a:pt x="212831" y="388651"/>
                </a:lnTo>
                <a:lnTo>
                  <a:pt x="233993" y="347221"/>
                </a:lnTo>
                <a:lnTo>
                  <a:pt x="253658" y="289938"/>
                </a:lnTo>
                <a:lnTo>
                  <a:pt x="267043" y="230639"/>
                </a:lnTo>
                <a:lnTo>
                  <a:pt x="269363" y="183160"/>
                </a:lnTo>
                <a:lnTo>
                  <a:pt x="268329" y="139737"/>
                </a:lnTo>
                <a:lnTo>
                  <a:pt x="267986" y="90578"/>
                </a:lnTo>
                <a:lnTo>
                  <a:pt x="258054" y="46384"/>
                </a:lnTo>
                <a:lnTo>
                  <a:pt x="228254" y="17856"/>
                </a:lnTo>
                <a:lnTo>
                  <a:pt x="167932" y="1711"/>
                </a:lnTo>
                <a:lnTo>
                  <a:pt x="149547" y="181"/>
                </a:lnTo>
                <a:lnTo>
                  <a:pt x="134686" y="181"/>
                </a:lnTo>
                <a:lnTo>
                  <a:pt x="121992" y="0"/>
                </a:lnTo>
                <a:close/>
              </a:path>
              <a:path w="269875" h="426084">
                <a:moveTo>
                  <a:pt x="147363" y="0"/>
                </a:moveTo>
                <a:lnTo>
                  <a:pt x="134686" y="181"/>
                </a:lnTo>
                <a:lnTo>
                  <a:pt x="149547" y="181"/>
                </a:lnTo>
                <a:lnTo>
                  <a:pt x="147363" y="0"/>
                </a:lnTo>
                <a:close/>
              </a:path>
            </a:pathLst>
          </a:custGeom>
          <a:solidFill>
            <a:srgbClr val="50AED6"/>
          </a:solidFill>
        </p:spPr>
        <p:txBody>
          <a:bodyPr wrap="square" lIns="0" tIns="0" rIns="0" bIns="0" rtlCol="0"/>
          <a:lstStyle/>
          <a:p>
            <a:endParaRPr/>
          </a:p>
        </p:txBody>
      </p:sp>
      <p:sp>
        <p:nvSpPr>
          <p:cNvPr id="96" name="object 96"/>
          <p:cNvSpPr/>
          <p:nvPr/>
        </p:nvSpPr>
        <p:spPr>
          <a:xfrm>
            <a:off x="1168563" y="2960525"/>
            <a:ext cx="31620" cy="39383"/>
          </a:xfrm>
          <a:prstGeom prst="rect">
            <a:avLst/>
          </a:prstGeom>
          <a:blipFill>
            <a:blip r:embed="rId8" cstate="print"/>
            <a:stretch>
              <a:fillRect/>
            </a:stretch>
          </a:blipFill>
        </p:spPr>
        <p:txBody>
          <a:bodyPr wrap="square" lIns="0" tIns="0" rIns="0" bIns="0" rtlCol="0"/>
          <a:lstStyle/>
          <a:p>
            <a:endParaRPr/>
          </a:p>
        </p:txBody>
      </p:sp>
      <p:sp>
        <p:nvSpPr>
          <p:cNvPr id="97" name="object 97"/>
          <p:cNvSpPr/>
          <p:nvPr/>
        </p:nvSpPr>
        <p:spPr>
          <a:xfrm>
            <a:off x="1279618" y="2958447"/>
            <a:ext cx="31633" cy="39378"/>
          </a:xfrm>
          <a:prstGeom prst="rect">
            <a:avLst/>
          </a:prstGeom>
          <a:blipFill>
            <a:blip r:embed="rId9" cstate="print"/>
            <a:stretch>
              <a:fillRect/>
            </a:stretch>
          </a:blipFill>
        </p:spPr>
        <p:txBody>
          <a:bodyPr wrap="square" lIns="0" tIns="0" rIns="0" bIns="0" rtlCol="0"/>
          <a:lstStyle/>
          <a:p>
            <a:endParaRPr/>
          </a:p>
        </p:txBody>
      </p:sp>
      <p:sp>
        <p:nvSpPr>
          <p:cNvPr id="98" name="object 98"/>
          <p:cNvSpPr/>
          <p:nvPr/>
        </p:nvSpPr>
        <p:spPr>
          <a:xfrm>
            <a:off x="1174267" y="2866367"/>
            <a:ext cx="105419" cy="119563"/>
          </a:xfrm>
          <a:custGeom>
            <a:avLst/>
            <a:gdLst/>
            <a:ahLst/>
            <a:cxnLst/>
            <a:rect l="l" t="t" r="r" b="b"/>
            <a:pathLst>
              <a:path w="231775" h="262890">
                <a:moveTo>
                  <a:pt x="143409" y="0"/>
                </a:moveTo>
                <a:lnTo>
                  <a:pt x="95522" y="6357"/>
                </a:lnTo>
                <a:lnTo>
                  <a:pt x="51347" y="20488"/>
                </a:lnTo>
                <a:lnTo>
                  <a:pt x="18659" y="41607"/>
                </a:lnTo>
                <a:lnTo>
                  <a:pt x="4405" y="87799"/>
                </a:lnTo>
                <a:lnTo>
                  <a:pt x="0" y="162491"/>
                </a:lnTo>
                <a:lnTo>
                  <a:pt x="777" y="232003"/>
                </a:lnTo>
                <a:lnTo>
                  <a:pt x="2073" y="262658"/>
                </a:lnTo>
                <a:lnTo>
                  <a:pt x="12075" y="251432"/>
                </a:lnTo>
                <a:lnTo>
                  <a:pt x="17500" y="245649"/>
                </a:lnTo>
                <a:lnTo>
                  <a:pt x="20230" y="243473"/>
                </a:lnTo>
                <a:lnTo>
                  <a:pt x="22145" y="243067"/>
                </a:lnTo>
                <a:lnTo>
                  <a:pt x="25088" y="242878"/>
                </a:lnTo>
                <a:lnTo>
                  <a:pt x="30258" y="242878"/>
                </a:lnTo>
                <a:lnTo>
                  <a:pt x="42113" y="121468"/>
                </a:lnTo>
                <a:lnTo>
                  <a:pt x="151675" y="110694"/>
                </a:lnTo>
                <a:lnTo>
                  <a:pt x="207937" y="98142"/>
                </a:lnTo>
                <a:lnTo>
                  <a:pt x="228665" y="75745"/>
                </a:lnTo>
                <a:lnTo>
                  <a:pt x="231626" y="35440"/>
                </a:lnTo>
                <a:lnTo>
                  <a:pt x="219233" y="13754"/>
                </a:lnTo>
                <a:lnTo>
                  <a:pt x="187237" y="2203"/>
                </a:lnTo>
                <a:lnTo>
                  <a:pt x="143409" y="0"/>
                </a:lnTo>
                <a:close/>
              </a:path>
              <a:path w="231775" h="262890">
                <a:moveTo>
                  <a:pt x="30258" y="242878"/>
                </a:moveTo>
                <a:lnTo>
                  <a:pt x="25088" y="242878"/>
                </a:lnTo>
                <a:lnTo>
                  <a:pt x="30239" y="243067"/>
                </a:lnTo>
                <a:lnTo>
                  <a:pt x="30258" y="242878"/>
                </a:lnTo>
                <a:close/>
              </a:path>
            </a:pathLst>
          </a:custGeom>
          <a:solidFill>
            <a:srgbClr val="50AED6"/>
          </a:solidFill>
        </p:spPr>
        <p:txBody>
          <a:bodyPr wrap="square" lIns="0" tIns="0" rIns="0" bIns="0" rtlCol="0"/>
          <a:lstStyle/>
          <a:p>
            <a:endParaRPr/>
          </a:p>
        </p:txBody>
      </p:sp>
      <p:sp>
        <p:nvSpPr>
          <p:cNvPr id="99" name="object 99"/>
          <p:cNvSpPr/>
          <p:nvPr/>
        </p:nvSpPr>
        <p:spPr>
          <a:xfrm>
            <a:off x="1244448" y="2868357"/>
            <a:ext cx="63053" cy="107373"/>
          </a:xfrm>
          <a:prstGeom prst="rect">
            <a:avLst/>
          </a:prstGeom>
          <a:blipFill>
            <a:blip r:embed="rId10" cstate="print"/>
            <a:stretch>
              <a:fillRect/>
            </a:stretch>
          </a:blipFill>
        </p:spPr>
        <p:txBody>
          <a:bodyPr wrap="square" lIns="0" tIns="0" rIns="0" bIns="0" rtlCol="0"/>
          <a:lstStyle/>
          <a:p>
            <a:endParaRPr/>
          </a:p>
        </p:txBody>
      </p:sp>
      <p:sp>
        <p:nvSpPr>
          <p:cNvPr id="100" name="object 100"/>
          <p:cNvSpPr/>
          <p:nvPr/>
        </p:nvSpPr>
        <p:spPr>
          <a:xfrm>
            <a:off x="1181884" y="3064719"/>
            <a:ext cx="116065" cy="49745"/>
          </a:xfrm>
          <a:prstGeom prst="rect">
            <a:avLst/>
          </a:prstGeom>
          <a:blipFill>
            <a:blip r:embed="rId11" cstate="print"/>
            <a:stretch>
              <a:fillRect/>
            </a:stretch>
          </a:blipFill>
        </p:spPr>
        <p:txBody>
          <a:bodyPr wrap="square" lIns="0" tIns="0" rIns="0" bIns="0" rtlCol="0"/>
          <a:lstStyle/>
          <a:p>
            <a:endParaRPr/>
          </a:p>
        </p:txBody>
      </p:sp>
      <p:sp>
        <p:nvSpPr>
          <p:cNvPr id="101" name="object 101"/>
          <p:cNvSpPr/>
          <p:nvPr/>
        </p:nvSpPr>
        <p:spPr>
          <a:xfrm>
            <a:off x="1481810" y="2839016"/>
            <a:ext cx="334452" cy="199849"/>
          </a:xfrm>
          <a:custGeom>
            <a:avLst/>
            <a:gdLst/>
            <a:ahLst/>
            <a:cxnLst/>
            <a:rect l="l" t="t" r="r" b="b"/>
            <a:pathLst>
              <a:path w="735329" h="439420">
                <a:moveTo>
                  <a:pt x="655728" y="0"/>
                </a:moveTo>
                <a:lnTo>
                  <a:pt x="79107" y="0"/>
                </a:lnTo>
                <a:lnTo>
                  <a:pt x="48392" y="6240"/>
                </a:lnTo>
                <a:lnTo>
                  <a:pt x="23238" y="23234"/>
                </a:lnTo>
                <a:lnTo>
                  <a:pt x="6242" y="48388"/>
                </a:lnTo>
                <a:lnTo>
                  <a:pt x="0" y="79107"/>
                </a:lnTo>
                <a:lnTo>
                  <a:pt x="0" y="360229"/>
                </a:lnTo>
                <a:lnTo>
                  <a:pt x="6242" y="390949"/>
                </a:lnTo>
                <a:lnTo>
                  <a:pt x="23238" y="416102"/>
                </a:lnTo>
                <a:lnTo>
                  <a:pt x="48392" y="433096"/>
                </a:lnTo>
                <a:lnTo>
                  <a:pt x="79107" y="439337"/>
                </a:lnTo>
                <a:lnTo>
                  <a:pt x="655728" y="439337"/>
                </a:lnTo>
                <a:lnTo>
                  <a:pt x="686441" y="433096"/>
                </a:lnTo>
                <a:lnTo>
                  <a:pt x="711592" y="416102"/>
                </a:lnTo>
                <a:lnTo>
                  <a:pt x="728584" y="390949"/>
                </a:lnTo>
                <a:lnTo>
                  <a:pt x="734825" y="360229"/>
                </a:lnTo>
                <a:lnTo>
                  <a:pt x="734825" y="79107"/>
                </a:lnTo>
                <a:lnTo>
                  <a:pt x="728584" y="48388"/>
                </a:lnTo>
                <a:lnTo>
                  <a:pt x="711592" y="23234"/>
                </a:lnTo>
                <a:lnTo>
                  <a:pt x="686441" y="6240"/>
                </a:lnTo>
                <a:lnTo>
                  <a:pt x="655728" y="0"/>
                </a:lnTo>
                <a:close/>
              </a:path>
            </a:pathLst>
          </a:custGeom>
          <a:solidFill>
            <a:srgbClr val="D7D7D7"/>
          </a:solidFill>
        </p:spPr>
        <p:txBody>
          <a:bodyPr wrap="square" lIns="0" tIns="0" rIns="0" bIns="0" rtlCol="0"/>
          <a:lstStyle/>
          <a:p>
            <a:endParaRPr/>
          </a:p>
        </p:txBody>
      </p:sp>
      <p:sp>
        <p:nvSpPr>
          <p:cNvPr id="102" name="object 102"/>
          <p:cNvSpPr/>
          <p:nvPr/>
        </p:nvSpPr>
        <p:spPr>
          <a:xfrm>
            <a:off x="1515155" y="3025397"/>
            <a:ext cx="77981" cy="60359"/>
          </a:xfrm>
          <a:custGeom>
            <a:avLst/>
            <a:gdLst/>
            <a:ahLst/>
            <a:cxnLst/>
            <a:rect l="l" t="t" r="r" b="b"/>
            <a:pathLst>
              <a:path w="171450" h="132715">
                <a:moveTo>
                  <a:pt x="40752" y="0"/>
                </a:moveTo>
                <a:lnTo>
                  <a:pt x="40752" y="6523"/>
                </a:lnTo>
                <a:lnTo>
                  <a:pt x="0" y="132090"/>
                </a:lnTo>
                <a:lnTo>
                  <a:pt x="171020" y="6523"/>
                </a:lnTo>
                <a:lnTo>
                  <a:pt x="40752" y="0"/>
                </a:lnTo>
                <a:close/>
              </a:path>
            </a:pathLst>
          </a:custGeom>
          <a:solidFill>
            <a:srgbClr val="D7D7D7"/>
          </a:solidFill>
        </p:spPr>
        <p:txBody>
          <a:bodyPr wrap="square" lIns="0" tIns="0" rIns="0" bIns="0" rtlCol="0"/>
          <a:lstStyle/>
          <a:p>
            <a:endParaRPr/>
          </a:p>
        </p:txBody>
      </p:sp>
      <p:sp>
        <p:nvSpPr>
          <p:cNvPr id="103" name="object 103"/>
          <p:cNvSpPr/>
          <p:nvPr/>
        </p:nvSpPr>
        <p:spPr>
          <a:xfrm>
            <a:off x="1515155" y="2885125"/>
            <a:ext cx="93577" cy="19638"/>
          </a:xfrm>
          <a:custGeom>
            <a:avLst/>
            <a:gdLst/>
            <a:ahLst/>
            <a:cxnLst/>
            <a:rect l="l" t="t" r="r" b="b"/>
            <a:pathLst>
              <a:path w="205739" h="43179">
                <a:moveTo>
                  <a:pt x="200266" y="0"/>
                </a:moveTo>
                <a:lnTo>
                  <a:pt x="5350" y="0"/>
                </a:lnTo>
                <a:lnTo>
                  <a:pt x="0" y="9664"/>
                </a:lnTo>
                <a:lnTo>
                  <a:pt x="0" y="33475"/>
                </a:lnTo>
                <a:lnTo>
                  <a:pt x="5350" y="43129"/>
                </a:lnTo>
                <a:lnTo>
                  <a:pt x="200266" y="43129"/>
                </a:lnTo>
                <a:lnTo>
                  <a:pt x="205616" y="33475"/>
                </a:lnTo>
                <a:lnTo>
                  <a:pt x="205616" y="9664"/>
                </a:lnTo>
                <a:lnTo>
                  <a:pt x="200266" y="0"/>
                </a:lnTo>
                <a:close/>
              </a:path>
            </a:pathLst>
          </a:custGeom>
          <a:solidFill>
            <a:srgbClr val="808080"/>
          </a:solidFill>
        </p:spPr>
        <p:txBody>
          <a:bodyPr wrap="square" lIns="0" tIns="0" rIns="0" bIns="0" rtlCol="0"/>
          <a:lstStyle/>
          <a:p>
            <a:endParaRPr/>
          </a:p>
        </p:txBody>
      </p:sp>
      <p:sp>
        <p:nvSpPr>
          <p:cNvPr id="104" name="object 104"/>
          <p:cNvSpPr/>
          <p:nvPr/>
        </p:nvSpPr>
        <p:spPr>
          <a:xfrm>
            <a:off x="1515157" y="2939140"/>
            <a:ext cx="264558" cy="0"/>
          </a:xfrm>
          <a:custGeom>
            <a:avLst/>
            <a:gdLst/>
            <a:ahLst/>
            <a:cxnLst/>
            <a:rect l="l" t="t" r="r" b="b"/>
            <a:pathLst>
              <a:path w="581660">
                <a:moveTo>
                  <a:pt x="0" y="0"/>
                </a:moveTo>
                <a:lnTo>
                  <a:pt x="581092" y="0"/>
                </a:lnTo>
              </a:path>
            </a:pathLst>
          </a:custGeom>
          <a:ln w="43129">
            <a:solidFill>
              <a:srgbClr val="808080"/>
            </a:solidFill>
          </a:ln>
        </p:spPr>
        <p:txBody>
          <a:bodyPr wrap="square" lIns="0" tIns="0" rIns="0" bIns="0" rtlCol="0"/>
          <a:lstStyle/>
          <a:p>
            <a:endParaRPr/>
          </a:p>
        </p:txBody>
      </p:sp>
      <p:sp>
        <p:nvSpPr>
          <p:cNvPr id="105" name="object 105"/>
          <p:cNvSpPr/>
          <p:nvPr/>
        </p:nvSpPr>
        <p:spPr>
          <a:xfrm>
            <a:off x="1515157" y="2982911"/>
            <a:ext cx="264558" cy="0"/>
          </a:xfrm>
          <a:custGeom>
            <a:avLst/>
            <a:gdLst/>
            <a:ahLst/>
            <a:cxnLst/>
            <a:rect l="l" t="t" r="r" b="b"/>
            <a:pathLst>
              <a:path w="581660">
                <a:moveTo>
                  <a:pt x="0" y="0"/>
                </a:moveTo>
                <a:lnTo>
                  <a:pt x="581092" y="0"/>
                </a:lnTo>
              </a:path>
            </a:pathLst>
          </a:custGeom>
          <a:ln w="43129">
            <a:solidFill>
              <a:srgbClr val="808080"/>
            </a:solidFill>
          </a:ln>
        </p:spPr>
        <p:txBody>
          <a:bodyPr wrap="square" lIns="0" tIns="0" rIns="0" bIns="0" rtlCol="0"/>
          <a:lstStyle/>
          <a:p>
            <a:endParaRPr/>
          </a:p>
        </p:txBody>
      </p:sp>
      <p:sp>
        <p:nvSpPr>
          <p:cNvPr id="106" name="object 106"/>
          <p:cNvSpPr/>
          <p:nvPr/>
        </p:nvSpPr>
        <p:spPr>
          <a:xfrm>
            <a:off x="1295055" y="3916620"/>
            <a:ext cx="800894" cy="423090"/>
          </a:xfrm>
          <a:custGeom>
            <a:avLst/>
            <a:gdLst/>
            <a:ahLst/>
            <a:cxnLst/>
            <a:rect l="l" t="t" r="r" b="b"/>
            <a:pathLst>
              <a:path w="1760854" h="930275">
                <a:moveTo>
                  <a:pt x="1562329" y="137713"/>
                </a:moveTo>
                <a:lnTo>
                  <a:pt x="198381" y="137713"/>
                </a:lnTo>
                <a:lnTo>
                  <a:pt x="152892" y="142952"/>
                </a:lnTo>
                <a:lnTo>
                  <a:pt x="111136" y="157878"/>
                </a:lnTo>
                <a:lnTo>
                  <a:pt x="74302" y="181298"/>
                </a:lnTo>
                <a:lnTo>
                  <a:pt x="43580" y="212021"/>
                </a:lnTo>
                <a:lnTo>
                  <a:pt x="20162" y="248857"/>
                </a:lnTo>
                <a:lnTo>
                  <a:pt x="5239" y="290615"/>
                </a:lnTo>
                <a:lnTo>
                  <a:pt x="0" y="336104"/>
                </a:lnTo>
                <a:lnTo>
                  <a:pt x="0" y="731747"/>
                </a:lnTo>
                <a:lnTo>
                  <a:pt x="5239" y="777235"/>
                </a:lnTo>
                <a:lnTo>
                  <a:pt x="20162" y="818992"/>
                </a:lnTo>
                <a:lnTo>
                  <a:pt x="43580" y="855826"/>
                </a:lnTo>
                <a:lnTo>
                  <a:pt x="74302" y="886547"/>
                </a:lnTo>
                <a:lnTo>
                  <a:pt x="111136" y="909965"/>
                </a:lnTo>
                <a:lnTo>
                  <a:pt x="152892" y="924889"/>
                </a:lnTo>
                <a:lnTo>
                  <a:pt x="198381" y="930128"/>
                </a:lnTo>
                <a:lnTo>
                  <a:pt x="1562329" y="930128"/>
                </a:lnTo>
                <a:lnTo>
                  <a:pt x="1607817" y="924889"/>
                </a:lnTo>
                <a:lnTo>
                  <a:pt x="1649574" y="909965"/>
                </a:lnTo>
                <a:lnTo>
                  <a:pt x="1686408" y="886547"/>
                </a:lnTo>
                <a:lnTo>
                  <a:pt x="1717129" y="855826"/>
                </a:lnTo>
                <a:lnTo>
                  <a:pt x="1740547" y="818992"/>
                </a:lnTo>
                <a:lnTo>
                  <a:pt x="1755471" y="777235"/>
                </a:lnTo>
                <a:lnTo>
                  <a:pt x="1760710" y="731747"/>
                </a:lnTo>
                <a:lnTo>
                  <a:pt x="1760710" y="336104"/>
                </a:lnTo>
                <a:lnTo>
                  <a:pt x="1755471" y="290615"/>
                </a:lnTo>
                <a:lnTo>
                  <a:pt x="1740547" y="248857"/>
                </a:lnTo>
                <a:lnTo>
                  <a:pt x="1717129" y="212021"/>
                </a:lnTo>
                <a:lnTo>
                  <a:pt x="1686408" y="181298"/>
                </a:lnTo>
                <a:lnTo>
                  <a:pt x="1649574" y="157878"/>
                </a:lnTo>
                <a:lnTo>
                  <a:pt x="1607817" y="142952"/>
                </a:lnTo>
                <a:lnTo>
                  <a:pt x="1562329" y="137713"/>
                </a:lnTo>
                <a:close/>
              </a:path>
              <a:path w="1760854" h="930275">
                <a:moveTo>
                  <a:pt x="182392" y="0"/>
                </a:moveTo>
                <a:lnTo>
                  <a:pt x="193158" y="65638"/>
                </a:lnTo>
                <a:lnTo>
                  <a:pt x="200826" y="101863"/>
                </a:lnTo>
                <a:lnTo>
                  <a:pt x="209067" y="121584"/>
                </a:lnTo>
                <a:lnTo>
                  <a:pt x="221553" y="137713"/>
                </a:lnTo>
                <a:lnTo>
                  <a:pt x="393118" y="137713"/>
                </a:lnTo>
                <a:lnTo>
                  <a:pt x="182392" y="0"/>
                </a:lnTo>
                <a:close/>
              </a:path>
            </a:pathLst>
          </a:custGeom>
          <a:solidFill>
            <a:srgbClr val="C5C5C5"/>
          </a:solidFill>
        </p:spPr>
        <p:txBody>
          <a:bodyPr wrap="square" lIns="0" tIns="0" rIns="0" bIns="0" rtlCol="0"/>
          <a:lstStyle/>
          <a:p>
            <a:endParaRPr/>
          </a:p>
        </p:txBody>
      </p:sp>
      <p:sp>
        <p:nvSpPr>
          <p:cNvPr id="107" name="object 107"/>
          <p:cNvSpPr/>
          <p:nvPr/>
        </p:nvSpPr>
        <p:spPr>
          <a:xfrm>
            <a:off x="1415184" y="4223823"/>
            <a:ext cx="444203" cy="28302"/>
          </a:xfrm>
          <a:custGeom>
            <a:avLst/>
            <a:gdLst/>
            <a:ahLst/>
            <a:cxnLst/>
            <a:rect l="l" t="t" r="r" b="b"/>
            <a:pathLst>
              <a:path w="976629" h="62229">
                <a:moveTo>
                  <a:pt x="951960" y="0"/>
                </a:moveTo>
                <a:lnTo>
                  <a:pt x="24637" y="0"/>
                </a:lnTo>
                <a:lnTo>
                  <a:pt x="15045" y="2442"/>
                </a:lnTo>
                <a:lnTo>
                  <a:pt x="7214" y="9104"/>
                </a:lnTo>
                <a:lnTo>
                  <a:pt x="1935" y="18986"/>
                </a:lnTo>
                <a:lnTo>
                  <a:pt x="0" y="31088"/>
                </a:lnTo>
                <a:lnTo>
                  <a:pt x="1935" y="43191"/>
                </a:lnTo>
                <a:lnTo>
                  <a:pt x="7214" y="53076"/>
                </a:lnTo>
                <a:lnTo>
                  <a:pt x="15045" y="59742"/>
                </a:lnTo>
                <a:lnTo>
                  <a:pt x="24637" y="62186"/>
                </a:lnTo>
                <a:lnTo>
                  <a:pt x="951960" y="62186"/>
                </a:lnTo>
                <a:lnTo>
                  <a:pt x="961548" y="59742"/>
                </a:lnTo>
                <a:lnTo>
                  <a:pt x="969380" y="53076"/>
                </a:lnTo>
                <a:lnTo>
                  <a:pt x="974661" y="43191"/>
                </a:lnTo>
                <a:lnTo>
                  <a:pt x="976598" y="31088"/>
                </a:lnTo>
                <a:lnTo>
                  <a:pt x="974661" y="18986"/>
                </a:lnTo>
                <a:lnTo>
                  <a:pt x="969380" y="9104"/>
                </a:lnTo>
                <a:lnTo>
                  <a:pt x="961548" y="2442"/>
                </a:lnTo>
                <a:lnTo>
                  <a:pt x="951960" y="0"/>
                </a:lnTo>
                <a:close/>
              </a:path>
            </a:pathLst>
          </a:custGeom>
          <a:solidFill>
            <a:srgbClr val="808080"/>
          </a:solidFill>
        </p:spPr>
        <p:txBody>
          <a:bodyPr wrap="square" lIns="0" tIns="0" rIns="0" bIns="0" rtlCol="0"/>
          <a:lstStyle/>
          <a:p>
            <a:endParaRPr/>
          </a:p>
        </p:txBody>
      </p:sp>
      <p:sp>
        <p:nvSpPr>
          <p:cNvPr id="108" name="object 108"/>
          <p:cNvSpPr/>
          <p:nvPr/>
        </p:nvSpPr>
        <p:spPr>
          <a:xfrm>
            <a:off x="1415184" y="4151381"/>
            <a:ext cx="444203" cy="28302"/>
          </a:xfrm>
          <a:custGeom>
            <a:avLst/>
            <a:gdLst/>
            <a:ahLst/>
            <a:cxnLst/>
            <a:rect l="l" t="t" r="r" b="b"/>
            <a:pathLst>
              <a:path w="976629" h="62229">
                <a:moveTo>
                  <a:pt x="951960" y="0"/>
                </a:moveTo>
                <a:lnTo>
                  <a:pt x="24637" y="0"/>
                </a:lnTo>
                <a:lnTo>
                  <a:pt x="15045" y="2442"/>
                </a:lnTo>
                <a:lnTo>
                  <a:pt x="7214" y="9104"/>
                </a:lnTo>
                <a:lnTo>
                  <a:pt x="1935" y="18986"/>
                </a:lnTo>
                <a:lnTo>
                  <a:pt x="0" y="31088"/>
                </a:lnTo>
                <a:lnTo>
                  <a:pt x="1935" y="43190"/>
                </a:lnTo>
                <a:lnTo>
                  <a:pt x="7214" y="53071"/>
                </a:lnTo>
                <a:lnTo>
                  <a:pt x="15045" y="59733"/>
                </a:lnTo>
                <a:lnTo>
                  <a:pt x="24637" y="62176"/>
                </a:lnTo>
                <a:lnTo>
                  <a:pt x="951960" y="62176"/>
                </a:lnTo>
                <a:lnTo>
                  <a:pt x="961548" y="59733"/>
                </a:lnTo>
                <a:lnTo>
                  <a:pt x="969380" y="53071"/>
                </a:lnTo>
                <a:lnTo>
                  <a:pt x="974661" y="43190"/>
                </a:lnTo>
                <a:lnTo>
                  <a:pt x="976598" y="31088"/>
                </a:lnTo>
                <a:lnTo>
                  <a:pt x="974661" y="18986"/>
                </a:lnTo>
                <a:lnTo>
                  <a:pt x="969380" y="9104"/>
                </a:lnTo>
                <a:lnTo>
                  <a:pt x="961548" y="2442"/>
                </a:lnTo>
                <a:lnTo>
                  <a:pt x="951960" y="0"/>
                </a:lnTo>
                <a:close/>
              </a:path>
            </a:pathLst>
          </a:custGeom>
          <a:solidFill>
            <a:srgbClr val="808080"/>
          </a:solidFill>
        </p:spPr>
        <p:txBody>
          <a:bodyPr wrap="square" lIns="0" tIns="0" rIns="0" bIns="0" rtlCol="0"/>
          <a:lstStyle/>
          <a:p>
            <a:endParaRPr/>
          </a:p>
        </p:txBody>
      </p:sp>
      <p:sp>
        <p:nvSpPr>
          <p:cNvPr id="109" name="object 109"/>
          <p:cNvSpPr/>
          <p:nvPr/>
        </p:nvSpPr>
        <p:spPr>
          <a:xfrm>
            <a:off x="1415181" y="4078935"/>
            <a:ext cx="560597" cy="28302"/>
          </a:xfrm>
          <a:custGeom>
            <a:avLst/>
            <a:gdLst/>
            <a:ahLst/>
            <a:cxnLst/>
            <a:rect l="l" t="t" r="r" b="b"/>
            <a:pathLst>
              <a:path w="1232535" h="62229">
                <a:moveTo>
                  <a:pt x="1201397" y="0"/>
                </a:moveTo>
                <a:lnTo>
                  <a:pt x="31098" y="0"/>
                </a:lnTo>
                <a:lnTo>
                  <a:pt x="18994" y="2442"/>
                </a:lnTo>
                <a:lnTo>
                  <a:pt x="9109" y="9103"/>
                </a:lnTo>
                <a:lnTo>
                  <a:pt x="2444" y="18981"/>
                </a:lnTo>
                <a:lnTo>
                  <a:pt x="0" y="31077"/>
                </a:lnTo>
                <a:lnTo>
                  <a:pt x="2444" y="43185"/>
                </a:lnTo>
                <a:lnTo>
                  <a:pt x="9109" y="53070"/>
                </a:lnTo>
                <a:lnTo>
                  <a:pt x="18994" y="59733"/>
                </a:lnTo>
                <a:lnTo>
                  <a:pt x="31098" y="62176"/>
                </a:lnTo>
                <a:lnTo>
                  <a:pt x="1201397" y="62176"/>
                </a:lnTo>
                <a:lnTo>
                  <a:pt x="1213500" y="59733"/>
                </a:lnTo>
                <a:lnTo>
                  <a:pt x="1223381" y="53070"/>
                </a:lnTo>
                <a:lnTo>
                  <a:pt x="1230043" y="43185"/>
                </a:lnTo>
                <a:lnTo>
                  <a:pt x="1232486" y="31077"/>
                </a:lnTo>
                <a:lnTo>
                  <a:pt x="1230043" y="18981"/>
                </a:lnTo>
                <a:lnTo>
                  <a:pt x="1223381" y="9103"/>
                </a:lnTo>
                <a:lnTo>
                  <a:pt x="1213500" y="2442"/>
                </a:lnTo>
                <a:lnTo>
                  <a:pt x="1201397" y="0"/>
                </a:lnTo>
                <a:close/>
              </a:path>
            </a:pathLst>
          </a:custGeom>
          <a:solidFill>
            <a:srgbClr val="808080"/>
          </a:solidFill>
        </p:spPr>
        <p:txBody>
          <a:bodyPr wrap="square" lIns="0" tIns="0" rIns="0" bIns="0" rtlCol="0"/>
          <a:lstStyle/>
          <a:p>
            <a:endParaRPr/>
          </a:p>
        </p:txBody>
      </p:sp>
      <p:sp>
        <p:nvSpPr>
          <p:cNvPr id="110" name="object 110"/>
          <p:cNvSpPr/>
          <p:nvPr/>
        </p:nvSpPr>
        <p:spPr>
          <a:xfrm>
            <a:off x="1874848" y="4145724"/>
            <a:ext cx="86468" cy="113739"/>
          </a:xfrm>
          <a:prstGeom prst="rect">
            <a:avLst/>
          </a:prstGeom>
          <a:blipFill>
            <a:blip r:embed="rId12" cstate="print"/>
            <a:stretch>
              <a:fillRect/>
            </a:stretch>
          </a:blipFill>
        </p:spPr>
        <p:txBody>
          <a:bodyPr wrap="square" lIns="0" tIns="0" rIns="0" bIns="0" rtlCol="0"/>
          <a:lstStyle/>
          <a:p>
            <a:endParaRPr/>
          </a:p>
        </p:txBody>
      </p:sp>
      <p:sp>
        <p:nvSpPr>
          <p:cNvPr id="12" name="Rectangle 11">
            <a:extLst>
              <a:ext uri="{FF2B5EF4-FFF2-40B4-BE49-F238E27FC236}">
                <a16:creationId xmlns:a16="http://schemas.microsoft.com/office/drawing/2014/main" id="{CB17F5ED-4340-DC4D-AAFE-39FDD1DAC313}"/>
              </a:ext>
            </a:extLst>
          </p:cNvPr>
          <p:cNvSpPr/>
          <p:nvPr/>
        </p:nvSpPr>
        <p:spPr>
          <a:xfrm>
            <a:off x="4600005" y="4416551"/>
            <a:ext cx="173291" cy="173279"/>
          </a:xfrm>
          <a:prstGeom prst="rect">
            <a:avLst/>
          </a:prstGeom>
          <a:solidFill>
            <a:srgbClr val="FFB400"/>
          </a:solidFill>
          <a:ln>
            <a:noFill/>
          </a:ln>
        </p:spPr>
        <p:style>
          <a:lnRef idx="2">
            <a:schemeClr val="accent1">
              <a:shade val="50000"/>
            </a:schemeClr>
          </a:lnRef>
          <a:fillRef idx="1">
            <a:schemeClr val="accent1"/>
          </a:fillRef>
          <a:effectRef idx="0">
            <a:schemeClr val="accent1"/>
          </a:effectRef>
          <a:fontRef idx="minor">
            <a:schemeClr val="lt1"/>
          </a:fontRef>
        </p:style>
        <p:txBody>
          <a:bodyPr lIns="41587" tIns="20793" rIns="41587" bIns="20793" rtlCol="0" anchor="ctr"/>
          <a:lstStyle/>
          <a:p>
            <a:pPr algn="ctr"/>
            <a:endParaRPr lang="fr-FR"/>
          </a:p>
        </p:txBody>
      </p:sp>
      <p:sp>
        <p:nvSpPr>
          <p:cNvPr id="111" name="Rectangle 110">
            <a:extLst>
              <a:ext uri="{FF2B5EF4-FFF2-40B4-BE49-F238E27FC236}">
                <a16:creationId xmlns:a16="http://schemas.microsoft.com/office/drawing/2014/main" id="{35DABC05-85C5-9E4D-B163-3B7A0C867305}"/>
              </a:ext>
            </a:extLst>
          </p:cNvPr>
          <p:cNvSpPr/>
          <p:nvPr/>
        </p:nvSpPr>
        <p:spPr>
          <a:xfrm>
            <a:off x="3037943" y="4416551"/>
            <a:ext cx="173291" cy="173279"/>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lIns="41587" tIns="20793" rIns="41587" bIns="20793" rtlCol="0" anchor="ctr"/>
          <a:lstStyle/>
          <a:p>
            <a:pPr algn="ctr"/>
            <a:endParaRPr lang="fr-FR"/>
          </a:p>
        </p:txBody>
      </p:sp>
      <p:sp>
        <p:nvSpPr>
          <p:cNvPr id="113" name="Rectangle 112">
            <a:extLst>
              <a:ext uri="{FF2B5EF4-FFF2-40B4-BE49-F238E27FC236}">
                <a16:creationId xmlns:a16="http://schemas.microsoft.com/office/drawing/2014/main" id="{473D67B5-4487-E144-86E7-672E1B5CCADC}"/>
              </a:ext>
            </a:extLst>
          </p:cNvPr>
          <p:cNvSpPr/>
          <p:nvPr/>
        </p:nvSpPr>
        <p:spPr>
          <a:xfrm>
            <a:off x="7033139" y="4417378"/>
            <a:ext cx="173291" cy="17327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1587" tIns="20793" rIns="41587" bIns="20793" rtlCol="0" anchor="ctr"/>
          <a:lstStyle/>
          <a:p>
            <a:pPr algn="ctr"/>
            <a:endParaRPr lang="fr-FR"/>
          </a:p>
        </p:txBody>
      </p:sp>
      <p:sp>
        <p:nvSpPr>
          <p:cNvPr id="114" name="Rectangle 113">
            <a:extLst>
              <a:ext uri="{FF2B5EF4-FFF2-40B4-BE49-F238E27FC236}">
                <a16:creationId xmlns:a16="http://schemas.microsoft.com/office/drawing/2014/main" id="{04D50CFD-0868-0C4A-901D-10AB7D20DC0E}"/>
              </a:ext>
            </a:extLst>
          </p:cNvPr>
          <p:cNvSpPr/>
          <p:nvPr/>
        </p:nvSpPr>
        <p:spPr>
          <a:xfrm>
            <a:off x="7541610" y="4417378"/>
            <a:ext cx="173291" cy="17327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1587" tIns="20793" rIns="41587" bIns="20793" rtlCol="0" anchor="ctr"/>
          <a:lstStyle/>
          <a:p>
            <a:pPr algn="ctr"/>
            <a:endParaRPr lang="fr-FR"/>
          </a:p>
        </p:txBody>
      </p:sp>
    </p:spTree>
    <p:extLst>
      <p:ext uri="{BB962C8B-B14F-4D97-AF65-F5344CB8AC3E}">
        <p14:creationId xmlns:p14="http://schemas.microsoft.com/office/powerpoint/2010/main" val="948226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5669" y="109930"/>
            <a:ext cx="6050463" cy="326053"/>
          </a:xfrm>
          <a:prstGeom prst="rect">
            <a:avLst/>
          </a:prstGeom>
        </p:spPr>
        <p:txBody>
          <a:bodyPr vert="horz" wrap="square" lIns="0" tIns="7798" rIns="0" bIns="0" rtlCol="0">
            <a:spAutoFit/>
          </a:bodyPr>
          <a:lstStyle/>
          <a:p>
            <a:pPr marL="5776">
              <a:lnSpc>
                <a:spcPct val="100000"/>
              </a:lnSpc>
              <a:spcBef>
                <a:spcPts val="61"/>
              </a:spcBef>
            </a:pPr>
            <a:r>
              <a:rPr spc="-7" dirty="0"/>
              <a:t>Une </a:t>
            </a:r>
            <a:r>
              <a:rPr spc="-14" dirty="0"/>
              <a:t>maturité </a:t>
            </a:r>
            <a:r>
              <a:rPr spc="-5" dirty="0"/>
              <a:t>et </a:t>
            </a:r>
            <a:r>
              <a:rPr spc="-2" dirty="0"/>
              <a:t>un </a:t>
            </a:r>
            <a:r>
              <a:rPr spc="-14" dirty="0"/>
              <a:t>rapport </a:t>
            </a:r>
            <a:r>
              <a:rPr spc="-11" dirty="0"/>
              <a:t>décomplexé </a:t>
            </a:r>
            <a:r>
              <a:rPr spc="7" dirty="0"/>
              <a:t>à</a:t>
            </a:r>
            <a:r>
              <a:rPr spc="-225" dirty="0"/>
              <a:t> </a:t>
            </a:r>
            <a:r>
              <a:rPr spc="-16" dirty="0"/>
              <a:t>l’argent</a:t>
            </a:r>
          </a:p>
        </p:txBody>
      </p:sp>
      <p:sp>
        <p:nvSpPr>
          <p:cNvPr id="3" name="object 3"/>
          <p:cNvSpPr txBox="1"/>
          <p:nvPr/>
        </p:nvSpPr>
        <p:spPr>
          <a:xfrm>
            <a:off x="775669" y="567098"/>
            <a:ext cx="7660050" cy="282539"/>
          </a:xfrm>
          <a:prstGeom prst="rect">
            <a:avLst/>
          </a:prstGeom>
        </p:spPr>
        <p:txBody>
          <a:bodyPr vert="horz" wrap="square" lIns="0" tIns="5487" rIns="0" bIns="0" rtlCol="0">
            <a:spAutoFit/>
          </a:bodyPr>
          <a:lstStyle/>
          <a:p>
            <a:pPr marL="5776" marR="2310">
              <a:lnSpc>
                <a:spcPct val="100499"/>
              </a:lnSpc>
              <a:spcBef>
                <a:spcPts val="43"/>
              </a:spcBef>
            </a:pPr>
            <a:r>
              <a:rPr lang="fr-FR" sz="900" b="1" spc="2" dirty="0">
                <a:latin typeface="Helvetica Neue"/>
                <a:cs typeface="Helvetica Neue"/>
              </a:rPr>
              <a:t>Vous sentez-vous à </a:t>
            </a:r>
            <a:r>
              <a:rPr lang="fr-FR" sz="900" b="1" dirty="0">
                <a:latin typeface="Helvetica Neue"/>
                <a:cs typeface="Helvetica Neue"/>
              </a:rPr>
              <a:t>l’aise </a:t>
            </a:r>
            <a:r>
              <a:rPr lang="fr-FR" sz="900" b="1" spc="2" dirty="0">
                <a:latin typeface="Helvetica Neue"/>
                <a:cs typeface="Helvetica Neue"/>
              </a:rPr>
              <a:t>ou pas pour parler d’argent avec vos amis et votre famille (combien vous gagnez, combien vaut votre</a:t>
            </a:r>
            <a:r>
              <a:rPr lang="fr-FR" sz="900" b="1" spc="-32" dirty="0">
                <a:latin typeface="Helvetica Neue"/>
                <a:cs typeface="Helvetica Neue"/>
              </a:rPr>
              <a:t> </a:t>
            </a:r>
            <a:r>
              <a:rPr lang="fr-FR" sz="900" b="1" spc="2" dirty="0">
                <a:latin typeface="Helvetica Neue"/>
                <a:cs typeface="Helvetica Neue"/>
              </a:rPr>
              <a:t>maison  ou votre appartement </a:t>
            </a:r>
            <a:r>
              <a:rPr lang="fr-FR" sz="900" b="1" dirty="0">
                <a:latin typeface="Helvetica Neue"/>
                <a:cs typeface="Helvetica Neue"/>
              </a:rPr>
              <a:t>etc.)</a:t>
            </a:r>
            <a:r>
              <a:rPr lang="fr-FR" sz="900" b="1" spc="-9" dirty="0">
                <a:latin typeface="Helvetica Neue"/>
                <a:cs typeface="Helvetica Neue"/>
              </a:rPr>
              <a:t> </a:t>
            </a:r>
            <a:r>
              <a:rPr lang="fr-FR" sz="900" b="1" spc="2" dirty="0">
                <a:latin typeface="Helvetica Neue"/>
                <a:cs typeface="Helvetica Neue"/>
              </a:rPr>
              <a:t>?</a:t>
            </a:r>
            <a:endParaRPr lang="fr-FR" sz="900" dirty="0">
              <a:latin typeface="Helvetica Neue"/>
              <a:cs typeface="Helvetica Neue"/>
            </a:endParaRPr>
          </a:p>
        </p:txBody>
      </p:sp>
      <p:sp>
        <p:nvSpPr>
          <p:cNvPr id="4" name="object 4"/>
          <p:cNvSpPr/>
          <p:nvPr/>
        </p:nvSpPr>
        <p:spPr>
          <a:xfrm>
            <a:off x="0" y="1008036"/>
            <a:ext cx="9144000" cy="4135305"/>
          </a:xfrm>
          <a:custGeom>
            <a:avLst/>
            <a:gdLst/>
            <a:ahLst/>
            <a:cxnLst/>
            <a:rect l="l" t="t" r="r" b="b"/>
            <a:pathLst>
              <a:path w="20104100" h="9092565">
                <a:moveTo>
                  <a:pt x="0" y="9092121"/>
                </a:moveTo>
                <a:lnTo>
                  <a:pt x="20104099" y="9092121"/>
                </a:lnTo>
                <a:lnTo>
                  <a:pt x="20104099" y="0"/>
                </a:lnTo>
                <a:lnTo>
                  <a:pt x="0" y="0"/>
                </a:lnTo>
                <a:lnTo>
                  <a:pt x="0" y="9092121"/>
                </a:lnTo>
                <a:close/>
              </a:path>
            </a:pathLst>
          </a:custGeom>
          <a:solidFill>
            <a:srgbClr val="D5D5D5"/>
          </a:solidFill>
        </p:spPr>
        <p:txBody>
          <a:bodyPr wrap="square" lIns="0" tIns="0" rIns="0" bIns="0" rtlCol="0"/>
          <a:lstStyle/>
          <a:p>
            <a:endParaRPr/>
          </a:p>
        </p:txBody>
      </p:sp>
      <p:sp>
        <p:nvSpPr>
          <p:cNvPr id="5" name="object 5"/>
          <p:cNvSpPr/>
          <p:nvPr/>
        </p:nvSpPr>
        <p:spPr>
          <a:xfrm>
            <a:off x="191530" y="214491"/>
            <a:ext cx="421386" cy="421357"/>
          </a:xfrm>
          <a:custGeom>
            <a:avLst/>
            <a:gdLst/>
            <a:ahLst/>
            <a:cxnLst/>
            <a:rect l="l" t="t" r="r" b="b"/>
            <a:pathLst>
              <a:path w="926465" h="926465">
                <a:moveTo>
                  <a:pt x="462949" y="0"/>
                </a:moveTo>
                <a:lnTo>
                  <a:pt x="415615" y="2390"/>
                </a:lnTo>
                <a:lnTo>
                  <a:pt x="369649" y="9405"/>
                </a:lnTo>
                <a:lnTo>
                  <a:pt x="325282" y="20813"/>
                </a:lnTo>
                <a:lnTo>
                  <a:pt x="282749" y="36381"/>
                </a:lnTo>
                <a:lnTo>
                  <a:pt x="242280" y="55876"/>
                </a:lnTo>
                <a:lnTo>
                  <a:pt x="204110" y="79065"/>
                </a:lnTo>
                <a:lnTo>
                  <a:pt x="168471" y="105716"/>
                </a:lnTo>
                <a:lnTo>
                  <a:pt x="135595" y="135596"/>
                </a:lnTo>
                <a:lnTo>
                  <a:pt x="105715" y="168473"/>
                </a:lnTo>
                <a:lnTo>
                  <a:pt x="79064" y="204113"/>
                </a:lnTo>
                <a:lnTo>
                  <a:pt x="55875" y="242284"/>
                </a:lnTo>
                <a:lnTo>
                  <a:pt x="36381" y="282753"/>
                </a:lnTo>
                <a:lnTo>
                  <a:pt x="20813" y="325288"/>
                </a:lnTo>
                <a:lnTo>
                  <a:pt x="9405" y="369656"/>
                </a:lnTo>
                <a:lnTo>
                  <a:pt x="2390" y="415624"/>
                </a:lnTo>
                <a:lnTo>
                  <a:pt x="0" y="462959"/>
                </a:lnTo>
                <a:lnTo>
                  <a:pt x="2390" y="510293"/>
                </a:lnTo>
                <a:lnTo>
                  <a:pt x="9405" y="556259"/>
                </a:lnTo>
                <a:lnTo>
                  <a:pt x="20813" y="600626"/>
                </a:lnTo>
                <a:lnTo>
                  <a:pt x="36381" y="643159"/>
                </a:lnTo>
                <a:lnTo>
                  <a:pt x="55875" y="683628"/>
                </a:lnTo>
                <a:lnTo>
                  <a:pt x="79064" y="721798"/>
                </a:lnTo>
                <a:lnTo>
                  <a:pt x="105715" y="757437"/>
                </a:lnTo>
                <a:lnTo>
                  <a:pt x="135595" y="790313"/>
                </a:lnTo>
                <a:lnTo>
                  <a:pt x="168471" y="820193"/>
                </a:lnTo>
                <a:lnTo>
                  <a:pt x="204110" y="846844"/>
                </a:lnTo>
                <a:lnTo>
                  <a:pt x="242280" y="870033"/>
                </a:lnTo>
                <a:lnTo>
                  <a:pt x="282749" y="889527"/>
                </a:lnTo>
                <a:lnTo>
                  <a:pt x="325282" y="905095"/>
                </a:lnTo>
                <a:lnTo>
                  <a:pt x="369649" y="916503"/>
                </a:lnTo>
                <a:lnTo>
                  <a:pt x="415615" y="923518"/>
                </a:lnTo>
                <a:lnTo>
                  <a:pt x="462949" y="925908"/>
                </a:lnTo>
                <a:lnTo>
                  <a:pt x="510282" y="923518"/>
                </a:lnTo>
                <a:lnTo>
                  <a:pt x="556249" y="916503"/>
                </a:lnTo>
                <a:lnTo>
                  <a:pt x="600615" y="905095"/>
                </a:lnTo>
                <a:lnTo>
                  <a:pt x="643149" y="889527"/>
                </a:lnTo>
                <a:lnTo>
                  <a:pt x="683617" y="870033"/>
                </a:lnTo>
                <a:lnTo>
                  <a:pt x="721787" y="846844"/>
                </a:lnTo>
                <a:lnTo>
                  <a:pt x="757427" y="820193"/>
                </a:lnTo>
                <a:lnTo>
                  <a:pt x="790303" y="790313"/>
                </a:lnTo>
                <a:lnTo>
                  <a:pt x="820182" y="757437"/>
                </a:lnTo>
                <a:lnTo>
                  <a:pt x="846833" y="721798"/>
                </a:lnTo>
                <a:lnTo>
                  <a:pt x="870022" y="683628"/>
                </a:lnTo>
                <a:lnTo>
                  <a:pt x="889517" y="643159"/>
                </a:lnTo>
                <a:lnTo>
                  <a:pt x="905085" y="600626"/>
                </a:lnTo>
                <a:lnTo>
                  <a:pt x="916492" y="556259"/>
                </a:lnTo>
                <a:lnTo>
                  <a:pt x="923508" y="510293"/>
                </a:lnTo>
                <a:lnTo>
                  <a:pt x="925898" y="462959"/>
                </a:lnTo>
                <a:lnTo>
                  <a:pt x="923508" y="415624"/>
                </a:lnTo>
                <a:lnTo>
                  <a:pt x="916492" y="369656"/>
                </a:lnTo>
                <a:lnTo>
                  <a:pt x="905085" y="325288"/>
                </a:lnTo>
                <a:lnTo>
                  <a:pt x="889517" y="282753"/>
                </a:lnTo>
                <a:lnTo>
                  <a:pt x="870022" y="242284"/>
                </a:lnTo>
                <a:lnTo>
                  <a:pt x="846833" y="204113"/>
                </a:lnTo>
                <a:lnTo>
                  <a:pt x="820182" y="168473"/>
                </a:lnTo>
                <a:lnTo>
                  <a:pt x="790303" y="135596"/>
                </a:lnTo>
                <a:lnTo>
                  <a:pt x="757427" y="105716"/>
                </a:lnTo>
                <a:lnTo>
                  <a:pt x="721787" y="79065"/>
                </a:lnTo>
                <a:lnTo>
                  <a:pt x="683617" y="55876"/>
                </a:lnTo>
                <a:lnTo>
                  <a:pt x="643149" y="36381"/>
                </a:lnTo>
                <a:lnTo>
                  <a:pt x="600615" y="20813"/>
                </a:lnTo>
                <a:lnTo>
                  <a:pt x="556249" y="9405"/>
                </a:lnTo>
                <a:lnTo>
                  <a:pt x="510282" y="2390"/>
                </a:lnTo>
                <a:lnTo>
                  <a:pt x="462949" y="0"/>
                </a:lnTo>
                <a:close/>
              </a:path>
            </a:pathLst>
          </a:custGeom>
          <a:solidFill>
            <a:srgbClr val="FFB4E6"/>
          </a:solidFill>
        </p:spPr>
        <p:txBody>
          <a:bodyPr wrap="square" lIns="0" tIns="0" rIns="0" bIns="0" rtlCol="0"/>
          <a:lstStyle/>
          <a:p>
            <a:endParaRPr/>
          </a:p>
        </p:txBody>
      </p:sp>
      <p:sp>
        <p:nvSpPr>
          <p:cNvPr id="6" name="object 6"/>
          <p:cNvSpPr/>
          <p:nvPr/>
        </p:nvSpPr>
        <p:spPr>
          <a:xfrm>
            <a:off x="452934" y="565785"/>
            <a:ext cx="89823" cy="99924"/>
          </a:xfrm>
          <a:custGeom>
            <a:avLst/>
            <a:gdLst/>
            <a:ahLst/>
            <a:cxnLst/>
            <a:rect l="l" t="t" r="r" b="b"/>
            <a:pathLst>
              <a:path w="197484" h="219709">
                <a:moveTo>
                  <a:pt x="197376" y="0"/>
                </a:moveTo>
                <a:lnTo>
                  <a:pt x="0" y="96782"/>
                </a:lnTo>
                <a:lnTo>
                  <a:pt x="182518" y="219323"/>
                </a:lnTo>
                <a:lnTo>
                  <a:pt x="197376" y="0"/>
                </a:lnTo>
                <a:close/>
              </a:path>
            </a:pathLst>
          </a:custGeom>
          <a:solidFill>
            <a:srgbClr val="FFB4E6"/>
          </a:solidFill>
        </p:spPr>
        <p:txBody>
          <a:bodyPr wrap="square" lIns="0" tIns="0" rIns="0" bIns="0" rtlCol="0"/>
          <a:lstStyle/>
          <a:p>
            <a:endParaRPr/>
          </a:p>
        </p:txBody>
      </p:sp>
      <p:sp>
        <p:nvSpPr>
          <p:cNvPr id="7" name="object 7"/>
          <p:cNvSpPr/>
          <p:nvPr/>
        </p:nvSpPr>
        <p:spPr>
          <a:xfrm>
            <a:off x="262004" y="337238"/>
            <a:ext cx="254738" cy="154218"/>
          </a:xfrm>
          <a:custGeom>
            <a:avLst/>
            <a:gdLst/>
            <a:ahLst/>
            <a:cxnLst/>
            <a:rect l="l" t="t" r="r" b="b"/>
            <a:pathLst>
              <a:path w="560069" h="339090">
                <a:moveTo>
                  <a:pt x="559857" y="338785"/>
                </a:moveTo>
                <a:lnTo>
                  <a:pt x="0" y="338785"/>
                </a:lnTo>
                <a:lnTo>
                  <a:pt x="0" y="0"/>
                </a:lnTo>
                <a:lnTo>
                  <a:pt x="559857" y="0"/>
                </a:lnTo>
                <a:lnTo>
                  <a:pt x="559857" y="338785"/>
                </a:lnTo>
                <a:close/>
              </a:path>
            </a:pathLst>
          </a:custGeom>
          <a:solidFill>
            <a:srgbClr val="FFFFFF"/>
          </a:solidFill>
        </p:spPr>
        <p:txBody>
          <a:bodyPr wrap="square" lIns="0" tIns="0" rIns="0" bIns="0" rtlCol="0"/>
          <a:lstStyle/>
          <a:p>
            <a:endParaRPr/>
          </a:p>
        </p:txBody>
      </p:sp>
      <p:sp>
        <p:nvSpPr>
          <p:cNvPr id="8" name="object 8"/>
          <p:cNvSpPr/>
          <p:nvPr/>
        </p:nvSpPr>
        <p:spPr>
          <a:xfrm>
            <a:off x="250986" y="329668"/>
            <a:ext cx="302393" cy="198693"/>
          </a:xfrm>
          <a:custGeom>
            <a:avLst/>
            <a:gdLst/>
            <a:ahLst/>
            <a:cxnLst/>
            <a:rect l="l" t="t" r="r" b="b"/>
            <a:pathLst>
              <a:path w="664844" h="436880">
                <a:moveTo>
                  <a:pt x="664450" y="56951"/>
                </a:moveTo>
                <a:lnTo>
                  <a:pt x="626483" y="56951"/>
                </a:lnTo>
                <a:lnTo>
                  <a:pt x="626483" y="398668"/>
                </a:lnTo>
                <a:lnTo>
                  <a:pt x="37977" y="398668"/>
                </a:lnTo>
                <a:lnTo>
                  <a:pt x="37977" y="436635"/>
                </a:lnTo>
                <a:lnTo>
                  <a:pt x="664450" y="436635"/>
                </a:lnTo>
                <a:lnTo>
                  <a:pt x="664450" y="56951"/>
                </a:lnTo>
                <a:close/>
              </a:path>
              <a:path w="664844" h="436880">
                <a:moveTo>
                  <a:pt x="607499" y="0"/>
                </a:moveTo>
                <a:lnTo>
                  <a:pt x="0" y="0"/>
                </a:lnTo>
                <a:lnTo>
                  <a:pt x="0" y="379684"/>
                </a:lnTo>
                <a:lnTo>
                  <a:pt x="607499" y="379684"/>
                </a:lnTo>
                <a:lnTo>
                  <a:pt x="607499" y="341706"/>
                </a:lnTo>
                <a:lnTo>
                  <a:pt x="94929" y="341706"/>
                </a:lnTo>
                <a:lnTo>
                  <a:pt x="90453" y="319542"/>
                </a:lnTo>
                <a:lnTo>
                  <a:pt x="78248" y="301439"/>
                </a:lnTo>
                <a:lnTo>
                  <a:pt x="60146" y="289232"/>
                </a:lnTo>
                <a:lnTo>
                  <a:pt x="37977" y="284755"/>
                </a:lnTo>
                <a:lnTo>
                  <a:pt x="37977" y="94918"/>
                </a:lnTo>
                <a:lnTo>
                  <a:pt x="60146" y="90443"/>
                </a:lnTo>
                <a:lnTo>
                  <a:pt x="78248" y="78238"/>
                </a:lnTo>
                <a:lnTo>
                  <a:pt x="90453" y="60135"/>
                </a:lnTo>
                <a:lnTo>
                  <a:pt x="94929" y="37967"/>
                </a:lnTo>
                <a:lnTo>
                  <a:pt x="607499" y="37967"/>
                </a:lnTo>
                <a:lnTo>
                  <a:pt x="607499" y="0"/>
                </a:lnTo>
                <a:close/>
              </a:path>
              <a:path w="664844" h="436880">
                <a:moveTo>
                  <a:pt x="607499" y="37967"/>
                </a:moveTo>
                <a:lnTo>
                  <a:pt x="512581" y="37967"/>
                </a:lnTo>
                <a:lnTo>
                  <a:pt x="517056" y="60135"/>
                </a:lnTo>
                <a:lnTo>
                  <a:pt x="529261" y="78238"/>
                </a:lnTo>
                <a:lnTo>
                  <a:pt x="547363" y="90443"/>
                </a:lnTo>
                <a:lnTo>
                  <a:pt x="569532" y="94918"/>
                </a:lnTo>
                <a:lnTo>
                  <a:pt x="569532" y="284755"/>
                </a:lnTo>
                <a:lnTo>
                  <a:pt x="547363" y="289232"/>
                </a:lnTo>
                <a:lnTo>
                  <a:pt x="529261" y="301439"/>
                </a:lnTo>
                <a:lnTo>
                  <a:pt x="517056" y="319542"/>
                </a:lnTo>
                <a:lnTo>
                  <a:pt x="512581" y="341706"/>
                </a:lnTo>
                <a:lnTo>
                  <a:pt x="607499" y="341706"/>
                </a:lnTo>
                <a:lnTo>
                  <a:pt x="607499" y="37967"/>
                </a:lnTo>
                <a:close/>
              </a:path>
              <a:path w="664844" h="436880">
                <a:moveTo>
                  <a:pt x="123409" y="161366"/>
                </a:moveTo>
                <a:lnTo>
                  <a:pt x="112324" y="163605"/>
                </a:lnTo>
                <a:lnTo>
                  <a:pt x="103271" y="169709"/>
                </a:lnTo>
                <a:lnTo>
                  <a:pt x="97167" y="178762"/>
                </a:lnTo>
                <a:lnTo>
                  <a:pt x="94929" y="189847"/>
                </a:lnTo>
                <a:lnTo>
                  <a:pt x="97167" y="200931"/>
                </a:lnTo>
                <a:lnTo>
                  <a:pt x="103271" y="209980"/>
                </a:lnTo>
                <a:lnTo>
                  <a:pt x="112324" y="216081"/>
                </a:lnTo>
                <a:lnTo>
                  <a:pt x="123409" y="218317"/>
                </a:lnTo>
                <a:lnTo>
                  <a:pt x="134493" y="216081"/>
                </a:lnTo>
                <a:lnTo>
                  <a:pt x="143542" y="209980"/>
                </a:lnTo>
                <a:lnTo>
                  <a:pt x="149643" y="200931"/>
                </a:lnTo>
                <a:lnTo>
                  <a:pt x="151880" y="189847"/>
                </a:lnTo>
                <a:lnTo>
                  <a:pt x="149643" y="178762"/>
                </a:lnTo>
                <a:lnTo>
                  <a:pt x="143542" y="169709"/>
                </a:lnTo>
                <a:lnTo>
                  <a:pt x="134493" y="163605"/>
                </a:lnTo>
                <a:lnTo>
                  <a:pt x="123409" y="161366"/>
                </a:lnTo>
                <a:close/>
              </a:path>
              <a:path w="664844" h="436880">
                <a:moveTo>
                  <a:pt x="484100" y="161366"/>
                </a:moveTo>
                <a:lnTo>
                  <a:pt x="473017" y="163605"/>
                </a:lnTo>
                <a:lnTo>
                  <a:pt x="463967" y="169709"/>
                </a:lnTo>
                <a:lnTo>
                  <a:pt x="457866" y="178762"/>
                </a:lnTo>
                <a:lnTo>
                  <a:pt x="455630" y="189847"/>
                </a:lnTo>
                <a:lnTo>
                  <a:pt x="457866" y="200931"/>
                </a:lnTo>
                <a:lnTo>
                  <a:pt x="463967" y="209980"/>
                </a:lnTo>
                <a:lnTo>
                  <a:pt x="473017" y="216081"/>
                </a:lnTo>
                <a:lnTo>
                  <a:pt x="484100" y="218317"/>
                </a:lnTo>
                <a:lnTo>
                  <a:pt x="495185" y="216081"/>
                </a:lnTo>
                <a:lnTo>
                  <a:pt x="504238" y="209980"/>
                </a:lnTo>
                <a:lnTo>
                  <a:pt x="510342" y="200931"/>
                </a:lnTo>
                <a:lnTo>
                  <a:pt x="512581" y="189847"/>
                </a:lnTo>
                <a:lnTo>
                  <a:pt x="510342" y="178762"/>
                </a:lnTo>
                <a:lnTo>
                  <a:pt x="504238" y="169709"/>
                </a:lnTo>
                <a:lnTo>
                  <a:pt x="495185" y="163605"/>
                </a:lnTo>
                <a:lnTo>
                  <a:pt x="484100" y="161366"/>
                </a:lnTo>
                <a:close/>
              </a:path>
            </a:pathLst>
          </a:custGeom>
          <a:solidFill>
            <a:srgbClr val="000000"/>
          </a:solidFill>
        </p:spPr>
        <p:txBody>
          <a:bodyPr wrap="square" lIns="0" tIns="0" rIns="0" bIns="0" rtlCol="0"/>
          <a:lstStyle/>
          <a:p>
            <a:endParaRPr/>
          </a:p>
        </p:txBody>
      </p:sp>
      <p:sp>
        <p:nvSpPr>
          <p:cNvPr id="9" name="object 9"/>
          <p:cNvSpPr/>
          <p:nvPr/>
        </p:nvSpPr>
        <p:spPr>
          <a:xfrm>
            <a:off x="337334" y="356369"/>
            <a:ext cx="103618" cy="103605"/>
          </a:xfrm>
          <a:prstGeom prst="rect">
            <a:avLst/>
          </a:prstGeom>
          <a:blipFill>
            <a:blip r:embed="rId2" cstate="print"/>
            <a:stretch>
              <a:fillRect/>
            </a:stretch>
          </a:blipFill>
        </p:spPr>
        <p:txBody>
          <a:bodyPr wrap="square" lIns="0" tIns="0" rIns="0" bIns="0" rtlCol="0"/>
          <a:lstStyle/>
          <a:p>
            <a:endParaRPr/>
          </a:p>
        </p:txBody>
      </p:sp>
      <p:sp>
        <p:nvSpPr>
          <p:cNvPr id="10" name="object 10"/>
          <p:cNvSpPr txBox="1"/>
          <p:nvPr/>
        </p:nvSpPr>
        <p:spPr>
          <a:xfrm>
            <a:off x="5072383" y="2280320"/>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2024</a:t>
            </a:r>
            <a:endParaRPr sz="600">
              <a:latin typeface="Helvetica Neue"/>
              <a:cs typeface="Helvetica Neue"/>
            </a:endParaRPr>
          </a:p>
        </p:txBody>
      </p:sp>
      <p:sp>
        <p:nvSpPr>
          <p:cNvPr id="11" name="object 11"/>
          <p:cNvSpPr txBox="1"/>
          <p:nvPr/>
        </p:nvSpPr>
        <p:spPr>
          <a:xfrm>
            <a:off x="5699961" y="2280320"/>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2015</a:t>
            </a:r>
            <a:endParaRPr sz="600">
              <a:latin typeface="Helvetica Neue"/>
              <a:cs typeface="Helvetica Neue"/>
            </a:endParaRPr>
          </a:p>
        </p:txBody>
      </p:sp>
      <p:sp>
        <p:nvSpPr>
          <p:cNvPr id="12" name="object 12"/>
          <p:cNvSpPr txBox="1"/>
          <p:nvPr/>
        </p:nvSpPr>
        <p:spPr>
          <a:xfrm>
            <a:off x="6330188" y="2280319"/>
            <a:ext cx="322322" cy="98749"/>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lang="fr-FR" sz="600" spc="2" dirty="0">
                <a:latin typeface="Helvetica Neue"/>
                <a:cs typeface="Helvetica Neue"/>
              </a:rPr>
              <a:t>1005</a:t>
            </a:r>
            <a:endParaRPr sz="600" dirty="0">
              <a:latin typeface="Helvetica Neue"/>
              <a:cs typeface="Helvetica Neue"/>
            </a:endParaRPr>
          </a:p>
        </p:txBody>
      </p:sp>
      <p:sp>
        <p:nvSpPr>
          <p:cNvPr id="13" name="object 13"/>
          <p:cNvSpPr txBox="1"/>
          <p:nvPr/>
        </p:nvSpPr>
        <p:spPr>
          <a:xfrm>
            <a:off x="6960417" y="2280320"/>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1007</a:t>
            </a:r>
            <a:endParaRPr sz="600">
              <a:latin typeface="Helvetica Neue"/>
              <a:cs typeface="Helvetica Neue"/>
            </a:endParaRPr>
          </a:p>
        </p:txBody>
      </p:sp>
      <p:sp>
        <p:nvSpPr>
          <p:cNvPr id="14" name="object 14"/>
          <p:cNvSpPr txBox="1"/>
          <p:nvPr/>
        </p:nvSpPr>
        <p:spPr>
          <a:xfrm>
            <a:off x="7590644" y="2280320"/>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1003</a:t>
            </a:r>
            <a:endParaRPr sz="600">
              <a:latin typeface="Helvetica Neue"/>
              <a:cs typeface="Helvetica Neue"/>
            </a:endParaRPr>
          </a:p>
        </p:txBody>
      </p:sp>
      <p:sp>
        <p:nvSpPr>
          <p:cNvPr id="15" name="object 15"/>
          <p:cNvSpPr/>
          <p:nvPr/>
        </p:nvSpPr>
        <p:spPr>
          <a:xfrm>
            <a:off x="5281855" y="1950136"/>
            <a:ext cx="101087" cy="287932"/>
          </a:xfrm>
          <a:custGeom>
            <a:avLst/>
            <a:gdLst/>
            <a:ahLst/>
            <a:cxnLst/>
            <a:rect l="l" t="t" r="r" b="b"/>
            <a:pathLst>
              <a:path w="222250" h="633095">
                <a:moveTo>
                  <a:pt x="0" y="0"/>
                </a:moveTo>
                <a:lnTo>
                  <a:pt x="0" y="632912"/>
                </a:lnTo>
                <a:lnTo>
                  <a:pt x="41700" y="614462"/>
                </a:lnTo>
                <a:lnTo>
                  <a:pt x="80215" y="590784"/>
                </a:lnTo>
                <a:lnTo>
                  <a:pt x="115084" y="562326"/>
                </a:lnTo>
                <a:lnTo>
                  <a:pt x="145850" y="529541"/>
                </a:lnTo>
                <a:lnTo>
                  <a:pt x="172051" y="492878"/>
                </a:lnTo>
                <a:lnTo>
                  <a:pt x="193230" y="452787"/>
                </a:lnTo>
                <a:lnTo>
                  <a:pt x="208926" y="409718"/>
                </a:lnTo>
                <a:lnTo>
                  <a:pt x="218681" y="364123"/>
                </a:lnTo>
                <a:lnTo>
                  <a:pt x="222035" y="316451"/>
                </a:lnTo>
                <a:lnTo>
                  <a:pt x="218681" y="268778"/>
                </a:lnTo>
                <a:lnTo>
                  <a:pt x="208926" y="223183"/>
                </a:lnTo>
                <a:lnTo>
                  <a:pt x="193230" y="180115"/>
                </a:lnTo>
                <a:lnTo>
                  <a:pt x="172051" y="140025"/>
                </a:lnTo>
                <a:lnTo>
                  <a:pt x="145850" y="103362"/>
                </a:lnTo>
                <a:lnTo>
                  <a:pt x="115084" y="70578"/>
                </a:lnTo>
                <a:lnTo>
                  <a:pt x="80215" y="42123"/>
                </a:lnTo>
                <a:lnTo>
                  <a:pt x="41700" y="18446"/>
                </a:lnTo>
                <a:lnTo>
                  <a:pt x="0" y="0"/>
                </a:lnTo>
                <a:close/>
              </a:path>
            </a:pathLst>
          </a:custGeom>
          <a:solidFill>
            <a:srgbClr val="C60E33"/>
          </a:solidFill>
        </p:spPr>
        <p:txBody>
          <a:bodyPr wrap="square" lIns="0" tIns="0" rIns="0" bIns="0" rtlCol="0"/>
          <a:lstStyle/>
          <a:p>
            <a:endParaRPr/>
          </a:p>
        </p:txBody>
      </p:sp>
      <p:sp>
        <p:nvSpPr>
          <p:cNvPr id="16" name="object 16"/>
          <p:cNvSpPr/>
          <p:nvPr/>
        </p:nvSpPr>
        <p:spPr>
          <a:xfrm>
            <a:off x="5076279" y="1950136"/>
            <a:ext cx="101087" cy="287932"/>
          </a:xfrm>
          <a:custGeom>
            <a:avLst/>
            <a:gdLst/>
            <a:ahLst/>
            <a:cxnLst/>
            <a:rect l="l" t="t" r="r" b="b"/>
            <a:pathLst>
              <a:path w="222250" h="633095">
                <a:moveTo>
                  <a:pt x="222035" y="0"/>
                </a:moveTo>
                <a:lnTo>
                  <a:pt x="180334" y="18446"/>
                </a:lnTo>
                <a:lnTo>
                  <a:pt x="141820" y="42123"/>
                </a:lnTo>
                <a:lnTo>
                  <a:pt x="106950" y="70578"/>
                </a:lnTo>
                <a:lnTo>
                  <a:pt x="76185" y="103362"/>
                </a:lnTo>
                <a:lnTo>
                  <a:pt x="49983" y="140025"/>
                </a:lnTo>
                <a:lnTo>
                  <a:pt x="28804" y="180115"/>
                </a:lnTo>
                <a:lnTo>
                  <a:pt x="13108" y="223183"/>
                </a:lnTo>
                <a:lnTo>
                  <a:pt x="3353" y="268778"/>
                </a:lnTo>
                <a:lnTo>
                  <a:pt x="0" y="316451"/>
                </a:lnTo>
                <a:lnTo>
                  <a:pt x="3353" y="364123"/>
                </a:lnTo>
                <a:lnTo>
                  <a:pt x="13108" y="409718"/>
                </a:lnTo>
                <a:lnTo>
                  <a:pt x="28804" y="452787"/>
                </a:lnTo>
                <a:lnTo>
                  <a:pt x="49983" y="492878"/>
                </a:lnTo>
                <a:lnTo>
                  <a:pt x="76185" y="529541"/>
                </a:lnTo>
                <a:lnTo>
                  <a:pt x="106950" y="562326"/>
                </a:lnTo>
                <a:lnTo>
                  <a:pt x="141820" y="590784"/>
                </a:lnTo>
                <a:lnTo>
                  <a:pt x="180334" y="614462"/>
                </a:lnTo>
                <a:lnTo>
                  <a:pt x="222035" y="632912"/>
                </a:lnTo>
                <a:lnTo>
                  <a:pt x="222035" y="0"/>
                </a:lnTo>
                <a:close/>
              </a:path>
            </a:pathLst>
          </a:custGeom>
          <a:solidFill>
            <a:srgbClr val="354083"/>
          </a:solidFill>
        </p:spPr>
        <p:txBody>
          <a:bodyPr wrap="square" lIns="0" tIns="0" rIns="0" bIns="0" rtlCol="0"/>
          <a:lstStyle/>
          <a:p>
            <a:endParaRPr/>
          </a:p>
        </p:txBody>
      </p:sp>
      <p:sp>
        <p:nvSpPr>
          <p:cNvPr id="17" name="object 17"/>
          <p:cNvSpPr/>
          <p:nvPr/>
        </p:nvSpPr>
        <p:spPr>
          <a:xfrm>
            <a:off x="5177265" y="1940785"/>
            <a:ext cx="104841" cy="306704"/>
          </a:xfrm>
          <a:custGeom>
            <a:avLst/>
            <a:gdLst/>
            <a:ahLst/>
            <a:cxnLst/>
            <a:rect l="l" t="t" r="r" b="b"/>
            <a:pathLst>
              <a:path w="230504" h="674370">
                <a:moveTo>
                  <a:pt x="114980" y="0"/>
                </a:moveTo>
                <a:lnTo>
                  <a:pt x="85004" y="1375"/>
                </a:lnTo>
                <a:lnTo>
                  <a:pt x="55798" y="5382"/>
                </a:lnTo>
                <a:lnTo>
                  <a:pt x="27438" y="11838"/>
                </a:lnTo>
                <a:lnTo>
                  <a:pt x="0" y="20564"/>
                </a:lnTo>
                <a:lnTo>
                  <a:pt x="0" y="653467"/>
                </a:lnTo>
                <a:lnTo>
                  <a:pt x="27438" y="662187"/>
                </a:lnTo>
                <a:lnTo>
                  <a:pt x="55798" y="668640"/>
                </a:lnTo>
                <a:lnTo>
                  <a:pt x="85004" y="672645"/>
                </a:lnTo>
                <a:lnTo>
                  <a:pt x="114980" y="674021"/>
                </a:lnTo>
                <a:lnTo>
                  <a:pt x="144952" y="672645"/>
                </a:lnTo>
                <a:lnTo>
                  <a:pt x="174158" y="668640"/>
                </a:lnTo>
                <a:lnTo>
                  <a:pt x="202517" y="662187"/>
                </a:lnTo>
                <a:lnTo>
                  <a:pt x="229951" y="653467"/>
                </a:lnTo>
                <a:lnTo>
                  <a:pt x="229951" y="20564"/>
                </a:lnTo>
                <a:lnTo>
                  <a:pt x="202517" y="11838"/>
                </a:lnTo>
                <a:lnTo>
                  <a:pt x="174158" y="5382"/>
                </a:lnTo>
                <a:lnTo>
                  <a:pt x="144952" y="1375"/>
                </a:lnTo>
                <a:lnTo>
                  <a:pt x="114980" y="0"/>
                </a:lnTo>
                <a:close/>
              </a:path>
            </a:pathLst>
          </a:custGeom>
          <a:solidFill>
            <a:srgbClr val="FFFFFF"/>
          </a:solidFill>
        </p:spPr>
        <p:txBody>
          <a:bodyPr wrap="square" lIns="0" tIns="0" rIns="0" bIns="0" rtlCol="0"/>
          <a:lstStyle/>
          <a:p>
            <a:endParaRPr/>
          </a:p>
        </p:txBody>
      </p:sp>
      <p:sp>
        <p:nvSpPr>
          <p:cNvPr id="18" name="object 18"/>
          <p:cNvSpPr/>
          <p:nvPr/>
        </p:nvSpPr>
        <p:spPr>
          <a:xfrm>
            <a:off x="5706499" y="1940788"/>
            <a:ext cx="305667" cy="305640"/>
          </a:xfrm>
          <a:prstGeom prst="rect">
            <a:avLst/>
          </a:prstGeom>
          <a:blipFill>
            <a:blip r:embed="rId3" cstate="print"/>
            <a:stretch>
              <a:fillRect/>
            </a:stretch>
          </a:blipFill>
        </p:spPr>
        <p:txBody>
          <a:bodyPr wrap="square" lIns="0" tIns="0" rIns="0" bIns="0" rtlCol="0"/>
          <a:lstStyle/>
          <a:p>
            <a:endParaRPr/>
          </a:p>
        </p:txBody>
      </p:sp>
      <p:sp>
        <p:nvSpPr>
          <p:cNvPr id="19" name="object 19"/>
          <p:cNvSpPr/>
          <p:nvPr/>
        </p:nvSpPr>
        <p:spPr>
          <a:xfrm>
            <a:off x="6335539" y="1938644"/>
            <a:ext cx="307881" cy="307859"/>
          </a:xfrm>
          <a:custGeom>
            <a:avLst/>
            <a:gdLst/>
            <a:ahLst/>
            <a:cxnLst/>
            <a:rect l="l" t="t" r="r" b="b"/>
            <a:pathLst>
              <a:path w="676909" h="676910">
                <a:moveTo>
                  <a:pt x="384301" y="3088"/>
                </a:moveTo>
                <a:lnTo>
                  <a:pt x="292470" y="3088"/>
                </a:lnTo>
                <a:lnTo>
                  <a:pt x="248431" y="12086"/>
                </a:lnTo>
                <a:lnTo>
                  <a:pt x="206672" y="26590"/>
                </a:lnTo>
                <a:lnTo>
                  <a:pt x="167597" y="46197"/>
                </a:lnTo>
                <a:lnTo>
                  <a:pt x="131609" y="70503"/>
                </a:lnTo>
                <a:lnTo>
                  <a:pt x="99112" y="99105"/>
                </a:lnTo>
                <a:lnTo>
                  <a:pt x="70507" y="131601"/>
                </a:lnTo>
                <a:lnTo>
                  <a:pt x="46200" y="167586"/>
                </a:lnTo>
                <a:lnTo>
                  <a:pt x="26592" y="206659"/>
                </a:lnTo>
                <a:lnTo>
                  <a:pt x="12087" y="248415"/>
                </a:lnTo>
                <a:lnTo>
                  <a:pt x="3089" y="292452"/>
                </a:lnTo>
                <a:lnTo>
                  <a:pt x="0" y="338366"/>
                </a:lnTo>
                <a:lnTo>
                  <a:pt x="3089" y="384283"/>
                </a:lnTo>
                <a:lnTo>
                  <a:pt x="12087" y="428322"/>
                </a:lnTo>
                <a:lnTo>
                  <a:pt x="26592" y="470079"/>
                </a:lnTo>
                <a:lnTo>
                  <a:pt x="46200" y="509153"/>
                </a:lnTo>
                <a:lnTo>
                  <a:pt x="70507" y="545140"/>
                </a:lnTo>
                <a:lnTo>
                  <a:pt x="99112" y="577636"/>
                </a:lnTo>
                <a:lnTo>
                  <a:pt x="131609" y="606239"/>
                </a:lnTo>
                <a:lnTo>
                  <a:pt x="167597" y="630546"/>
                </a:lnTo>
                <a:lnTo>
                  <a:pt x="206672" y="650152"/>
                </a:lnTo>
                <a:lnTo>
                  <a:pt x="248431" y="664656"/>
                </a:lnTo>
                <a:lnTo>
                  <a:pt x="292470" y="673654"/>
                </a:lnTo>
                <a:lnTo>
                  <a:pt x="337142" y="676660"/>
                </a:lnTo>
                <a:lnTo>
                  <a:pt x="339632" y="676660"/>
                </a:lnTo>
                <a:lnTo>
                  <a:pt x="384301" y="673654"/>
                </a:lnTo>
                <a:lnTo>
                  <a:pt x="428338" y="664656"/>
                </a:lnTo>
                <a:lnTo>
                  <a:pt x="470094" y="650152"/>
                </a:lnTo>
                <a:lnTo>
                  <a:pt x="509167" y="630546"/>
                </a:lnTo>
                <a:lnTo>
                  <a:pt x="545153" y="606239"/>
                </a:lnTo>
                <a:lnTo>
                  <a:pt x="577648" y="577636"/>
                </a:lnTo>
                <a:lnTo>
                  <a:pt x="606251" y="545140"/>
                </a:lnTo>
                <a:lnTo>
                  <a:pt x="630557" y="509153"/>
                </a:lnTo>
                <a:lnTo>
                  <a:pt x="650163" y="470079"/>
                </a:lnTo>
                <a:lnTo>
                  <a:pt x="664667" y="428322"/>
                </a:lnTo>
                <a:lnTo>
                  <a:pt x="673665" y="384283"/>
                </a:lnTo>
                <a:lnTo>
                  <a:pt x="676754" y="338366"/>
                </a:lnTo>
                <a:lnTo>
                  <a:pt x="673665" y="292452"/>
                </a:lnTo>
                <a:lnTo>
                  <a:pt x="664667" y="248415"/>
                </a:lnTo>
                <a:lnTo>
                  <a:pt x="650163" y="206659"/>
                </a:lnTo>
                <a:lnTo>
                  <a:pt x="630557" y="167586"/>
                </a:lnTo>
                <a:lnTo>
                  <a:pt x="606251" y="131601"/>
                </a:lnTo>
                <a:lnTo>
                  <a:pt x="577648" y="99105"/>
                </a:lnTo>
                <a:lnTo>
                  <a:pt x="545153" y="70503"/>
                </a:lnTo>
                <a:lnTo>
                  <a:pt x="509167" y="46197"/>
                </a:lnTo>
                <a:lnTo>
                  <a:pt x="470094" y="26590"/>
                </a:lnTo>
                <a:lnTo>
                  <a:pt x="428338" y="12086"/>
                </a:lnTo>
                <a:lnTo>
                  <a:pt x="384301" y="3088"/>
                </a:lnTo>
                <a:close/>
              </a:path>
              <a:path w="676909" h="676910">
                <a:moveTo>
                  <a:pt x="338387" y="0"/>
                </a:moveTo>
                <a:lnTo>
                  <a:pt x="292470" y="3088"/>
                </a:lnTo>
                <a:lnTo>
                  <a:pt x="384301" y="3088"/>
                </a:lnTo>
                <a:lnTo>
                  <a:pt x="338387" y="0"/>
                </a:lnTo>
                <a:close/>
              </a:path>
            </a:pathLst>
          </a:custGeom>
          <a:solidFill>
            <a:srgbClr val="FFFFFF"/>
          </a:solidFill>
        </p:spPr>
        <p:txBody>
          <a:bodyPr wrap="square" lIns="0" tIns="0" rIns="0" bIns="0" rtlCol="0"/>
          <a:lstStyle/>
          <a:p>
            <a:endParaRPr/>
          </a:p>
        </p:txBody>
      </p:sp>
      <p:sp>
        <p:nvSpPr>
          <p:cNvPr id="20" name="object 20"/>
          <p:cNvSpPr/>
          <p:nvPr/>
        </p:nvSpPr>
        <p:spPr>
          <a:xfrm>
            <a:off x="6335539" y="1938644"/>
            <a:ext cx="307881" cy="307859"/>
          </a:xfrm>
          <a:custGeom>
            <a:avLst/>
            <a:gdLst/>
            <a:ahLst/>
            <a:cxnLst/>
            <a:rect l="l" t="t" r="r" b="b"/>
            <a:pathLst>
              <a:path w="676909" h="676910">
                <a:moveTo>
                  <a:pt x="405677" y="405793"/>
                </a:moveTo>
                <a:lnTo>
                  <a:pt x="270383" y="405793"/>
                </a:lnTo>
                <a:lnTo>
                  <a:pt x="270383" y="669142"/>
                </a:lnTo>
                <a:lnTo>
                  <a:pt x="292470" y="673654"/>
                </a:lnTo>
                <a:lnTo>
                  <a:pt x="337207" y="676664"/>
                </a:lnTo>
                <a:lnTo>
                  <a:pt x="339567" y="676664"/>
                </a:lnTo>
                <a:lnTo>
                  <a:pt x="384301" y="673654"/>
                </a:lnTo>
                <a:lnTo>
                  <a:pt x="405677" y="669287"/>
                </a:lnTo>
                <a:lnTo>
                  <a:pt x="405677" y="405793"/>
                </a:lnTo>
                <a:close/>
              </a:path>
              <a:path w="676909" h="676910">
                <a:moveTo>
                  <a:pt x="669183" y="270519"/>
                </a:moveTo>
                <a:lnTo>
                  <a:pt x="7570" y="270519"/>
                </a:lnTo>
                <a:lnTo>
                  <a:pt x="3089" y="292452"/>
                </a:lnTo>
                <a:lnTo>
                  <a:pt x="0" y="338366"/>
                </a:lnTo>
                <a:lnTo>
                  <a:pt x="3089" y="384283"/>
                </a:lnTo>
                <a:lnTo>
                  <a:pt x="7484" y="405793"/>
                </a:lnTo>
                <a:lnTo>
                  <a:pt x="669270" y="405793"/>
                </a:lnTo>
                <a:lnTo>
                  <a:pt x="673665" y="384283"/>
                </a:lnTo>
                <a:lnTo>
                  <a:pt x="676754" y="338366"/>
                </a:lnTo>
                <a:lnTo>
                  <a:pt x="673665" y="292452"/>
                </a:lnTo>
                <a:lnTo>
                  <a:pt x="669183" y="270519"/>
                </a:lnTo>
                <a:close/>
              </a:path>
              <a:path w="676909" h="676910">
                <a:moveTo>
                  <a:pt x="384301" y="3088"/>
                </a:moveTo>
                <a:lnTo>
                  <a:pt x="292470" y="3088"/>
                </a:lnTo>
                <a:lnTo>
                  <a:pt x="270383" y="7601"/>
                </a:lnTo>
                <a:lnTo>
                  <a:pt x="270383" y="270519"/>
                </a:lnTo>
                <a:lnTo>
                  <a:pt x="405677" y="270519"/>
                </a:lnTo>
                <a:lnTo>
                  <a:pt x="405677" y="7456"/>
                </a:lnTo>
                <a:lnTo>
                  <a:pt x="384301" y="3088"/>
                </a:lnTo>
                <a:close/>
              </a:path>
              <a:path w="676909" h="676910">
                <a:moveTo>
                  <a:pt x="338387" y="0"/>
                </a:moveTo>
                <a:lnTo>
                  <a:pt x="292470" y="3088"/>
                </a:lnTo>
                <a:lnTo>
                  <a:pt x="384301" y="3088"/>
                </a:lnTo>
                <a:lnTo>
                  <a:pt x="338387" y="0"/>
                </a:lnTo>
                <a:close/>
              </a:path>
            </a:pathLst>
          </a:custGeom>
          <a:solidFill>
            <a:srgbClr val="BE142B"/>
          </a:solidFill>
        </p:spPr>
        <p:txBody>
          <a:bodyPr wrap="square" lIns="0" tIns="0" rIns="0" bIns="0" rtlCol="0"/>
          <a:lstStyle/>
          <a:p>
            <a:endParaRPr/>
          </a:p>
        </p:txBody>
      </p:sp>
      <p:sp>
        <p:nvSpPr>
          <p:cNvPr id="21" name="object 21"/>
          <p:cNvSpPr/>
          <p:nvPr/>
        </p:nvSpPr>
        <p:spPr>
          <a:xfrm>
            <a:off x="6540574" y="1947688"/>
            <a:ext cx="73071" cy="90683"/>
          </a:xfrm>
          <a:custGeom>
            <a:avLst/>
            <a:gdLst/>
            <a:ahLst/>
            <a:cxnLst/>
            <a:rect l="l" t="t" r="r" b="b"/>
            <a:pathLst>
              <a:path w="160655" h="199389">
                <a:moveTo>
                  <a:pt x="0" y="0"/>
                </a:moveTo>
                <a:lnTo>
                  <a:pt x="0" y="199148"/>
                </a:lnTo>
                <a:lnTo>
                  <a:pt x="160351" y="118957"/>
                </a:lnTo>
                <a:lnTo>
                  <a:pt x="126858" y="79220"/>
                </a:lnTo>
                <a:lnTo>
                  <a:pt x="94362" y="50617"/>
                </a:lnTo>
                <a:lnTo>
                  <a:pt x="58376" y="26311"/>
                </a:lnTo>
                <a:lnTo>
                  <a:pt x="19304" y="6705"/>
                </a:lnTo>
                <a:lnTo>
                  <a:pt x="0" y="0"/>
                </a:lnTo>
                <a:close/>
              </a:path>
            </a:pathLst>
          </a:custGeom>
          <a:solidFill>
            <a:srgbClr val="24346C"/>
          </a:solidFill>
        </p:spPr>
        <p:txBody>
          <a:bodyPr wrap="square" lIns="0" tIns="0" rIns="0" bIns="0" rtlCol="0"/>
          <a:lstStyle/>
          <a:p>
            <a:endParaRPr/>
          </a:p>
        </p:txBody>
      </p:sp>
      <p:sp>
        <p:nvSpPr>
          <p:cNvPr id="22" name="object 22"/>
          <p:cNvSpPr/>
          <p:nvPr/>
        </p:nvSpPr>
        <p:spPr>
          <a:xfrm>
            <a:off x="6540574" y="2146772"/>
            <a:ext cx="73071" cy="90683"/>
          </a:xfrm>
          <a:custGeom>
            <a:avLst/>
            <a:gdLst/>
            <a:ahLst/>
            <a:cxnLst/>
            <a:rect l="l" t="t" r="r" b="b"/>
            <a:pathLst>
              <a:path w="160655" h="199389">
                <a:moveTo>
                  <a:pt x="0" y="0"/>
                </a:moveTo>
                <a:lnTo>
                  <a:pt x="0" y="199233"/>
                </a:lnTo>
                <a:lnTo>
                  <a:pt x="19304" y="192528"/>
                </a:lnTo>
                <a:lnTo>
                  <a:pt x="58376" y="172921"/>
                </a:lnTo>
                <a:lnTo>
                  <a:pt x="94362" y="148614"/>
                </a:lnTo>
                <a:lnTo>
                  <a:pt x="126858" y="120012"/>
                </a:lnTo>
                <a:lnTo>
                  <a:pt x="155460" y="87515"/>
                </a:lnTo>
                <a:lnTo>
                  <a:pt x="160393" y="80212"/>
                </a:lnTo>
                <a:lnTo>
                  <a:pt x="0" y="0"/>
                </a:lnTo>
                <a:close/>
              </a:path>
            </a:pathLst>
          </a:custGeom>
          <a:solidFill>
            <a:srgbClr val="24346C"/>
          </a:solidFill>
        </p:spPr>
        <p:txBody>
          <a:bodyPr wrap="square" lIns="0" tIns="0" rIns="0" bIns="0" rtlCol="0"/>
          <a:lstStyle/>
          <a:p>
            <a:endParaRPr/>
          </a:p>
        </p:txBody>
      </p:sp>
      <p:sp>
        <p:nvSpPr>
          <p:cNvPr id="23" name="object 23"/>
          <p:cNvSpPr/>
          <p:nvPr/>
        </p:nvSpPr>
        <p:spPr>
          <a:xfrm>
            <a:off x="6365284" y="2146772"/>
            <a:ext cx="72782" cy="90683"/>
          </a:xfrm>
          <a:custGeom>
            <a:avLst/>
            <a:gdLst/>
            <a:ahLst/>
            <a:cxnLst/>
            <a:rect l="l" t="t" r="r" b="b"/>
            <a:pathLst>
              <a:path w="160019" h="199389">
                <a:moveTo>
                  <a:pt x="159870" y="0"/>
                </a:moveTo>
                <a:lnTo>
                  <a:pt x="0" y="79950"/>
                </a:lnTo>
                <a:lnTo>
                  <a:pt x="5109" y="87515"/>
                </a:lnTo>
                <a:lnTo>
                  <a:pt x="33714" y="120012"/>
                </a:lnTo>
                <a:lnTo>
                  <a:pt x="66211" y="148614"/>
                </a:lnTo>
                <a:lnTo>
                  <a:pt x="102199" y="172921"/>
                </a:lnTo>
                <a:lnTo>
                  <a:pt x="141274" y="192528"/>
                </a:lnTo>
                <a:lnTo>
                  <a:pt x="159870" y="198986"/>
                </a:lnTo>
                <a:lnTo>
                  <a:pt x="159870" y="0"/>
                </a:lnTo>
                <a:close/>
              </a:path>
            </a:pathLst>
          </a:custGeom>
          <a:solidFill>
            <a:srgbClr val="24346C"/>
          </a:solidFill>
        </p:spPr>
        <p:txBody>
          <a:bodyPr wrap="square" lIns="0" tIns="0" rIns="0" bIns="0" rtlCol="0"/>
          <a:lstStyle/>
          <a:p>
            <a:endParaRPr/>
          </a:p>
        </p:txBody>
      </p:sp>
      <p:sp>
        <p:nvSpPr>
          <p:cNvPr id="24" name="object 24"/>
          <p:cNvSpPr/>
          <p:nvPr/>
        </p:nvSpPr>
        <p:spPr>
          <a:xfrm>
            <a:off x="6365303" y="1947800"/>
            <a:ext cx="72782" cy="90683"/>
          </a:xfrm>
          <a:custGeom>
            <a:avLst/>
            <a:gdLst/>
            <a:ahLst/>
            <a:cxnLst/>
            <a:rect l="l" t="t" r="r" b="b"/>
            <a:pathLst>
              <a:path w="160019" h="199389">
                <a:moveTo>
                  <a:pt x="159828" y="0"/>
                </a:moveTo>
                <a:lnTo>
                  <a:pt x="102158" y="26065"/>
                </a:lnTo>
                <a:lnTo>
                  <a:pt x="66170" y="50371"/>
                </a:lnTo>
                <a:lnTo>
                  <a:pt x="33672" y="78973"/>
                </a:lnTo>
                <a:lnTo>
                  <a:pt x="5068" y="111469"/>
                </a:lnTo>
                <a:lnTo>
                  <a:pt x="0" y="118972"/>
                </a:lnTo>
                <a:lnTo>
                  <a:pt x="159828" y="198902"/>
                </a:lnTo>
                <a:lnTo>
                  <a:pt x="159828" y="0"/>
                </a:lnTo>
                <a:close/>
              </a:path>
            </a:pathLst>
          </a:custGeom>
          <a:solidFill>
            <a:srgbClr val="24346C"/>
          </a:solidFill>
        </p:spPr>
        <p:txBody>
          <a:bodyPr wrap="square" lIns="0" tIns="0" rIns="0" bIns="0" rtlCol="0"/>
          <a:lstStyle/>
          <a:p>
            <a:endParaRPr/>
          </a:p>
        </p:txBody>
      </p:sp>
      <p:sp>
        <p:nvSpPr>
          <p:cNvPr id="25" name="object 25"/>
          <p:cNvSpPr/>
          <p:nvPr/>
        </p:nvSpPr>
        <p:spPr>
          <a:xfrm>
            <a:off x="6557986" y="2010473"/>
            <a:ext cx="69028" cy="30901"/>
          </a:xfrm>
          <a:custGeom>
            <a:avLst/>
            <a:gdLst/>
            <a:ahLst/>
            <a:cxnLst/>
            <a:rect l="l" t="t" r="r" b="b"/>
            <a:pathLst>
              <a:path w="151765" h="67945">
                <a:moveTo>
                  <a:pt x="134963" y="0"/>
                </a:moveTo>
                <a:lnTo>
                  <a:pt x="0" y="67615"/>
                </a:lnTo>
                <a:lnTo>
                  <a:pt x="75139" y="67615"/>
                </a:lnTo>
                <a:lnTo>
                  <a:pt x="151421" y="29457"/>
                </a:lnTo>
                <a:lnTo>
                  <a:pt x="141483" y="9653"/>
                </a:lnTo>
                <a:lnTo>
                  <a:pt x="134963" y="0"/>
                </a:lnTo>
                <a:close/>
              </a:path>
            </a:pathLst>
          </a:custGeom>
          <a:solidFill>
            <a:srgbClr val="BE142B"/>
          </a:solidFill>
        </p:spPr>
        <p:txBody>
          <a:bodyPr wrap="square" lIns="0" tIns="0" rIns="0" bIns="0" rtlCol="0"/>
          <a:lstStyle/>
          <a:p>
            <a:endParaRPr/>
          </a:p>
        </p:txBody>
      </p:sp>
      <p:sp>
        <p:nvSpPr>
          <p:cNvPr id="26" name="object 26"/>
          <p:cNvSpPr/>
          <p:nvPr/>
        </p:nvSpPr>
        <p:spPr>
          <a:xfrm>
            <a:off x="6351962" y="2143806"/>
            <a:ext cx="69028" cy="30901"/>
          </a:xfrm>
          <a:custGeom>
            <a:avLst/>
            <a:gdLst/>
            <a:ahLst/>
            <a:cxnLst/>
            <a:rect l="l" t="t" r="r" b="b"/>
            <a:pathLst>
              <a:path w="151765" h="67945">
                <a:moveTo>
                  <a:pt x="151587" y="0"/>
                </a:moveTo>
                <a:lnTo>
                  <a:pt x="75736" y="0"/>
                </a:lnTo>
                <a:lnTo>
                  <a:pt x="0" y="37942"/>
                </a:lnTo>
                <a:lnTo>
                  <a:pt x="10091" y="58052"/>
                </a:lnTo>
                <a:lnTo>
                  <a:pt x="16515" y="67562"/>
                </a:lnTo>
                <a:lnTo>
                  <a:pt x="151587" y="0"/>
                </a:lnTo>
                <a:close/>
              </a:path>
            </a:pathLst>
          </a:custGeom>
          <a:solidFill>
            <a:srgbClr val="BE142B"/>
          </a:solidFill>
        </p:spPr>
        <p:txBody>
          <a:bodyPr wrap="square" lIns="0" tIns="0" rIns="0" bIns="0" rtlCol="0"/>
          <a:lstStyle/>
          <a:p>
            <a:endParaRPr/>
          </a:p>
        </p:txBody>
      </p:sp>
      <p:sp>
        <p:nvSpPr>
          <p:cNvPr id="27" name="object 27"/>
          <p:cNvSpPr/>
          <p:nvPr/>
        </p:nvSpPr>
        <p:spPr>
          <a:xfrm>
            <a:off x="6345789" y="2023936"/>
            <a:ext cx="41012" cy="17617"/>
          </a:xfrm>
          <a:custGeom>
            <a:avLst/>
            <a:gdLst/>
            <a:ahLst/>
            <a:cxnLst/>
            <a:rect l="l" t="t" r="r" b="b"/>
            <a:pathLst>
              <a:path w="90169" h="38735">
                <a:moveTo>
                  <a:pt x="13651" y="0"/>
                </a:moveTo>
                <a:lnTo>
                  <a:pt x="4055" y="19121"/>
                </a:lnTo>
                <a:lnTo>
                  <a:pt x="0" y="30796"/>
                </a:lnTo>
                <a:lnTo>
                  <a:pt x="14770" y="38184"/>
                </a:lnTo>
                <a:lnTo>
                  <a:pt x="89909" y="38184"/>
                </a:lnTo>
                <a:lnTo>
                  <a:pt x="13651" y="0"/>
                </a:lnTo>
                <a:close/>
              </a:path>
            </a:pathLst>
          </a:custGeom>
          <a:solidFill>
            <a:srgbClr val="BE142B"/>
          </a:solidFill>
        </p:spPr>
        <p:txBody>
          <a:bodyPr wrap="square" lIns="0" tIns="0" rIns="0" bIns="0" rtlCol="0"/>
          <a:lstStyle/>
          <a:p>
            <a:endParaRPr/>
          </a:p>
        </p:txBody>
      </p:sp>
      <p:sp>
        <p:nvSpPr>
          <p:cNvPr id="28" name="object 28"/>
          <p:cNvSpPr/>
          <p:nvPr/>
        </p:nvSpPr>
        <p:spPr>
          <a:xfrm>
            <a:off x="6591779" y="2143769"/>
            <a:ext cx="41301" cy="17617"/>
          </a:xfrm>
          <a:custGeom>
            <a:avLst/>
            <a:gdLst/>
            <a:ahLst/>
            <a:cxnLst/>
            <a:rect l="l" t="t" r="r" b="b"/>
            <a:pathLst>
              <a:path w="90805" h="38735">
                <a:moveTo>
                  <a:pt x="75139" y="0"/>
                </a:moveTo>
                <a:lnTo>
                  <a:pt x="0" y="0"/>
                </a:lnTo>
                <a:lnTo>
                  <a:pt x="77008" y="38559"/>
                </a:lnTo>
                <a:lnTo>
                  <a:pt x="86793" y="19060"/>
                </a:lnTo>
                <a:lnTo>
                  <a:pt x="90708" y="7786"/>
                </a:lnTo>
                <a:lnTo>
                  <a:pt x="75139" y="0"/>
                </a:lnTo>
                <a:close/>
              </a:path>
            </a:pathLst>
          </a:custGeom>
          <a:solidFill>
            <a:srgbClr val="BE142B"/>
          </a:solidFill>
        </p:spPr>
        <p:txBody>
          <a:bodyPr wrap="square" lIns="0" tIns="0" rIns="0" bIns="0" rtlCol="0"/>
          <a:lstStyle/>
          <a:p>
            <a:endParaRPr/>
          </a:p>
        </p:txBody>
      </p:sp>
      <p:sp>
        <p:nvSpPr>
          <p:cNvPr id="29" name="object 29"/>
          <p:cNvSpPr/>
          <p:nvPr/>
        </p:nvSpPr>
        <p:spPr>
          <a:xfrm>
            <a:off x="6962551" y="1943492"/>
            <a:ext cx="305859" cy="305838"/>
          </a:xfrm>
          <a:custGeom>
            <a:avLst/>
            <a:gdLst/>
            <a:ahLst/>
            <a:cxnLst/>
            <a:rect l="l" t="t" r="r" b="b"/>
            <a:pathLst>
              <a:path w="672465" h="672464">
                <a:moveTo>
                  <a:pt x="336010" y="0"/>
                </a:moveTo>
                <a:lnTo>
                  <a:pt x="286357" y="3643"/>
                </a:lnTo>
                <a:lnTo>
                  <a:pt x="238965" y="14226"/>
                </a:lnTo>
                <a:lnTo>
                  <a:pt x="194356" y="31229"/>
                </a:lnTo>
                <a:lnTo>
                  <a:pt x="153048" y="54133"/>
                </a:lnTo>
                <a:lnTo>
                  <a:pt x="115562" y="82418"/>
                </a:lnTo>
                <a:lnTo>
                  <a:pt x="82417" y="115563"/>
                </a:lnTo>
                <a:lnTo>
                  <a:pt x="54132" y="153051"/>
                </a:lnTo>
                <a:lnTo>
                  <a:pt x="31229" y="194360"/>
                </a:lnTo>
                <a:lnTo>
                  <a:pt x="14226" y="238971"/>
                </a:lnTo>
                <a:lnTo>
                  <a:pt x="3643" y="286364"/>
                </a:lnTo>
                <a:lnTo>
                  <a:pt x="0" y="336021"/>
                </a:lnTo>
                <a:lnTo>
                  <a:pt x="3643" y="385672"/>
                </a:lnTo>
                <a:lnTo>
                  <a:pt x="14226" y="433063"/>
                </a:lnTo>
                <a:lnTo>
                  <a:pt x="31229" y="477673"/>
                </a:lnTo>
                <a:lnTo>
                  <a:pt x="54132" y="518981"/>
                </a:lnTo>
                <a:lnTo>
                  <a:pt x="82417" y="556469"/>
                </a:lnTo>
                <a:lnTo>
                  <a:pt x="115562" y="589617"/>
                </a:lnTo>
                <a:lnTo>
                  <a:pt x="153048" y="617903"/>
                </a:lnTo>
                <a:lnTo>
                  <a:pt x="194356" y="640809"/>
                </a:lnTo>
                <a:lnTo>
                  <a:pt x="238965" y="657814"/>
                </a:lnTo>
                <a:lnTo>
                  <a:pt x="286357" y="668398"/>
                </a:lnTo>
                <a:lnTo>
                  <a:pt x="336010" y="672042"/>
                </a:lnTo>
                <a:lnTo>
                  <a:pt x="385666" y="668398"/>
                </a:lnTo>
                <a:lnTo>
                  <a:pt x="433060" y="657814"/>
                </a:lnTo>
                <a:lnTo>
                  <a:pt x="477671" y="640809"/>
                </a:lnTo>
                <a:lnTo>
                  <a:pt x="518980" y="617903"/>
                </a:lnTo>
                <a:lnTo>
                  <a:pt x="556467" y="589617"/>
                </a:lnTo>
                <a:lnTo>
                  <a:pt x="589613" y="556469"/>
                </a:lnTo>
                <a:lnTo>
                  <a:pt x="617898" y="518981"/>
                </a:lnTo>
                <a:lnTo>
                  <a:pt x="640802" y="477673"/>
                </a:lnTo>
                <a:lnTo>
                  <a:pt x="657805" y="433063"/>
                </a:lnTo>
                <a:lnTo>
                  <a:pt x="668388" y="385672"/>
                </a:lnTo>
                <a:lnTo>
                  <a:pt x="672031" y="336021"/>
                </a:lnTo>
                <a:lnTo>
                  <a:pt x="668388" y="286364"/>
                </a:lnTo>
                <a:lnTo>
                  <a:pt x="657805" y="238971"/>
                </a:lnTo>
                <a:lnTo>
                  <a:pt x="640802" y="194360"/>
                </a:lnTo>
                <a:lnTo>
                  <a:pt x="617898" y="153051"/>
                </a:lnTo>
                <a:lnTo>
                  <a:pt x="589613" y="115563"/>
                </a:lnTo>
                <a:lnTo>
                  <a:pt x="556467" y="82418"/>
                </a:lnTo>
                <a:lnTo>
                  <a:pt x="518980" y="54133"/>
                </a:lnTo>
                <a:lnTo>
                  <a:pt x="477671" y="31229"/>
                </a:lnTo>
                <a:lnTo>
                  <a:pt x="433060" y="14226"/>
                </a:lnTo>
                <a:lnTo>
                  <a:pt x="385666" y="3643"/>
                </a:lnTo>
                <a:lnTo>
                  <a:pt x="336010" y="0"/>
                </a:lnTo>
                <a:close/>
              </a:path>
            </a:pathLst>
          </a:custGeom>
          <a:solidFill>
            <a:srgbClr val="035284"/>
          </a:solidFill>
        </p:spPr>
        <p:txBody>
          <a:bodyPr wrap="square" lIns="0" tIns="0" rIns="0" bIns="0" rtlCol="0"/>
          <a:lstStyle/>
          <a:p>
            <a:endParaRPr/>
          </a:p>
        </p:txBody>
      </p:sp>
      <p:sp>
        <p:nvSpPr>
          <p:cNvPr id="30" name="object 30"/>
          <p:cNvSpPr/>
          <p:nvPr/>
        </p:nvSpPr>
        <p:spPr>
          <a:xfrm>
            <a:off x="7023682" y="1946932"/>
            <a:ext cx="61230" cy="298906"/>
          </a:xfrm>
          <a:custGeom>
            <a:avLst/>
            <a:gdLst/>
            <a:ahLst/>
            <a:cxnLst/>
            <a:rect l="l" t="t" r="r" b="b"/>
            <a:pathLst>
              <a:path w="134619" h="657225">
                <a:moveTo>
                  <a:pt x="134404" y="0"/>
                </a:moveTo>
                <a:lnTo>
                  <a:pt x="104561" y="6664"/>
                </a:lnTo>
                <a:lnTo>
                  <a:pt x="59951" y="23667"/>
                </a:lnTo>
                <a:lnTo>
                  <a:pt x="18644" y="46571"/>
                </a:lnTo>
                <a:lnTo>
                  <a:pt x="0" y="60639"/>
                </a:lnTo>
                <a:lnTo>
                  <a:pt x="0" y="596273"/>
                </a:lnTo>
                <a:lnTo>
                  <a:pt x="18644" y="610341"/>
                </a:lnTo>
                <a:lnTo>
                  <a:pt x="59951" y="633247"/>
                </a:lnTo>
                <a:lnTo>
                  <a:pt x="104561" y="650252"/>
                </a:lnTo>
                <a:lnTo>
                  <a:pt x="134404" y="656917"/>
                </a:lnTo>
                <a:lnTo>
                  <a:pt x="134404" y="0"/>
                </a:lnTo>
                <a:close/>
              </a:path>
            </a:pathLst>
          </a:custGeom>
          <a:solidFill>
            <a:srgbClr val="EDB901"/>
          </a:solidFill>
        </p:spPr>
        <p:txBody>
          <a:bodyPr wrap="square" lIns="0" tIns="0" rIns="0" bIns="0" rtlCol="0"/>
          <a:lstStyle/>
          <a:p>
            <a:endParaRPr/>
          </a:p>
        </p:txBody>
      </p:sp>
      <p:sp>
        <p:nvSpPr>
          <p:cNvPr id="31" name="object 31"/>
          <p:cNvSpPr/>
          <p:nvPr/>
        </p:nvSpPr>
        <p:spPr>
          <a:xfrm>
            <a:off x="6962551" y="2065751"/>
            <a:ext cx="305859" cy="61225"/>
          </a:xfrm>
          <a:custGeom>
            <a:avLst/>
            <a:gdLst/>
            <a:ahLst/>
            <a:cxnLst/>
            <a:rect l="l" t="t" r="r" b="b"/>
            <a:pathLst>
              <a:path w="672465" h="134620">
                <a:moveTo>
                  <a:pt x="664470" y="0"/>
                </a:moveTo>
                <a:lnTo>
                  <a:pt x="7561" y="0"/>
                </a:lnTo>
                <a:lnTo>
                  <a:pt x="3643" y="17545"/>
                </a:lnTo>
                <a:lnTo>
                  <a:pt x="0" y="67202"/>
                </a:lnTo>
                <a:lnTo>
                  <a:pt x="3643" y="116853"/>
                </a:lnTo>
                <a:lnTo>
                  <a:pt x="7562" y="134404"/>
                </a:lnTo>
                <a:lnTo>
                  <a:pt x="664469" y="134404"/>
                </a:lnTo>
                <a:lnTo>
                  <a:pt x="668388" y="116853"/>
                </a:lnTo>
                <a:lnTo>
                  <a:pt x="672031" y="67202"/>
                </a:lnTo>
                <a:lnTo>
                  <a:pt x="668388" y="17545"/>
                </a:lnTo>
                <a:lnTo>
                  <a:pt x="664470" y="0"/>
                </a:lnTo>
                <a:close/>
              </a:path>
            </a:pathLst>
          </a:custGeom>
          <a:solidFill>
            <a:srgbClr val="EDB901"/>
          </a:solidFill>
        </p:spPr>
        <p:txBody>
          <a:bodyPr wrap="square" lIns="0" tIns="0" rIns="0" bIns="0" rtlCol="0"/>
          <a:lstStyle/>
          <a:p>
            <a:endParaRPr/>
          </a:p>
        </p:txBody>
      </p:sp>
      <p:sp>
        <p:nvSpPr>
          <p:cNvPr id="32" name="object 32"/>
          <p:cNvSpPr/>
          <p:nvPr/>
        </p:nvSpPr>
        <p:spPr>
          <a:xfrm>
            <a:off x="7579285" y="1949989"/>
            <a:ext cx="103975" cy="292842"/>
          </a:xfrm>
          <a:custGeom>
            <a:avLst/>
            <a:gdLst/>
            <a:ahLst/>
            <a:cxnLst/>
            <a:rect l="l" t="t" r="r" b="b"/>
            <a:pathLst>
              <a:path w="228600" h="643889">
                <a:moveTo>
                  <a:pt x="227972" y="0"/>
                </a:moveTo>
                <a:lnTo>
                  <a:pt x="169367" y="26455"/>
                </a:lnTo>
                <a:lnTo>
                  <a:pt x="133000" y="51020"/>
                </a:lnTo>
                <a:lnTo>
                  <a:pt x="100159" y="79927"/>
                </a:lnTo>
                <a:lnTo>
                  <a:pt x="71252" y="112768"/>
                </a:lnTo>
                <a:lnTo>
                  <a:pt x="46688" y="149137"/>
                </a:lnTo>
                <a:lnTo>
                  <a:pt x="26873" y="188626"/>
                </a:lnTo>
                <a:lnTo>
                  <a:pt x="12215" y="230826"/>
                </a:lnTo>
                <a:lnTo>
                  <a:pt x="3121" y="275332"/>
                </a:lnTo>
                <a:lnTo>
                  <a:pt x="0" y="321735"/>
                </a:lnTo>
                <a:lnTo>
                  <a:pt x="3121" y="368136"/>
                </a:lnTo>
                <a:lnTo>
                  <a:pt x="12215" y="412639"/>
                </a:lnTo>
                <a:lnTo>
                  <a:pt x="26873" y="454838"/>
                </a:lnTo>
                <a:lnTo>
                  <a:pt x="46688" y="494325"/>
                </a:lnTo>
                <a:lnTo>
                  <a:pt x="71252" y="530693"/>
                </a:lnTo>
                <a:lnTo>
                  <a:pt x="100159" y="563534"/>
                </a:lnTo>
                <a:lnTo>
                  <a:pt x="133000" y="592440"/>
                </a:lnTo>
                <a:lnTo>
                  <a:pt x="169367" y="617005"/>
                </a:lnTo>
                <a:lnTo>
                  <a:pt x="208854" y="636820"/>
                </a:lnTo>
                <a:lnTo>
                  <a:pt x="227972" y="643460"/>
                </a:lnTo>
                <a:lnTo>
                  <a:pt x="227972" y="0"/>
                </a:lnTo>
                <a:close/>
              </a:path>
            </a:pathLst>
          </a:custGeom>
          <a:solidFill>
            <a:srgbClr val="23376F"/>
          </a:solidFill>
        </p:spPr>
        <p:txBody>
          <a:bodyPr wrap="square" lIns="0" tIns="0" rIns="0" bIns="0" rtlCol="0"/>
          <a:lstStyle/>
          <a:p>
            <a:endParaRPr/>
          </a:p>
        </p:txBody>
      </p:sp>
      <p:sp>
        <p:nvSpPr>
          <p:cNvPr id="33" name="object 33"/>
          <p:cNvSpPr/>
          <p:nvPr/>
        </p:nvSpPr>
        <p:spPr>
          <a:xfrm>
            <a:off x="7682977" y="1940787"/>
            <a:ext cx="103686" cy="311325"/>
          </a:xfrm>
          <a:custGeom>
            <a:avLst/>
            <a:gdLst/>
            <a:ahLst/>
            <a:cxnLst/>
            <a:rect l="l" t="t" r="r" b="b"/>
            <a:pathLst>
              <a:path w="227965" h="684529">
                <a:moveTo>
                  <a:pt x="113980" y="0"/>
                </a:moveTo>
                <a:lnTo>
                  <a:pt x="67580" y="3121"/>
                </a:lnTo>
                <a:lnTo>
                  <a:pt x="23076" y="12215"/>
                </a:lnTo>
                <a:lnTo>
                  <a:pt x="0" y="20231"/>
                </a:lnTo>
                <a:lnTo>
                  <a:pt x="0" y="663695"/>
                </a:lnTo>
                <a:lnTo>
                  <a:pt x="23076" y="671711"/>
                </a:lnTo>
                <a:lnTo>
                  <a:pt x="67580" y="680805"/>
                </a:lnTo>
                <a:lnTo>
                  <a:pt x="113980" y="683926"/>
                </a:lnTo>
                <a:lnTo>
                  <a:pt x="160383" y="680805"/>
                </a:lnTo>
                <a:lnTo>
                  <a:pt x="204889" y="671711"/>
                </a:lnTo>
                <a:lnTo>
                  <a:pt x="227966" y="663695"/>
                </a:lnTo>
                <a:lnTo>
                  <a:pt x="227966" y="20231"/>
                </a:lnTo>
                <a:lnTo>
                  <a:pt x="204889" y="12215"/>
                </a:lnTo>
                <a:lnTo>
                  <a:pt x="160383" y="3121"/>
                </a:lnTo>
                <a:lnTo>
                  <a:pt x="113980" y="0"/>
                </a:lnTo>
                <a:close/>
              </a:path>
            </a:pathLst>
          </a:custGeom>
          <a:solidFill>
            <a:srgbClr val="ECC217"/>
          </a:solidFill>
        </p:spPr>
        <p:txBody>
          <a:bodyPr wrap="square" lIns="0" tIns="0" rIns="0" bIns="0" rtlCol="0"/>
          <a:lstStyle/>
          <a:p>
            <a:endParaRPr/>
          </a:p>
        </p:txBody>
      </p:sp>
      <p:sp>
        <p:nvSpPr>
          <p:cNvPr id="34" name="object 34"/>
          <p:cNvSpPr/>
          <p:nvPr/>
        </p:nvSpPr>
        <p:spPr>
          <a:xfrm>
            <a:off x="7786668" y="1949990"/>
            <a:ext cx="103975" cy="292842"/>
          </a:xfrm>
          <a:custGeom>
            <a:avLst/>
            <a:gdLst/>
            <a:ahLst/>
            <a:cxnLst/>
            <a:rect l="l" t="t" r="r" b="b"/>
            <a:pathLst>
              <a:path w="228600" h="643889">
                <a:moveTo>
                  <a:pt x="0" y="0"/>
                </a:moveTo>
                <a:lnTo>
                  <a:pt x="0" y="643456"/>
                </a:lnTo>
                <a:lnTo>
                  <a:pt x="19112" y="636818"/>
                </a:lnTo>
                <a:lnTo>
                  <a:pt x="58601" y="617003"/>
                </a:lnTo>
                <a:lnTo>
                  <a:pt x="94970" y="592438"/>
                </a:lnTo>
                <a:lnTo>
                  <a:pt x="127811" y="563532"/>
                </a:lnTo>
                <a:lnTo>
                  <a:pt x="156718" y="530691"/>
                </a:lnTo>
                <a:lnTo>
                  <a:pt x="181283" y="494324"/>
                </a:lnTo>
                <a:lnTo>
                  <a:pt x="201098" y="454836"/>
                </a:lnTo>
                <a:lnTo>
                  <a:pt x="215756" y="412637"/>
                </a:lnTo>
                <a:lnTo>
                  <a:pt x="224850" y="368134"/>
                </a:lnTo>
                <a:lnTo>
                  <a:pt x="227972" y="321733"/>
                </a:lnTo>
                <a:lnTo>
                  <a:pt x="224850" y="275330"/>
                </a:lnTo>
                <a:lnTo>
                  <a:pt x="215756" y="230825"/>
                </a:lnTo>
                <a:lnTo>
                  <a:pt x="201098" y="188624"/>
                </a:lnTo>
                <a:lnTo>
                  <a:pt x="181283" y="149135"/>
                </a:lnTo>
                <a:lnTo>
                  <a:pt x="156718" y="112767"/>
                </a:lnTo>
                <a:lnTo>
                  <a:pt x="127811" y="79925"/>
                </a:lnTo>
                <a:lnTo>
                  <a:pt x="94970" y="51018"/>
                </a:lnTo>
                <a:lnTo>
                  <a:pt x="58601" y="26453"/>
                </a:lnTo>
                <a:lnTo>
                  <a:pt x="19112" y="6638"/>
                </a:lnTo>
                <a:lnTo>
                  <a:pt x="0" y="0"/>
                </a:lnTo>
                <a:close/>
              </a:path>
            </a:pathLst>
          </a:custGeom>
          <a:solidFill>
            <a:srgbClr val="BD1327"/>
          </a:solidFill>
        </p:spPr>
        <p:txBody>
          <a:bodyPr wrap="square" lIns="0" tIns="0" rIns="0" bIns="0" rtlCol="0"/>
          <a:lstStyle/>
          <a:p>
            <a:endParaRPr/>
          </a:p>
        </p:txBody>
      </p:sp>
      <p:sp>
        <p:nvSpPr>
          <p:cNvPr id="36" name="object 36"/>
          <p:cNvSpPr/>
          <p:nvPr/>
        </p:nvSpPr>
        <p:spPr>
          <a:xfrm>
            <a:off x="7571279" y="2880605"/>
            <a:ext cx="322610" cy="743656"/>
          </a:xfrm>
          <a:custGeom>
            <a:avLst/>
            <a:gdLst/>
            <a:ahLst/>
            <a:cxnLst/>
            <a:rect l="l" t="t" r="r" b="b"/>
            <a:pathLst>
              <a:path w="709294" h="1635125">
                <a:moveTo>
                  <a:pt x="0" y="0"/>
                </a:moveTo>
                <a:lnTo>
                  <a:pt x="709088" y="0"/>
                </a:lnTo>
                <a:lnTo>
                  <a:pt x="709088" y="1635091"/>
                </a:lnTo>
                <a:lnTo>
                  <a:pt x="0" y="1635091"/>
                </a:lnTo>
                <a:lnTo>
                  <a:pt x="0" y="0"/>
                </a:lnTo>
                <a:close/>
              </a:path>
            </a:pathLst>
          </a:custGeom>
          <a:solidFill>
            <a:srgbClr val="FFFFFF"/>
          </a:solidFill>
        </p:spPr>
        <p:txBody>
          <a:bodyPr wrap="square" lIns="0" tIns="0" rIns="0" bIns="0" rtlCol="0"/>
          <a:lstStyle/>
          <a:p>
            <a:endParaRPr/>
          </a:p>
        </p:txBody>
      </p:sp>
      <p:sp>
        <p:nvSpPr>
          <p:cNvPr id="37" name="object 37"/>
          <p:cNvSpPr/>
          <p:nvPr/>
        </p:nvSpPr>
        <p:spPr>
          <a:xfrm>
            <a:off x="6953246" y="2666332"/>
            <a:ext cx="322610" cy="957944"/>
          </a:xfrm>
          <a:custGeom>
            <a:avLst/>
            <a:gdLst/>
            <a:ahLst/>
            <a:cxnLst/>
            <a:rect l="l" t="t" r="r" b="b"/>
            <a:pathLst>
              <a:path w="709294" h="2106295">
                <a:moveTo>
                  <a:pt x="0" y="0"/>
                </a:moveTo>
                <a:lnTo>
                  <a:pt x="709109" y="0"/>
                </a:lnTo>
                <a:lnTo>
                  <a:pt x="709109" y="2106229"/>
                </a:lnTo>
                <a:lnTo>
                  <a:pt x="0" y="2106229"/>
                </a:lnTo>
                <a:lnTo>
                  <a:pt x="0" y="0"/>
                </a:lnTo>
                <a:close/>
              </a:path>
            </a:pathLst>
          </a:custGeom>
          <a:solidFill>
            <a:srgbClr val="FFFFFF"/>
          </a:solidFill>
        </p:spPr>
        <p:txBody>
          <a:bodyPr wrap="square" lIns="0" tIns="0" rIns="0" bIns="0" rtlCol="0"/>
          <a:lstStyle/>
          <a:p>
            <a:endParaRPr/>
          </a:p>
        </p:txBody>
      </p:sp>
      <p:sp>
        <p:nvSpPr>
          <p:cNvPr id="38" name="object 38"/>
          <p:cNvSpPr/>
          <p:nvPr/>
        </p:nvSpPr>
        <p:spPr>
          <a:xfrm>
            <a:off x="6335211" y="2635902"/>
            <a:ext cx="322610" cy="983359"/>
          </a:xfrm>
          <a:custGeom>
            <a:avLst/>
            <a:gdLst/>
            <a:ahLst/>
            <a:cxnLst/>
            <a:rect l="l" t="t" r="r" b="b"/>
            <a:pathLst>
              <a:path w="709294" h="2162175">
                <a:moveTo>
                  <a:pt x="0" y="0"/>
                </a:moveTo>
                <a:lnTo>
                  <a:pt x="709109" y="0"/>
                </a:lnTo>
                <a:lnTo>
                  <a:pt x="709109" y="2161651"/>
                </a:lnTo>
                <a:lnTo>
                  <a:pt x="0" y="2161651"/>
                </a:lnTo>
                <a:lnTo>
                  <a:pt x="0" y="0"/>
                </a:lnTo>
                <a:close/>
              </a:path>
            </a:pathLst>
          </a:custGeom>
          <a:solidFill>
            <a:srgbClr val="FFFFFF"/>
          </a:solidFill>
        </p:spPr>
        <p:txBody>
          <a:bodyPr wrap="square" lIns="0" tIns="0" rIns="0" bIns="0" rtlCol="0"/>
          <a:lstStyle/>
          <a:p>
            <a:endParaRPr/>
          </a:p>
        </p:txBody>
      </p:sp>
      <p:sp>
        <p:nvSpPr>
          <p:cNvPr id="39" name="object 39"/>
          <p:cNvSpPr/>
          <p:nvPr/>
        </p:nvSpPr>
        <p:spPr>
          <a:xfrm>
            <a:off x="5706356" y="2931023"/>
            <a:ext cx="322610" cy="693405"/>
          </a:xfrm>
          <a:custGeom>
            <a:avLst/>
            <a:gdLst/>
            <a:ahLst/>
            <a:cxnLst/>
            <a:rect l="l" t="t" r="r" b="b"/>
            <a:pathLst>
              <a:path w="709294" h="1524634">
                <a:moveTo>
                  <a:pt x="0" y="0"/>
                </a:moveTo>
                <a:lnTo>
                  <a:pt x="709109" y="0"/>
                </a:lnTo>
                <a:lnTo>
                  <a:pt x="709109" y="1524236"/>
                </a:lnTo>
                <a:lnTo>
                  <a:pt x="0" y="1524236"/>
                </a:lnTo>
                <a:lnTo>
                  <a:pt x="0" y="0"/>
                </a:lnTo>
                <a:close/>
              </a:path>
            </a:pathLst>
          </a:custGeom>
          <a:solidFill>
            <a:srgbClr val="FFFFFF"/>
          </a:solidFill>
        </p:spPr>
        <p:txBody>
          <a:bodyPr wrap="square" lIns="0" tIns="0" rIns="0" bIns="0" rtlCol="0"/>
          <a:lstStyle/>
          <a:p>
            <a:endParaRPr/>
          </a:p>
        </p:txBody>
      </p:sp>
      <p:sp>
        <p:nvSpPr>
          <p:cNvPr id="40" name="object 40"/>
          <p:cNvSpPr/>
          <p:nvPr/>
        </p:nvSpPr>
        <p:spPr>
          <a:xfrm>
            <a:off x="5088331" y="2666332"/>
            <a:ext cx="322610" cy="957944"/>
          </a:xfrm>
          <a:custGeom>
            <a:avLst/>
            <a:gdLst/>
            <a:ahLst/>
            <a:cxnLst/>
            <a:rect l="l" t="t" r="r" b="b"/>
            <a:pathLst>
              <a:path w="709295" h="2106295">
                <a:moveTo>
                  <a:pt x="0" y="0"/>
                </a:moveTo>
                <a:lnTo>
                  <a:pt x="709088" y="0"/>
                </a:lnTo>
                <a:lnTo>
                  <a:pt x="709088" y="2106229"/>
                </a:lnTo>
                <a:lnTo>
                  <a:pt x="0" y="2106229"/>
                </a:lnTo>
                <a:lnTo>
                  <a:pt x="0" y="0"/>
                </a:lnTo>
                <a:close/>
              </a:path>
            </a:pathLst>
          </a:custGeom>
          <a:solidFill>
            <a:srgbClr val="FFFFFF"/>
          </a:solidFill>
        </p:spPr>
        <p:txBody>
          <a:bodyPr wrap="square" lIns="0" tIns="0" rIns="0" bIns="0" rtlCol="0"/>
          <a:lstStyle/>
          <a:p>
            <a:endParaRPr/>
          </a:p>
        </p:txBody>
      </p:sp>
      <p:sp>
        <p:nvSpPr>
          <p:cNvPr id="41" name="object 41"/>
          <p:cNvSpPr txBox="1"/>
          <p:nvPr/>
        </p:nvSpPr>
        <p:spPr>
          <a:xfrm>
            <a:off x="4483307" y="3678838"/>
            <a:ext cx="4029598" cy="621094"/>
          </a:xfrm>
          <a:prstGeom prst="rect">
            <a:avLst/>
          </a:prstGeom>
        </p:spPr>
        <p:txBody>
          <a:bodyPr vert="horz" wrap="square" lIns="0" tIns="5487" rIns="0" bIns="0" rtlCol="0">
            <a:spAutoFit/>
          </a:bodyPr>
          <a:lstStyle/>
          <a:p>
            <a:pPr marL="45630" algn="ctr">
              <a:spcBef>
                <a:spcPts val="43"/>
              </a:spcBef>
              <a:tabLst>
                <a:tab pos="676076" algn="l"/>
                <a:tab pos="1306233" algn="l"/>
                <a:tab pos="1925705" algn="l"/>
                <a:tab pos="2545177" algn="l"/>
              </a:tabLst>
            </a:pPr>
            <a:r>
              <a:rPr sz="1500" b="1" spc="-2" dirty="0">
                <a:latin typeface="Helvetica"/>
                <a:cs typeface="Helvetica"/>
              </a:rPr>
              <a:t>76%	55%	78%	76%	</a:t>
            </a:r>
            <a:r>
              <a:rPr sz="1500" b="1" spc="-5" dirty="0">
                <a:latin typeface="Helvetica"/>
                <a:cs typeface="Helvetica"/>
              </a:rPr>
              <a:t>59%</a:t>
            </a:r>
            <a:endParaRPr sz="1500">
              <a:latin typeface="Helvetica"/>
              <a:cs typeface="Helvetica"/>
            </a:endParaRPr>
          </a:p>
          <a:p>
            <a:pPr>
              <a:spcBef>
                <a:spcPts val="11"/>
              </a:spcBef>
            </a:pPr>
            <a:endParaRPr sz="1400">
              <a:latin typeface="Times New Roman"/>
              <a:cs typeface="Times New Roman"/>
            </a:endParaRPr>
          </a:p>
          <a:p>
            <a:pPr algn="ctr">
              <a:lnSpc>
                <a:spcPct val="100000"/>
              </a:lnSpc>
            </a:pPr>
            <a:r>
              <a:rPr sz="1100" b="1" spc="5" dirty="0">
                <a:solidFill>
                  <a:srgbClr val="1D1D1B"/>
                </a:solidFill>
                <a:latin typeface="Helvetica Neue"/>
                <a:cs typeface="Helvetica Neue"/>
              </a:rPr>
              <a:t>se sentent à </a:t>
            </a:r>
            <a:r>
              <a:rPr sz="1100" b="1" spc="2" dirty="0">
                <a:solidFill>
                  <a:srgbClr val="1D1D1B"/>
                </a:solidFill>
                <a:latin typeface="Helvetica Neue"/>
                <a:cs typeface="Helvetica Neue"/>
              </a:rPr>
              <a:t>l’aise </a:t>
            </a:r>
            <a:r>
              <a:rPr sz="1100" b="1" spc="5" dirty="0">
                <a:solidFill>
                  <a:srgbClr val="1D1D1B"/>
                </a:solidFill>
                <a:latin typeface="Helvetica Neue"/>
                <a:cs typeface="Helvetica Neue"/>
              </a:rPr>
              <a:t>pour parler </a:t>
            </a:r>
            <a:r>
              <a:rPr sz="1100" b="1" dirty="0">
                <a:solidFill>
                  <a:srgbClr val="1D1D1B"/>
                </a:solidFill>
                <a:latin typeface="Helvetica Neue"/>
                <a:cs typeface="Helvetica Neue"/>
              </a:rPr>
              <a:t>d’argent </a:t>
            </a:r>
            <a:r>
              <a:rPr sz="1100" b="1" spc="5" dirty="0">
                <a:solidFill>
                  <a:srgbClr val="1D1D1B"/>
                </a:solidFill>
                <a:latin typeface="Helvetica Neue"/>
                <a:cs typeface="Helvetica Neue"/>
              </a:rPr>
              <a:t>avec leur entourage</a:t>
            </a:r>
            <a:endParaRPr sz="1100">
              <a:latin typeface="Helvetica Neue"/>
              <a:cs typeface="Helvetica Neue"/>
            </a:endParaRPr>
          </a:p>
        </p:txBody>
      </p:sp>
      <p:sp>
        <p:nvSpPr>
          <p:cNvPr id="43" name="object 35">
            <a:extLst>
              <a:ext uri="{FF2B5EF4-FFF2-40B4-BE49-F238E27FC236}">
                <a16:creationId xmlns:a16="http://schemas.microsoft.com/office/drawing/2014/main" id="{4639ED60-10E2-B944-86E5-1F1DBBB29648}"/>
              </a:ext>
            </a:extLst>
          </p:cNvPr>
          <p:cNvSpPr/>
          <p:nvPr/>
        </p:nvSpPr>
        <p:spPr>
          <a:xfrm>
            <a:off x="648215" y="2175995"/>
            <a:ext cx="3562482" cy="2112410"/>
          </a:xfrm>
          <a:prstGeom prst="rect">
            <a:avLst/>
          </a:prstGeom>
          <a:blipFill>
            <a:blip r:embed="rId4"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9659192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516"/>
            <a:ext cx="3802968" cy="5128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ZoneTexte 3"/>
          <p:cNvSpPr txBox="1"/>
          <p:nvPr/>
        </p:nvSpPr>
        <p:spPr>
          <a:xfrm>
            <a:off x="4675975" y="215155"/>
            <a:ext cx="3751657" cy="395935"/>
          </a:xfrm>
          <a:prstGeom prst="rect">
            <a:avLst/>
          </a:prstGeom>
          <a:noFill/>
        </p:spPr>
        <p:txBody>
          <a:bodyPr wrap="none" lIns="41587" tIns="20793" rIns="41587" bIns="20793" rtlCol="0">
            <a:spAutoFit/>
          </a:bodyPr>
          <a:lstStyle/>
          <a:p>
            <a:r>
              <a:rPr lang="fr-FR" sz="2300" dirty="0">
                <a:solidFill>
                  <a:srgbClr val="FF7900"/>
                </a:solidFill>
                <a:latin typeface="Helvetica 75 Bold" panose="020B0804020202020204" pitchFamily="34" charset="0"/>
              </a:rPr>
              <a:t>Point de vue Orange Bank</a:t>
            </a:r>
          </a:p>
        </p:txBody>
      </p:sp>
      <p:sp>
        <p:nvSpPr>
          <p:cNvPr id="5" name="ZoneTexte 4"/>
          <p:cNvSpPr txBox="1"/>
          <p:nvPr/>
        </p:nvSpPr>
        <p:spPr>
          <a:xfrm>
            <a:off x="4154791" y="1324141"/>
            <a:ext cx="4713521" cy="2841533"/>
          </a:xfrm>
          <a:prstGeom prst="rect">
            <a:avLst/>
          </a:prstGeom>
          <a:noFill/>
        </p:spPr>
        <p:txBody>
          <a:bodyPr wrap="square" lIns="41587" tIns="20793" rIns="41587" bIns="20793" rtlCol="0">
            <a:spAutoFit/>
          </a:bodyPr>
          <a:lstStyle/>
          <a:p>
            <a:pPr>
              <a:buClr>
                <a:srgbClr val="FF7900"/>
              </a:buClr>
            </a:pPr>
            <a:r>
              <a:rPr lang="fr-FR" dirty="0">
                <a:latin typeface="Helvetica 75 Bold" panose="020B0804020202020204" pitchFamily="34" charset="0"/>
              </a:rPr>
              <a:t>« Les consommateurs souhaitent davantage d’autonomie dans la gestion de leur argent. </a:t>
            </a:r>
          </a:p>
          <a:p>
            <a:pPr>
              <a:buClr>
                <a:srgbClr val="FF7900"/>
              </a:buClr>
            </a:pPr>
            <a:endParaRPr lang="fr-FR" dirty="0">
              <a:latin typeface="Helvetica 75 Bold" panose="020B0804020202020204" pitchFamily="34" charset="0"/>
            </a:endParaRPr>
          </a:p>
          <a:p>
            <a:pPr>
              <a:buClr>
                <a:srgbClr val="FF7900"/>
              </a:buClr>
            </a:pPr>
            <a:r>
              <a:rPr lang="fr-FR" dirty="0">
                <a:latin typeface="Helvetica 75 Bold" panose="020B0804020202020204" pitchFamily="34" charset="0"/>
              </a:rPr>
              <a:t>3 tendances convergent pour redonner au client la maîtrise de son argent : la défiance envers les institutions bancaires, une plus grande maturité sur les questions financières et l’essor du digital (réseaux sociaux, IA) »</a:t>
            </a:r>
          </a:p>
        </p:txBody>
      </p:sp>
    </p:spTree>
    <p:extLst>
      <p:ext uri="{BB962C8B-B14F-4D97-AF65-F5344CB8AC3E}">
        <p14:creationId xmlns:p14="http://schemas.microsoft.com/office/powerpoint/2010/main" val="3531382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408259" y="1523261"/>
            <a:ext cx="5290581" cy="1840224"/>
          </a:xfrm>
          <a:prstGeom prst="rect">
            <a:avLst/>
          </a:prstGeom>
        </p:spPr>
        <p:txBody>
          <a:bodyPr vert="horz" wrap="square" lIns="0" tIns="120140" rIns="0" bIns="0" rtlCol="0">
            <a:spAutoFit/>
          </a:bodyPr>
          <a:lstStyle/>
          <a:p>
            <a:pPr marL="5776" marR="2310">
              <a:lnSpc>
                <a:spcPts val="4498"/>
              </a:lnSpc>
              <a:spcBef>
                <a:spcPts val="946"/>
              </a:spcBef>
            </a:pPr>
            <a:r>
              <a:rPr sz="4500" spc="-2" dirty="0"/>
              <a:t>Vers une  démocratisation</a:t>
            </a:r>
            <a:r>
              <a:rPr sz="4500" spc="-36" dirty="0"/>
              <a:t> </a:t>
            </a:r>
            <a:r>
              <a:rPr sz="4500" spc="-2" dirty="0"/>
              <a:t>de  la banque</a:t>
            </a:r>
            <a:r>
              <a:rPr sz="4500" spc="-16" dirty="0"/>
              <a:t> </a:t>
            </a:r>
            <a:r>
              <a:rPr sz="4500" spc="-2" dirty="0"/>
              <a:t>mobile</a:t>
            </a:r>
            <a:endParaRPr sz="4500"/>
          </a:p>
        </p:txBody>
      </p:sp>
      <p:sp>
        <p:nvSpPr>
          <p:cNvPr id="3" name="object 3"/>
          <p:cNvSpPr/>
          <p:nvPr/>
        </p:nvSpPr>
        <p:spPr>
          <a:xfrm>
            <a:off x="281554" y="0"/>
            <a:ext cx="2893118" cy="5143139"/>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384509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3573" y="273022"/>
            <a:ext cx="8073441" cy="323347"/>
          </a:xfrm>
          <a:prstGeom prst="rect">
            <a:avLst/>
          </a:prstGeom>
        </p:spPr>
        <p:txBody>
          <a:bodyPr vert="horz" wrap="square" lIns="0" tIns="5198" rIns="0" bIns="0" rtlCol="0">
            <a:spAutoFit/>
          </a:bodyPr>
          <a:lstStyle/>
          <a:p>
            <a:pPr marL="246056" marR="2310">
              <a:lnSpc>
                <a:spcPct val="100800"/>
              </a:lnSpc>
              <a:spcBef>
                <a:spcPts val="41"/>
              </a:spcBef>
            </a:pPr>
            <a:r>
              <a:rPr lang="fr-FR" spc="-39" dirty="0"/>
              <a:t>Une tendance à la multi bancarisation</a:t>
            </a:r>
            <a:endParaRPr spc="-16" dirty="0"/>
          </a:p>
        </p:txBody>
      </p:sp>
      <p:sp>
        <p:nvSpPr>
          <p:cNvPr id="3" name="object 3"/>
          <p:cNvSpPr txBox="1"/>
          <p:nvPr/>
        </p:nvSpPr>
        <p:spPr>
          <a:xfrm>
            <a:off x="775669" y="884554"/>
            <a:ext cx="7342060" cy="282539"/>
          </a:xfrm>
          <a:prstGeom prst="rect">
            <a:avLst/>
          </a:prstGeom>
        </p:spPr>
        <p:txBody>
          <a:bodyPr vert="horz" wrap="square" lIns="0" tIns="5487" rIns="0" bIns="0" rtlCol="0">
            <a:spAutoFit/>
          </a:bodyPr>
          <a:lstStyle/>
          <a:p>
            <a:pPr marL="5776" marR="2310">
              <a:lnSpc>
                <a:spcPct val="100499"/>
              </a:lnSpc>
              <a:spcBef>
                <a:spcPts val="43"/>
              </a:spcBef>
            </a:pPr>
            <a:r>
              <a:rPr sz="900" b="1" spc="2" dirty="0">
                <a:latin typeface="Helvetica Neue"/>
                <a:cs typeface="Helvetica Neue"/>
              </a:rPr>
              <a:t>Parmi les établissements bancaires et financiers suivants, quels sont tous ceux dans lesquels vous possédez un compte</a:t>
            </a:r>
            <a:r>
              <a:rPr sz="900" b="1" spc="-41" dirty="0">
                <a:latin typeface="Helvetica Neue"/>
                <a:cs typeface="Helvetica Neue"/>
              </a:rPr>
              <a:t> </a:t>
            </a:r>
            <a:r>
              <a:rPr sz="900" b="1" spc="2" dirty="0">
                <a:latin typeface="Helvetica Neue"/>
                <a:cs typeface="Helvetica Neue"/>
              </a:rPr>
              <a:t>courant,  une carte, ou des </a:t>
            </a:r>
            <a:r>
              <a:rPr sz="900" b="1" spc="-20" dirty="0">
                <a:latin typeface="Helvetica Neue"/>
                <a:cs typeface="Helvetica Neue"/>
              </a:rPr>
              <a:t>produits d’épargne </a:t>
            </a:r>
            <a:r>
              <a:rPr sz="900" b="1" spc="-11" dirty="0">
                <a:latin typeface="Helvetica Neue"/>
                <a:cs typeface="Helvetica Neue"/>
              </a:rPr>
              <a:t>et </a:t>
            </a:r>
            <a:r>
              <a:rPr sz="900" b="1" spc="-23" dirty="0">
                <a:latin typeface="Helvetica Neue"/>
                <a:cs typeface="Helvetica Neue"/>
              </a:rPr>
              <a:t>d’investissement</a:t>
            </a:r>
            <a:r>
              <a:rPr sz="900" b="1" spc="-139" dirty="0">
                <a:latin typeface="Helvetica Neue"/>
                <a:cs typeface="Helvetica Neue"/>
              </a:rPr>
              <a:t> </a:t>
            </a:r>
            <a:r>
              <a:rPr sz="900" b="1" spc="2" dirty="0">
                <a:latin typeface="Helvetica Neue"/>
                <a:cs typeface="Helvetica Neue"/>
              </a:rPr>
              <a:t>?</a:t>
            </a:r>
            <a:endParaRPr sz="900" dirty="0">
              <a:latin typeface="Helvetica Neue"/>
              <a:cs typeface="Helvetica Neue"/>
            </a:endParaRPr>
          </a:p>
        </p:txBody>
      </p:sp>
      <p:sp>
        <p:nvSpPr>
          <p:cNvPr id="4" name="object 4"/>
          <p:cNvSpPr/>
          <p:nvPr/>
        </p:nvSpPr>
        <p:spPr>
          <a:xfrm>
            <a:off x="0" y="1328311"/>
            <a:ext cx="9144000" cy="3815027"/>
          </a:xfrm>
          <a:custGeom>
            <a:avLst/>
            <a:gdLst/>
            <a:ahLst/>
            <a:cxnLst/>
            <a:rect l="l" t="t" r="r" b="b"/>
            <a:pathLst>
              <a:path w="20104100" h="8388350">
                <a:moveTo>
                  <a:pt x="0" y="8387912"/>
                </a:moveTo>
                <a:lnTo>
                  <a:pt x="20104099" y="8387912"/>
                </a:lnTo>
                <a:lnTo>
                  <a:pt x="20104099" y="0"/>
                </a:lnTo>
                <a:lnTo>
                  <a:pt x="0" y="0"/>
                </a:lnTo>
                <a:lnTo>
                  <a:pt x="0" y="8387912"/>
                </a:lnTo>
                <a:close/>
              </a:path>
            </a:pathLst>
          </a:custGeom>
          <a:solidFill>
            <a:srgbClr val="D5D5D5"/>
          </a:solidFill>
        </p:spPr>
        <p:txBody>
          <a:bodyPr wrap="square" lIns="0" tIns="0" rIns="0" bIns="0" rtlCol="0"/>
          <a:lstStyle/>
          <a:p>
            <a:endParaRPr/>
          </a:p>
        </p:txBody>
      </p:sp>
      <p:sp>
        <p:nvSpPr>
          <p:cNvPr id="5" name="object 5"/>
          <p:cNvSpPr/>
          <p:nvPr/>
        </p:nvSpPr>
        <p:spPr>
          <a:xfrm>
            <a:off x="274272" y="2547135"/>
            <a:ext cx="8559720" cy="517238"/>
          </a:xfrm>
          <a:custGeom>
            <a:avLst/>
            <a:gdLst/>
            <a:ahLst/>
            <a:cxnLst/>
            <a:rect l="l" t="t" r="r" b="b"/>
            <a:pathLst>
              <a:path w="18819495" h="1137284">
                <a:moveTo>
                  <a:pt x="0" y="0"/>
                </a:moveTo>
                <a:lnTo>
                  <a:pt x="18819353" y="0"/>
                </a:lnTo>
                <a:lnTo>
                  <a:pt x="18819353" y="1136782"/>
                </a:lnTo>
                <a:lnTo>
                  <a:pt x="0" y="1136782"/>
                </a:lnTo>
                <a:lnTo>
                  <a:pt x="0" y="0"/>
                </a:lnTo>
                <a:close/>
              </a:path>
            </a:pathLst>
          </a:custGeom>
          <a:solidFill>
            <a:srgbClr val="FFFFFF"/>
          </a:solidFill>
        </p:spPr>
        <p:txBody>
          <a:bodyPr wrap="square" lIns="0" tIns="0" rIns="0" bIns="0" rtlCol="0"/>
          <a:lstStyle/>
          <a:p>
            <a:endParaRPr/>
          </a:p>
        </p:txBody>
      </p:sp>
      <p:sp>
        <p:nvSpPr>
          <p:cNvPr id="6" name="object 6"/>
          <p:cNvSpPr txBox="1"/>
          <p:nvPr/>
        </p:nvSpPr>
        <p:spPr>
          <a:xfrm>
            <a:off x="422785" y="2685908"/>
            <a:ext cx="1129859" cy="206762"/>
          </a:xfrm>
          <a:prstGeom prst="rect">
            <a:avLst/>
          </a:prstGeom>
        </p:spPr>
        <p:txBody>
          <a:bodyPr vert="horz" wrap="square" lIns="0" tIns="6642" rIns="0" bIns="0" rtlCol="0">
            <a:spAutoFit/>
          </a:bodyPr>
          <a:lstStyle/>
          <a:p>
            <a:pPr>
              <a:spcBef>
                <a:spcPts val="52"/>
              </a:spcBef>
            </a:pPr>
            <a:r>
              <a:rPr sz="1300" b="1" spc="5" dirty="0">
                <a:latin typeface="Helvetica Neue"/>
                <a:cs typeface="Helvetica Neue"/>
              </a:rPr>
              <a:t>Mono</a:t>
            </a:r>
            <a:r>
              <a:rPr sz="1300" b="1" spc="-34" dirty="0">
                <a:latin typeface="Helvetica Neue"/>
                <a:cs typeface="Helvetica Neue"/>
              </a:rPr>
              <a:t> </a:t>
            </a:r>
            <a:r>
              <a:rPr sz="1300" b="1" spc="5" dirty="0">
                <a:latin typeface="Helvetica Neue"/>
                <a:cs typeface="Helvetica Neue"/>
              </a:rPr>
              <a:t>banque</a:t>
            </a:r>
            <a:endParaRPr sz="1300">
              <a:latin typeface="Helvetica Neue"/>
              <a:cs typeface="Helvetica Neue"/>
            </a:endParaRPr>
          </a:p>
        </p:txBody>
      </p:sp>
      <p:sp>
        <p:nvSpPr>
          <p:cNvPr id="7" name="object 7"/>
          <p:cNvSpPr/>
          <p:nvPr/>
        </p:nvSpPr>
        <p:spPr>
          <a:xfrm>
            <a:off x="274272" y="3212423"/>
            <a:ext cx="8559720" cy="517238"/>
          </a:xfrm>
          <a:custGeom>
            <a:avLst/>
            <a:gdLst/>
            <a:ahLst/>
            <a:cxnLst/>
            <a:rect l="l" t="t" r="r" b="b"/>
            <a:pathLst>
              <a:path w="18819495" h="1137284">
                <a:moveTo>
                  <a:pt x="0" y="0"/>
                </a:moveTo>
                <a:lnTo>
                  <a:pt x="18819353" y="0"/>
                </a:lnTo>
                <a:lnTo>
                  <a:pt x="18819353" y="1136782"/>
                </a:lnTo>
                <a:lnTo>
                  <a:pt x="0" y="1136782"/>
                </a:lnTo>
                <a:lnTo>
                  <a:pt x="0" y="0"/>
                </a:lnTo>
                <a:close/>
              </a:path>
            </a:pathLst>
          </a:custGeom>
          <a:solidFill>
            <a:srgbClr val="FFFFFF"/>
          </a:solidFill>
        </p:spPr>
        <p:txBody>
          <a:bodyPr wrap="square" lIns="0" tIns="0" rIns="0" bIns="0" rtlCol="0"/>
          <a:lstStyle/>
          <a:p>
            <a:endParaRPr/>
          </a:p>
        </p:txBody>
      </p:sp>
      <p:sp>
        <p:nvSpPr>
          <p:cNvPr id="8" name="object 8"/>
          <p:cNvSpPr txBox="1"/>
          <p:nvPr/>
        </p:nvSpPr>
        <p:spPr>
          <a:xfrm>
            <a:off x="422785" y="3351193"/>
            <a:ext cx="1069207" cy="206762"/>
          </a:xfrm>
          <a:prstGeom prst="rect">
            <a:avLst/>
          </a:prstGeom>
        </p:spPr>
        <p:txBody>
          <a:bodyPr vert="horz" wrap="square" lIns="0" tIns="6642" rIns="0" bIns="0" rtlCol="0">
            <a:spAutoFit/>
          </a:bodyPr>
          <a:lstStyle/>
          <a:p>
            <a:pPr>
              <a:spcBef>
                <a:spcPts val="52"/>
              </a:spcBef>
            </a:pPr>
            <a:r>
              <a:rPr sz="1300" b="1" spc="2" dirty="0">
                <a:latin typeface="Helvetica Neue"/>
                <a:cs typeface="Helvetica Neue"/>
              </a:rPr>
              <a:t>Multi</a:t>
            </a:r>
            <a:r>
              <a:rPr sz="1300" b="1" spc="-30" dirty="0">
                <a:latin typeface="Helvetica Neue"/>
                <a:cs typeface="Helvetica Neue"/>
              </a:rPr>
              <a:t> </a:t>
            </a:r>
            <a:r>
              <a:rPr sz="1300" b="1" spc="5" dirty="0">
                <a:latin typeface="Helvetica Neue"/>
                <a:cs typeface="Helvetica Neue"/>
              </a:rPr>
              <a:t>banque</a:t>
            </a:r>
            <a:endParaRPr sz="1300">
              <a:latin typeface="Helvetica Neue"/>
              <a:cs typeface="Helvetica Neue"/>
            </a:endParaRPr>
          </a:p>
        </p:txBody>
      </p:sp>
      <p:sp>
        <p:nvSpPr>
          <p:cNvPr id="9" name="object 9"/>
          <p:cNvSpPr/>
          <p:nvPr/>
        </p:nvSpPr>
        <p:spPr>
          <a:xfrm>
            <a:off x="264400" y="3876356"/>
            <a:ext cx="8559720" cy="517238"/>
          </a:xfrm>
          <a:custGeom>
            <a:avLst/>
            <a:gdLst/>
            <a:ahLst/>
            <a:cxnLst/>
            <a:rect l="l" t="t" r="r" b="b"/>
            <a:pathLst>
              <a:path w="18819495" h="1137284">
                <a:moveTo>
                  <a:pt x="0" y="0"/>
                </a:moveTo>
                <a:lnTo>
                  <a:pt x="18819353" y="0"/>
                </a:lnTo>
                <a:lnTo>
                  <a:pt x="18819353" y="1136792"/>
                </a:lnTo>
                <a:lnTo>
                  <a:pt x="0" y="1136792"/>
                </a:lnTo>
                <a:lnTo>
                  <a:pt x="0" y="0"/>
                </a:lnTo>
                <a:close/>
              </a:path>
            </a:pathLst>
          </a:custGeom>
          <a:solidFill>
            <a:srgbClr val="FFFFFF"/>
          </a:solidFill>
        </p:spPr>
        <p:txBody>
          <a:bodyPr wrap="square" lIns="0" tIns="0" rIns="0" bIns="0" rtlCol="0"/>
          <a:lstStyle/>
          <a:p>
            <a:endParaRPr/>
          </a:p>
        </p:txBody>
      </p:sp>
      <p:sp>
        <p:nvSpPr>
          <p:cNvPr id="10" name="object 10"/>
          <p:cNvSpPr txBox="1"/>
          <p:nvPr/>
        </p:nvSpPr>
        <p:spPr>
          <a:xfrm>
            <a:off x="412912" y="4027294"/>
            <a:ext cx="2876733" cy="213173"/>
          </a:xfrm>
          <a:prstGeom prst="rect">
            <a:avLst/>
          </a:prstGeom>
        </p:spPr>
        <p:txBody>
          <a:bodyPr vert="horz" wrap="square" lIns="0" tIns="6642" rIns="0" bIns="0" rtlCol="0">
            <a:spAutoFit/>
          </a:bodyPr>
          <a:lstStyle/>
          <a:p>
            <a:pPr>
              <a:spcBef>
                <a:spcPts val="52"/>
              </a:spcBef>
            </a:pPr>
            <a:r>
              <a:rPr lang="fr-FR" sz="1300" b="1" spc="5" dirty="0">
                <a:solidFill>
                  <a:srgbClr val="FF7900"/>
                </a:solidFill>
                <a:latin typeface="Helvetica Neue"/>
                <a:cs typeface="Helvetica Neue"/>
              </a:rPr>
              <a:t>Banque en </a:t>
            </a:r>
            <a:r>
              <a:rPr lang="fr-FR" sz="1300" b="1" spc="2" dirty="0">
                <a:solidFill>
                  <a:srgbClr val="FF7900"/>
                </a:solidFill>
                <a:latin typeface="Helvetica Neue"/>
                <a:cs typeface="Helvetica Neue"/>
              </a:rPr>
              <a:t>ligne </a:t>
            </a:r>
            <a:r>
              <a:rPr lang="fr-FR" sz="1300" b="1" spc="5" dirty="0">
                <a:solidFill>
                  <a:srgbClr val="FF7900"/>
                </a:solidFill>
                <a:latin typeface="Helvetica Neue"/>
                <a:cs typeface="Helvetica Neue"/>
              </a:rPr>
              <a:t>ou</a:t>
            </a:r>
            <a:r>
              <a:rPr lang="fr-FR" sz="1300" b="1" spc="-23" dirty="0">
                <a:solidFill>
                  <a:srgbClr val="FF7900"/>
                </a:solidFill>
                <a:latin typeface="Helvetica Neue"/>
                <a:cs typeface="Helvetica Neue"/>
              </a:rPr>
              <a:t> </a:t>
            </a:r>
            <a:r>
              <a:rPr lang="fr-FR" sz="1300" b="1" spc="2" dirty="0">
                <a:solidFill>
                  <a:srgbClr val="FF7900"/>
                </a:solidFill>
                <a:latin typeface="Helvetica Neue"/>
                <a:cs typeface="Helvetica Neue"/>
              </a:rPr>
              <a:t>mobile *</a:t>
            </a:r>
            <a:endParaRPr lang="fr-FR" sz="1300" dirty="0">
              <a:latin typeface="Helvetica Neue"/>
              <a:cs typeface="Helvetica Neue"/>
            </a:endParaRPr>
          </a:p>
        </p:txBody>
      </p:sp>
      <p:sp>
        <p:nvSpPr>
          <p:cNvPr id="11" name="object 11"/>
          <p:cNvSpPr txBox="1"/>
          <p:nvPr/>
        </p:nvSpPr>
        <p:spPr>
          <a:xfrm>
            <a:off x="3843723" y="2194615"/>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2024</a:t>
            </a:r>
            <a:endParaRPr sz="600">
              <a:latin typeface="Helvetica Neue"/>
              <a:cs typeface="Helvetica Neue"/>
            </a:endParaRPr>
          </a:p>
        </p:txBody>
      </p:sp>
      <p:sp>
        <p:nvSpPr>
          <p:cNvPr id="13" name="object 13"/>
          <p:cNvSpPr txBox="1"/>
          <p:nvPr/>
        </p:nvSpPr>
        <p:spPr>
          <a:xfrm>
            <a:off x="5254767" y="2194615"/>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2015</a:t>
            </a:r>
            <a:endParaRPr sz="600">
              <a:latin typeface="Helvetica Neue"/>
              <a:cs typeface="Helvetica Neue"/>
            </a:endParaRPr>
          </a:p>
        </p:txBody>
      </p:sp>
      <p:sp>
        <p:nvSpPr>
          <p:cNvPr id="14" name="object 14"/>
          <p:cNvSpPr txBox="1"/>
          <p:nvPr/>
        </p:nvSpPr>
        <p:spPr>
          <a:xfrm>
            <a:off x="6790127" y="2226636"/>
            <a:ext cx="322322" cy="98749"/>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lang="fr-FR" sz="600" spc="2" dirty="0">
                <a:latin typeface="Helvetica Neue"/>
                <a:cs typeface="Helvetica Neue"/>
              </a:rPr>
              <a:t>1005</a:t>
            </a:r>
            <a:endParaRPr sz="600" dirty="0">
              <a:latin typeface="Helvetica Neue"/>
              <a:cs typeface="Helvetica Neue"/>
            </a:endParaRPr>
          </a:p>
        </p:txBody>
      </p:sp>
      <p:sp>
        <p:nvSpPr>
          <p:cNvPr id="15" name="object 15"/>
          <p:cNvSpPr txBox="1"/>
          <p:nvPr/>
        </p:nvSpPr>
        <p:spPr>
          <a:xfrm>
            <a:off x="8074757" y="2194615"/>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1007</a:t>
            </a:r>
            <a:endParaRPr sz="600">
              <a:latin typeface="Helvetica Neue"/>
              <a:cs typeface="Helvetica Neue"/>
            </a:endParaRPr>
          </a:p>
        </p:txBody>
      </p:sp>
      <p:sp>
        <p:nvSpPr>
          <p:cNvPr id="16" name="object 16"/>
          <p:cNvSpPr/>
          <p:nvPr/>
        </p:nvSpPr>
        <p:spPr>
          <a:xfrm>
            <a:off x="4053195" y="1864430"/>
            <a:ext cx="101087" cy="287932"/>
          </a:xfrm>
          <a:custGeom>
            <a:avLst/>
            <a:gdLst/>
            <a:ahLst/>
            <a:cxnLst/>
            <a:rect l="l" t="t" r="r" b="b"/>
            <a:pathLst>
              <a:path w="222250" h="633095">
                <a:moveTo>
                  <a:pt x="0" y="0"/>
                </a:moveTo>
                <a:lnTo>
                  <a:pt x="0" y="632912"/>
                </a:lnTo>
                <a:lnTo>
                  <a:pt x="41700" y="614465"/>
                </a:lnTo>
                <a:lnTo>
                  <a:pt x="80215" y="590788"/>
                </a:lnTo>
                <a:lnTo>
                  <a:pt x="115084" y="562331"/>
                </a:lnTo>
                <a:lnTo>
                  <a:pt x="145850" y="529546"/>
                </a:lnTo>
                <a:lnTo>
                  <a:pt x="172051" y="492883"/>
                </a:lnTo>
                <a:lnTo>
                  <a:pt x="193230" y="452792"/>
                </a:lnTo>
                <a:lnTo>
                  <a:pt x="208926" y="409724"/>
                </a:lnTo>
                <a:lnTo>
                  <a:pt x="218681" y="364130"/>
                </a:lnTo>
                <a:lnTo>
                  <a:pt x="222035" y="316461"/>
                </a:lnTo>
                <a:lnTo>
                  <a:pt x="218681" y="268789"/>
                </a:lnTo>
                <a:lnTo>
                  <a:pt x="208926" y="223193"/>
                </a:lnTo>
                <a:lnTo>
                  <a:pt x="193230" y="180125"/>
                </a:lnTo>
                <a:lnTo>
                  <a:pt x="172051" y="140034"/>
                </a:lnTo>
                <a:lnTo>
                  <a:pt x="145850" y="103371"/>
                </a:lnTo>
                <a:lnTo>
                  <a:pt x="115084" y="70585"/>
                </a:lnTo>
                <a:lnTo>
                  <a:pt x="80215" y="42128"/>
                </a:lnTo>
                <a:lnTo>
                  <a:pt x="41700" y="18449"/>
                </a:lnTo>
                <a:lnTo>
                  <a:pt x="0" y="0"/>
                </a:lnTo>
                <a:close/>
              </a:path>
            </a:pathLst>
          </a:custGeom>
          <a:solidFill>
            <a:srgbClr val="C60E33"/>
          </a:solidFill>
        </p:spPr>
        <p:txBody>
          <a:bodyPr wrap="square" lIns="0" tIns="0" rIns="0" bIns="0" rtlCol="0"/>
          <a:lstStyle/>
          <a:p>
            <a:endParaRPr/>
          </a:p>
        </p:txBody>
      </p:sp>
      <p:sp>
        <p:nvSpPr>
          <p:cNvPr id="17" name="object 17"/>
          <p:cNvSpPr/>
          <p:nvPr/>
        </p:nvSpPr>
        <p:spPr>
          <a:xfrm>
            <a:off x="3847618" y="1864430"/>
            <a:ext cx="101087" cy="287932"/>
          </a:xfrm>
          <a:custGeom>
            <a:avLst/>
            <a:gdLst/>
            <a:ahLst/>
            <a:cxnLst/>
            <a:rect l="l" t="t" r="r" b="b"/>
            <a:pathLst>
              <a:path w="222250" h="633095">
                <a:moveTo>
                  <a:pt x="222035" y="0"/>
                </a:moveTo>
                <a:lnTo>
                  <a:pt x="180334" y="18449"/>
                </a:lnTo>
                <a:lnTo>
                  <a:pt x="141820" y="42128"/>
                </a:lnTo>
                <a:lnTo>
                  <a:pt x="106950" y="70585"/>
                </a:lnTo>
                <a:lnTo>
                  <a:pt x="76185" y="103371"/>
                </a:lnTo>
                <a:lnTo>
                  <a:pt x="49983" y="140034"/>
                </a:lnTo>
                <a:lnTo>
                  <a:pt x="28804" y="180125"/>
                </a:lnTo>
                <a:lnTo>
                  <a:pt x="13108" y="223193"/>
                </a:lnTo>
                <a:lnTo>
                  <a:pt x="3353" y="268789"/>
                </a:lnTo>
                <a:lnTo>
                  <a:pt x="0" y="316461"/>
                </a:lnTo>
                <a:lnTo>
                  <a:pt x="3353" y="364130"/>
                </a:lnTo>
                <a:lnTo>
                  <a:pt x="13108" y="409724"/>
                </a:lnTo>
                <a:lnTo>
                  <a:pt x="28804" y="452792"/>
                </a:lnTo>
                <a:lnTo>
                  <a:pt x="49983" y="492883"/>
                </a:lnTo>
                <a:lnTo>
                  <a:pt x="76185" y="529546"/>
                </a:lnTo>
                <a:lnTo>
                  <a:pt x="106950" y="562331"/>
                </a:lnTo>
                <a:lnTo>
                  <a:pt x="141820" y="590788"/>
                </a:lnTo>
                <a:lnTo>
                  <a:pt x="180334" y="614465"/>
                </a:lnTo>
                <a:lnTo>
                  <a:pt x="222035" y="632912"/>
                </a:lnTo>
                <a:lnTo>
                  <a:pt x="222035" y="0"/>
                </a:lnTo>
                <a:close/>
              </a:path>
            </a:pathLst>
          </a:custGeom>
          <a:solidFill>
            <a:srgbClr val="354083"/>
          </a:solidFill>
        </p:spPr>
        <p:txBody>
          <a:bodyPr wrap="square" lIns="0" tIns="0" rIns="0" bIns="0" rtlCol="0"/>
          <a:lstStyle/>
          <a:p>
            <a:endParaRPr/>
          </a:p>
        </p:txBody>
      </p:sp>
      <p:sp>
        <p:nvSpPr>
          <p:cNvPr id="18" name="object 18"/>
          <p:cNvSpPr/>
          <p:nvPr/>
        </p:nvSpPr>
        <p:spPr>
          <a:xfrm>
            <a:off x="3948605" y="1855083"/>
            <a:ext cx="104841" cy="306704"/>
          </a:xfrm>
          <a:custGeom>
            <a:avLst/>
            <a:gdLst/>
            <a:ahLst/>
            <a:cxnLst/>
            <a:rect l="l" t="t" r="r" b="b"/>
            <a:pathLst>
              <a:path w="230504" h="674370">
                <a:moveTo>
                  <a:pt x="114980" y="0"/>
                </a:moveTo>
                <a:lnTo>
                  <a:pt x="85004" y="1375"/>
                </a:lnTo>
                <a:lnTo>
                  <a:pt x="55798" y="5380"/>
                </a:lnTo>
                <a:lnTo>
                  <a:pt x="27438" y="11834"/>
                </a:lnTo>
                <a:lnTo>
                  <a:pt x="0" y="20554"/>
                </a:lnTo>
                <a:lnTo>
                  <a:pt x="0" y="653456"/>
                </a:lnTo>
                <a:lnTo>
                  <a:pt x="27438" y="662181"/>
                </a:lnTo>
                <a:lnTo>
                  <a:pt x="55798" y="668634"/>
                </a:lnTo>
                <a:lnTo>
                  <a:pt x="85004" y="672636"/>
                </a:lnTo>
                <a:lnTo>
                  <a:pt x="114980" y="674010"/>
                </a:lnTo>
                <a:lnTo>
                  <a:pt x="144957" y="672636"/>
                </a:lnTo>
                <a:lnTo>
                  <a:pt x="174162" y="668634"/>
                </a:lnTo>
                <a:lnTo>
                  <a:pt x="202519" y="662181"/>
                </a:lnTo>
                <a:lnTo>
                  <a:pt x="229951" y="653456"/>
                </a:lnTo>
                <a:lnTo>
                  <a:pt x="229951" y="20554"/>
                </a:lnTo>
                <a:lnTo>
                  <a:pt x="202519" y="11834"/>
                </a:lnTo>
                <a:lnTo>
                  <a:pt x="174162" y="5380"/>
                </a:lnTo>
                <a:lnTo>
                  <a:pt x="144957" y="1375"/>
                </a:lnTo>
                <a:lnTo>
                  <a:pt x="114980" y="0"/>
                </a:lnTo>
                <a:close/>
              </a:path>
            </a:pathLst>
          </a:custGeom>
          <a:solidFill>
            <a:srgbClr val="FFFFFF"/>
          </a:solidFill>
        </p:spPr>
        <p:txBody>
          <a:bodyPr wrap="square" lIns="0" tIns="0" rIns="0" bIns="0" rtlCol="0"/>
          <a:lstStyle/>
          <a:p>
            <a:endParaRPr/>
          </a:p>
        </p:txBody>
      </p:sp>
      <p:sp>
        <p:nvSpPr>
          <p:cNvPr id="19" name="object 19"/>
          <p:cNvSpPr/>
          <p:nvPr/>
        </p:nvSpPr>
        <p:spPr>
          <a:xfrm>
            <a:off x="5261300" y="1855083"/>
            <a:ext cx="305667" cy="305640"/>
          </a:xfrm>
          <a:prstGeom prst="rect">
            <a:avLst/>
          </a:prstGeom>
          <a:blipFill>
            <a:blip r:embed="rId2" cstate="print"/>
            <a:stretch>
              <a:fillRect/>
            </a:stretch>
          </a:blipFill>
        </p:spPr>
        <p:txBody>
          <a:bodyPr wrap="square" lIns="0" tIns="0" rIns="0" bIns="0" rtlCol="0"/>
          <a:lstStyle/>
          <a:p>
            <a:endParaRPr/>
          </a:p>
        </p:txBody>
      </p:sp>
      <p:sp>
        <p:nvSpPr>
          <p:cNvPr id="30" name="object 30"/>
          <p:cNvSpPr/>
          <p:nvPr/>
        </p:nvSpPr>
        <p:spPr>
          <a:xfrm>
            <a:off x="8076809" y="1857792"/>
            <a:ext cx="305859" cy="305838"/>
          </a:xfrm>
          <a:custGeom>
            <a:avLst/>
            <a:gdLst/>
            <a:ahLst/>
            <a:cxnLst/>
            <a:rect l="l" t="t" r="r" b="b"/>
            <a:pathLst>
              <a:path w="672465" h="672464">
                <a:moveTo>
                  <a:pt x="336010" y="0"/>
                </a:moveTo>
                <a:lnTo>
                  <a:pt x="286354" y="3643"/>
                </a:lnTo>
                <a:lnTo>
                  <a:pt x="238961" y="14226"/>
                </a:lnTo>
                <a:lnTo>
                  <a:pt x="194351" y="31229"/>
                </a:lnTo>
                <a:lnTo>
                  <a:pt x="153043" y="54132"/>
                </a:lnTo>
                <a:lnTo>
                  <a:pt x="115557" y="82416"/>
                </a:lnTo>
                <a:lnTo>
                  <a:pt x="82413" y="115560"/>
                </a:lnTo>
                <a:lnTo>
                  <a:pt x="54130" y="153045"/>
                </a:lnTo>
                <a:lnTo>
                  <a:pt x="31227" y="194352"/>
                </a:lnTo>
                <a:lnTo>
                  <a:pt x="14225" y="238959"/>
                </a:lnTo>
                <a:lnTo>
                  <a:pt x="3642" y="286349"/>
                </a:lnTo>
                <a:lnTo>
                  <a:pt x="0" y="336000"/>
                </a:lnTo>
                <a:lnTo>
                  <a:pt x="3642" y="385656"/>
                </a:lnTo>
                <a:lnTo>
                  <a:pt x="14225" y="433050"/>
                </a:lnTo>
                <a:lnTo>
                  <a:pt x="31227" y="477661"/>
                </a:lnTo>
                <a:lnTo>
                  <a:pt x="54130" y="518970"/>
                </a:lnTo>
                <a:lnTo>
                  <a:pt x="82413" y="556457"/>
                </a:lnTo>
                <a:lnTo>
                  <a:pt x="115557" y="589603"/>
                </a:lnTo>
                <a:lnTo>
                  <a:pt x="153043" y="617887"/>
                </a:lnTo>
                <a:lnTo>
                  <a:pt x="194351" y="640791"/>
                </a:lnTo>
                <a:lnTo>
                  <a:pt x="238961" y="657795"/>
                </a:lnTo>
                <a:lnTo>
                  <a:pt x="286354" y="668378"/>
                </a:lnTo>
                <a:lnTo>
                  <a:pt x="336010" y="672021"/>
                </a:lnTo>
                <a:lnTo>
                  <a:pt x="385664" y="668378"/>
                </a:lnTo>
                <a:lnTo>
                  <a:pt x="433056" y="657795"/>
                </a:lnTo>
                <a:lnTo>
                  <a:pt x="477667" y="640791"/>
                </a:lnTo>
                <a:lnTo>
                  <a:pt x="518976" y="617887"/>
                </a:lnTo>
                <a:lnTo>
                  <a:pt x="556463" y="589603"/>
                </a:lnTo>
                <a:lnTo>
                  <a:pt x="589610" y="556457"/>
                </a:lnTo>
                <a:lnTo>
                  <a:pt x="617895" y="518970"/>
                </a:lnTo>
                <a:lnTo>
                  <a:pt x="640800" y="477661"/>
                </a:lnTo>
                <a:lnTo>
                  <a:pt x="657804" y="433050"/>
                </a:lnTo>
                <a:lnTo>
                  <a:pt x="668388" y="385656"/>
                </a:lnTo>
                <a:lnTo>
                  <a:pt x="672031" y="336000"/>
                </a:lnTo>
                <a:lnTo>
                  <a:pt x="668388" y="286349"/>
                </a:lnTo>
                <a:lnTo>
                  <a:pt x="657804" y="238959"/>
                </a:lnTo>
                <a:lnTo>
                  <a:pt x="640800" y="194352"/>
                </a:lnTo>
                <a:lnTo>
                  <a:pt x="617895" y="153045"/>
                </a:lnTo>
                <a:lnTo>
                  <a:pt x="589610" y="115560"/>
                </a:lnTo>
                <a:lnTo>
                  <a:pt x="556463" y="82416"/>
                </a:lnTo>
                <a:lnTo>
                  <a:pt x="518976" y="54132"/>
                </a:lnTo>
                <a:lnTo>
                  <a:pt x="477667" y="31229"/>
                </a:lnTo>
                <a:lnTo>
                  <a:pt x="433056" y="14226"/>
                </a:lnTo>
                <a:lnTo>
                  <a:pt x="385664" y="3643"/>
                </a:lnTo>
                <a:lnTo>
                  <a:pt x="336010" y="0"/>
                </a:lnTo>
                <a:close/>
              </a:path>
            </a:pathLst>
          </a:custGeom>
          <a:solidFill>
            <a:srgbClr val="035284"/>
          </a:solidFill>
        </p:spPr>
        <p:txBody>
          <a:bodyPr wrap="square" lIns="0" tIns="0" rIns="0" bIns="0" rtlCol="0"/>
          <a:lstStyle/>
          <a:p>
            <a:endParaRPr/>
          </a:p>
        </p:txBody>
      </p:sp>
      <p:sp>
        <p:nvSpPr>
          <p:cNvPr id="31" name="object 31"/>
          <p:cNvSpPr/>
          <p:nvPr/>
        </p:nvSpPr>
        <p:spPr>
          <a:xfrm>
            <a:off x="8137940" y="1861231"/>
            <a:ext cx="61230" cy="298906"/>
          </a:xfrm>
          <a:custGeom>
            <a:avLst/>
            <a:gdLst/>
            <a:ahLst/>
            <a:cxnLst/>
            <a:rect l="l" t="t" r="r" b="b"/>
            <a:pathLst>
              <a:path w="134619" h="657225">
                <a:moveTo>
                  <a:pt x="134404" y="0"/>
                </a:moveTo>
                <a:lnTo>
                  <a:pt x="104557" y="6664"/>
                </a:lnTo>
                <a:lnTo>
                  <a:pt x="59947" y="23667"/>
                </a:lnTo>
                <a:lnTo>
                  <a:pt x="18639" y="46571"/>
                </a:lnTo>
                <a:lnTo>
                  <a:pt x="0" y="60635"/>
                </a:lnTo>
                <a:lnTo>
                  <a:pt x="0" y="596262"/>
                </a:lnTo>
                <a:lnTo>
                  <a:pt x="18639" y="610326"/>
                </a:lnTo>
                <a:lnTo>
                  <a:pt x="59947" y="633230"/>
                </a:lnTo>
                <a:lnTo>
                  <a:pt x="104557" y="650233"/>
                </a:lnTo>
                <a:lnTo>
                  <a:pt x="134404" y="656898"/>
                </a:lnTo>
                <a:lnTo>
                  <a:pt x="134404" y="0"/>
                </a:lnTo>
                <a:close/>
              </a:path>
            </a:pathLst>
          </a:custGeom>
          <a:solidFill>
            <a:srgbClr val="EDB901"/>
          </a:solidFill>
        </p:spPr>
        <p:txBody>
          <a:bodyPr wrap="square" lIns="0" tIns="0" rIns="0" bIns="0" rtlCol="0"/>
          <a:lstStyle/>
          <a:p>
            <a:endParaRPr/>
          </a:p>
        </p:txBody>
      </p:sp>
      <p:sp>
        <p:nvSpPr>
          <p:cNvPr id="32" name="object 32"/>
          <p:cNvSpPr/>
          <p:nvPr/>
        </p:nvSpPr>
        <p:spPr>
          <a:xfrm>
            <a:off x="8076809" y="1980042"/>
            <a:ext cx="305859" cy="61225"/>
          </a:xfrm>
          <a:custGeom>
            <a:avLst/>
            <a:gdLst/>
            <a:ahLst/>
            <a:cxnLst/>
            <a:rect l="l" t="t" r="r" b="b"/>
            <a:pathLst>
              <a:path w="672465" h="134620">
                <a:moveTo>
                  <a:pt x="664468" y="0"/>
                </a:moveTo>
                <a:lnTo>
                  <a:pt x="7562" y="0"/>
                </a:lnTo>
                <a:lnTo>
                  <a:pt x="3642" y="17551"/>
                </a:lnTo>
                <a:lnTo>
                  <a:pt x="0" y="67202"/>
                </a:lnTo>
                <a:lnTo>
                  <a:pt x="3642" y="116858"/>
                </a:lnTo>
                <a:lnTo>
                  <a:pt x="7560" y="134404"/>
                </a:lnTo>
                <a:lnTo>
                  <a:pt x="664470" y="134404"/>
                </a:lnTo>
                <a:lnTo>
                  <a:pt x="668388" y="116858"/>
                </a:lnTo>
                <a:lnTo>
                  <a:pt x="672031" y="67202"/>
                </a:lnTo>
                <a:lnTo>
                  <a:pt x="668388" y="17551"/>
                </a:lnTo>
                <a:lnTo>
                  <a:pt x="664468" y="0"/>
                </a:lnTo>
                <a:close/>
              </a:path>
            </a:pathLst>
          </a:custGeom>
          <a:solidFill>
            <a:srgbClr val="EDB901"/>
          </a:solidFill>
        </p:spPr>
        <p:txBody>
          <a:bodyPr wrap="square" lIns="0" tIns="0" rIns="0" bIns="0" rtlCol="0"/>
          <a:lstStyle/>
          <a:p>
            <a:endParaRPr/>
          </a:p>
        </p:txBody>
      </p:sp>
      <p:sp>
        <p:nvSpPr>
          <p:cNvPr id="38" name="object 38"/>
          <p:cNvSpPr txBox="1"/>
          <p:nvPr/>
        </p:nvSpPr>
        <p:spPr>
          <a:xfrm>
            <a:off x="4061512" y="2705234"/>
            <a:ext cx="385187" cy="205887"/>
          </a:xfrm>
          <a:prstGeom prst="rect">
            <a:avLst/>
          </a:prstGeom>
        </p:spPr>
        <p:txBody>
          <a:bodyPr vert="horz" wrap="square" lIns="0" tIns="5776" rIns="0" bIns="0" rtlCol="0">
            <a:spAutoFit/>
          </a:bodyPr>
          <a:lstStyle/>
          <a:p>
            <a:pPr>
              <a:spcBef>
                <a:spcPts val="45"/>
              </a:spcBef>
            </a:pPr>
            <a:r>
              <a:rPr sz="1300" b="1" spc="-2" dirty="0">
                <a:latin typeface="Helvetica"/>
                <a:cs typeface="Helvetica"/>
              </a:rPr>
              <a:t>60%</a:t>
            </a:r>
            <a:endParaRPr sz="1300" dirty="0">
              <a:latin typeface="Helvetica"/>
              <a:cs typeface="Helvetica"/>
            </a:endParaRPr>
          </a:p>
        </p:txBody>
      </p:sp>
      <p:sp>
        <p:nvSpPr>
          <p:cNvPr id="40" name="object 40"/>
          <p:cNvSpPr txBox="1"/>
          <p:nvPr/>
        </p:nvSpPr>
        <p:spPr>
          <a:xfrm>
            <a:off x="5498291" y="2705234"/>
            <a:ext cx="441861" cy="205887"/>
          </a:xfrm>
          <a:prstGeom prst="rect">
            <a:avLst/>
          </a:prstGeom>
        </p:spPr>
        <p:txBody>
          <a:bodyPr vert="horz" wrap="square" lIns="0" tIns="5776" rIns="0" bIns="0" rtlCol="0">
            <a:spAutoFit/>
          </a:bodyPr>
          <a:lstStyle/>
          <a:p>
            <a:pPr>
              <a:spcBef>
                <a:spcPts val="45"/>
              </a:spcBef>
            </a:pPr>
            <a:r>
              <a:rPr sz="1300" b="1" spc="-2" dirty="0">
                <a:latin typeface="Helvetica"/>
                <a:cs typeface="Helvetica"/>
              </a:rPr>
              <a:t>49%</a:t>
            </a:r>
            <a:endParaRPr sz="1300" dirty="0">
              <a:latin typeface="Helvetica"/>
              <a:cs typeface="Helvetica"/>
            </a:endParaRPr>
          </a:p>
        </p:txBody>
      </p:sp>
      <p:sp>
        <p:nvSpPr>
          <p:cNvPr id="41" name="object 41"/>
          <p:cNvSpPr txBox="1"/>
          <p:nvPr/>
        </p:nvSpPr>
        <p:spPr>
          <a:xfrm>
            <a:off x="6996366" y="2705234"/>
            <a:ext cx="383946" cy="205887"/>
          </a:xfrm>
          <a:prstGeom prst="rect">
            <a:avLst/>
          </a:prstGeom>
        </p:spPr>
        <p:txBody>
          <a:bodyPr vert="horz" wrap="square" lIns="0" tIns="5776" rIns="0" bIns="0" rtlCol="0">
            <a:spAutoFit/>
          </a:bodyPr>
          <a:lstStyle/>
          <a:p>
            <a:pPr>
              <a:spcBef>
                <a:spcPts val="45"/>
              </a:spcBef>
            </a:pPr>
            <a:r>
              <a:rPr sz="1300" b="1" spc="-2" dirty="0">
                <a:latin typeface="Helvetica"/>
                <a:cs typeface="Helvetica"/>
              </a:rPr>
              <a:t>46%</a:t>
            </a:r>
            <a:endParaRPr sz="1300" dirty="0">
              <a:latin typeface="Helvetica"/>
              <a:cs typeface="Helvetica"/>
            </a:endParaRPr>
          </a:p>
        </p:txBody>
      </p:sp>
      <p:sp>
        <p:nvSpPr>
          <p:cNvPr id="42" name="object 42"/>
          <p:cNvSpPr txBox="1"/>
          <p:nvPr/>
        </p:nvSpPr>
        <p:spPr>
          <a:xfrm>
            <a:off x="8301842" y="2705234"/>
            <a:ext cx="374614" cy="205887"/>
          </a:xfrm>
          <a:prstGeom prst="rect">
            <a:avLst/>
          </a:prstGeom>
        </p:spPr>
        <p:txBody>
          <a:bodyPr vert="horz" wrap="square" lIns="0" tIns="5776" rIns="0" bIns="0" rtlCol="0">
            <a:spAutoFit/>
          </a:bodyPr>
          <a:lstStyle/>
          <a:p>
            <a:pPr>
              <a:spcBef>
                <a:spcPts val="45"/>
              </a:spcBef>
            </a:pPr>
            <a:r>
              <a:rPr sz="1300" b="1" spc="-2" dirty="0">
                <a:latin typeface="Helvetica"/>
                <a:cs typeface="Helvetica"/>
              </a:rPr>
              <a:t>55%</a:t>
            </a:r>
            <a:endParaRPr sz="1300" dirty="0">
              <a:latin typeface="Helvetica"/>
              <a:cs typeface="Helvetica"/>
            </a:endParaRPr>
          </a:p>
        </p:txBody>
      </p:sp>
      <p:sp>
        <p:nvSpPr>
          <p:cNvPr id="43" name="object 43"/>
          <p:cNvSpPr/>
          <p:nvPr/>
        </p:nvSpPr>
        <p:spPr>
          <a:xfrm>
            <a:off x="3720275" y="2687243"/>
            <a:ext cx="293729" cy="259630"/>
          </a:xfrm>
          <a:custGeom>
            <a:avLst/>
            <a:gdLst/>
            <a:ahLst/>
            <a:cxnLst/>
            <a:rect l="l" t="t" r="r" b="b"/>
            <a:pathLst>
              <a:path w="645795" h="570864">
                <a:moveTo>
                  <a:pt x="0" y="0"/>
                </a:moveTo>
                <a:lnTo>
                  <a:pt x="645540" y="0"/>
                </a:lnTo>
                <a:lnTo>
                  <a:pt x="645540" y="570569"/>
                </a:lnTo>
                <a:lnTo>
                  <a:pt x="0" y="570569"/>
                </a:lnTo>
                <a:lnTo>
                  <a:pt x="0" y="0"/>
                </a:lnTo>
                <a:close/>
              </a:path>
            </a:pathLst>
          </a:custGeom>
          <a:solidFill>
            <a:srgbClr val="FF7900"/>
          </a:solidFill>
        </p:spPr>
        <p:txBody>
          <a:bodyPr wrap="square" lIns="0" tIns="0" rIns="0" bIns="0" rtlCol="0"/>
          <a:lstStyle/>
          <a:p>
            <a:endParaRPr/>
          </a:p>
        </p:txBody>
      </p:sp>
      <p:sp>
        <p:nvSpPr>
          <p:cNvPr id="45" name="object 45"/>
          <p:cNvSpPr/>
          <p:nvPr/>
        </p:nvSpPr>
        <p:spPr>
          <a:xfrm>
            <a:off x="5208464" y="2687243"/>
            <a:ext cx="240008" cy="259630"/>
          </a:xfrm>
          <a:custGeom>
            <a:avLst/>
            <a:gdLst/>
            <a:ahLst/>
            <a:cxnLst/>
            <a:rect l="l" t="t" r="r" b="b"/>
            <a:pathLst>
              <a:path w="527684" h="570864">
                <a:moveTo>
                  <a:pt x="0" y="0"/>
                </a:moveTo>
                <a:lnTo>
                  <a:pt x="527188" y="0"/>
                </a:lnTo>
                <a:lnTo>
                  <a:pt x="527188" y="570569"/>
                </a:lnTo>
                <a:lnTo>
                  <a:pt x="0" y="570569"/>
                </a:lnTo>
                <a:lnTo>
                  <a:pt x="0" y="0"/>
                </a:lnTo>
                <a:close/>
              </a:path>
            </a:pathLst>
          </a:custGeom>
          <a:solidFill>
            <a:srgbClr val="FF7900"/>
          </a:solidFill>
        </p:spPr>
        <p:txBody>
          <a:bodyPr wrap="square" lIns="0" tIns="0" rIns="0" bIns="0" rtlCol="0"/>
          <a:lstStyle/>
          <a:p>
            <a:endParaRPr/>
          </a:p>
        </p:txBody>
      </p:sp>
      <p:sp>
        <p:nvSpPr>
          <p:cNvPr id="47" name="object 47"/>
          <p:cNvSpPr/>
          <p:nvPr/>
        </p:nvSpPr>
        <p:spPr>
          <a:xfrm>
            <a:off x="7985193" y="2687228"/>
            <a:ext cx="269179" cy="259630"/>
          </a:xfrm>
          <a:custGeom>
            <a:avLst/>
            <a:gdLst/>
            <a:ahLst/>
            <a:cxnLst/>
            <a:rect l="l" t="t" r="r" b="b"/>
            <a:pathLst>
              <a:path w="591819" h="570864">
                <a:moveTo>
                  <a:pt x="0" y="0"/>
                </a:moveTo>
                <a:lnTo>
                  <a:pt x="591741" y="0"/>
                </a:lnTo>
                <a:lnTo>
                  <a:pt x="591741" y="570631"/>
                </a:lnTo>
                <a:lnTo>
                  <a:pt x="0" y="570631"/>
                </a:lnTo>
                <a:lnTo>
                  <a:pt x="0" y="0"/>
                </a:lnTo>
                <a:close/>
              </a:path>
            </a:pathLst>
          </a:custGeom>
          <a:solidFill>
            <a:srgbClr val="FF7900"/>
          </a:solidFill>
        </p:spPr>
        <p:txBody>
          <a:bodyPr wrap="square" lIns="0" tIns="0" rIns="0" bIns="0" rtlCol="0"/>
          <a:lstStyle/>
          <a:p>
            <a:endParaRPr/>
          </a:p>
        </p:txBody>
      </p:sp>
      <p:sp>
        <p:nvSpPr>
          <p:cNvPr id="48" name="object 48"/>
          <p:cNvSpPr txBox="1"/>
          <p:nvPr/>
        </p:nvSpPr>
        <p:spPr>
          <a:xfrm>
            <a:off x="3958619" y="3382447"/>
            <a:ext cx="432724" cy="205887"/>
          </a:xfrm>
          <a:prstGeom prst="rect">
            <a:avLst/>
          </a:prstGeom>
        </p:spPr>
        <p:txBody>
          <a:bodyPr vert="horz" wrap="square" lIns="0" tIns="5776" rIns="0" bIns="0" rtlCol="0">
            <a:spAutoFit/>
          </a:bodyPr>
          <a:lstStyle/>
          <a:p>
            <a:pPr>
              <a:spcBef>
                <a:spcPts val="45"/>
              </a:spcBef>
            </a:pPr>
            <a:r>
              <a:rPr sz="1300" b="1" spc="-2" dirty="0">
                <a:latin typeface="Helvetica"/>
                <a:cs typeface="Helvetica"/>
              </a:rPr>
              <a:t>38%</a:t>
            </a:r>
            <a:endParaRPr sz="1300" dirty="0">
              <a:latin typeface="Helvetica"/>
              <a:cs typeface="Helvetica"/>
            </a:endParaRPr>
          </a:p>
        </p:txBody>
      </p:sp>
      <p:sp>
        <p:nvSpPr>
          <p:cNvPr id="50" name="object 50"/>
          <p:cNvSpPr txBox="1"/>
          <p:nvPr/>
        </p:nvSpPr>
        <p:spPr>
          <a:xfrm>
            <a:off x="5499353" y="3382447"/>
            <a:ext cx="440799" cy="205887"/>
          </a:xfrm>
          <a:prstGeom prst="rect">
            <a:avLst/>
          </a:prstGeom>
        </p:spPr>
        <p:txBody>
          <a:bodyPr vert="horz" wrap="square" lIns="0" tIns="5776" rIns="0" bIns="0" rtlCol="0">
            <a:spAutoFit/>
          </a:bodyPr>
          <a:lstStyle/>
          <a:p>
            <a:pPr>
              <a:spcBef>
                <a:spcPts val="45"/>
              </a:spcBef>
            </a:pPr>
            <a:r>
              <a:rPr sz="1300" b="1" spc="-2" dirty="0">
                <a:latin typeface="Helvetica"/>
                <a:cs typeface="Helvetica"/>
              </a:rPr>
              <a:t>50%</a:t>
            </a:r>
            <a:endParaRPr sz="1300" dirty="0">
              <a:latin typeface="Helvetica"/>
              <a:cs typeface="Helvetica"/>
            </a:endParaRPr>
          </a:p>
        </p:txBody>
      </p:sp>
      <p:sp>
        <p:nvSpPr>
          <p:cNvPr id="51" name="object 51"/>
          <p:cNvSpPr txBox="1"/>
          <p:nvPr/>
        </p:nvSpPr>
        <p:spPr>
          <a:xfrm>
            <a:off x="7004684" y="3382447"/>
            <a:ext cx="375628" cy="205887"/>
          </a:xfrm>
          <a:prstGeom prst="rect">
            <a:avLst/>
          </a:prstGeom>
        </p:spPr>
        <p:txBody>
          <a:bodyPr vert="horz" wrap="square" lIns="0" tIns="5776" rIns="0" bIns="0" rtlCol="0">
            <a:spAutoFit/>
          </a:bodyPr>
          <a:lstStyle/>
          <a:p>
            <a:pPr>
              <a:spcBef>
                <a:spcPts val="45"/>
              </a:spcBef>
            </a:pPr>
            <a:r>
              <a:rPr sz="1300" b="1" spc="-2" dirty="0">
                <a:latin typeface="Helvetica"/>
                <a:cs typeface="Helvetica"/>
              </a:rPr>
              <a:t>53%</a:t>
            </a:r>
            <a:endParaRPr sz="1300" dirty="0">
              <a:latin typeface="Helvetica"/>
              <a:cs typeface="Helvetica"/>
            </a:endParaRPr>
          </a:p>
        </p:txBody>
      </p:sp>
      <p:sp>
        <p:nvSpPr>
          <p:cNvPr id="52" name="object 52"/>
          <p:cNvSpPr txBox="1"/>
          <p:nvPr/>
        </p:nvSpPr>
        <p:spPr>
          <a:xfrm>
            <a:off x="8250927" y="3382447"/>
            <a:ext cx="380746" cy="205887"/>
          </a:xfrm>
          <a:prstGeom prst="rect">
            <a:avLst/>
          </a:prstGeom>
        </p:spPr>
        <p:txBody>
          <a:bodyPr vert="horz" wrap="square" lIns="0" tIns="5776" rIns="0" bIns="0" rtlCol="0">
            <a:spAutoFit/>
          </a:bodyPr>
          <a:lstStyle/>
          <a:p>
            <a:pPr>
              <a:spcBef>
                <a:spcPts val="45"/>
              </a:spcBef>
            </a:pPr>
            <a:r>
              <a:rPr sz="1300" b="1" spc="-2" dirty="0">
                <a:latin typeface="Helvetica"/>
                <a:cs typeface="Helvetica"/>
              </a:rPr>
              <a:t>44%</a:t>
            </a:r>
            <a:endParaRPr sz="1300" dirty="0">
              <a:latin typeface="Helvetica"/>
              <a:cs typeface="Helvetica"/>
            </a:endParaRPr>
          </a:p>
        </p:txBody>
      </p:sp>
      <p:sp>
        <p:nvSpPr>
          <p:cNvPr id="53" name="object 53"/>
          <p:cNvSpPr/>
          <p:nvPr/>
        </p:nvSpPr>
        <p:spPr>
          <a:xfrm>
            <a:off x="3725037" y="3363452"/>
            <a:ext cx="185999" cy="254431"/>
          </a:xfrm>
          <a:custGeom>
            <a:avLst/>
            <a:gdLst/>
            <a:ahLst/>
            <a:cxnLst/>
            <a:rect l="l" t="t" r="r" b="b"/>
            <a:pathLst>
              <a:path w="408940" h="559434">
                <a:moveTo>
                  <a:pt x="0" y="0"/>
                </a:moveTo>
                <a:lnTo>
                  <a:pt x="408846" y="0"/>
                </a:lnTo>
                <a:lnTo>
                  <a:pt x="408846" y="558946"/>
                </a:lnTo>
                <a:lnTo>
                  <a:pt x="0" y="558946"/>
                </a:lnTo>
                <a:lnTo>
                  <a:pt x="0" y="0"/>
                </a:lnTo>
                <a:close/>
              </a:path>
            </a:pathLst>
          </a:custGeom>
          <a:solidFill>
            <a:srgbClr val="FF7900"/>
          </a:solidFill>
        </p:spPr>
        <p:txBody>
          <a:bodyPr wrap="square" lIns="0" tIns="0" rIns="0" bIns="0" rtlCol="0"/>
          <a:lstStyle/>
          <a:p>
            <a:endParaRPr/>
          </a:p>
        </p:txBody>
      </p:sp>
      <p:sp>
        <p:nvSpPr>
          <p:cNvPr id="55" name="object 55"/>
          <p:cNvSpPr/>
          <p:nvPr/>
        </p:nvSpPr>
        <p:spPr>
          <a:xfrm>
            <a:off x="5195849" y="3363480"/>
            <a:ext cx="244918" cy="254431"/>
          </a:xfrm>
          <a:custGeom>
            <a:avLst/>
            <a:gdLst/>
            <a:ahLst/>
            <a:cxnLst/>
            <a:rect l="l" t="t" r="r" b="b"/>
            <a:pathLst>
              <a:path w="538480" h="559434">
                <a:moveTo>
                  <a:pt x="0" y="0"/>
                </a:moveTo>
                <a:lnTo>
                  <a:pt x="537941" y="0"/>
                </a:lnTo>
                <a:lnTo>
                  <a:pt x="537941" y="558883"/>
                </a:lnTo>
                <a:lnTo>
                  <a:pt x="0" y="558883"/>
                </a:lnTo>
                <a:lnTo>
                  <a:pt x="0" y="0"/>
                </a:lnTo>
                <a:close/>
              </a:path>
            </a:pathLst>
          </a:custGeom>
          <a:solidFill>
            <a:srgbClr val="FF7900"/>
          </a:solidFill>
        </p:spPr>
        <p:txBody>
          <a:bodyPr wrap="square" lIns="0" tIns="0" rIns="0" bIns="0" rtlCol="0"/>
          <a:lstStyle/>
          <a:p>
            <a:endParaRPr/>
          </a:p>
        </p:txBody>
      </p:sp>
      <p:sp>
        <p:nvSpPr>
          <p:cNvPr id="56" name="object 56"/>
          <p:cNvSpPr/>
          <p:nvPr/>
        </p:nvSpPr>
        <p:spPr>
          <a:xfrm>
            <a:off x="6697731" y="3363480"/>
            <a:ext cx="259359" cy="254431"/>
          </a:xfrm>
          <a:custGeom>
            <a:avLst/>
            <a:gdLst/>
            <a:ahLst/>
            <a:cxnLst/>
            <a:rect l="l" t="t" r="r" b="b"/>
            <a:pathLst>
              <a:path w="570230" h="559434">
                <a:moveTo>
                  <a:pt x="0" y="0"/>
                </a:moveTo>
                <a:lnTo>
                  <a:pt x="570223" y="0"/>
                </a:lnTo>
                <a:lnTo>
                  <a:pt x="570223" y="558883"/>
                </a:lnTo>
                <a:lnTo>
                  <a:pt x="0" y="558883"/>
                </a:lnTo>
                <a:lnTo>
                  <a:pt x="0" y="0"/>
                </a:lnTo>
                <a:close/>
              </a:path>
            </a:pathLst>
          </a:custGeom>
          <a:solidFill>
            <a:srgbClr val="FF7900"/>
          </a:solidFill>
        </p:spPr>
        <p:txBody>
          <a:bodyPr wrap="square" lIns="0" tIns="0" rIns="0" bIns="0" rtlCol="0"/>
          <a:lstStyle/>
          <a:p>
            <a:endParaRPr/>
          </a:p>
        </p:txBody>
      </p:sp>
      <p:sp>
        <p:nvSpPr>
          <p:cNvPr id="57" name="object 57"/>
          <p:cNvSpPr/>
          <p:nvPr/>
        </p:nvSpPr>
        <p:spPr>
          <a:xfrm>
            <a:off x="7987122" y="3363480"/>
            <a:ext cx="215458" cy="254431"/>
          </a:xfrm>
          <a:custGeom>
            <a:avLst/>
            <a:gdLst/>
            <a:ahLst/>
            <a:cxnLst/>
            <a:rect l="l" t="t" r="r" b="b"/>
            <a:pathLst>
              <a:path w="473709" h="559434">
                <a:moveTo>
                  <a:pt x="0" y="0"/>
                </a:moveTo>
                <a:lnTo>
                  <a:pt x="473388" y="0"/>
                </a:lnTo>
                <a:lnTo>
                  <a:pt x="473388" y="558883"/>
                </a:lnTo>
                <a:lnTo>
                  <a:pt x="0" y="558883"/>
                </a:lnTo>
                <a:lnTo>
                  <a:pt x="0" y="0"/>
                </a:lnTo>
                <a:close/>
              </a:path>
            </a:pathLst>
          </a:custGeom>
          <a:solidFill>
            <a:srgbClr val="FF7900"/>
          </a:solidFill>
        </p:spPr>
        <p:txBody>
          <a:bodyPr wrap="square" lIns="0" tIns="0" rIns="0" bIns="0" rtlCol="0"/>
          <a:lstStyle/>
          <a:p>
            <a:endParaRPr/>
          </a:p>
        </p:txBody>
      </p:sp>
      <p:sp>
        <p:nvSpPr>
          <p:cNvPr id="58" name="object 58"/>
          <p:cNvSpPr/>
          <p:nvPr/>
        </p:nvSpPr>
        <p:spPr>
          <a:xfrm>
            <a:off x="7992858" y="4023682"/>
            <a:ext cx="0" cy="257897"/>
          </a:xfrm>
          <a:custGeom>
            <a:avLst/>
            <a:gdLst/>
            <a:ahLst/>
            <a:cxnLst/>
            <a:rect l="l" t="t" r="r" b="b"/>
            <a:pathLst>
              <a:path h="567054">
                <a:moveTo>
                  <a:pt x="0" y="0"/>
                </a:moveTo>
                <a:lnTo>
                  <a:pt x="0" y="566600"/>
                </a:lnTo>
              </a:path>
            </a:pathLst>
          </a:custGeom>
          <a:ln w="64553">
            <a:solidFill>
              <a:srgbClr val="FF7900"/>
            </a:solidFill>
          </a:ln>
        </p:spPr>
        <p:txBody>
          <a:bodyPr wrap="square" lIns="0" tIns="0" rIns="0" bIns="0" rtlCol="0"/>
          <a:lstStyle/>
          <a:p>
            <a:endParaRPr/>
          </a:p>
        </p:txBody>
      </p:sp>
      <p:sp>
        <p:nvSpPr>
          <p:cNvPr id="59" name="object 59"/>
          <p:cNvSpPr txBox="1"/>
          <p:nvPr/>
        </p:nvSpPr>
        <p:spPr>
          <a:xfrm>
            <a:off x="3860038" y="4042658"/>
            <a:ext cx="366389" cy="205887"/>
          </a:xfrm>
          <a:prstGeom prst="rect">
            <a:avLst/>
          </a:prstGeom>
        </p:spPr>
        <p:txBody>
          <a:bodyPr vert="horz" wrap="square" lIns="0" tIns="5776" rIns="0" bIns="0" rtlCol="0">
            <a:spAutoFit/>
          </a:bodyPr>
          <a:lstStyle/>
          <a:p>
            <a:pPr>
              <a:spcBef>
                <a:spcPts val="45"/>
              </a:spcBef>
            </a:pPr>
            <a:r>
              <a:rPr sz="1300" b="1" spc="-2" dirty="0">
                <a:solidFill>
                  <a:srgbClr val="FF7900"/>
                </a:solidFill>
                <a:latin typeface="Helvetica"/>
                <a:cs typeface="Helvetica"/>
              </a:rPr>
              <a:t>21%</a:t>
            </a:r>
            <a:endParaRPr sz="1300" dirty="0">
              <a:latin typeface="Helvetica"/>
              <a:cs typeface="Helvetica"/>
            </a:endParaRPr>
          </a:p>
        </p:txBody>
      </p:sp>
      <p:sp>
        <p:nvSpPr>
          <p:cNvPr id="60" name="object 60"/>
          <p:cNvSpPr txBox="1"/>
          <p:nvPr/>
        </p:nvSpPr>
        <p:spPr>
          <a:xfrm>
            <a:off x="5346852" y="4042658"/>
            <a:ext cx="377590" cy="205887"/>
          </a:xfrm>
          <a:prstGeom prst="rect">
            <a:avLst/>
          </a:prstGeom>
        </p:spPr>
        <p:txBody>
          <a:bodyPr vert="horz" wrap="square" lIns="0" tIns="5776" rIns="0" bIns="0" rtlCol="0">
            <a:spAutoFit/>
          </a:bodyPr>
          <a:lstStyle/>
          <a:p>
            <a:pPr>
              <a:spcBef>
                <a:spcPts val="45"/>
              </a:spcBef>
              <a:tabLst>
                <a:tab pos="699180" algn="l"/>
              </a:tabLst>
            </a:pPr>
            <a:r>
              <a:rPr sz="1300" b="1" spc="-2" dirty="0">
                <a:latin typeface="Helvetica"/>
                <a:cs typeface="Helvetica"/>
              </a:rPr>
              <a:t>23%</a:t>
            </a:r>
            <a:endParaRPr sz="1300" dirty="0">
              <a:latin typeface="Helvetica"/>
              <a:cs typeface="Helvetica"/>
            </a:endParaRPr>
          </a:p>
        </p:txBody>
      </p:sp>
      <p:sp>
        <p:nvSpPr>
          <p:cNvPr id="61" name="object 61"/>
          <p:cNvSpPr txBox="1"/>
          <p:nvPr/>
        </p:nvSpPr>
        <p:spPr>
          <a:xfrm>
            <a:off x="6773001" y="4042658"/>
            <a:ext cx="240008" cy="205913"/>
          </a:xfrm>
          <a:prstGeom prst="rect">
            <a:avLst/>
          </a:prstGeom>
        </p:spPr>
        <p:txBody>
          <a:bodyPr vert="horz" wrap="square" lIns="0" tIns="5776" rIns="0" bIns="0" rtlCol="0">
            <a:spAutoFit/>
          </a:bodyPr>
          <a:lstStyle/>
          <a:p>
            <a:pPr>
              <a:spcBef>
                <a:spcPts val="45"/>
              </a:spcBef>
            </a:pPr>
            <a:r>
              <a:rPr sz="1300" b="1" spc="-2" dirty="0">
                <a:latin typeface="Helvetica"/>
                <a:cs typeface="Helvetica"/>
              </a:rPr>
              <a:t>8%</a:t>
            </a:r>
            <a:endParaRPr sz="1300">
              <a:latin typeface="Helvetica"/>
              <a:cs typeface="Helvetica"/>
            </a:endParaRPr>
          </a:p>
        </p:txBody>
      </p:sp>
      <p:sp>
        <p:nvSpPr>
          <p:cNvPr id="62" name="object 62"/>
          <p:cNvSpPr txBox="1"/>
          <p:nvPr/>
        </p:nvSpPr>
        <p:spPr>
          <a:xfrm>
            <a:off x="8055192" y="4042658"/>
            <a:ext cx="240008" cy="205913"/>
          </a:xfrm>
          <a:prstGeom prst="rect">
            <a:avLst/>
          </a:prstGeom>
        </p:spPr>
        <p:txBody>
          <a:bodyPr vert="horz" wrap="square" lIns="0" tIns="5776" rIns="0" bIns="0" rtlCol="0">
            <a:spAutoFit/>
          </a:bodyPr>
          <a:lstStyle/>
          <a:p>
            <a:pPr>
              <a:spcBef>
                <a:spcPts val="45"/>
              </a:spcBef>
            </a:pPr>
            <a:r>
              <a:rPr sz="1300" b="1" spc="-2" dirty="0">
                <a:latin typeface="Helvetica"/>
                <a:cs typeface="Helvetica"/>
              </a:rPr>
              <a:t>6%</a:t>
            </a:r>
            <a:endParaRPr sz="1300">
              <a:latin typeface="Helvetica"/>
              <a:cs typeface="Helvetica"/>
            </a:endParaRPr>
          </a:p>
        </p:txBody>
      </p:sp>
      <p:sp>
        <p:nvSpPr>
          <p:cNvPr id="63" name="object 63"/>
          <p:cNvSpPr/>
          <p:nvPr/>
        </p:nvSpPr>
        <p:spPr>
          <a:xfrm>
            <a:off x="3709649" y="4023668"/>
            <a:ext cx="102819" cy="257897"/>
          </a:xfrm>
          <a:custGeom>
            <a:avLst/>
            <a:gdLst/>
            <a:ahLst/>
            <a:cxnLst/>
            <a:rect l="l" t="t" r="r" b="b"/>
            <a:pathLst>
              <a:path w="226059" h="567054">
                <a:moveTo>
                  <a:pt x="0" y="0"/>
                </a:moveTo>
                <a:lnTo>
                  <a:pt x="225940" y="0"/>
                </a:lnTo>
                <a:lnTo>
                  <a:pt x="225940" y="566663"/>
                </a:lnTo>
                <a:lnTo>
                  <a:pt x="0" y="566663"/>
                </a:lnTo>
                <a:lnTo>
                  <a:pt x="0" y="0"/>
                </a:lnTo>
                <a:close/>
              </a:path>
            </a:pathLst>
          </a:custGeom>
          <a:solidFill>
            <a:srgbClr val="FF7900"/>
          </a:solidFill>
        </p:spPr>
        <p:txBody>
          <a:bodyPr wrap="square" lIns="0" tIns="0" rIns="0" bIns="0" rtlCol="0"/>
          <a:lstStyle/>
          <a:p>
            <a:endParaRPr/>
          </a:p>
        </p:txBody>
      </p:sp>
      <p:sp>
        <p:nvSpPr>
          <p:cNvPr id="65" name="object 65"/>
          <p:cNvSpPr/>
          <p:nvPr/>
        </p:nvSpPr>
        <p:spPr>
          <a:xfrm>
            <a:off x="5195849" y="4023668"/>
            <a:ext cx="112639" cy="257897"/>
          </a:xfrm>
          <a:custGeom>
            <a:avLst/>
            <a:gdLst/>
            <a:ahLst/>
            <a:cxnLst/>
            <a:rect l="l" t="t" r="r" b="b"/>
            <a:pathLst>
              <a:path w="247650" h="567054">
                <a:moveTo>
                  <a:pt x="0" y="0"/>
                </a:moveTo>
                <a:lnTo>
                  <a:pt x="247458" y="0"/>
                </a:lnTo>
                <a:lnTo>
                  <a:pt x="247458" y="566663"/>
                </a:lnTo>
                <a:lnTo>
                  <a:pt x="0" y="566663"/>
                </a:lnTo>
                <a:lnTo>
                  <a:pt x="0" y="0"/>
                </a:lnTo>
                <a:close/>
              </a:path>
            </a:pathLst>
          </a:custGeom>
          <a:solidFill>
            <a:srgbClr val="FF7900"/>
          </a:solidFill>
        </p:spPr>
        <p:txBody>
          <a:bodyPr wrap="square" lIns="0" tIns="0" rIns="0" bIns="0" rtlCol="0"/>
          <a:lstStyle/>
          <a:p>
            <a:endParaRPr/>
          </a:p>
        </p:txBody>
      </p:sp>
      <p:sp>
        <p:nvSpPr>
          <p:cNvPr id="66" name="object 66"/>
          <p:cNvSpPr/>
          <p:nvPr/>
        </p:nvSpPr>
        <p:spPr>
          <a:xfrm>
            <a:off x="6686153" y="4023682"/>
            <a:ext cx="39279" cy="257897"/>
          </a:xfrm>
          <a:custGeom>
            <a:avLst/>
            <a:gdLst/>
            <a:ahLst/>
            <a:cxnLst/>
            <a:rect l="l" t="t" r="r" b="b"/>
            <a:pathLst>
              <a:path w="86359" h="567054">
                <a:moveTo>
                  <a:pt x="0" y="0"/>
                </a:moveTo>
                <a:lnTo>
                  <a:pt x="86070" y="0"/>
                </a:lnTo>
                <a:lnTo>
                  <a:pt x="86070" y="566600"/>
                </a:lnTo>
                <a:lnTo>
                  <a:pt x="0" y="566600"/>
                </a:lnTo>
                <a:lnTo>
                  <a:pt x="0" y="0"/>
                </a:lnTo>
                <a:close/>
              </a:path>
            </a:pathLst>
          </a:custGeom>
          <a:solidFill>
            <a:srgbClr val="FF7900"/>
          </a:solidFill>
        </p:spPr>
        <p:txBody>
          <a:bodyPr wrap="square" lIns="0" tIns="0" rIns="0" bIns="0" rtlCol="0"/>
          <a:lstStyle/>
          <a:p>
            <a:endParaRPr/>
          </a:p>
        </p:txBody>
      </p:sp>
      <p:sp>
        <p:nvSpPr>
          <p:cNvPr id="67" name="object 67"/>
          <p:cNvSpPr/>
          <p:nvPr/>
        </p:nvSpPr>
        <p:spPr>
          <a:xfrm>
            <a:off x="190895" y="217646"/>
            <a:ext cx="422542" cy="422512"/>
          </a:xfrm>
          <a:custGeom>
            <a:avLst/>
            <a:gdLst/>
            <a:ahLst/>
            <a:cxnLst/>
            <a:rect l="l" t="t" r="r" b="b"/>
            <a:pathLst>
              <a:path w="929005" h="929005">
                <a:moveTo>
                  <a:pt x="464341" y="0"/>
                </a:moveTo>
                <a:lnTo>
                  <a:pt x="416864" y="2397"/>
                </a:lnTo>
                <a:lnTo>
                  <a:pt x="370759" y="9434"/>
                </a:lnTo>
                <a:lnTo>
                  <a:pt x="326259" y="20877"/>
                </a:lnTo>
                <a:lnTo>
                  <a:pt x="283597" y="36492"/>
                </a:lnTo>
                <a:lnTo>
                  <a:pt x="243007" y="56047"/>
                </a:lnTo>
                <a:lnTo>
                  <a:pt x="204722" y="79307"/>
                </a:lnTo>
                <a:lnTo>
                  <a:pt x="168975" y="106039"/>
                </a:lnTo>
                <a:lnTo>
                  <a:pt x="136001" y="136010"/>
                </a:lnTo>
                <a:lnTo>
                  <a:pt x="106031" y="168986"/>
                </a:lnTo>
                <a:lnTo>
                  <a:pt x="79301" y="204733"/>
                </a:lnTo>
                <a:lnTo>
                  <a:pt x="56042" y="243019"/>
                </a:lnTo>
                <a:lnTo>
                  <a:pt x="36489" y="283610"/>
                </a:lnTo>
                <a:lnTo>
                  <a:pt x="20875" y="326272"/>
                </a:lnTo>
                <a:lnTo>
                  <a:pt x="9433" y="370772"/>
                </a:lnTo>
                <a:lnTo>
                  <a:pt x="2397" y="416877"/>
                </a:lnTo>
                <a:lnTo>
                  <a:pt x="0" y="464352"/>
                </a:lnTo>
                <a:lnTo>
                  <a:pt x="2397" y="511829"/>
                </a:lnTo>
                <a:lnTo>
                  <a:pt x="9433" y="557935"/>
                </a:lnTo>
                <a:lnTo>
                  <a:pt x="20875" y="602435"/>
                </a:lnTo>
                <a:lnTo>
                  <a:pt x="36489" y="645098"/>
                </a:lnTo>
                <a:lnTo>
                  <a:pt x="56042" y="685689"/>
                </a:lnTo>
                <a:lnTo>
                  <a:pt x="79301" y="723975"/>
                </a:lnTo>
                <a:lnTo>
                  <a:pt x="106031" y="759722"/>
                </a:lnTo>
                <a:lnTo>
                  <a:pt x="136001" y="792698"/>
                </a:lnTo>
                <a:lnTo>
                  <a:pt x="168975" y="822668"/>
                </a:lnTo>
                <a:lnTo>
                  <a:pt x="204722" y="849400"/>
                </a:lnTo>
                <a:lnTo>
                  <a:pt x="243007" y="872659"/>
                </a:lnTo>
                <a:lnTo>
                  <a:pt x="283597" y="892213"/>
                </a:lnTo>
                <a:lnTo>
                  <a:pt x="326259" y="907828"/>
                </a:lnTo>
                <a:lnTo>
                  <a:pt x="370759" y="919270"/>
                </a:lnTo>
                <a:lnTo>
                  <a:pt x="416864" y="926307"/>
                </a:lnTo>
                <a:lnTo>
                  <a:pt x="464341" y="928704"/>
                </a:lnTo>
                <a:lnTo>
                  <a:pt x="511818" y="926307"/>
                </a:lnTo>
                <a:lnTo>
                  <a:pt x="557924" y="919270"/>
                </a:lnTo>
                <a:lnTo>
                  <a:pt x="602425" y="907828"/>
                </a:lnTo>
                <a:lnTo>
                  <a:pt x="645088" y="892213"/>
                </a:lnTo>
                <a:lnTo>
                  <a:pt x="685678" y="872659"/>
                </a:lnTo>
                <a:lnTo>
                  <a:pt x="723964" y="849400"/>
                </a:lnTo>
                <a:lnTo>
                  <a:pt x="759712" y="822668"/>
                </a:lnTo>
                <a:lnTo>
                  <a:pt x="792687" y="792698"/>
                </a:lnTo>
                <a:lnTo>
                  <a:pt x="822658" y="759722"/>
                </a:lnTo>
                <a:lnTo>
                  <a:pt x="849389" y="723975"/>
                </a:lnTo>
                <a:lnTo>
                  <a:pt x="872649" y="685689"/>
                </a:lnTo>
                <a:lnTo>
                  <a:pt x="892202" y="645098"/>
                </a:lnTo>
                <a:lnTo>
                  <a:pt x="907817" y="602435"/>
                </a:lnTo>
                <a:lnTo>
                  <a:pt x="919260" y="557935"/>
                </a:lnTo>
                <a:lnTo>
                  <a:pt x="926296" y="511829"/>
                </a:lnTo>
                <a:lnTo>
                  <a:pt x="928694" y="464352"/>
                </a:lnTo>
                <a:lnTo>
                  <a:pt x="926296" y="416877"/>
                </a:lnTo>
                <a:lnTo>
                  <a:pt x="919260" y="370772"/>
                </a:lnTo>
                <a:lnTo>
                  <a:pt x="907817" y="326272"/>
                </a:lnTo>
                <a:lnTo>
                  <a:pt x="892202" y="283610"/>
                </a:lnTo>
                <a:lnTo>
                  <a:pt x="872649" y="243019"/>
                </a:lnTo>
                <a:lnTo>
                  <a:pt x="849389" y="204733"/>
                </a:lnTo>
                <a:lnTo>
                  <a:pt x="822658" y="168986"/>
                </a:lnTo>
                <a:lnTo>
                  <a:pt x="792687" y="136010"/>
                </a:lnTo>
                <a:lnTo>
                  <a:pt x="759712" y="106039"/>
                </a:lnTo>
                <a:lnTo>
                  <a:pt x="723964" y="79307"/>
                </a:lnTo>
                <a:lnTo>
                  <a:pt x="685678" y="56047"/>
                </a:lnTo>
                <a:lnTo>
                  <a:pt x="645088" y="36492"/>
                </a:lnTo>
                <a:lnTo>
                  <a:pt x="602425" y="20877"/>
                </a:lnTo>
                <a:lnTo>
                  <a:pt x="557924" y="9434"/>
                </a:lnTo>
                <a:lnTo>
                  <a:pt x="511818" y="2397"/>
                </a:lnTo>
                <a:lnTo>
                  <a:pt x="464341" y="0"/>
                </a:lnTo>
                <a:close/>
              </a:path>
            </a:pathLst>
          </a:custGeom>
          <a:solidFill>
            <a:srgbClr val="4AB4E6"/>
          </a:solidFill>
        </p:spPr>
        <p:txBody>
          <a:bodyPr wrap="square" lIns="0" tIns="0" rIns="0" bIns="0" rtlCol="0"/>
          <a:lstStyle/>
          <a:p>
            <a:endParaRPr/>
          </a:p>
        </p:txBody>
      </p:sp>
      <p:sp>
        <p:nvSpPr>
          <p:cNvPr id="68" name="object 68"/>
          <p:cNvSpPr/>
          <p:nvPr/>
        </p:nvSpPr>
        <p:spPr>
          <a:xfrm>
            <a:off x="263643" y="305855"/>
            <a:ext cx="274955" cy="213999"/>
          </a:xfrm>
          <a:custGeom>
            <a:avLst/>
            <a:gdLst/>
            <a:ahLst/>
            <a:cxnLst/>
            <a:rect l="l" t="t" r="r" b="b"/>
            <a:pathLst>
              <a:path w="604519" h="470534">
                <a:moveTo>
                  <a:pt x="604505" y="453378"/>
                </a:moveTo>
                <a:lnTo>
                  <a:pt x="0" y="453378"/>
                </a:lnTo>
                <a:lnTo>
                  <a:pt x="0" y="470163"/>
                </a:lnTo>
                <a:lnTo>
                  <a:pt x="604505" y="470163"/>
                </a:lnTo>
                <a:lnTo>
                  <a:pt x="604505" y="453378"/>
                </a:lnTo>
                <a:close/>
              </a:path>
              <a:path w="604519" h="470534">
                <a:moveTo>
                  <a:pt x="587709" y="436583"/>
                </a:moveTo>
                <a:lnTo>
                  <a:pt x="16795" y="436583"/>
                </a:lnTo>
                <a:lnTo>
                  <a:pt x="16795" y="453378"/>
                </a:lnTo>
                <a:lnTo>
                  <a:pt x="587709" y="453378"/>
                </a:lnTo>
                <a:lnTo>
                  <a:pt x="587709" y="436583"/>
                </a:lnTo>
                <a:close/>
              </a:path>
              <a:path w="604519" h="470534">
                <a:moveTo>
                  <a:pt x="167921" y="151126"/>
                </a:moveTo>
                <a:lnTo>
                  <a:pt x="33580" y="151126"/>
                </a:lnTo>
                <a:lnTo>
                  <a:pt x="33580" y="436583"/>
                </a:lnTo>
                <a:lnTo>
                  <a:pt x="570914" y="436583"/>
                </a:lnTo>
                <a:lnTo>
                  <a:pt x="570914" y="419798"/>
                </a:lnTo>
                <a:lnTo>
                  <a:pt x="167921" y="419798"/>
                </a:lnTo>
                <a:lnTo>
                  <a:pt x="167921" y="386218"/>
                </a:lnTo>
                <a:lnTo>
                  <a:pt x="67160" y="386218"/>
                </a:lnTo>
                <a:lnTo>
                  <a:pt x="67160" y="302933"/>
                </a:lnTo>
                <a:lnTo>
                  <a:pt x="167921" y="302933"/>
                </a:lnTo>
                <a:lnTo>
                  <a:pt x="167921" y="268672"/>
                </a:lnTo>
                <a:lnTo>
                  <a:pt x="67160" y="268672"/>
                </a:lnTo>
                <a:lnTo>
                  <a:pt x="67160" y="184706"/>
                </a:lnTo>
                <a:lnTo>
                  <a:pt x="167921" y="184706"/>
                </a:lnTo>
                <a:lnTo>
                  <a:pt x="167921" y="151126"/>
                </a:lnTo>
                <a:close/>
              </a:path>
              <a:path w="604519" h="470534">
                <a:moveTo>
                  <a:pt x="235081" y="151126"/>
                </a:moveTo>
                <a:lnTo>
                  <a:pt x="201501" y="151126"/>
                </a:lnTo>
                <a:lnTo>
                  <a:pt x="201501" y="419798"/>
                </a:lnTo>
                <a:lnTo>
                  <a:pt x="235081" y="419798"/>
                </a:lnTo>
                <a:lnTo>
                  <a:pt x="235081" y="151126"/>
                </a:lnTo>
                <a:close/>
              </a:path>
              <a:path w="604519" h="470534">
                <a:moveTo>
                  <a:pt x="335832" y="151126"/>
                </a:moveTo>
                <a:lnTo>
                  <a:pt x="268672" y="151126"/>
                </a:lnTo>
                <a:lnTo>
                  <a:pt x="268672" y="419798"/>
                </a:lnTo>
                <a:lnTo>
                  <a:pt x="335832" y="419798"/>
                </a:lnTo>
                <a:lnTo>
                  <a:pt x="335832" y="151126"/>
                </a:lnTo>
                <a:close/>
              </a:path>
              <a:path w="604519" h="470534">
                <a:moveTo>
                  <a:pt x="402992" y="151126"/>
                </a:moveTo>
                <a:lnTo>
                  <a:pt x="369423" y="151126"/>
                </a:lnTo>
                <a:lnTo>
                  <a:pt x="369423" y="419798"/>
                </a:lnTo>
                <a:lnTo>
                  <a:pt x="402992" y="419798"/>
                </a:lnTo>
                <a:lnTo>
                  <a:pt x="402992" y="151126"/>
                </a:lnTo>
                <a:close/>
              </a:path>
              <a:path w="604519" h="470534">
                <a:moveTo>
                  <a:pt x="570914" y="151126"/>
                </a:moveTo>
                <a:lnTo>
                  <a:pt x="436583" y="151126"/>
                </a:lnTo>
                <a:lnTo>
                  <a:pt x="436583" y="419798"/>
                </a:lnTo>
                <a:lnTo>
                  <a:pt x="570914" y="419798"/>
                </a:lnTo>
                <a:lnTo>
                  <a:pt x="570914" y="386218"/>
                </a:lnTo>
                <a:lnTo>
                  <a:pt x="470163" y="386218"/>
                </a:lnTo>
                <a:lnTo>
                  <a:pt x="470163" y="302933"/>
                </a:lnTo>
                <a:lnTo>
                  <a:pt x="570914" y="302933"/>
                </a:lnTo>
                <a:lnTo>
                  <a:pt x="570914" y="268672"/>
                </a:lnTo>
                <a:lnTo>
                  <a:pt x="470163" y="268672"/>
                </a:lnTo>
                <a:lnTo>
                  <a:pt x="470163" y="184706"/>
                </a:lnTo>
                <a:lnTo>
                  <a:pt x="570914" y="184706"/>
                </a:lnTo>
                <a:lnTo>
                  <a:pt x="570914" y="151126"/>
                </a:lnTo>
                <a:close/>
              </a:path>
              <a:path w="604519" h="470534">
                <a:moveTo>
                  <a:pt x="167921" y="302933"/>
                </a:moveTo>
                <a:lnTo>
                  <a:pt x="134330" y="302933"/>
                </a:lnTo>
                <a:lnTo>
                  <a:pt x="134330" y="386218"/>
                </a:lnTo>
                <a:lnTo>
                  <a:pt x="167921" y="386218"/>
                </a:lnTo>
                <a:lnTo>
                  <a:pt x="167921" y="302933"/>
                </a:lnTo>
                <a:close/>
              </a:path>
              <a:path w="604519" h="470534">
                <a:moveTo>
                  <a:pt x="570914" y="302933"/>
                </a:moveTo>
                <a:lnTo>
                  <a:pt x="537334" y="302933"/>
                </a:lnTo>
                <a:lnTo>
                  <a:pt x="537334" y="386218"/>
                </a:lnTo>
                <a:lnTo>
                  <a:pt x="570914" y="386218"/>
                </a:lnTo>
                <a:lnTo>
                  <a:pt x="570914" y="302933"/>
                </a:lnTo>
                <a:close/>
              </a:path>
              <a:path w="604519" h="470534">
                <a:moveTo>
                  <a:pt x="167921" y="184706"/>
                </a:moveTo>
                <a:lnTo>
                  <a:pt x="134330" y="184706"/>
                </a:lnTo>
                <a:lnTo>
                  <a:pt x="134330" y="268672"/>
                </a:lnTo>
                <a:lnTo>
                  <a:pt x="167921" y="268672"/>
                </a:lnTo>
                <a:lnTo>
                  <a:pt x="167921" y="184706"/>
                </a:lnTo>
                <a:close/>
              </a:path>
              <a:path w="604519" h="470534">
                <a:moveTo>
                  <a:pt x="570914" y="184706"/>
                </a:moveTo>
                <a:lnTo>
                  <a:pt x="537334" y="184706"/>
                </a:lnTo>
                <a:lnTo>
                  <a:pt x="537334" y="268672"/>
                </a:lnTo>
                <a:lnTo>
                  <a:pt x="570914" y="268672"/>
                </a:lnTo>
                <a:lnTo>
                  <a:pt x="570914" y="184706"/>
                </a:lnTo>
                <a:close/>
              </a:path>
              <a:path w="604519" h="470534">
                <a:moveTo>
                  <a:pt x="587709" y="117535"/>
                </a:moveTo>
                <a:lnTo>
                  <a:pt x="16795" y="117535"/>
                </a:lnTo>
                <a:lnTo>
                  <a:pt x="16795" y="151126"/>
                </a:lnTo>
                <a:lnTo>
                  <a:pt x="587709" y="151126"/>
                </a:lnTo>
                <a:lnTo>
                  <a:pt x="587709" y="117535"/>
                </a:lnTo>
                <a:close/>
              </a:path>
              <a:path w="604519" h="470534">
                <a:moveTo>
                  <a:pt x="302252" y="0"/>
                </a:moveTo>
                <a:lnTo>
                  <a:pt x="117546" y="85484"/>
                </a:lnTo>
                <a:lnTo>
                  <a:pt x="117546" y="117535"/>
                </a:lnTo>
                <a:lnTo>
                  <a:pt x="486958" y="117535"/>
                </a:lnTo>
                <a:lnTo>
                  <a:pt x="486958" y="85484"/>
                </a:lnTo>
                <a:lnTo>
                  <a:pt x="483655" y="83955"/>
                </a:lnTo>
                <a:lnTo>
                  <a:pt x="200800" y="83955"/>
                </a:lnTo>
                <a:lnTo>
                  <a:pt x="302252" y="37004"/>
                </a:lnTo>
                <a:lnTo>
                  <a:pt x="382207" y="37004"/>
                </a:lnTo>
                <a:lnTo>
                  <a:pt x="302252" y="0"/>
                </a:lnTo>
                <a:close/>
              </a:path>
              <a:path w="604519" h="470534">
                <a:moveTo>
                  <a:pt x="382207" y="37004"/>
                </a:moveTo>
                <a:lnTo>
                  <a:pt x="302252" y="37004"/>
                </a:lnTo>
                <a:lnTo>
                  <a:pt x="403704" y="83955"/>
                </a:lnTo>
                <a:lnTo>
                  <a:pt x="483655" y="83955"/>
                </a:lnTo>
                <a:lnTo>
                  <a:pt x="382207" y="37004"/>
                </a:lnTo>
                <a:close/>
              </a:path>
            </a:pathLst>
          </a:custGeom>
          <a:solidFill>
            <a:srgbClr val="FFFFFF"/>
          </a:solidFill>
        </p:spPr>
        <p:txBody>
          <a:bodyPr wrap="square" lIns="0" tIns="0" rIns="0" bIns="0" rtlCol="0"/>
          <a:lstStyle/>
          <a:p>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55470" y="1782839"/>
            <a:ext cx="371691" cy="403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ZoneTexte 19"/>
          <p:cNvSpPr txBox="1"/>
          <p:nvPr/>
        </p:nvSpPr>
        <p:spPr>
          <a:xfrm>
            <a:off x="320997" y="4568048"/>
            <a:ext cx="5937295" cy="595990"/>
          </a:xfrm>
          <a:prstGeom prst="rect">
            <a:avLst/>
          </a:prstGeom>
          <a:noFill/>
        </p:spPr>
        <p:txBody>
          <a:bodyPr wrap="square" lIns="41587" tIns="20793" rIns="41587" bIns="20793" rtlCol="0">
            <a:spAutoFit/>
          </a:bodyPr>
          <a:lstStyle/>
          <a:p>
            <a:r>
              <a:rPr lang="fr-FR" dirty="0"/>
              <a:t>* Clients d’une banque en ligne ou mobile, mono ou </a:t>
            </a:r>
            <a:r>
              <a:rPr lang="fr-FR" dirty="0" err="1"/>
              <a:t>multibancarisés</a:t>
            </a:r>
            <a:endParaRPr lang="fr-FR" dirty="0"/>
          </a:p>
        </p:txBody>
      </p:sp>
      <p:sp>
        <p:nvSpPr>
          <p:cNvPr id="54" name="object 57"/>
          <p:cNvSpPr/>
          <p:nvPr/>
        </p:nvSpPr>
        <p:spPr>
          <a:xfrm>
            <a:off x="6665271" y="2705234"/>
            <a:ext cx="217774" cy="254431"/>
          </a:xfrm>
          <a:custGeom>
            <a:avLst/>
            <a:gdLst/>
            <a:ahLst/>
            <a:cxnLst/>
            <a:rect l="l" t="t" r="r" b="b"/>
            <a:pathLst>
              <a:path w="473709" h="559434">
                <a:moveTo>
                  <a:pt x="0" y="0"/>
                </a:moveTo>
                <a:lnTo>
                  <a:pt x="473388" y="0"/>
                </a:lnTo>
                <a:lnTo>
                  <a:pt x="473388" y="558883"/>
                </a:lnTo>
                <a:lnTo>
                  <a:pt x="0" y="558883"/>
                </a:lnTo>
                <a:lnTo>
                  <a:pt x="0" y="0"/>
                </a:lnTo>
                <a:close/>
              </a:path>
            </a:pathLst>
          </a:custGeom>
          <a:solidFill>
            <a:srgbClr val="FF7900"/>
          </a:solidFill>
        </p:spPr>
        <p:txBody>
          <a:bodyPr wrap="square" lIns="0" tIns="0" rIns="0" bIns="0" rtlCol="0"/>
          <a:lstStyle/>
          <a:p>
            <a:endParaRPr/>
          </a:p>
        </p:txBody>
      </p:sp>
    </p:spTree>
    <p:extLst>
      <p:ext uri="{BB962C8B-B14F-4D97-AF65-F5344CB8AC3E}">
        <p14:creationId xmlns:p14="http://schemas.microsoft.com/office/powerpoint/2010/main" val="16081849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5669" y="86857"/>
            <a:ext cx="6899590" cy="359484"/>
          </a:xfrm>
          <a:prstGeom prst="rect">
            <a:avLst/>
          </a:prstGeom>
        </p:spPr>
        <p:txBody>
          <a:bodyPr vert="horz" wrap="square" lIns="0" tIns="5487" rIns="0" bIns="0" rtlCol="0">
            <a:spAutoFit/>
          </a:bodyPr>
          <a:lstStyle/>
          <a:p>
            <a:pPr marL="5776">
              <a:lnSpc>
                <a:spcPct val="100000"/>
              </a:lnSpc>
              <a:spcBef>
                <a:spcPts val="43"/>
              </a:spcBef>
            </a:pPr>
            <a:r>
              <a:rPr lang="fr-FR" sz="2300" spc="-41" dirty="0"/>
              <a:t>La mobilité bancaire en plein essor</a:t>
            </a:r>
            <a:endParaRPr sz="2300" dirty="0"/>
          </a:p>
        </p:txBody>
      </p:sp>
      <p:sp>
        <p:nvSpPr>
          <p:cNvPr id="3" name="object 3"/>
          <p:cNvSpPr txBox="1"/>
          <p:nvPr/>
        </p:nvSpPr>
        <p:spPr>
          <a:xfrm>
            <a:off x="775669" y="570256"/>
            <a:ext cx="2867103" cy="144916"/>
          </a:xfrm>
          <a:prstGeom prst="rect">
            <a:avLst/>
          </a:prstGeom>
        </p:spPr>
        <p:txBody>
          <a:bodyPr vert="horz" wrap="square" lIns="0" tIns="6354" rIns="0" bIns="0" rtlCol="0">
            <a:spAutoFit/>
          </a:bodyPr>
          <a:lstStyle/>
          <a:p>
            <a:pPr marL="5776">
              <a:spcBef>
                <a:spcPts val="50"/>
              </a:spcBef>
            </a:pPr>
            <a:r>
              <a:rPr sz="900" b="1" spc="2" dirty="0">
                <a:latin typeface="Helvetica Neue"/>
                <a:cs typeface="Helvetica Neue"/>
              </a:rPr>
              <a:t>Seriez-vous prêt à changer de banque principale</a:t>
            </a:r>
            <a:r>
              <a:rPr sz="900" b="1" spc="-43" dirty="0">
                <a:latin typeface="Helvetica Neue"/>
                <a:cs typeface="Helvetica Neue"/>
              </a:rPr>
              <a:t> </a:t>
            </a:r>
            <a:r>
              <a:rPr sz="900" b="1" spc="2" dirty="0">
                <a:latin typeface="Helvetica Neue"/>
                <a:cs typeface="Helvetica Neue"/>
              </a:rPr>
              <a:t>?</a:t>
            </a:r>
            <a:endParaRPr sz="900">
              <a:latin typeface="Helvetica Neue"/>
              <a:cs typeface="Helvetica Neue"/>
            </a:endParaRPr>
          </a:p>
        </p:txBody>
      </p:sp>
      <p:sp>
        <p:nvSpPr>
          <p:cNvPr id="4" name="object 4"/>
          <p:cNvSpPr/>
          <p:nvPr/>
        </p:nvSpPr>
        <p:spPr>
          <a:xfrm>
            <a:off x="0" y="869338"/>
            <a:ext cx="9144000" cy="4273928"/>
          </a:xfrm>
          <a:custGeom>
            <a:avLst/>
            <a:gdLst/>
            <a:ahLst/>
            <a:cxnLst/>
            <a:rect l="l" t="t" r="r" b="b"/>
            <a:pathLst>
              <a:path w="20104100" h="9397365">
                <a:moveTo>
                  <a:pt x="0" y="9397085"/>
                </a:moveTo>
                <a:lnTo>
                  <a:pt x="20104099" y="9397085"/>
                </a:lnTo>
                <a:lnTo>
                  <a:pt x="20104099" y="0"/>
                </a:lnTo>
                <a:lnTo>
                  <a:pt x="0" y="0"/>
                </a:lnTo>
                <a:lnTo>
                  <a:pt x="0" y="9397085"/>
                </a:lnTo>
                <a:close/>
              </a:path>
            </a:pathLst>
          </a:custGeom>
          <a:solidFill>
            <a:srgbClr val="D5D5D5"/>
          </a:solidFill>
        </p:spPr>
        <p:txBody>
          <a:bodyPr wrap="square" lIns="0" tIns="0" rIns="0" bIns="0" rtlCol="0"/>
          <a:lstStyle/>
          <a:p>
            <a:endParaRPr/>
          </a:p>
        </p:txBody>
      </p:sp>
      <p:sp>
        <p:nvSpPr>
          <p:cNvPr id="9" name="object 9"/>
          <p:cNvSpPr/>
          <p:nvPr/>
        </p:nvSpPr>
        <p:spPr>
          <a:xfrm>
            <a:off x="5278036" y="2724682"/>
            <a:ext cx="322899" cy="984803"/>
          </a:xfrm>
          <a:custGeom>
            <a:avLst/>
            <a:gdLst/>
            <a:ahLst/>
            <a:cxnLst/>
            <a:rect l="l" t="t" r="r" b="b"/>
            <a:pathLst>
              <a:path w="709929" h="2165350">
                <a:moveTo>
                  <a:pt x="709528" y="0"/>
                </a:moveTo>
                <a:lnTo>
                  <a:pt x="0" y="0"/>
                </a:lnTo>
                <a:lnTo>
                  <a:pt x="0" y="2165159"/>
                </a:lnTo>
                <a:lnTo>
                  <a:pt x="709528" y="2165159"/>
                </a:lnTo>
                <a:lnTo>
                  <a:pt x="709528" y="0"/>
                </a:lnTo>
                <a:close/>
              </a:path>
            </a:pathLst>
          </a:custGeom>
          <a:solidFill>
            <a:srgbClr val="FFFFFF"/>
          </a:solidFill>
        </p:spPr>
        <p:txBody>
          <a:bodyPr wrap="square" lIns="0" tIns="0" rIns="0" bIns="0" rtlCol="0"/>
          <a:lstStyle/>
          <a:p>
            <a:endParaRPr/>
          </a:p>
        </p:txBody>
      </p:sp>
      <p:sp>
        <p:nvSpPr>
          <p:cNvPr id="10" name="object 10"/>
          <p:cNvSpPr/>
          <p:nvPr/>
        </p:nvSpPr>
        <p:spPr>
          <a:xfrm>
            <a:off x="5943586" y="2630258"/>
            <a:ext cx="322899" cy="1079240"/>
          </a:xfrm>
          <a:custGeom>
            <a:avLst/>
            <a:gdLst/>
            <a:ahLst/>
            <a:cxnLst/>
            <a:rect l="l" t="t" r="r" b="b"/>
            <a:pathLst>
              <a:path w="709930" h="2372995">
                <a:moveTo>
                  <a:pt x="709528" y="0"/>
                </a:moveTo>
                <a:lnTo>
                  <a:pt x="0" y="0"/>
                </a:lnTo>
                <a:lnTo>
                  <a:pt x="0" y="2372775"/>
                </a:lnTo>
                <a:lnTo>
                  <a:pt x="709528" y="2372775"/>
                </a:lnTo>
                <a:lnTo>
                  <a:pt x="709528" y="0"/>
                </a:lnTo>
                <a:close/>
              </a:path>
            </a:pathLst>
          </a:custGeom>
          <a:solidFill>
            <a:srgbClr val="FFFFFF"/>
          </a:solidFill>
        </p:spPr>
        <p:txBody>
          <a:bodyPr wrap="square" lIns="0" tIns="0" rIns="0" bIns="0" rtlCol="0"/>
          <a:lstStyle/>
          <a:p>
            <a:endParaRPr/>
          </a:p>
        </p:txBody>
      </p:sp>
      <p:sp>
        <p:nvSpPr>
          <p:cNvPr id="11" name="object 11"/>
          <p:cNvSpPr/>
          <p:nvPr/>
        </p:nvSpPr>
        <p:spPr>
          <a:xfrm>
            <a:off x="6628628" y="2468392"/>
            <a:ext cx="322899" cy="1241256"/>
          </a:xfrm>
          <a:custGeom>
            <a:avLst/>
            <a:gdLst/>
            <a:ahLst/>
            <a:cxnLst/>
            <a:rect l="l" t="t" r="r" b="b"/>
            <a:pathLst>
              <a:path w="709930" h="2729229">
                <a:moveTo>
                  <a:pt x="709528" y="0"/>
                </a:moveTo>
                <a:lnTo>
                  <a:pt x="0" y="0"/>
                </a:lnTo>
                <a:lnTo>
                  <a:pt x="0" y="2728691"/>
                </a:lnTo>
                <a:lnTo>
                  <a:pt x="709528" y="2728691"/>
                </a:lnTo>
                <a:lnTo>
                  <a:pt x="709528" y="0"/>
                </a:lnTo>
                <a:close/>
              </a:path>
            </a:pathLst>
          </a:custGeom>
          <a:solidFill>
            <a:srgbClr val="FFFFFF"/>
          </a:solidFill>
        </p:spPr>
        <p:txBody>
          <a:bodyPr wrap="square" lIns="0" tIns="0" rIns="0" bIns="0" rtlCol="0"/>
          <a:lstStyle/>
          <a:p>
            <a:endParaRPr/>
          </a:p>
        </p:txBody>
      </p:sp>
      <p:sp>
        <p:nvSpPr>
          <p:cNvPr id="12" name="object 12"/>
          <p:cNvSpPr/>
          <p:nvPr/>
        </p:nvSpPr>
        <p:spPr>
          <a:xfrm>
            <a:off x="7300374" y="2589794"/>
            <a:ext cx="322899" cy="1119672"/>
          </a:xfrm>
          <a:custGeom>
            <a:avLst/>
            <a:gdLst/>
            <a:ahLst/>
            <a:cxnLst/>
            <a:rect l="l" t="t" r="r" b="b"/>
            <a:pathLst>
              <a:path w="709930" h="2461895">
                <a:moveTo>
                  <a:pt x="709528" y="0"/>
                </a:moveTo>
                <a:lnTo>
                  <a:pt x="0" y="0"/>
                </a:lnTo>
                <a:lnTo>
                  <a:pt x="0" y="2461747"/>
                </a:lnTo>
                <a:lnTo>
                  <a:pt x="709528" y="2461747"/>
                </a:lnTo>
                <a:lnTo>
                  <a:pt x="709528" y="0"/>
                </a:lnTo>
                <a:close/>
              </a:path>
            </a:pathLst>
          </a:custGeom>
          <a:solidFill>
            <a:srgbClr val="FFFFFF"/>
          </a:solidFill>
        </p:spPr>
        <p:txBody>
          <a:bodyPr wrap="square" lIns="0" tIns="0" rIns="0" bIns="0" rtlCol="0"/>
          <a:lstStyle/>
          <a:p>
            <a:endParaRPr/>
          </a:p>
        </p:txBody>
      </p:sp>
      <p:sp>
        <p:nvSpPr>
          <p:cNvPr id="13" name="object 13"/>
          <p:cNvSpPr txBox="1"/>
          <p:nvPr/>
        </p:nvSpPr>
        <p:spPr>
          <a:xfrm>
            <a:off x="5247316" y="2214296"/>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1986</a:t>
            </a:r>
            <a:endParaRPr sz="600">
              <a:latin typeface="Helvetica Neue"/>
              <a:cs typeface="Helvetica Neue"/>
            </a:endParaRPr>
          </a:p>
        </p:txBody>
      </p:sp>
      <p:sp>
        <p:nvSpPr>
          <p:cNvPr id="14" name="object 14"/>
          <p:cNvSpPr txBox="1"/>
          <p:nvPr/>
        </p:nvSpPr>
        <p:spPr>
          <a:xfrm>
            <a:off x="5955708" y="2214296"/>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1992</a:t>
            </a:r>
            <a:endParaRPr sz="600">
              <a:latin typeface="Helvetica Neue"/>
              <a:cs typeface="Helvetica Neue"/>
            </a:endParaRPr>
          </a:p>
        </p:txBody>
      </p:sp>
      <p:sp>
        <p:nvSpPr>
          <p:cNvPr id="15" name="object 15"/>
          <p:cNvSpPr txBox="1"/>
          <p:nvPr/>
        </p:nvSpPr>
        <p:spPr>
          <a:xfrm>
            <a:off x="6661827" y="2214296"/>
            <a:ext cx="280154"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997</a:t>
            </a:r>
            <a:endParaRPr sz="600">
              <a:latin typeface="Helvetica Neue"/>
              <a:cs typeface="Helvetica Neue"/>
            </a:endParaRPr>
          </a:p>
        </p:txBody>
      </p:sp>
      <p:sp>
        <p:nvSpPr>
          <p:cNvPr id="16" name="object 16"/>
          <p:cNvSpPr txBox="1"/>
          <p:nvPr/>
        </p:nvSpPr>
        <p:spPr>
          <a:xfrm>
            <a:off x="7333560" y="2214296"/>
            <a:ext cx="280154"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997</a:t>
            </a:r>
            <a:endParaRPr sz="600">
              <a:latin typeface="Helvetica Neue"/>
              <a:cs typeface="Helvetica Neue"/>
            </a:endParaRPr>
          </a:p>
        </p:txBody>
      </p:sp>
      <p:sp>
        <p:nvSpPr>
          <p:cNvPr id="17" name="object 17"/>
          <p:cNvSpPr/>
          <p:nvPr/>
        </p:nvSpPr>
        <p:spPr>
          <a:xfrm>
            <a:off x="5460728" y="1884103"/>
            <a:ext cx="101087" cy="287932"/>
          </a:xfrm>
          <a:custGeom>
            <a:avLst/>
            <a:gdLst/>
            <a:ahLst/>
            <a:cxnLst/>
            <a:rect l="l" t="t" r="r" b="b"/>
            <a:pathLst>
              <a:path w="222250" h="633095">
                <a:moveTo>
                  <a:pt x="0" y="0"/>
                </a:moveTo>
                <a:lnTo>
                  <a:pt x="0" y="632912"/>
                </a:lnTo>
                <a:lnTo>
                  <a:pt x="41700" y="614462"/>
                </a:lnTo>
                <a:lnTo>
                  <a:pt x="80215" y="590784"/>
                </a:lnTo>
                <a:lnTo>
                  <a:pt x="115084" y="562326"/>
                </a:lnTo>
                <a:lnTo>
                  <a:pt x="145850" y="529541"/>
                </a:lnTo>
                <a:lnTo>
                  <a:pt x="172051" y="492878"/>
                </a:lnTo>
                <a:lnTo>
                  <a:pt x="193230" y="452787"/>
                </a:lnTo>
                <a:lnTo>
                  <a:pt x="208926" y="409718"/>
                </a:lnTo>
                <a:lnTo>
                  <a:pt x="218681" y="364123"/>
                </a:lnTo>
                <a:lnTo>
                  <a:pt x="222035" y="316451"/>
                </a:lnTo>
                <a:lnTo>
                  <a:pt x="218681" y="268781"/>
                </a:lnTo>
                <a:lnTo>
                  <a:pt x="208926" y="223187"/>
                </a:lnTo>
                <a:lnTo>
                  <a:pt x="193230" y="180120"/>
                </a:lnTo>
                <a:lnTo>
                  <a:pt x="172051" y="140029"/>
                </a:lnTo>
                <a:lnTo>
                  <a:pt x="145850" y="103365"/>
                </a:lnTo>
                <a:lnTo>
                  <a:pt x="115084" y="70580"/>
                </a:lnTo>
                <a:lnTo>
                  <a:pt x="80215" y="42124"/>
                </a:lnTo>
                <a:lnTo>
                  <a:pt x="41700" y="18447"/>
                </a:lnTo>
                <a:lnTo>
                  <a:pt x="0" y="0"/>
                </a:lnTo>
                <a:close/>
              </a:path>
            </a:pathLst>
          </a:custGeom>
          <a:solidFill>
            <a:srgbClr val="C60E33"/>
          </a:solidFill>
        </p:spPr>
        <p:txBody>
          <a:bodyPr wrap="square" lIns="0" tIns="0" rIns="0" bIns="0" rtlCol="0"/>
          <a:lstStyle/>
          <a:p>
            <a:endParaRPr/>
          </a:p>
        </p:txBody>
      </p:sp>
      <p:sp>
        <p:nvSpPr>
          <p:cNvPr id="18" name="object 18"/>
          <p:cNvSpPr/>
          <p:nvPr/>
        </p:nvSpPr>
        <p:spPr>
          <a:xfrm>
            <a:off x="5255152" y="1884103"/>
            <a:ext cx="101087" cy="287932"/>
          </a:xfrm>
          <a:custGeom>
            <a:avLst/>
            <a:gdLst/>
            <a:ahLst/>
            <a:cxnLst/>
            <a:rect l="l" t="t" r="r" b="b"/>
            <a:pathLst>
              <a:path w="222250" h="633095">
                <a:moveTo>
                  <a:pt x="222035" y="0"/>
                </a:moveTo>
                <a:lnTo>
                  <a:pt x="180334" y="18447"/>
                </a:lnTo>
                <a:lnTo>
                  <a:pt x="141820" y="42124"/>
                </a:lnTo>
                <a:lnTo>
                  <a:pt x="106950" y="70580"/>
                </a:lnTo>
                <a:lnTo>
                  <a:pt x="76185" y="103365"/>
                </a:lnTo>
                <a:lnTo>
                  <a:pt x="49983" y="140029"/>
                </a:lnTo>
                <a:lnTo>
                  <a:pt x="28804" y="180120"/>
                </a:lnTo>
                <a:lnTo>
                  <a:pt x="13108" y="223187"/>
                </a:lnTo>
                <a:lnTo>
                  <a:pt x="3353" y="268781"/>
                </a:lnTo>
                <a:lnTo>
                  <a:pt x="0" y="316451"/>
                </a:lnTo>
                <a:lnTo>
                  <a:pt x="3353" y="364123"/>
                </a:lnTo>
                <a:lnTo>
                  <a:pt x="13108" y="409718"/>
                </a:lnTo>
                <a:lnTo>
                  <a:pt x="28804" y="452787"/>
                </a:lnTo>
                <a:lnTo>
                  <a:pt x="49983" y="492878"/>
                </a:lnTo>
                <a:lnTo>
                  <a:pt x="76185" y="529541"/>
                </a:lnTo>
                <a:lnTo>
                  <a:pt x="106950" y="562326"/>
                </a:lnTo>
                <a:lnTo>
                  <a:pt x="141820" y="590784"/>
                </a:lnTo>
                <a:lnTo>
                  <a:pt x="180334" y="614462"/>
                </a:lnTo>
                <a:lnTo>
                  <a:pt x="222035" y="632912"/>
                </a:lnTo>
                <a:lnTo>
                  <a:pt x="222035" y="0"/>
                </a:lnTo>
                <a:close/>
              </a:path>
            </a:pathLst>
          </a:custGeom>
          <a:solidFill>
            <a:srgbClr val="354083"/>
          </a:solidFill>
        </p:spPr>
        <p:txBody>
          <a:bodyPr wrap="square" lIns="0" tIns="0" rIns="0" bIns="0" rtlCol="0"/>
          <a:lstStyle/>
          <a:p>
            <a:endParaRPr/>
          </a:p>
        </p:txBody>
      </p:sp>
      <p:sp>
        <p:nvSpPr>
          <p:cNvPr id="19" name="object 19"/>
          <p:cNvSpPr/>
          <p:nvPr/>
        </p:nvSpPr>
        <p:spPr>
          <a:xfrm>
            <a:off x="5356141" y="1874756"/>
            <a:ext cx="104841" cy="306704"/>
          </a:xfrm>
          <a:custGeom>
            <a:avLst/>
            <a:gdLst/>
            <a:ahLst/>
            <a:cxnLst/>
            <a:rect l="l" t="t" r="r" b="b"/>
            <a:pathLst>
              <a:path w="230504" h="674370">
                <a:moveTo>
                  <a:pt x="114970" y="0"/>
                </a:moveTo>
                <a:lnTo>
                  <a:pt x="84998" y="1373"/>
                </a:lnTo>
                <a:lnTo>
                  <a:pt x="55792" y="5376"/>
                </a:lnTo>
                <a:lnTo>
                  <a:pt x="27433" y="11829"/>
                </a:lnTo>
                <a:lnTo>
                  <a:pt x="0" y="20554"/>
                </a:lnTo>
                <a:lnTo>
                  <a:pt x="0" y="653456"/>
                </a:lnTo>
                <a:lnTo>
                  <a:pt x="27433" y="662176"/>
                </a:lnTo>
                <a:lnTo>
                  <a:pt x="55792" y="668630"/>
                </a:lnTo>
                <a:lnTo>
                  <a:pt x="84998" y="672635"/>
                </a:lnTo>
                <a:lnTo>
                  <a:pt x="114970" y="674010"/>
                </a:lnTo>
                <a:lnTo>
                  <a:pt x="144946" y="672635"/>
                </a:lnTo>
                <a:lnTo>
                  <a:pt x="174153" y="668630"/>
                </a:lnTo>
                <a:lnTo>
                  <a:pt x="202512" y="662176"/>
                </a:lnTo>
                <a:lnTo>
                  <a:pt x="229951" y="653456"/>
                </a:lnTo>
                <a:lnTo>
                  <a:pt x="229951" y="20554"/>
                </a:lnTo>
                <a:lnTo>
                  <a:pt x="202512" y="11829"/>
                </a:lnTo>
                <a:lnTo>
                  <a:pt x="174153" y="5376"/>
                </a:lnTo>
                <a:lnTo>
                  <a:pt x="144946" y="1373"/>
                </a:lnTo>
                <a:lnTo>
                  <a:pt x="114970" y="0"/>
                </a:lnTo>
                <a:close/>
              </a:path>
            </a:pathLst>
          </a:custGeom>
          <a:solidFill>
            <a:srgbClr val="FFFFFF"/>
          </a:solidFill>
        </p:spPr>
        <p:txBody>
          <a:bodyPr wrap="square" lIns="0" tIns="0" rIns="0" bIns="0" rtlCol="0"/>
          <a:lstStyle/>
          <a:p>
            <a:endParaRPr/>
          </a:p>
        </p:txBody>
      </p:sp>
      <p:sp>
        <p:nvSpPr>
          <p:cNvPr id="20" name="object 20"/>
          <p:cNvSpPr/>
          <p:nvPr/>
        </p:nvSpPr>
        <p:spPr>
          <a:xfrm>
            <a:off x="5964017" y="1874755"/>
            <a:ext cx="305662" cy="305640"/>
          </a:xfrm>
          <a:prstGeom prst="rect">
            <a:avLst/>
          </a:prstGeom>
          <a:blipFill>
            <a:blip r:embed="rId2" cstate="print"/>
            <a:stretch>
              <a:fillRect/>
            </a:stretch>
          </a:blipFill>
        </p:spPr>
        <p:txBody>
          <a:bodyPr wrap="square" lIns="0" tIns="0" rIns="0" bIns="0" rtlCol="0"/>
          <a:lstStyle/>
          <a:p>
            <a:endParaRPr/>
          </a:p>
        </p:txBody>
      </p:sp>
      <p:sp>
        <p:nvSpPr>
          <p:cNvPr id="21" name="object 21"/>
          <p:cNvSpPr txBox="1"/>
          <p:nvPr/>
        </p:nvSpPr>
        <p:spPr>
          <a:xfrm>
            <a:off x="5240689" y="3771915"/>
            <a:ext cx="2415102" cy="240280"/>
          </a:xfrm>
          <a:prstGeom prst="rect">
            <a:avLst/>
          </a:prstGeom>
        </p:spPr>
        <p:txBody>
          <a:bodyPr vert="horz" wrap="square" lIns="0" tIns="5487" rIns="0" bIns="0" rtlCol="0">
            <a:spAutoFit/>
          </a:bodyPr>
          <a:lstStyle/>
          <a:p>
            <a:pPr marL="5776">
              <a:spcBef>
                <a:spcPts val="43"/>
              </a:spcBef>
              <a:tabLst>
                <a:tab pos="671167" algn="l"/>
                <a:tab pos="1356195" algn="l"/>
                <a:tab pos="2027940" algn="l"/>
              </a:tabLst>
            </a:pPr>
            <a:r>
              <a:rPr sz="1500" b="1" spc="-5" dirty="0">
                <a:latin typeface="Helvetica"/>
                <a:cs typeface="Helvetica"/>
              </a:rPr>
              <a:t>48</a:t>
            </a:r>
            <a:r>
              <a:rPr sz="1500" b="1" spc="-2" dirty="0">
                <a:latin typeface="Helvetica"/>
                <a:cs typeface="Helvetica"/>
              </a:rPr>
              <a:t>%</a:t>
            </a:r>
            <a:r>
              <a:rPr sz="1500" b="1" dirty="0">
                <a:latin typeface="Helvetica"/>
                <a:cs typeface="Helvetica"/>
              </a:rPr>
              <a:t>	</a:t>
            </a:r>
            <a:r>
              <a:rPr sz="1500" b="1" spc="-5" dirty="0">
                <a:latin typeface="Helvetica"/>
                <a:cs typeface="Helvetica"/>
              </a:rPr>
              <a:t>52</a:t>
            </a:r>
            <a:r>
              <a:rPr sz="1500" b="1" spc="-2" dirty="0">
                <a:latin typeface="Helvetica"/>
                <a:cs typeface="Helvetica"/>
              </a:rPr>
              <a:t>%</a:t>
            </a:r>
            <a:r>
              <a:rPr sz="1500" b="1" dirty="0">
                <a:latin typeface="Helvetica"/>
                <a:cs typeface="Helvetica"/>
              </a:rPr>
              <a:t>	</a:t>
            </a:r>
            <a:r>
              <a:rPr sz="1500" b="1" spc="-5" dirty="0">
                <a:latin typeface="Helvetica"/>
                <a:cs typeface="Helvetica"/>
              </a:rPr>
              <a:t>60</a:t>
            </a:r>
            <a:r>
              <a:rPr sz="1500" b="1" spc="-2" dirty="0">
                <a:latin typeface="Helvetica"/>
                <a:cs typeface="Helvetica"/>
              </a:rPr>
              <a:t>%</a:t>
            </a:r>
            <a:r>
              <a:rPr sz="1500" b="1" dirty="0">
                <a:latin typeface="Helvetica"/>
                <a:cs typeface="Helvetica"/>
              </a:rPr>
              <a:t>	</a:t>
            </a:r>
            <a:r>
              <a:rPr sz="1500" b="1" spc="-5" dirty="0">
                <a:latin typeface="Helvetica"/>
                <a:cs typeface="Helvetica"/>
              </a:rPr>
              <a:t>54%</a:t>
            </a:r>
            <a:endParaRPr sz="1500">
              <a:latin typeface="Helvetica"/>
              <a:cs typeface="Helvetica"/>
            </a:endParaRPr>
          </a:p>
        </p:txBody>
      </p:sp>
      <p:sp>
        <p:nvSpPr>
          <p:cNvPr id="22" name="object 22"/>
          <p:cNvSpPr/>
          <p:nvPr/>
        </p:nvSpPr>
        <p:spPr>
          <a:xfrm>
            <a:off x="6647988" y="1872607"/>
            <a:ext cx="307881" cy="307859"/>
          </a:xfrm>
          <a:custGeom>
            <a:avLst/>
            <a:gdLst/>
            <a:ahLst/>
            <a:cxnLst/>
            <a:rect l="l" t="t" r="r" b="b"/>
            <a:pathLst>
              <a:path w="676909" h="676910">
                <a:moveTo>
                  <a:pt x="384281" y="3089"/>
                </a:moveTo>
                <a:lnTo>
                  <a:pt x="292452" y="3089"/>
                </a:lnTo>
                <a:lnTo>
                  <a:pt x="248415" y="12087"/>
                </a:lnTo>
                <a:lnTo>
                  <a:pt x="206659" y="26592"/>
                </a:lnTo>
                <a:lnTo>
                  <a:pt x="167586" y="46200"/>
                </a:lnTo>
                <a:lnTo>
                  <a:pt x="131601" y="70507"/>
                </a:lnTo>
                <a:lnTo>
                  <a:pt x="99105" y="99112"/>
                </a:lnTo>
                <a:lnTo>
                  <a:pt x="70503" y="131609"/>
                </a:lnTo>
                <a:lnTo>
                  <a:pt x="46197" y="167597"/>
                </a:lnTo>
                <a:lnTo>
                  <a:pt x="26590" y="206672"/>
                </a:lnTo>
                <a:lnTo>
                  <a:pt x="12086" y="248431"/>
                </a:lnTo>
                <a:lnTo>
                  <a:pt x="3088" y="292470"/>
                </a:lnTo>
                <a:lnTo>
                  <a:pt x="0" y="338387"/>
                </a:lnTo>
                <a:lnTo>
                  <a:pt x="3088" y="384301"/>
                </a:lnTo>
                <a:lnTo>
                  <a:pt x="12086" y="428338"/>
                </a:lnTo>
                <a:lnTo>
                  <a:pt x="26590" y="470094"/>
                </a:lnTo>
                <a:lnTo>
                  <a:pt x="46197" y="509167"/>
                </a:lnTo>
                <a:lnTo>
                  <a:pt x="70503" y="545153"/>
                </a:lnTo>
                <a:lnTo>
                  <a:pt x="99105" y="577648"/>
                </a:lnTo>
                <a:lnTo>
                  <a:pt x="131601" y="606251"/>
                </a:lnTo>
                <a:lnTo>
                  <a:pt x="167586" y="630557"/>
                </a:lnTo>
                <a:lnTo>
                  <a:pt x="206659" y="650163"/>
                </a:lnTo>
                <a:lnTo>
                  <a:pt x="248415" y="664667"/>
                </a:lnTo>
                <a:lnTo>
                  <a:pt x="292452" y="673665"/>
                </a:lnTo>
                <a:lnTo>
                  <a:pt x="337277" y="676680"/>
                </a:lnTo>
                <a:lnTo>
                  <a:pt x="339456" y="676680"/>
                </a:lnTo>
                <a:lnTo>
                  <a:pt x="384281" y="673665"/>
                </a:lnTo>
                <a:lnTo>
                  <a:pt x="428318" y="664667"/>
                </a:lnTo>
                <a:lnTo>
                  <a:pt x="470075" y="650163"/>
                </a:lnTo>
                <a:lnTo>
                  <a:pt x="509149" y="630557"/>
                </a:lnTo>
                <a:lnTo>
                  <a:pt x="545136" y="606251"/>
                </a:lnTo>
                <a:lnTo>
                  <a:pt x="577632" y="577648"/>
                </a:lnTo>
                <a:lnTo>
                  <a:pt x="606236" y="545153"/>
                </a:lnTo>
                <a:lnTo>
                  <a:pt x="630543" y="509167"/>
                </a:lnTo>
                <a:lnTo>
                  <a:pt x="650151" y="470094"/>
                </a:lnTo>
                <a:lnTo>
                  <a:pt x="664656" y="428338"/>
                </a:lnTo>
                <a:lnTo>
                  <a:pt x="673654" y="384301"/>
                </a:lnTo>
                <a:lnTo>
                  <a:pt x="676743" y="338387"/>
                </a:lnTo>
                <a:lnTo>
                  <a:pt x="673654" y="292470"/>
                </a:lnTo>
                <a:lnTo>
                  <a:pt x="664656" y="248431"/>
                </a:lnTo>
                <a:lnTo>
                  <a:pt x="650151" y="206672"/>
                </a:lnTo>
                <a:lnTo>
                  <a:pt x="630543" y="167597"/>
                </a:lnTo>
                <a:lnTo>
                  <a:pt x="606236" y="131609"/>
                </a:lnTo>
                <a:lnTo>
                  <a:pt x="577632" y="99112"/>
                </a:lnTo>
                <a:lnTo>
                  <a:pt x="545136" y="70507"/>
                </a:lnTo>
                <a:lnTo>
                  <a:pt x="509149" y="46200"/>
                </a:lnTo>
                <a:lnTo>
                  <a:pt x="470075" y="26592"/>
                </a:lnTo>
                <a:lnTo>
                  <a:pt x="428318" y="12087"/>
                </a:lnTo>
                <a:lnTo>
                  <a:pt x="384281" y="3089"/>
                </a:lnTo>
                <a:close/>
              </a:path>
              <a:path w="676909" h="676910">
                <a:moveTo>
                  <a:pt x="338366" y="0"/>
                </a:moveTo>
                <a:lnTo>
                  <a:pt x="292452" y="3089"/>
                </a:lnTo>
                <a:lnTo>
                  <a:pt x="384281" y="3089"/>
                </a:lnTo>
                <a:lnTo>
                  <a:pt x="338366" y="0"/>
                </a:lnTo>
                <a:close/>
              </a:path>
            </a:pathLst>
          </a:custGeom>
          <a:solidFill>
            <a:srgbClr val="FFFFFF"/>
          </a:solidFill>
        </p:spPr>
        <p:txBody>
          <a:bodyPr wrap="square" lIns="0" tIns="0" rIns="0" bIns="0" rtlCol="0"/>
          <a:lstStyle/>
          <a:p>
            <a:endParaRPr/>
          </a:p>
        </p:txBody>
      </p:sp>
      <p:sp>
        <p:nvSpPr>
          <p:cNvPr id="23" name="object 23"/>
          <p:cNvSpPr/>
          <p:nvPr/>
        </p:nvSpPr>
        <p:spPr>
          <a:xfrm>
            <a:off x="6647988" y="1872607"/>
            <a:ext cx="307881" cy="307859"/>
          </a:xfrm>
          <a:custGeom>
            <a:avLst/>
            <a:gdLst/>
            <a:ahLst/>
            <a:cxnLst/>
            <a:rect l="l" t="t" r="r" b="b"/>
            <a:pathLst>
              <a:path w="676909" h="676910">
                <a:moveTo>
                  <a:pt x="405660" y="405799"/>
                </a:moveTo>
                <a:lnTo>
                  <a:pt x="270366" y="405799"/>
                </a:lnTo>
                <a:lnTo>
                  <a:pt x="270366" y="669152"/>
                </a:lnTo>
                <a:lnTo>
                  <a:pt x="292452" y="673665"/>
                </a:lnTo>
                <a:lnTo>
                  <a:pt x="337280" y="676680"/>
                </a:lnTo>
                <a:lnTo>
                  <a:pt x="339452" y="676680"/>
                </a:lnTo>
                <a:lnTo>
                  <a:pt x="384281" y="673665"/>
                </a:lnTo>
                <a:lnTo>
                  <a:pt x="405660" y="669296"/>
                </a:lnTo>
                <a:lnTo>
                  <a:pt x="405660" y="405799"/>
                </a:lnTo>
                <a:close/>
              </a:path>
              <a:path w="676909" h="676910">
                <a:moveTo>
                  <a:pt x="669170" y="270525"/>
                </a:moveTo>
                <a:lnTo>
                  <a:pt x="7572" y="270525"/>
                </a:lnTo>
                <a:lnTo>
                  <a:pt x="3088" y="292470"/>
                </a:lnTo>
                <a:lnTo>
                  <a:pt x="0" y="338387"/>
                </a:lnTo>
                <a:lnTo>
                  <a:pt x="3088" y="384301"/>
                </a:lnTo>
                <a:lnTo>
                  <a:pt x="7481" y="405799"/>
                </a:lnTo>
                <a:lnTo>
                  <a:pt x="669261" y="405799"/>
                </a:lnTo>
                <a:lnTo>
                  <a:pt x="673654" y="384301"/>
                </a:lnTo>
                <a:lnTo>
                  <a:pt x="676743" y="338387"/>
                </a:lnTo>
                <a:lnTo>
                  <a:pt x="673654" y="292470"/>
                </a:lnTo>
                <a:lnTo>
                  <a:pt x="669170" y="270525"/>
                </a:lnTo>
                <a:close/>
              </a:path>
              <a:path w="676909" h="676910">
                <a:moveTo>
                  <a:pt x="384281" y="3088"/>
                </a:moveTo>
                <a:lnTo>
                  <a:pt x="292452" y="3088"/>
                </a:lnTo>
                <a:lnTo>
                  <a:pt x="270366" y="7601"/>
                </a:lnTo>
                <a:lnTo>
                  <a:pt x="270366" y="270525"/>
                </a:lnTo>
                <a:lnTo>
                  <a:pt x="405660" y="270525"/>
                </a:lnTo>
                <a:lnTo>
                  <a:pt x="405660" y="7457"/>
                </a:lnTo>
                <a:lnTo>
                  <a:pt x="384281" y="3088"/>
                </a:lnTo>
                <a:close/>
              </a:path>
              <a:path w="676909" h="676910">
                <a:moveTo>
                  <a:pt x="338370" y="0"/>
                </a:moveTo>
                <a:lnTo>
                  <a:pt x="292452" y="3088"/>
                </a:lnTo>
                <a:lnTo>
                  <a:pt x="384281" y="3088"/>
                </a:lnTo>
                <a:lnTo>
                  <a:pt x="338370" y="0"/>
                </a:lnTo>
                <a:close/>
              </a:path>
            </a:pathLst>
          </a:custGeom>
          <a:solidFill>
            <a:srgbClr val="BE142B"/>
          </a:solidFill>
        </p:spPr>
        <p:txBody>
          <a:bodyPr wrap="square" lIns="0" tIns="0" rIns="0" bIns="0" rtlCol="0"/>
          <a:lstStyle/>
          <a:p>
            <a:endParaRPr/>
          </a:p>
        </p:txBody>
      </p:sp>
      <p:sp>
        <p:nvSpPr>
          <p:cNvPr id="24" name="object 24"/>
          <p:cNvSpPr/>
          <p:nvPr/>
        </p:nvSpPr>
        <p:spPr>
          <a:xfrm>
            <a:off x="6853015" y="1881652"/>
            <a:ext cx="73071" cy="90683"/>
          </a:xfrm>
          <a:custGeom>
            <a:avLst/>
            <a:gdLst/>
            <a:ahLst/>
            <a:cxnLst/>
            <a:rect l="l" t="t" r="r" b="b"/>
            <a:pathLst>
              <a:path w="160655" h="199389">
                <a:moveTo>
                  <a:pt x="0" y="0"/>
                </a:moveTo>
                <a:lnTo>
                  <a:pt x="0" y="199152"/>
                </a:lnTo>
                <a:lnTo>
                  <a:pt x="160352" y="118961"/>
                </a:lnTo>
                <a:lnTo>
                  <a:pt x="126858" y="79224"/>
                </a:lnTo>
                <a:lnTo>
                  <a:pt x="94362" y="50620"/>
                </a:lnTo>
                <a:lnTo>
                  <a:pt x="58375" y="26312"/>
                </a:lnTo>
                <a:lnTo>
                  <a:pt x="19301" y="6704"/>
                </a:lnTo>
                <a:lnTo>
                  <a:pt x="0" y="0"/>
                </a:lnTo>
                <a:close/>
              </a:path>
            </a:pathLst>
          </a:custGeom>
          <a:solidFill>
            <a:srgbClr val="24346C"/>
          </a:solidFill>
        </p:spPr>
        <p:txBody>
          <a:bodyPr wrap="square" lIns="0" tIns="0" rIns="0" bIns="0" rtlCol="0"/>
          <a:lstStyle/>
          <a:p>
            <a:endParaRPr/>
          </a:p>
        </p:txBody>
      </p:sp>
      <p:sp>
        <p:nvSpPr>
          <p:cNvPr id="25" name="object 25"/>
          <p:cNvSpPr/>
          <p:nvPr/>
        </p:nvSpPr>
        <p:spPr>
          <a:xfrm>
            <a:off x="6853015" y="2080738"/>
            <a:ext cx="73071" cy="90683"/>
          </a:xfrm>
          <a:custGeom>
            <a:avLst/>
            <a:gdLst/>
            <a:ahLst/>
            <a:cxnLst/>
            <a:rect l="l" t="t" r="r" b="b"/>
            <a:pathLst>
              <a:path w="160655" h="199389">
                <a:moveTo>
                  <a:pt x="0" y="0"/>
                </a:moveTo>
                <a:lnTo>
                  <a:pt x="0" y="199235"/>
                </a:lnTo>
                <a:lnTo>
                  <a:pt x="19301" y="192531"/>
                </a:lnTo>
                <a:lnTo>
                  <a:pt x="58375" y="172924"/>
                </a:lnTo>
                <a:lnTo>
                  <a:pt x="94362" y="148618"/>
                </a:lnTo>
                <a:lnTo>
                  <a:pt x="126858" y="120016"/>
                </a:lnTo>
                <a:lnTo>
                  <a:pt x="155462" y="87520"/>
                </a:lnTo>
                <a:lnTo>
                  <a:pt x="160396" y="80217"/>
                </a:lnTo>
                <a:lnTo>
                  <a:pt x="0" y="0"/>
                </a:lnTo>
                <a:close/>
              </a:path>
            </a:pathLst>
          </a:custGeom>
          <a:solidFill>
            <a:srgbClr val="24346C"/>
          </a:solidFill>
        </p:spPr>
        <p:txBody>
          <a:bodyPr wrap="square" lIns="0" tIns="0" rIns="0" bIns="0" rtlCol="0"/>
          <a:lstStyle/>
          <a:p>
            <a:endParaRPr/>
          </a:p>
        </p:txBody>
      </p:sp>
      <p:sp>
        <p:nvSpPr>
          <p:cNvPr id="26" name="object 26"/>
          <p:cNvSpPr/>
          <p:nvPr/>
        </p:nvSpPr>
        <p:spPr>
          <a:xfrm>
            <a:off x="6677730" y="2080738"/>
            <a:ext cx="72782" cy="90683"/>
          </a:xfrm>
          <a:custGeom>
            <a:avLst/>
            <a:gdLst/>
            <a:ahLst/>
            <a:cxnLst/>
            <a:rect l="l" t="t" r="r" b="b"/>
            <a:pathLst>
              <a:path w="160019" h="199389">
                <a:moveTo>
                  <a:pt x="159862" y="0"/>
                </a:moveTo>
                <a:lnTo>
                  <a:pt x="0" y="79950"/>
                </a:lnTo>
                <a:lnTo>
                  <a:pt x="5113" y="87520"/>
                </a:lnTo>
                <a:lnTo>
                  <a:pt x="33715" y="120016"/>
                </a:lnTo>
                <a:lnTo>
                  <a:pt x="66211" y="148618"/>
                </a:lnTo>
                <a:lnTo>
                  <a:pt x="102197" y="172924"/>
                </a:lnTo>
                <a:lnTo>
                  <a:pt x="141269" y="192531"/>
                </a:lnTo>
                <a:lnTo>
                  <a:pt x="159862" y="198989"/>
                </a:lnTo>
                <a:lnTo>
                  <a:pt x="159862" y="0"/>
                </a:lnTo>
                <a:close/>
              </a:path>
            </a:pathLst>
          </a:custGeom>
          <a:solidFill>
            <a:srgbClr val="24346C"/>
          </a:solidFill>
        </p:spPr>
        <p:txBody>
          <a:bodyPr wrap="square" lIns="0" tIns="0" rIns="0" bIns="0" rtlCol="0"/>
          <a:lstStyle/>
          <a:p>
            <a:endParaRPr/>
          </a:p>
        </p:txBody>
      </p:sp>
      <p:sp>
        <p:nvSpPr>
          <p:cNvPr id="27" name="object 27"/>
          <p:cNvSpPr/>
          <p:nvPr/>
        </p:nvSpPr>
        <p:spPr>
          <a:xfrm>
            <a:off x="6677749" y="1881764"/>
            <a:ext cx="72782" cy="90683"/>
          </a:xfrm>
          <a:custGeom>
            <a:avLst/>
            <a:gdLst/>
            <a:ahLst/>
            <a:cxnLst/>
            <a:rect l="l" t="t" r="r" b="b"/>
            <a:pathLst>
              <a:path w="160019" h="199389">
                <a:moveTo>
                  <a:pt x="159818" y="0"/>
                </a:moveTo>
                <a:lnTo>
                  <a:pt x="102153" y="26066"/>
                </a:lnTo>
                <a:lnTo>
                  <a:pt x="66167" y="50373"/>
                </a:lnTo>
                <a:lnTo>
                  <a:pt x="33672" y="78978"/>
                </a:lnTo>
                <a:lnTo>
                  <a:pt x="5069" y="111475"/>
                </a:lnTo>
                <a:lnTo>
                  <a:pt x="0" y="118982"/>
                </a:lnTo>
                <a:lnTo>
                  <a:pt x="159818" y="198906"/>
                </a:lnTo>
                <a:lnTo>
                  <a:pt x="159818" y="0"/>
                </a:lnTo>
                <a:close/>
              </a:path>
            </a:pathLst>
          </a:custGeom>
          <a:solidFill>
            <a:srgbClr val="24346C"/>
          </a:solidFill>
        </p:spPr>
        <p:txBody>
          <a:bodyPr wrap="square" lIns="0" tIns="0" rIns="0" bIns="0" rtlCol="0"/>
          <a:lstStyle/>
          <a:p>
            <a:endParaRPr/>
          </a:p>
        </p:txBody>
      </p:sp>
      <p:sp>
        <p:nvSpPr>
          <p:cNvPr id="28" name="object 28"/>
          <p:cNvSpPr/>
          <p:nvPr/>
        </p:nvSpPr>
        <p:spPr>
          <a:xfrm>
            <a:off x="6870427" y="1944438"/>
            <a:ext cx="69028" cy="30901"/>
          </a:xfrm>
          <a:custGeom>
            <a:avLst/>
            <a:gdLst/>
            <a:ahLst/>
            <a:cxnLst/>
            <a:rect l="l" t="t" r="r" b="b"/>
            <a:pathLst>
              <a:path w="151765" h="67945">
                <a:moveTo>
                  <a:pt x="134962" y="0"/>
                </a:moveTo>
                <a:lnTo>
                  <a:pt x="0" y="67614"/>
                </a:lnTo>
                <a:lnTo>
                  <a:pt x="75139" y="67614"/>
                </a:lnTo>
                <a:lnTo>
                  <a:pt x="151421" y="29458"/>
                </a:lnTo>
                <a:lnTo>
                  <a:pt x="141486" y="9658"/>
                </a:lnTo>
                <a:lnTo>
                  <a:pt x="134962" y="0"/>
                </a:lnTo>
                <a:close/>
              </a:path>
            </a:pathLst>
          </a:custGeom>
          <a:solidFill>
            <a:srgbClr val="BE142B"/>
          </a:solidFill>
        </p:spPr>
        <p:txBody>
          <a:bodyPr wrap="square" lIns="0" tIns="0" rIns="0" bIns="0" rtlCol="0"/>
          <a:lstStyle/>
          <a:p>
            <a:endParaRPr/>
          </a:p>
        </p:txBody>
      </p:sp>
      <p:sp>
        <p:nvSpPr>
          <p:cNvPr id="29" name="object 29"/>
          <p:cNvSpPr/>
          <p:nvPr/>
        </p:nvSpPr>
        <p:spPr>
          <a:xfrm>
            <a:off x="6664410" y="2077776"/>
            <a:ext cx="69028" cy="30901"/>
          </a:xfrm>
          <a:custGeom>
            <a:avLst/>
            <a:gdLst/>
            <a:ahLst/>
            <a:cxnLst/>
            <a:rect l="l" t="t" r="r" b="b"/>
            <a:pathLst>
              <a:path w="151765" h="67945">
                <a:moveTo>
                  <a:pt x="151575" y="0"/>
                </a:moveTo>
                <a:lnTo>
                  <a:pt x="75723" y="0"/>
                </a:lnTo>
                <a:lnTo>
                  <a:pt x="0" y="37935"/>
                </a:lnTo>
                <a:lnTo>
                  <a:pt x="10092" y="58049"/>
                </a:lnTo>
                <a:lnTo>
                  <a:pt x="16513" y="67554"/>
                </a:lnTo>
                <a:lnTo>
                  <a:pt x="151575" y="0"/>
                </a:lnTo>
                <a:close/>
              </a:path>
            </a:pathLst>
          </a:custGeom>
          <a:solidFill>
            <a:srgbClr val="BE142B"/>
          </a:solidFill>
        </p:spPr>
        <p:txBody>
          <a:bodyPr wrap="square" lIns="0" tIns="0" rIns="0" bIns="0" rtlCol="0"/>
          <a:lstStyle/>
          <a:p>
            <a:endParaRPr/>
          </a:p>
        </p:txBody>
      </p:sp>
      <p:sp>
        <p:nvSpPr>
          <p:cNvPr id="30" name="object 30"/>
          <p:cNvSpPr/>
          <p:nvPr/>
        </p:nvSpPr>
        <p:spPr>
          <a:xfrm>
            <a:off x="6658238" y="1957906"/>
            <a:ext cx="41012" cy="17617"/>
          </a:xfrm>
          <a:custGeom>
            <a:avLst/>
            <a:gdLst/>
            <a:ahLst/>
            <a:cxnLst/>
            <a:rect l="l" t="t" r="r" b="b"/>
            <a:pathLst>
              <a:path w="90169" h="38735">
                <a:moveTo>
                  <a:pt x="13649" y="0"/>
                </a:moveTo>
                <a:lnTo>
                  <a:pt x="4055" y="19121"/>
                </a:lnTo>
                <a:lnTo>
                  <a:pt x="0" y="30797"/>
                </a:lnTo>
                <a:lnTo>
                  <a:pt x="14756" y="38177"/>
                </a:lnTo>
                <a:lnTo>
                  <a:pt x="89895" y="38177"/>
                </a:lnTo>
                <a:lnTo>
                  <a:pt x="13649" y="0"/>
                </a:lnTo>
                <a:close/>
              </a:path>
            </a:pathLst>
          </a:custGeom>
          <a:solidFill>
            <a:srgbClr val="BE142B"/>
          </a:solidFill>
        </p:spPr>
        <p:txBody>
          <a:bodyPr wrap="square" lIns="0" tIns="0" rIns="0" bIns="0" rtlCol="0"/>
          <a:lstStyle/>
          <a:p>
            <a:endParaRPr/>
          </a:p>
        </p:txBody>
      </p:sp>
      <p:sp>
        <p:nvSpPr>
          <p:cNvPr id="31" name="object 31"/>
          <p:cNvSpPr/>
          <p:nvPr/>
        </p:nvSpPr>
        <p:spPr>
          <a:xfrm>
            <a:off x="6904222" y="2077735"/>
            <a:ext cx="41301" cy="17617"/>
          </a:xfrm>
          <a:custGeom>
            <a:avLst/>
            <a:gdLst/>
            <a:ahLst/>
            <a:cxnLst/>
            <a:rect l="l" t="t" r="r" b="b"/>
            <a:pathLst>
              <a:path w="90805" h="38735">
                <a:moveTo>
                  <a:pt x="75139" y="0"/>
                </a:moveTo>
                <a:lnTo>
                  <a:pt x="0" y="0"/>
                </a:lnTo>
                <a:lnTo>
                  <a:pt x="77009" y="38560"/>
                </a:lnTo>
                <a:lnTo>
                  <a:pt x="86791" y="19067"/>
                </a:lnTo>
                <a:lnTo>
                  <a:pt x="90709" y="7787"/>
                </a:lnTo>
                <a:lnTo>
                  <a:pt x="75139" y="0"/>
                </a:lnTo>
                <a:close/>
              </a:path>
            </a:pathLst>
          </a:custGeom>
          <a:solidFill>
            <a:srgbClr val="BE142B"/>
          </a:solidFill>
        </p:spPr>
        <p:txBody>
          <a:bodyPr wrap="square" lIns="0" tIns="0" rIns="0" bIns="0" rtlCol="0"/>
          <a:lstStyle/>
          <a:p>
            <a:endParaRPr/>
          </a:p>
        </p:txBody>
      </p:sp>
      <p:sp>
        <p:nvSpPr>
          <p:cNvPr id="32" name="object 32"/>
          <p:cNvSpPr/>
          <p:nvPr/>
        </p:nvSpPr>
        <p:spPr>
          <a:xfrm>
            <a:off x="7320805" y="1877460"/>
            <a:ext cx="305859" cy="305838"/>
          </a:xfrm>
          <a:custGeom>
            <a:avLst/>
            <a:gdLst/>
            <a:ahLst/>
            <a:cxnLst/>
            <a:rect l="l" t="t" r="r" b="b"/>
            <a:pathLst>
              <a:path w="672465" h="672464">
                <a:moveTo>
                  <a:pt x="336010" y="0"/>
                </a:moveTo>
                <a:lnTo>
                  <a:pt x="286354" y="3643"/>
                </a:lnTo>
                <a:lnTo>
                  <a:pt x="238961" y="14226"/>
                </a:lnTo>
                <a:lnTo>
                  <a:pt x="194351" y="31229"/>
                </a:lnTo>
                <a:lnTo>
                  <a:pt x="153043" y="54132"/>
                </a:lnTo>
                <a:lnTo>
                  <a:pt x="115557" y="82417"/>
                </a:lnTo>
                <a:lnTo>
                  <a:pt x="82413" y="115562"/>
                </a:lnTo>
                <a:lnTo>
                  <a:pt x="54130" y="153048"/>
                </a:lnTo>
                <a:lnTo>
                  <a:pt x="31227" y="194356"/>
                </a:lnTo>
                <a:lnTo>
                  <a:pt x="14225" y="238965"/>
                </a:lnTo>
                <a:lnTo>
                  <a:pt x="3642" y="286357"/>
                </a:lnTo>
                <a:lnTo>
                  <a:pt x="0" y="336010"/>
                </a:lnTo>
                <a:lnTo>
                  <a:pt x="3642" y="385664"/>
                </a:lnTo>
                <a:lnTo>
                  <a:pt x="14225" y="433057"/>
                </a:lnTo>
                <a:lnTo>
                  <a:pt x="31227" y="477668"/>
                </a:lnTo>
                <a:lnTo>
                  <a:pt x="54130" y="518979"/>
                </a:lnTo>
                <a:lnTo>
                  <a:pt x="82413" y="556468"/>
                </a:lnTo>
                <a:lnTo>
                  <a:pt x="115557" y="589616"/>
                </a:lnTo>
                <a:lnTo>
                  <a:pt x="153043" y="617903"/>
                </a:lnTo>
                <a:lnTo>
                  <a:pt x="194351" y="640809"/>
                </a:lnTo>
                <a:lnTo>
                  <a:pt x="238961" y="657814"/>
                </a:lnTo>
                <a:lnTo>
                  <a:pt x="286354" y="668398"/>
                </a:lnTo>
                <a:lnTo>
                  <a:pt x="336010" y="672042"/>
                </a:lnTo>
                <a:lnTo>
                  <a:pt x="385664" y="668398"/>
                </a:lnTo>
                <a:lnTo>
                  <a:pt x="433055" y="657814"/>
                </a:lnTo>
                <a:lnTo>
                  <a:pt x="477665" y="640809"/>
                </a:lnTo>
                <a:lnTo>
                  <a:pt x="518972" y="617903"/>
                </a:lnTo>
                <a:lnTo>
                  <a:pt x="556459" y="589616"/>
                </a:lnTo>
                <a:lnTo>
                  <a:pt x="589604" y="556468"/>
                </a:lnTo>
                <a:lnTo>
                  <a:pt x="617888" y="518979"/>
                </a:lnTo>
                <a:lnTo>
                  <a:pt x="640792" y="477668"/>
                </a:lnTo>
                <a:lnTo>
                  <a:pt x="657795" y="433057"/>
                </a:lnTo>
                <a:lnTo>
                  <a:pt x="668378" y="385664"/>
                </a:lnTo>
                <a:lnTo>
                  <a:pt x="672021" y="336010"/>
                </a:lnTo>
                <a:lnTo>
                  <a:pt x="668378" y="286357"/>
                </a:lnTo>
                <a:lnTo>
                  <a:pt x="657795" y="238965"/>
                </a:lnTo>
                <a:lnTo>
                  <a:pt x="640792" y="194356"/>
                </a:lnTo>
                <a:lnTo>
                  <a:pt x="617888" y="153048"/>
                </a:lnTo>
                <a:lnTo>
                  <a:pt x="589604" y="115562"/>
                </a:lnTo>
                <a:lnTo>
                  <a:pt x="556459" y="82417"/>
                </a:lnTo>
                <a:lnTo>
                  <a:pt x="518972" y="54132"/>
                </a:lnTo>
                <a:lnTo>
                  <a:pt x="477665" y="31229"/>
                </a:lnTo>
                <a:lnTo>
                  <a:pt x="433055" y="14226"/>
                </a:lnTo>
                <a:lnTo>
                  <a:pt x="385664" y="3643"/>
                </a:lnTo>
                <a:lnTo>
                  <a:pt x="336010" y="0"/>
                </a:lnTo>
                <a:close/>
              </a:path>
            </a:pathLst>
          </a:custGeom>
          <a:solidFill>
            <a:srgbClr val="035284"/>
          </a:solidFill>
        </p:spPr>
        <p:txBody>
          <a:bodyPr wrap="square" lIns="0" tIns="0" rIns="0" bIns="0" rtlCol="0"/>
          <a:lstStyle/>
          <a:p>
            <a:endParaRPr/>
          </a:p>
        </p:txBody>
      </p:sp>
      <p:sp>
        <p:nvSpPr>
          <p:cNvPr id="33" name="object 33"/>
          <p:cNvSpPr/>
          <p:nvPr/>
        </p:nvSpPr>
        <p:spPr>
          <a:xfrm>
            <a:off x="7381932" y="1880900"/>
            <a:ext cx="61230" cy="298906"/>
          </a:xfrm>
          <a:custGeom>
            <a:avLst/>
            <a:gdLst/>
            <a:ahLst/>
            <a:cxnLst/>
            <a:rect l="l" t="t" r="r" b="b"/>
            <a:pathLst>
              <a:path w="134619" h="657225">
                <a:moveTo>
                  <a:pt x="134404" y="0"/>
                </a:moveTo>
                <a:lnTo>
                  <a:pt x="104568" y="6662"/>
                </a:lnTo>
                <a:lnTo>
                  <a:pt x="59957" y="23665"/>
                </a:lnTo>
                <a:lnTo>
                  <a:pt x="18650" y="46569"/>
                </a:lnTo>
                <a:lnTo>
                  <a:pt x="0" y="60641"/>
                </a:lnTo>
                <a:lnTo>
                  <a:pt x="0" y="596266"/>
                </a:lnTo>
                <a:lnTo>
                  <a:pt x="18650" y="610339"/>
                </a:lnTo>
                <a:lnTo>
                  <a:pt x="59957" y="633245"/>
                </a:lnTo>
                <a:lnTo>
                  <a:pt x="104568" y="650250"/>
                </a:lnTo>
                <a:lnTo>
                  <a:pt x="134404" y="656914"/>
                </a:lnTo>
                <a:lnTo>
                  <a:pt x="134404" y="0"/>
                </a:lnTo>
                <a:close/>
              </a:path>
            </a:pathLst>
          </a:custGeom>
          <a:solidFill>
            <a:srgbClr val="EDB901"/>
          </a:solidFill>
        </p:spPr>
        <p:txBody>
          <a:bodyPr wrap="square" lIns="0" tIns="0" rIns="0" bIns="0" rtlCol="0"/>
          <a:lstStyle/>
          <a:p>
            <a:endParaRPr/>
          </a:p>
        </p:txBody>
      </p:sp>
      <p:sp>
        <p:nvSpPr>
          <p:cNvPr id="34" name="object 34"/>
          <p:cNvSpPr/>
          <p:nvPr/>
        </p:nvSpPr>
        <p:spPr>
          <a:xfrm>
            <a:off x="7320805" y="1999719"/>
            <a:ext cx="305859" cy="61225"/>
          </a:xfrm>
          <a:custGeom>
            <a:avLst/>
            <a:gdLst/>
            <a:ahLst/>
            <a:cxnLst/>
            <a:rect l="l" t="t" r="r" b="b"/>
            <a:pathLst>
              <a:path w="672465" h="134620">
                <a:moveTo>
                  <a:pt x="664461" y="0"/>
                </a:moveTo>
                <a:lnTo>
                  <a:pt x="7559" y="0"/>
                </a:lnTo>
                <a:lnTo>
                  <a:pt x="3642" y="17538"/>
                </a:lnTo>
                <a:lnTo>
                  <a:pt x="0" y="67191"/>
                </a:lnTo>
                <a:lnTo>
                  <a:pt x="3642" y="116845"/>
                </a:lnTo>
                <a:lnTo>
                  <a:pt x="7563" y="134404"/>
                </a:lnTo>
                <a:lnTo>
                  <a:pt x="664457" y="134404"/>
                </a:lnTo>
                <a:lnTo>
                  <a:pt x="668378" y="116845"/>
                </a:lnTo>
                <a:lnTo>
                  <a:pt x="672021" y="67191"/>
                </a:lnTo>
                <a:lnTo>
                  <a:pt x="668378" y="17538"/>
                </a:lnTo>
                <a:lnTo>
                  <a:pt x="664461" y="0"/>
                </a:lnTo>
                <a:close/>
              </a:path>
            </a:pathLst>
          </a:custGeom>
          <a:solidFill>
            <a:srgbClr val="EDB901"/>
          </a:solidFill>
        </p:spPr>
        <p:txBody>
          <a:bodyPr wrap="square" lIns="0" tIns="0" rIns="0" bIns="0" rtlCol="0"/>
          <a:lstStyle/>
          <a:p>
            <a:endParaRPr/>
          </a:p>
        </p:txBody>
      </p:sp>
      <p:sp>
        <p:nvSpPr>
          <p:cNvPr id="35" name="object 35"/>
          <p:cNvSpPr/>
          <p:nvPr/>
        </p:nvSpPr>
        <p:spPr>
          <a:xfrm>
            <a:off x="2196632" y="1905844"/>
            <a:ext cx="615761" cy="178477"/>
          </a:xfrm>
          <a:custGeom>
            <a:avLst/>
            <a:gdLst/>
            <a:ahLst/>
            <a:cxnLst/>
            <a:rect l="l" t="t" r="r" b="b"/>
            <a:pathLst>
              <a:path w="1353820" h="392429">
                <a:moveTo>
                  <a:pt x="0" y="247521"/>
                </a:moveTo>
                <a:lnTo>
                  <a:pt x="35105" y="215587"/>
                </a:lnTo>
                <a:lnTo>
                  <a:pt x="71883" y="185539"/>
                </a:lnTo>
                <a:lnTo>
                  <a:pt x="110255" y="157453"/>
                </a:lnTo>
                <a:lnTo>
                  <a:pt x="150146" y="131407"/>
                </a:lnTo>
                <a:lnTo>
                  <a:pt x="191479" y="107476"/>
                </a:lnTo>
                <a:lnTo>
                  <a:pt x="234176" y="85739"/>
                </a:lnTo>
                <a:lnTo>
                  <a:pt x="278161" y="66271"/>
                </a:lnTo>
                <a:lnTo>
                  <a:pt x="323358" y="49150"/>
                </a:lnTo>
                <a:lnTo>
                  <a:pt x="369689" y="34452"/>
                </a:lnTo>
                <a:lnTo>
                  <a:pt x="417078" y="22254"/>
                </a:lnTo>
                <a:lnTo>
                  <a:pt x="465448" y="12633"/>
                </a:lnTo>
                <a:lnTo>
                  <a:pt x="514722" y="5665"/>
                </a:lnTo>
                <a:lnTo>
                  <a:pt x="564824" y="1429"/>
                </a:lnTo>
                <a:lnTo>
                  <a:pt x="615677" y="0"/>
                </a:lnTo>
                <a:lnTo>
                  <a:pt x="666499" y="1427"/>
                </a:lnTo>
                <a:lnTo>
                  <a:pt x="716572" y="5659"/>
                </a:lnTo>
                <a:lnTo>
                  <a:pt x="765818" y="12619"/>
                </a:lnTo>
                <a:lnTo>
                  <a:pt x="814161" y="22230"/>
                </a:lnTo>
                <a:lnTo>
                  <a:pt x="861526" y="34414"/>
                </a:lnTo>
                <a:lnTo>
                  <a:pt x="907833" y="49097"/>
                </a:lnTo>
                <a:lnTo>
                  <a:pt x="953009" y="66200"/>
                </a:lnTo>
                <a:lnTo>
                  <a:pt x="996974" y="85647"/>
                </a:lnTo>
                <a:lnTo>
                  <a:pt x="1039654" y="107361"/>
                </a:lnTo>
                <a:lnTo>
                  <a:pt x="1080970" y="131267"/>
                </a:lnTo>
                <a:lnTo>
                  <a:pt x="1120848" y="157286"/>
                </a:lnTo>
                <a:lnTo>
                  <a:pt x="1159209" y="185342"/>
                </a:lnTo>
                <a:lnTo>
                  <a:pt x="1195978" y="215359"/>
                </a:lnTo>
                <a:lnTo>
                  <a:pt x="1231077" y="247259"/>
                </a:lnTo>
                <a:lnTo>
                  <a:pt x="1264430" y="280967"/>
                </a:lnTo>
                <a:lnTo>
                  <a:pt x="1295960" y="316405"/>
                </a:lnTo>
                <a:lnTo>
                  <a:pt x="1325591" y="353497"/>
                </a:lnTo>
                <a:lnTo>
                  <a:pt x="1353246" y="392166"/>
                </a:lnTo>
              </a:path>
            </a:pathLst>
          </a:custGeom>
          <a:ln w="76165">
            <a:solidFill>
              <a:srgbClr val="000000"/>
            </a:solidFill>
          </a:ln>
        </p:spPr>
        <p:txBody>
          <a:bodyPr wrap="square" lIns="0" tIns="0" rIns="0" bIns="0" rtlCol="0"/>
          <a:lstStyle/>
          <a:p>
            <a:endParaRPr/>
          </a:p>
        </p:txBody>
      </p:sp>
      <p:sp>
        <p:nvSpPr>
          <p:cNvPr id="36" name="object 36"/>
          <p:cNvSpPr/>
          <p:nvPr/>
        </p:nvSpPr>
        <p:spPr>
          <a:xfrm>
            <a:off x="2748988" y="2031316"/>
            <a:ext cx="117549" cy="129670"/>
          </a:xfrm>
          <a:custGeom>
            <a:avLst/>
            <a:gdLst/>
            <a:ahLst/>
            <a:cxnLst/>
            <a:rect l="l" t="t" r="r" b="b"/>
            <a:pathLst>
              <a:path w="258445" h="285114">
                <a:moveTo>
                  <a:pt x="235312" y="0"/>
                </a:moveTo>
                <a:lnTo>
                  <a:pt x="0" y="162476"/>
                </a:lnTo>
                <a:lnTo>
                  <a:pt x="258358" y="285027"/>
                </a:lnTo>
                <a:lnTo>
                  <a:pt x="235312" y="0"/>
                </a:lnTo>
                <a:close/>
              </a:path>
            </a:pathLst>
          </a:custGeom>
          <a:solidFill>
            <a:srgbClr val="000000"/>
          </a:solidFill>
        </p:spPr>
        <p:txBody>
          <a:bodyPr wrap="square" lIns="0" tIns="0" rIns="0" bIns="0" rtlCol="0"/>
          <a:lstStyle/>
          <a:p>
            <a:endParaRPr/>
          </a:p>
        </p:txBody>
      </p:sp>
      <p:sp>
        <p:nvSpPr>
          <p:cNvPr id="37" name="object 37"/>
          <p:cNvSpPr/>
          <p:nvPr/>
        </p:nvSpPr>
        <p:spPr>
          <a:xfrm>
            <a:off x="2800002" y="2500884"/>
            <a:ext cx="810714" cy="484893"/>
          </a:xfrm>
          <a:custGeom>
            <a:avLst/>
            <a:gdLst/>
            <a:ahLst/>
            <a:cxnLst/>
            <a:rect l="l" t="t" r="r" b="b"/>
            <a:pathLst>
              <a:path w="1782445" h="1066165">
                <a:moveTo>
                  <a:pt x="0" y="1065538"/>
                </a:moveTo>
                <a:lnTo>
                  <a:pt x="1782259" y="1065538"/>
                </a:lnTo>
                <a:lnTo>
                  <a:pt x="1782259" y="0"/>
                </a:lnTo>
                <a:lnTo>
                  <a:pt x="0" y="0"/>
                </a:lnTo>
                <a:lnTo>
                  <a:pt x="0" y="1065538"/>
                </a:lnTo>
                <a:close/>
              </a:path>
            </a:pathLst>
          </a:custGeom>
          <a:solidFill>
            <a:srgbClr val="5A5A5A"/>
          </a:solidFill>
        </p:spPr>
        <p:txBody>
          <a:bodyPr wrap="square" lIns="0" tIns="0" rIns="0" bIns="0" rtlCol="0"/>
          <a:lstStyle/>
          <a:p>
            <a:endParaRPr/>
          </a:p>
        </p:txBody>
      </p:sp>
      <p:sp>
        <p:nvSpPr>
          <p:cNvPr id="38" name="object 38"/>
          <p:cNvSpPr/>
          <p:nvPr/>
        </p:nvSpPr>
        <p:spPr>
          <a:xfrm>
            <a:off x="2682771" y="2055777"/>
            <a:ext cx="1038592" cy="373416"/>
          </a:xfrm>
          <a:custGeom>
            <a:avLst/>
            <a:gdLst/>
            <a:ahLst/>
            <a:cxnLst/>
            <a:rect l="l" t="t" r="r" b="b"/>
            <a:pathLst>
              <a:path w="2283459" h="821054">
                <a:moveTo>
                  <a:pt x="1166770" y="0"/>
                </a:moveTo>
                <a:lnTo>
                  <a:pt x="0" y="620965"/>
                </a:lnTo>
                <a:lnTo>
                  <a:pt x="0" y="820488"/>
                </a:lnTo>
                <a:lnTo>
                  <a:pt x="2283406" y="820488"/>
                </a:lnTo>
                <a:lnTo>
                  <a:pt x="2283406" y="616337"/>
                </a:lnTo>
                <a:lnTo>
                  <a:pt x="1166770" y="0"/>
                </a:lnTo>
                <a:close/>
              </a:path>
            </a:pathLst>
          </a:custGeom>
          <a:solidFill>
            <a:srgbClr val="C5C5C5"/>
          </a:solidFill>
        </p:spPr>
        <p:txBody>
          <a:bodyPr wrap="square" lIns="0" tIns="0" rIns="0" bIns="0" rtlCol="0"/>
          <a:lstStyle/>
          <a:p>
            <a:endParaRPr/>
          </a:p>
        </p:txBody>
      </p:sp>
      <p:sp>
        <p:nvSpPr>
          <p:cNvPr id="39" name="object 39"/>
          <p:cNvSpPr/>
          <p:nvPr/>
        </p:nvSpPr>
        <p:spPr>
          <a:xfrm>
            <a:off x="2731350" y="2138878"/>
            <a:ext cx="948192" cy="255875"/>
          </a:xfrm>
          <a:custGeom>
            <a:avLst/>
            <a:gdLst/>
            <a:ahLst/>
            <a:cxnLst/>
            <a:rect l="l" t="t" r="r" b="b"/>
            <a:pathLst>
              <a:path w="2084704" h="562610">
                <a:moveTo>
                  <a:pt x="1060229" y="0"/>
                </a:moveTo>
                <a:lnTo>
                  <a:pt x="105117" y="508330"/>
                </a:lnTo>
                <a:lnTo>
                  <a:pt x="0" y="562558"/>
                </a:lnTo>
                <a:lnTo>
                  <a:pt x="2084481" y="562558"/>
                </a:lnTo>
                <a:lnTo>
                  <a:pt x="1981573" y="508549"/>
                </a:lnTo>
                <a:lnTo>
                  <a:pt x="1060229" y="0"/>
                </a:lnTo>
                <a:close/>
              </a:path>
            </a:pathLst>
          </a:custGeom>
          <a:solidFill>
            <a:srgbClr val="808080"/>
          </a:solidFill>
        </p:spPr>
        <p:txBody>
          <a:bodyPr wrap="square" lIns="0" tIns="0" rIns="0" bIns="0" rtlCol="0"/>
          <a:lstStyle/>
          <a:p>
            <a:endParaRPr/>
          </a:p>
        </p:txBody>
      </p:sp>
      <p:sp>
        <p:nvSpPr>
          <p:cNvPr id="40" name="object 40"/>
          <p:cNvSpPr/>
          <p:nvPr/>
        </p:nvSpPr>
        <p:spPr>
          <a:xfrm>
            <a:off x="2785318" y="2153774"/>
            <a:ext cx="841040" cy="227862"/>
          </a:xfrm>
          <a:custGeom>
            <a:avLst/>
            <a:gdLst/>
            <a:ahLst/>
            <a:cxnLst/>
            <a:rect l="l" t="t" r="r" b="b"/>
            <a:pathLst>
              <a:path w="1849120" h="501014">
                <a:moveTo>
                  <a:pt x="941332" y="0"/>
                </a:moveTo>
                <a:lnTo>
                  <a:pt x="0" y="501010"/>
                </a:lnTo>
                <a:lnTo>
                  <a:pt x="1848990" y="501010"/>
                </a:lnTo>
                <a:lnTo>
                  <a:pt x="941332" y="0"/>
                </a:lnTo>
                <a:close/>
              </a:path>
            </a:pathLst>
          </a:custGeom>
          <a:solidFill>
            <a:srgbClr val="5A5A5A"/>
          </a:solidFill>
        </p:spPr>
        <p:txBody>
          <a:bodyPr wrap="square" lIns="0" tIns="0" rIns="0" bIns="0" rtlCol="0"/>
          <a:lstStyle/>
          <a:p>
            <a:endParaRPr/>
          </a:p>
        </p:txBody>
      </p:sp>
      <p:sp>
        <p:nvSpPr>
          <p:cNvPr id="41" name="object 41"/>
          <p:cNvSpPr/>
          <p:nvPr/>
        </p:nvSpPr>
        <p:spPr>
          <a:xfrm>
            <a:off x="2666591" y="2471049"/>
            <a:ext cx="1065452" cy="30035"/>
          </a:xfrm>
          <a:custGeom>
            <a:avLst/>
            <a:gdLst/>
            <a:ahLst/>
            <a:cxnLst/>
            <a:rect l="l" t="t" r="r" b="b"/>
            <a:pathLst>
              <a:path w="2342515" h="66039">
                <a:moveTo>
                  <a:pt x="0" y="65600"/>
                </a:moveTo>
                <a:lnTo>
                  <a:pt x="2342253" y="65600"/>
                </a:lnTo>
                <a:lnTo>
                  <a:pt x="2342253" y="0"/>
                </a:lnTo>
                <a:lnTo>
                  <a:pt x="0" y="0"/>
                </a:lnTo>
                <a:lnTo>
                  <a:pt x="0" y="65600"/>
                </a:lnTo>
                <a:close/>
              </a:path>
            </a:pathLst>
          </a:custGeom>
          <a:solidFill>
            <a:srgbClr val="808080"/>
          </a:solidFill>
        </p:spPr>
        <p:txBody>
          <a:bodyPr wrap="square" lIns="0" tIns="0" rIns="0" bIns="0" rtlCol="0"/>
          <a:lstStyle/>
          <a:p>
            <a:endParaRPr/>
          </a:p>
        </p:txBody>
      </p:sp>
      <p:sp>
        <p:nvSpPr>
          <p:cNvPr id="42" name="object 42"/>
          <p:cNvSpPr/>
          <p:nvPr/>
        </p:nvSpPr>
        <p:spPr>
          <a:xfrm>
            <a:off x="2653493" y="2409932"/>
            <a:ext cx="1091735" cy="61225"/>
          </a:xfrm>
          <a:custGeom>
            <a:avLst/>
            <a:gdLst/>
            <a:ahLst/>
            <a:cxnLst/>
            <a:rect l="l" t="t" r="r" b="b"/>
            <a:pathLst>
              <a:path w="2400300" h="134620">
                <a:moveTo>
                  <a:pt x="0" y="134383"/>
                </a:moveTo>
                <a:lnTo>
                  <a:pt x="2399843" y="134383"/>
                </a:lnTo>
                <a:lnTo>
                  <a:pt x="2399843" y="0"/>
                </a:lnTo>
                <a:lnTo>
                  <a:pt x="0" y="0"/>
                </a:lnTo>
                <a:lnTo>
                  <a:pt x="0" y="134383"/>
                </a:lnTo>
                <a:close/>
              </a:path>
            </a:pathLst>
          </a:custGeom>
          <a:solidFill>
            <a:srgbClr val="C5C5C5"/>
          </a:solidFill>
        </p:spPr>
        <p:txBody>
          <a:bodyPr wrap="square" lIns="0" tIns="0" rIns="0" bIns="0" rtlCol="0"/>
          <a:lstStyle/>
          <a:p>
            <a:endParaRPr/>
          </a:p>
        </p:txBody>
      </p:sp>
      <p:sp>
        <p:nvSpPr>
          <p:cNvPr id="43" name="object 43"/>
          <p:cNvSpPr/>
          <p:nvPr/>
        </p:nvSpPr>
        <p:spPr>
          <a:xfrm>
            <a:off x="2653493" y="2409932"/>
            <a:ext cx="1091735" cy="19061"/>
          </a:xfrm>
          <a:custGeom>
            <a:avLst/>
            <a:gdLst/>
            <a:ahLst/>
            <a:cxnLst/>
            <a:rect l="l" t="t" r="r" b="b"/>
            <a:pathLst>
              <a:path w="2400300" h="41910">
                <a:moveTo>
                  <a:pt x="0" y="41778"/>
                </a:moveTo>
                <a:lnTo>
                  <a:pt x="2399843" y="41778"/>
                </a:lnTo>
                <a:lnTo>
                  <a:pt x="2399843" y="0"/>
                </a:lnTo>
                <a:lnTo>
                  <a:pt x="0" y="0"/>
                </a:lnTo>
                <a:lnTo>
                  <a:pt x="0" y="41778"/>
                </a:lnTo>
                <a:close/>
              </a:path>
            </a:pathLst>
          </a:custGeom>
          <a:solidFill>
            <a:srgbClr val="808080"/>
          </a:solidFill>
        </p:spPr>
        <p:txBody>
          <a:bodyPr wrap="square" lIns="0" tIns="0" rIns="0" bIns="0" rtlCol="0"/>
          <a:lstStyle/>
          <a:p>
            <a:endParaRPr/>
          </a:p>
        </p:txBody>
      </p:sp>
      <p:sp>
        <p:nvSpPr>
          <p:cNvPr id="44" name="object 44"/>
          <p:cNvSpPr/>
          <p:nvPr/>
        </p:nvSpPr>
        <p:spPr>
          <a:xfrm>
            <a:off x="2666591" y="2985492"/>
            <a:ext cx="1065452" cy="30035"/>
          </a:xfrm>
          <a:custGeom>
            <a:avLst/>
            <a:gdLst/>
            <a:ahLst/>
            <a:cxnLst/>
            <a:rect l="l" t="t" r="r" b="b"/>
            <a:pathLst>
              <a:path w="2342515" h="66040">
                <a:moveTo>
                  <a:pt x="0" y="65579"/>
                </a:moveTo>
                <a:lnTo>
                  <a:pt x="2342253" y="65579"/>
                </a:lnTo>
                <a:lnTo>
                  <a:pt x="2342253" y="0"/>
                </a:lnTo>
                <a:lnTo>
                  <a:pt x="0" y="0"/>
                </a:lnTo>
                <a:lnTo>
                  <a:pt x="0" y="65579"/>
                </a:lnTo>
                <a:close/>
              </a:path>
            </a:pathLst>
          </a:custGeom>
          <a:solidFill>
            <a:srgbClr val="808080"/>
          </a:solidFill>
        </p:spPr>
        <p:txBody>
          <a:bodyPr wrap="square" lIns="0" tIns="0" rIns="0" bIns="0" rtlCol="0"/>
          <a:lstStyle/>
          <a:p>
            <a:endParaRPr/>
          </a:p>
        </p:txBody>
      </p:sp>
      <p:sp>
        <p:nvSpPr>
          <p:cNvPr id="45" name="object 45"/>
          <p:cNvSpPr/>
          <p:nvPr/>
        </p:nvSpPr>
        <p:spPr>
          <a:xfrm>
            <a:off x="2653498" y="3015317"/>
            <a:ext cx="1091735" cy="29746"/>
          </a:xfrm>
          <a:custGeom>
            <a:avLst/>
            <a:gdLst/>
            <a:ahLst/>
            <a:cxnLst/>
            <a:rect l="l" t="t" r="r" b="b"/>
            <a:pathLst>
              <a:path w="2400300" h="65404">
                <a:moveTo>
                  <a:pt x="0" y="65254"/>
                </a:moveTo>
                <a:lnTo>
                  <a:pt x="2399843" y="65254"/>
                </a:lnTo>
                <a:lnTo>
                  <a:pt x="2399843" y="0"/>
                </a:lnTo>
                <a:lnTo>
                  <a:pt x="0" y="0"/>
                </a:lnTo>
                <a:lnTo>
                  <a:pt x="0" y="65254"/>
                </a:lnTo>
                <a:close/>
              </a:path>
            </a:pathLst>
          </a:custGeom>
          <a:solidFill>
            <a:srgbClr val="C5C5C5"/>
          </a:solidFill>
        </p:spPr>
        <p:txBody>
          <a:bodyPr wrap="square" lIns="0" tIns="0" rIns="0" bIns="0" rtlCol="0"/>
          <a:lstStyle/>
          <a:p>
            <a:endParaRPr/>
          </a:p>
        </p:txBody>
      </p:sp>
      <p:sp>
        <p:nvSpPr>
          <p:cNvPr id="46" name="object 46"/>
          <p:cNvSpPr/>
          <p:nvPr/>
        </p:nvSpPr>
        <p:spPr>
          <a:xfrm>
            <a:off x="2637482" y="3044995"/>
            <a:ext cx="1123794" cy="62958"/>
          </a:xfrm>
          <a:custGeom>
            <a:avLst/>
            <a:gdLst/>
            <a:ahLst/>
            <a:cxnLst/>
            <a:rect l="l" t="t" r="r" b="b"/>
            <a:pathLst>
              <a:path w="2470784" h="138429">
                <a:moveTo>
                  <a:pt x="2470249" y="0"/>
                </a:moveTo>
                <a:lnTo>
                  <a:pt x="0" y="0"/>
                </a:lnTo>
                <a:lnTo>
                  <a:pt x="0" y="138299"/>
                </a:lnTo>
                <a:lnTo>
                  <a:pt x="2470249" y="138299"/>
                </a:lnTo>
                <a:lnTo>
                  <a:pt x="2470249" y="0"/>
                </a:lnTo>
                <a:close/>
              </a:path>
            </a:pathLst>
          </a:custGeom>
          <a:solidFill>
            <a:srgbClr val="5A5A5A"/>
          </a:solidFill>
        </p:spPr>
        <p:txBody>
          <a:bodyPr wrap="square" lIns="0" tIns="0" rIns="0" bIns="0" rtlCol="0"/>
          <a:lstStyle/>
          <a:p>
            <a:endParaRPr/>
          </a:p>
        </p:txBody>
      </p:sp>
      <p:sp>
        <p:nvSpPr>
          <p:cNvPr id="47" name="object 47"/>
          <p:cNvSpPr/>
          <p:nvPr/>
        </p:nvSpPr>
        <p:spPr>
          <a:xfrm>
            <a:off x="3573747" y="2509523"/>
            <a:ext cx="57474" cy="41876"/>
          </a:xfrm>
          <a:custGeom>
            <a:avLst/>
            <a:gdLst/>
            <a:ahLst/>
            <a:cxnLst/>
            <a:rect l="l" t="t" r="r" b="b"/>
            <a:pathLst>
              <a:path w="126365" h="92075">
                <a:moveTo>
                  <a:pt x="0" y="91934"/>
                </a:moveTo>
                <a:lnTo>
                  <a:pt x="126174" y="91934"/>
                </a:lnTo>
                <a:lnTo>
                  <a:pt x="126174" y="0"/>
                </a:lnTo>
                <a:lnTo>
                  <a:pt x="0" y="0"/>
                </a:lnTo>
                <a:lnTo>
                  <a:pt x="0" y="91934"/>
                </a:lnTo>
                <a:close/>
              </a:path>
            </a:pathLst>
          </a:custGeom>
          <a:solidFill>
            <a:srgbClr val="5A5A5A"/>
          </a:solidFill>
        </p:spPr>
        <p:txBody>
          <a:bodyPr wrap="square" lIns="0" tIns="0" rIns="0" bIns="0" rtlCol="0"/>
          <a:lstStyle/>
          <a:p>
            <a:endParaRPr/>
          </a:p>
        </p:txBody>
      </p:sp>
      <p:sp>
        <p:nvSpPr>
          <p:cNvPr id="48" name="object 48"/>
          <p:cNvSpPr/>
          <p:nvPr/>
        </p:nvSpPr>
        <p:spPr>
          <a:xfrm>
            <a:off x="3557160" y="2535729"/>
            <a:ext cx="90400" cy="354067"/>
          </a:xfrm>
          <a:custGeom>
            <a:avLst/>
            <a:gdLst/>
            <a:ahLst/>
            <a:cxnLst/>
            <a:rect l="l" t="t" r="r" b="b"/>
            <a:pathLst>
              <a:path w="198754" h="778510">
                <a:moveTo>
                  <a:pt x="13863" y="0"/>
                </a:moveTo>
                <a:lnTo>
                  <a:pt x="0" y="778217"/>
                </a:lnTo>
                <a:lnTo>
                  <a:pt x="198527" y="778217"/>
                </a:lnTo>
                <a:lnTo>
                  <a:pt x="183962" y="94"/>
                </a:lnTo>
                <a:lnTo>
                  <a:pt x="13863" y="0"/>
                </a:lnTo>
                <a:close/>
              </a:path>
            </a:pathLst>
          </a:custGeom>
          <a:solidFill>
            <a:srgbClr val="C5C5C5"/>
          </a:solidFill>
        </p:spPr>
        <p:txBody>
          <a:bodyPr wrap="square" lIns="0" tIns="0" rIns="0" bIns="0" rtlCol="0"/>
          <a:lstStyle/>
          <a:p>
            <a:endParaRPr/>
          </a:p>
        </p:txBody>
      </p:sp>
      <p:sp>
        <p:nvSpPr>
          <p:cNvPr id="49" name="object 49"/>
          <p:cNvSpPr/>
          <p:nvPr/>
        </p:nvSpPr>
        <p:spPr>
          <a:xfrm>
            <a:off x="3537622" y="2911783"/>
            <a:ext cx="128236" cy="61514"/>
          </a:xfrm>
          <a:custGeom>
            <a:avLst/>
            <a:gdLst/>
            <a:ahLst/>
            <a:cxnLst/>
            <a:rect l="l" t="t" r="r" b="b"/>
            <a:pathLst>
              <a:path w="281940" h="135254">
                <a:moveTo>
                  <a:pt x="47255" y="0"/>
                </a:moveTo>
                <a:lnTo>
                  <a:pt x="0" y="12428"/>
                </a:lnTo>
                <a:lnTo>
                  <a:pt x="0" y="135001"/>
                </a:lnTo>
                <a:lnTo>
                  <a:pt x="281761" y="135001"/>
                </a:lnTo>
                <a:lnTo>
                  <a:pt x="281761" y="12428"/>
                </a:lnTo>
                <a:lnTo>
                  <a:pt x="234694" y="240"/>
                </a:lnTo>
                <a:lnTo>
                  <a:pt x="47255" y="0"/>
                </a:lnTo>
                <a:close/>
              </a:path>
            </a:pathLst>
          </a:custGeom>
          <a:solidFill>
            <a:srgbClr val="808080"/>
          </a:solidFill>
        </p:spPr>
        <p:txBody>
          <a:bodyPr wrap="square" lIns="0" tIns="0" rIns="0" bIns="0" rtlCol="0"/>
          <a:lstStyle/>
          <a:p>
            <a:endParaRPr/>
          </a:p>
        </p:txBody>
      </p:sp>
      <p:sp>
        <p:nvSpPr>
          <p:cNvPr id="50" name="object 50"/>
          <p:cNvSpPr/>
          <p:nvPr/>
        </p:nvSpPr>
        <p:spPr>
          <a:xfrm>
            <a:off x="3538049" y="2911539"/>
            <a:ext cx="127369" cy="0"/>
          </a:xfrm>
          <a:custGeom>
            <a:avLst/>
            <a:gdLst/>
            <a:ahLst/>
            <a:cxnLst/>
            <a:rect l="l" t="t" r="r" b="b"/>
            <a:pathLst>
              <a:path w="280034">
                <a:moveTo>
                  <a:pt x="0" y="0"/>
                </a:moveTo>
                <a:lnTo>
                  <a:pt x="279865" y="0"/>
                </a:lnTo>
              </a:path>
            </a:pathLst>
          </a:custGeom>
          <a:ln w="24920">
            <a:solidFill>
              <a:srgbClr val="C5C5C5"/>
            </a:solidFill>
          </a:ln>
        </p:spPr>
        <p:txBody>
          <a:bodyPr wrap="square" lIns="0" tIns="0" rIns="0" bIns="0" rtlCol="0"/>
          <a:lstStyle/>
          <a:p>
            <a:endParaRPr/>
          </a:p>
        </p:txBody>
      </p:sp>
      <p:sp>
        <p:nvSpPr>
          <p:cNvPr id="51" name="object 51"/>
          <p:cNvSpPr/>
          <p:nvPr/>
        </p:nvSpPr>
        <p:spPr>
          <a:xfrm>
            <a:off x="3593954" y="2508704"/>
            <a:ext cx="16751" cy="27147"/>
          </a:xfrm>
          <a:custGeom>
            <a:avLst/>
            <a:gdLst/>
            <a:ahLst/>
            <a:cxnLst/>
            <a:rect l="l" t="t" r="r" b="b"/>
            <a:pathLst>
              <a:path w="36829" h="59689">
                <a:moveTo>
                  <a:pt x="0" y="59474"/>
                </a:moveTo>
                <a:lnTo>
                  <a:pt x="36669" y="59474"/>
                </a:lnTo>
                <a:lnTo>
                  <a:pt x="36669" y="0"/>
                </a:lnTo>
                <a:lnTo>
                  <a:pt x="0" y="0"/>
                </a:lnTo>
                <a:lnTo>
                  <a:pt x="0" y="59474"/>
                </a:lnTo>
                <a:close/>
              </a:path>
            </a:pathLst>
          </a:custGeom>
          <a:solidFill>
            <a:srgbClr val="808080"/>
          </a:solidFill>
        </p:spPr>
        <p:txBody>
          <a:bodyPr wrap="square" lIns="0" tIns="0" rIns="0" bIns="0" rtlCol="0"/>
          <a:lstStyle/>
          <a:p>
            <a:endParaRPr/>
          </a:p>
        </p:txBody>
      </p:sp>
      <p:sp>
        <p:nvSpPr>
          <p:cNvPr id="52" name="object 52"/>
          <p:cNvSpPr/>
          <p:nvPr/>
        </p:nvSpPr>
        <p:spPr>
          <a:xfrm>
            <a:off x="3565393" y="2508704"/>
            <a:ext cx="16751" cy="27147"/>
          </a:xfrm>
          <a:custGeom>
            <a:avLst/>
            <a:gdLst/>
            <a:ahLst/>
            <a:cxnLst/>
            <a:rect l="l" t="t" r="r" b="b"/>
            <a:pathLst>
              <a:path w="36829" h="59689">
                <a:moveTo>
                  <a:pt x="0" y="59474"/>
                </a:moveTo>
                <a:lnTo>
                  <a:pt x="36721" y="59474"/>
                </a:lnTo>
                <a:lnTo>
                  <a:pt x="36721" y="0"/>
                </a:lnTo>
                <a:lnTo>
                  <a:pt x="0" y="0"/>
                </a:lnTo>
                <a:lnTo>
                  <a:pt x="0" y="59474"/>
                </a:lnTo>
                <a:close/>
              </a:path>
            </a:pathLst>
          </a:custGeom>
          <a:solidFill>
            <a:srgbClr val="808080"/>
          </a:solidFill>
        </p:spPr>
        <p:txBody>
          <a:bodyPr wrap="square" lIns="0" tIns="0" rIns="0" bIns="0" rtlCol="0"/>
          <a:lstStyle/>
          <a:p>
            <a:endParaRPr/>
          </a:p>
        </p:txBody>
      </p:sp>
      <p:sp>
        <p:nvSpPr>
          <p:cNvPr id="53" name="object 53"/>
          <p:cNvSpPr/>
          <p:nvPr/>
        </p:nvSpPr>
        <p:spPr>
          <a:xfrm>
            <a:off x="3555701" y="2506487"/>
            <a:ext cx="93577" cy="0"/>
          </a:xfrm>
          <a:custGeom>
            <a:avLst/>
            <a:gdLst/>
            <a:ahLst/>
            <a:cxnLst/>
            <a:rect l="l" t="t" r="r" b="b"/>
            <a:pathLst>
              <a:path w="205740">
                <a:moveTo>
                  <a:pt x="0" y="0"/>
                </a:moveTo>
                <a:lnTo>
                  <a:pt x="205428" y="0"/>
                </a:lnTo>
              </a:path>
            </a:pathLst>
          </a:custGeom>
          <a:ln w="36616">
            <a:solidFill>
              <a:srgbClr val="808080"/>
            </a:solidFill>
          </a:ln>
        </p:spPr>
        <p:txBody>
          <a:bodyPr wrap="square" lIns="0" tIns="0" rIns="0" bIns="0" rtlCol="0"/>
          <a:lstStyle/>
          <a:p>
            <a:endParaRPr/>
          </a:p>
        </p:txBody>
      </p:sp>
      <p:sp>
        <p:nvSpPr>
          <p:cNvPr id="54" name="object 54"/>
          <p:cNvSpPr/>
          <p:nvPr/>
        </p:nvSpPr>
        <p:spPr>
          <a:xfrm>
            <a:off x="3551512" y="2896986"/>
            <a:ext cx="100508" cy="10397"/>
          </a:xfrm>
          <a:custGeom>
            <a:avLst/>
            <a:gdLst/>
            <a:ahLst/>
            <a:cxnLst/>
            <a:rect l="l" t="t" r="r" b="b"/>
            <a:pathLst>
              <a:path w="220979" h="22860">
                <a:moveTo>
                  <a:pt x="214244" y="0"/>
                </a:moveTo>
                <a:lnTo>
                  <a:pt x="6429" y="0"/>
                </a:lnTo>
                <a:lnTo>
                  <a:pt x="0" y="5005"/>
                </a:lnTo>
                <a:lnTo>
                  <a:pt x="0" y="17360"/>
                </a:lnTo>
                <a:lnTo>
                  <a:pt x="6429" y="22407"/>
                </a:lnTo>
                <a:lnTo>
                  <a:pt x="214244" y="22407"/>
                </a:lnTo>
                <a:lnTo>
                  <a:pt x="220673" y="17360"/>
                </a:lnTo>
                <a:lnTo>
                  <a:pt x="220673" y="5005"/>
                </a:lnTo>
                <a:lnTo>
                  <a:pt x="214244" y="0"/>
                </a:lnTo>
                <a:close/>
              </a:path>
            </a:pathLst>
          </a:custGeom>
          <a:solidFill>
            <a:srgbClr val="808080"/>
          </a:solidFill>
        </p:spPr>
        <p:txBody>
          <a:bodyPr wrap="square" lIns="0" tIns="0" rIns="0" bIns="0" rtlCol="0"/>
          <a:lstStyle/>
          <a:p>
            <a:endParaRPr/>
          </a:p>
        </p:txBody>
      </p:sp>
      <p:sp>
        <p:nvSpPr>
          <p:cNvPr id="55" name="object 55"/>
          <p:cNvSpPr/>
          <p:nvPr/>
        </p:nvSpPr>
        <p:spPr>
          <a:xfrm>
            <a:off x="3551512" y="2887401"/>
            <a:ext cx="100508" cy="10397"/>
          </a:xfrm>
          <a:custGeom>
            <a:avLst/>
            <a:gdLst/>
            <a:ahLst/>
            <a:cxnLst/>
            <a:rect l="l" t="t" r="r" b="b"/>
            <a:pathLst>
              <a:path w="220979" h="22860">
                <a:moveTo>
                  <a:pt x="214244" y="0"/>
                </a:moveTo>
                <a:lnTo>
                  <a:pt x="6429" y="0"/>
                </a:lnTo>
                <a:lnTo>
                  <a:pt x="0" y="5036"/>
                </a:lnTo>
                <a:lnTo>
                  <a:pt x="0" y="17392"/>
                </a:lnTo>
                <a:lnTo>
                  <a:pt x="6429" y="22386"/>
                </a:lnTo>
                <a:lnTo>
                  <a:pt x="214244" y="22386"/>
                </a:lnTo>
                <a:lnTo>
                  <a:pt x="220673" y="17392"/>
                </a:lnTo>
                <a:lnTo>
                  <a:pt x="220673" y="5036"/>
                </a:lnTo>
                <a:lnTo>
                  <a:pt x="214244" y="0"/>
                </a:lnTo>
                <a:close/>
              </a:path>
            </a:pathLst>
          </a:custGeom>
          <a:solidFill>
            <a:srgbClr val="808080"/>
          </a:solidFill>
        </p:spPr>
        <p:txBody>
          <a:bodyPr wrap="square" lIns="0" tIns="0" rIns="0" bIns="0" rtlCol="0"/>
          <a:lstStyle/>
          <a:p>
            <a:endParaRPr/>
          </a:p>
        </p:txBody>
      </p:sp>
      <p:sp>
        <p:nvSpPr>
          <p:cNvPr id="56" name="object 56"/>
          <p:cNvSpPr/>
          <p:nvPr/>
        </p:nvSpPr>
        <p:spPr>
          <a:xfrm>
            <a:off x="3601806" y="2504228"/>
            <a:ext cx="64118" cy="469009"/>
          </a:xfrm>
          <a:custGeom>
            <a:avLst/>
            <a:gdLst/>
            <a:ahLst/>
            <a:cxnLst/>
            <a:rect l="l" t="t" r="r" b="b"/>
            <a:pathLst>
              <a:path w="140970" h="1031240">
                <a:moveTo>
                  <a:pt x="104059" y="0"/>
                </a:moveTo>
                <a:lnTo>
                  <a:pt x="0" y="0"/>
                </a:lnTo>
                <a:lnTo>
                  <a:pt x="0" y="1031109"/>
                </a:lnTo>
                <a:lnTo>
                  <a:pt x="140634" y="1031109"/>
                </a:lnTo>
                <a:lnTo>
                  <a:pt x="140634" y="908548"/>
                </a:lnTo>
                <a:lnTo>
                  <a:pt x="138686" y="908035"/>
                </a:lnTo>
                <a:lnTo>
                  <a:pt x="139681" y="908035"/>
                </a:lnTo>
                <a:lnTo>
                  <a:pt x="97860" y="885627"/>
                </a:lnTo>
                <a:lnTo>
                  <a:pt x="104740" y="884789"/>
                </a:lnTo>
                <a:lnTo>
                  <a:pt x="110090" y="880339"/>
                </a:lnTo>
                <a:lnTo>
                  <a:pt x="110090" y="869774"/>
                </a:lnTo>
                <a:lnTo>
                  <a:pt x="105808" y="865669"/>
                </a:lnTo>
                <a:lnTo>
                  <a:pt x="100007" y="864256"/>
                </a:lnTo>
                <a:lnTo>
                  <a:pt x="105808" y="862821"/>
                </a:lnTo>
                <a:lnTo>
                  <a:pt x="110090" y="858717"/>
                </a:lnTo>
                <a:lnTo>
                  <a:pt x="110090" y="848769"/>
                </a:lnTo>
                <a:lnTo>
                  <a:pt x="105933" y="844728"/>
                </a:lnTo>
                <a:lnTo>
                  <a:pt x="100258" y="843241"/>
                </a:lnTo>
                <a:lnTo>
                  <a:pt x="87746" y="23266"/>
                </a:lnTo>
                <a:lnTo>
                  <a:pt x="104059" y="23266"/>
                </a:lnTo>
                <a:lnTo>
                  <a:pt x="104059" y="0"/>
                </a:lnTo>
                <a:close/>
              </a:path>
            </a:pathLst>
          </a:custGeom>
          <a:solidFill>
            <a:srgbClr val="808080"/>
          </a:solidFill>
        </p:spPr>
        <p:txBody>
          <a:bodyPr wrap="square" lIns="0" tIns="0" rIns="0" bIns="0" rtlCol="0"/>
          <a:lstStyle/>
          <a:p>
            <a:endParaRPr/>
          </a:p>
        </p:txBody>
      </p:sp>
      <p:sp>
        <p:nvSpPr>
          <p:cNvPr id="57" name="object 57"/>
          <p:cNvSpPr/>
          <p:nvPr/>
        </p:nvSpPr>
        <p:spPr>
          <a:xfrm>
            <a:off x="3616752" y="2514814"/>
            <a:ext cx="12130" cy="21082"/>
          </a:xfrm>
          <a:custGeom>
            <a:avLst/>
            <a:gdLst/>
            <a:ahLst/>
            <a:cxnLst/>
            <a:rect l="l" t="t" r="r" b="b"/>
            <a:pathLst>
              <a:path w="26670" h="46354">
                <a:moveTo>
                  <a:pt x="0" y="46040"/>
                </a:moveTo>
                <a:lnTo>
                  <a:pt x="26062" y="46040"/>
                </a:lnTo>
                <a:lnTo>
                  <a:pt x="26062" y="0"/>
                </a:lnTo>
                <a:lnTo>
                  <a:pt x="0" y="0"/>
                </a:lnTo>
                <a:lnTo>
                  <a:pt x="0" y="46040"/>
                </a:lnTo>
                <a:close/>
              </a:path>
            </a:pathLst>
          </a:custGeom>
          <a:solidFill>
            <a:srgbClr val="5A5A5A"/>
          </a:solidFill>
        </p:spPr>
        <p:txBody>
          <a:bodyPr wrap="square" lIns="0" tIns="0" rIns="0" bIns="0" rtlCol="0"/>
          <a:lstStyle/>
          <a:p>
            <a:endParaRPr/>
          </a:p>
        </p:txBody>
      </p:sp>
      <p:sp>
        <p:nvSpPr>
          <p:cNvPr id="58" name="object 58"/>
          <p:cNvSpPr/>
          <p:nvPr/>
        </p:nvSpPr>
        <p:spPr>
          <a:xfrm>
            <a:off x="3513615" y="2932480"/>
            <a:ext cx="178490" cy="65846"/>
          </a:xfrm>
          <a:custGeom>
            <a:avLst/>
            <a:gdLst/>
            <a:ahLst/>
            <a:cxnLst/>
            <a:rect l="l" t="t" r="r" b="b"/>
            <a:pathLst>
              <a:path w="392429" h="144779">
                <a:moveTo>
                  <a:pt x="0" y="144466"/>
                </a:moveTo>
                <a:lnTo>
                  <a:pt x="391988" y="144466"/>
                </a:lnTo>
                <a:lnTo>
                  <a:pt x="391988" y="0"/>
                </a:lnTo>
                <a:lnTo>
                  <a:pt x="0" y="0"/>
                </a:lnTo>
                <a:lnTo>
                  <a:pt x="0" y="144466"/>
                </a:lnTo>
                <a:close/>
              </a:path>
            </a:pathLst>
          </a:custGeom>
          <a:solidFill>
            <a:srgbClr val="808080"/>
          </a:solidFill>
        </p:spPr>
        <p:txBody>
          <a:bodyPr wrap="square" lIns="0" tIns="0" rIns="0" bIns="0" rtlCol="0"/>
          <a:lstStyle/>
          <a:p>
            <a:endParaRPr/>
          </a:p>
        </p:txBody>
      </p:sp>
      <p:sp>
        <p:nvSpPr>
          <p:cNvPr id="59" name="object 59"/>
          <p:cNvSpPr/>
          <p:nvPr/>
        </p:nvSpPr>
        <p:spPr>
          <a:xfrm>
            <a:off x="3309094" y="2509523"/>
            <a:ext cx="57474" cy="41876"/>
          </a:xfrm>
          <a:custGeom>
            <a:avLst/>
            <a:gdLst/>
            <a:ahLst/>
            <a:cxnLst/>
            <a:rect l="l" t="t" r="r" b="b"/>
            <a:pathLst>
              <a:path w="126365" h="92075">
                <a:moveTo>
                  <a:pt x="0" y="91934"/>
                </a:moveTo>
                <a:lnTo>
                  <a:pt x="126195" y="91934"/>
                </a:lnTo>
                <a:lnTo>
                  <a:pt x="126195" y="0"/>
                </a:lnTo>
                <a:lnTo>
                  <a:pt x="0" y="0"/>
                </a:lnTo>
                <a:lnTo>
                  <a:pt x="0" y="91934"/>
                </a:lnTo>
                <a:close/>
              </a:path>
            </a:pathLst>
          </a:custGeom>
          <a:solidFill>
            <a:srgbClr val="5A5A5A"/>
          </a:solidFill>
        </p:spPr>
        <p:txBody>
          <a:bodyPr wrap="square" lIns="0" tIns="0" rIns="0" bIns="0" rtlCol="0"/>
          <a:lstStyle/>
          <a:p>
            <a:endParaRPr/>
          </a:p>
        </p:txBody>
      </p:sp>
      <p:sp>
        <p:nvSpPr>
          <p:cNvPr id="60" name="object 60"/>
          <p:cNvSpPr/>
          <p:nvPr/>
        </p:nvSpPr>
        <p:spPr>
          <a:xfrm>
            <a:off x="3292503" y="2535729"/>
            <a:ext cx="90400" cy="354067"/>
          </a:xfrm>
          <a:custGeom>
            <a:avLst/>
            <a:gdLst/>
            <a:ahLst/>
            <a:cxnLst/>
            <a:rect l="l" t="t" r="r" b="b"/>
            <a:pathLst>
              <a:path w="198754" h="778510">
                <a:moveTo>
                  <a:pt x="13873" y="0"/>
                </a:moveTo>
                <a:lnTo>
                  <a:pt x="0" y="778217"/>
                </a:lnTo>
                <a:lnTo>
                  <a:pt x="198538" y="778217"/>
                </a:lnTo>
                <a:lnTo>
                  <a:pt x="183973" y="94"/>
                </a:lnTo>
                <a:lnTo>
                  <a:pt x="13873" y="0"/>
                </a:lnTo>
                <a:close/>
              </a:path>
            </a:pathLst>
          </a:custGeom>
          <a:solidFill>
            <a:srgbClr val="C5C5C5"/>
          </a:solidFill>
        </p:spPr>
        <p:txBody>
          <a:bodyPr wrap="square" lIns="0" tIns="0" rIns="0" bIns="0" rtlCol="0"/>
          <a:lstStyle/>
          <a:p>
            <a:endParaRPr/>
          </a:p>
        </p:txBody>
      </p:sp>
      <p:sp>
        <p:nvSpPr>
          <p:cNvPr id="61" name="object 61"/>
          <p:cNvSpPr/>
          <p:nvPr/>
        </p:nvSpPr>
        <p:spPr>
          <a:xfrm>
            <a:off x="3272971" y="2911783"/>
            <a:ext cx="128236" cy="61514"/>
          </a:xfrm>
          <a:custGeom>
            <a:avLst/>
            <a:gdLst/>
            <a:ahLst/>
            <a:cxnLst/>
            <a:rect l="l" t="t" r="r" b="b"/>
            <a:pathLst>
              <a:path w="281940" h="135254">
                <a:moveTo>
                  <a:pt x="47255" y="0"/>
                </a:moveTo>
                <a:lnTo>
                  <a:pt x="0" y="12428"/>
                </a:lnTo>
                <a:lnTo>
                  <a:pt x="0" y="135001"/>
                </a:lnTo>
                <a:lnTo>
                  <a:pt x="281750" y="135001"/>
                </a:lnTo>
                <a:lnTo>
                  <a:pt x="281750" y="12428"/>
                </a:lnTo>
                <a:lnTo>
                  <a:pt x="234704" y="240"/>
                </a:lnTo>
                <a:lnTo>
                  <a:pt x="47255" y="0"/>
                </a:lnTo>
                <a:close/>
              </a:path>
            </a:pathLst>
          </a:custGeom>
          <a:solidFill>
            <a:srgbClr val="808080"/>
          </a:solidFill>
        </p:spPr>
        <p:txBody>
          <a:bodyPr wrap="square" lIns="0" tIns="0" rIns="0" bIns="0" rtlCol="0"/>
          <a:lstStyle/>
          <a:p>
            <a:endParaRPr/>
          </a:p>
        </p:txBody>
      </p:sp>
      <p:sp>
        <p:nvSpPr>
          <p:cNvPr id="62" name="object 62"/>
          <p:cNvSpPr/>
          <p:nvPr/>
        </p:nvSpPr>
        <p:spPr>
          <a:xfrm>
            <a:off x="3273403" y="2911539"/>
            <a:ext cx="127369" cy="0"/>
          </a:xfrm>
          <a:custGeom>
            <a:avLst/>
            <a:gdLst/>
            <a:ahLst/>
            <a:cxnLst/>
            <a:rect l="l" t="t" r="r" b="b"/>
            <a:pathLst>
              <a:path w="280034">
                <a:moveTo>
                  <a:pt x="0" y="0"/>
                </a:moveTo>
                <a:lnTo>
                  <a:pt x="279855" y="0"/>
                </a:lnTo>
              </a:path>
            </a:pathLst>
          </a:custGeom>
          <a:ln w="24920">
            <a:solidFill>
              <a:srgbClr val="C5C5C5"/>
            </a:solidFill>
          </a:ln>
        </p:spPr>
        <p:txBody>
          <a:bodyPr wrap="square" lIns="0" tIns="0" rIns="0" bIns="0" rtlCol="0"/>
          <a:lstStyle/>
          <a:p>
            <a:endParaRPr/>
          </a:p>
        </p:txBody>
      </p:sp>
      <p:sp>
        <p:nvSpPr>
          <p:cNvPr id="63" name="object 63"/>
          <p:cNvSpPr/>
          <p:nvPr/>
        </p:nvSpPr>
        <p:spPr>
          <a:xfrm>
            <a:off x="3329302" y="2508704"/>
            <a:ext cx="16751" cy="27147"/>
          </a:xfrm>
          <a:custGeom>
            <a:avLst/>
            <a:gdLst/>
            <a:ahLst/>
            <a:cxnLst/>
            <a:rect l="l" t="t" r="r" b="b"/>
            <a:pathLst>
              <a:path w="36829" h="59689">
                <a:moveTo>
                  <a:pt x="0" y="59474"/>
                </a:moveTo>
                <a:lnTo>
                  <a:pt x="36669" y="59474"/>
                </a:lnTo>
                <a:lnTo>
                  <a:pt x="36669" y="0"/>
                </a:lnTo>
                <a:lnTo>
                  <a:pt x="0" y="0"/>
                </a:lnTo>
                <a:lnTo>
                  <a:pt x="0" y="59474"/>
                </a:lnTo>
                <a:close/>
              </a:path>
            </a:pathLst>
          </a:custGeom>
          <a:solidFill>
            <a:srgbClr val="808080"/>
          </a:solidFill>
        </p:spPr>
        <p:txBody>
          <a:bodyPr wrap="square" lIns="0" tIns="0" rIns="0" bIns="0" rtlCol="0"/>
          <a:lstStyle/>
          <a:p>
            <a:endParaRPr/>
          </a:p>
        </p:txBody>
      </p:sp>
      <p:sp>
        <p:nvSpPr>
          <p:cNvPr id="64" name="object 64"/>
          <p:cNvSpPr/>
          <p:nvPr/>
        </p:nvSpPr>
        <p:spPr>
          <a:xfrm>
            <a:off x="3300736" y="2508704"/>
            <a:ext cx="16751" cy="27147"/>
          </a:xfrm>
          <a:custGeom>
            <a:avLst/>
            <a:gdLst/>
            <a:ahLst/>
            <a:cxnLst/>
            <a:rect l="l" t="t" r="r" b="b"/>
            <a:pathLst>
              <a:path w="36829" h="59689">
                <a:moveTo>
                  <a:pt x="0" y="59474"/>
                </a:moveTo>
                <a:lnTo>
                  <a:pt x="36731" y="59474"/>
                </a:lnTo>
                <a:lnTo>
                  <a:pt x="36731" y="0"/>
                </a:lnTo>
                <a:lnTo>
                  <a:pt x="0" y="0"/>
                </a:lnTo>
                <a:lnTo>
                  <a:pt x="0" y="59474"/>
                </a:lnTo>
                <a:close/>
              </a:path>
            </a:pathLst>
          </a:custGeom>
          <a:solidFill>
            <a:srgbClr val="808080"/>
          </a:solidFill>
        </p:spPr>
        <p:txBody>
          <a:bodyPr wrap="square" lIns="0" tIns="0" rIns="0" bIns="0" rtlCol="0"/>
          <a:lstStyle/>
          <a:p>
            <a:endParaRPr/>
          </a:p>
        </p:txBody>
      </p:sp>
      <p:sp>
        <p:nvSpPr>
          <p:cNvPr id="65" name="object 65"/>
          <p:cNvSpPr/>
          <p:nvPr/>
        </p:nvSpPr>
        <p:spPr>
          <a:xfrm>
            <a:off x="3291050" y="2506487"/>
            <a:ext cx="93577" cy="0"/>
          </a:xfrm>
          <a:custGeom>
            <a:avLst/>
            <a:gdLst/>
            <a:ahLst/>
            <a:cxnLst/>
            <a:rect l="l" t="t" r="r" b="b"/>
            <a:pathLst>
              <a:path w="205740">
                <a:moveTo>
                  <a:pt x="0" y="0"/>
                </a:moveTo>
                <a:lnTo>
                  <a:pt x="205438" y="0"/>
                </a:lnTo>
              </a:path>
            </a:pathLst>
          </a:custGeom>
          <a:ln w="36616">
            <a:solidFill>
              <a:srgbClr val="808080"/>
            </a:solidFill>
          </a:ln>
        </p:spPr>
        <p:txBody>
          <a:bodyPr wrap="square" lIns="0" tIns="0" rIns="0" bIns="0" rtlCol="0"/>
          <a:lstStyle/>
          <a:p>
            <a:endParaRPr/>
          </a:p>
        </p:txBody>
      </p:sp>
      <p:sp>
        <p:nvSpPr>
          <p:cNvPr id="66" name="object 66"/>
          <p:cNvSpPr/>
          <p:nvPr/>
        </p:nvSpPr>
        <p:spPr>
          <a:xfrm>
            <a:off x="3286867" y="2896986"/>
            <a:ext cx="100508" cy="10397"/>
          </a:xfrm>
          <a:custGeom>
            <a:avLst/>
            <a:gdLst/>
            <a:ahLst/>
            <a:cxnLst/>
            <a:rect l="l" t="t" r="r" b="b"/>
            <a:pathLst>
              <a:path w="220979" h="22860">
                <a:moveTo>
                  <a:pt x="214223" y="0"/>
                </a:moveTo>
                <a:lnTo>
                  <a:pt x="6429" y="0"/>
                </a:lnTo>
                <a:lnTo>
                  <a:pt x="0" y="5005"/>
                </a:lnTo>
                <a:lnTo>
                  <a:pt x="0" y="17360"/>
                </a:lnTo>
                <a:lnTo>
                  <a:pt x="6429" y="22407"/>
                </a:lnTo>
                <a:lnTo>
                  <a:pt x="214223" y="22407"/>
                </a:lnTo>
                <a:lnTo>
                  <a:pt x="220663" y="17360"/>
                </a:lnTo>
                <a:lnTo>
                  <a:pt x="220663" y="5005"/>
                </a:lnTo>
                <a:lnTo>
                  <a:pt x="214223" y="0"/>
                </a:lnTo>
                <a:close/>
              </a:path>
            </a:pathLst>
          </a:custGeom>
          <a:solidFill>
            <a:srgbClr val="808080"/>
          </a:solidFill>
        </p:spPr>
        <p:txBody>
          <a:bodyPr wrap="square" lIns="0" tIns="0" rIns="0" bIns="0" rtlCol="0"/>
          <a:lstStyle/>
          <a:p>
            <a:endParaRPr/>
          </a:p>
        </p:txBody>
      </p:sp>
      <p:sp>
        <p:nvSpPr>
          <p:cNvPr id="67" name="object 67"/>
          <p:cNvSpPr/>
          <p:nvPr/>
        </p:nvSpPr>
        <p:spPr>
          <a:xfrm>
            <a:off x="3286867" y="2887401"/>
            <a:ext cx="100508" cy="10397"/>
          </a:xfrm>
          <a:custGeom>
            <a:avLst/>
            <a:gdLst/>
            <a:ahLst/>
            <a:cxnLst/>
            <a:rect l="l" t="t" r="r" b="b"/>
            <a:pathLst>
              <a:path w="220979" h="22860">
                <a:moveTo>
                  <a:pt x="214223" y="0"/>
                </a:moveTo>
                <a:lnTo>
                  <a:pt x="6429" y="0"/>
                </a:lnTo>
                <a:lnTo>
                  <a:pt x="0" y="5036"/>
                </a:lnTo>
                <a:lnTo>
                  <a:pt x="0" y="17392"/>
                </a:lnTo>
                <a:lnTo>
                  <a:pt x="6429" y="22386"/>
                </a:lnTo>
                <a:lnTo>
                  <a:pt x="214223" y="22386"/>
                </a:lnTo>
                <a:lnTo>
                  <a:pt x="220663" y="17392"/>
                </a:lnTo>
                <a:lnTo>
                  <a:pt x="220663" y="5036"/>
                </a:lnTo>
                <a:lnTo>
                  <a:pt x="214223" y="0"/>
                </a:lnTo>
                <a:close/>
              </a:path>
            </a:pathLst>
          </a:custGeom>
          <a:solidFill>
            <a:srgbClr val="808080"/>
          </a:solidFill>
        </p:spPr>
        <p:txBody>
          <a:bodyPr wrap="square" lIns="0" tIns="0" rIns="0" bIns="0" rtlCol="0"/>
          <a:lstStyle/>
          <a:p>
            <a:endParaRPr/>
          </a:p>
        </p:txBody>
      </p:sp>
      <p:sp>
        <p:nvSpPr>
          <p:cNvPr id="68" name="object 68"/>
          <p:cNvSpPr/>
          <p:nvPr/>
        </p:nvSpPr>
        <p:spPr>
          <a:xfrm>
            <a:off x="3337155" y="2504228"/>
            <a:ext cx="64118" cy="469009"/>
          </a:xfrm>
          <a:custGeom>
            <a:avLst/>
            <a:gdLst/>
            <a:ahLst/>
            <a:cxnLst/>
            <a:rect l="l" t="t" r="r" b="b"/>
            <a:pathLst>
              <a:path w="140970" h="1031240">
                <a:moveTo>
                  <a:pt x="104070" y="0"/>
                </a:moveTo>
                <a:lnTo>
                  <a:pt x="0" y="0"/>
                </a:lnTo>
                <a:lnTo>
                  <a:pt x="0" y="1031109"/>
                </a:lnTo>
                <a:lnTo>
                  <a:pt x="140634" y="1031109"/>
                </a:lnTo>
                <a:lnTo>
                  <a:pt x="140634" y="908548"/>
                </a:lnTo>
                <a:lnTo>
                  <a:pt x="138686" y="908035"/>
                </a:lnTo>
                <a:lnTo>
                  <a:pt x="139681" y="908035"/>
                </a:lnTo>
                <a:lnTo>
                  <a:pt x="97860" y="885627"/>
                </a:lnTo>
                <a:lnTo>
                  <a:pt x="104740" y="884789"/>
                </a:lnTo>
                <a:lnTo>
                  <a:pt x="110090" y="880339"/>
                </a:lnTo>
                <a:lnTo>
                  <a:pt x="110090" y="869774"/>
                </a:lnTo>
                <a:lnTo>
                  <a:pt x="105818" y="865669"/>
                </a:lnTo>
                <a:lnTo>
                  <a:pt x="100017" y="864256"/>
                </a:lnTo>
                <a:lnTo>
                  <a:pt x="105818" y="862821"/>
                </a:lnTo>
                <a:lnTo>
                  <a:pt x="110090" y="858717"/>
                </a:lnTo>
                <a:lnTo>
                  <a:pt x="110090" y="848769"/>
                </a:lnTo>
                <a:lnTo>
                  <a:pt x="105933" y="844728"/>
                </a:lnTo>
                <a:lnTo>
                  <a:pt x="100258" y="843241"/>
                </a:lnTo>
                <a:lnTo>
                  <a:pt x="87746" y="23266"/>
                </a:lnTo>
                <a:lnTo>
                  <a:pt x="104070" y="23266"/>
                </a:lnTo>
                <a:lnTo>
                  <a:pt x="104070" y="0"/>
                </a:lnTo>
                <a:close/>
              </a:path>
            </a:pathLst>
          </a:custGeom>
          <a:solidFill>
            <a:srgbClr val="808080"/>
          </a:solidFill>
        </p:spPr>
        <p:txBody>
          <a:bodyPr wrap="square" lIns="0" tIns="0" rIns="0" bIns="0" rtlCol="0"/>
          <a:lstStyle/>
          <a:p>
            <a:endParaRPr/>
          </a:p>
        </p:txBody>
      </p:sp>
      <p:sp>
        <p:nvSpPr>
          <p:cNvPr id="69" name="object 69"/>
          <p:cNvSpPr/>
          <p:nvPr/>
        </p:nvSpPr>
        <p:spPr>
          <a:xfrm>
            <a:off x="3352100" y="2514814"/>
            <a:ext cx="12130" cy="21082"/>
          </a:xfrm>
          <a:custGeom>
            <a:avLst/>
            <a:gdLst/>
            <a:ahLst/>
            <a:cxnLst/>
            <a:rect l="l" t="t" r="r" b="b"/>
            <a:pathLst>
              <a:path w="26670" h="46354">
                <a:moveTo>
                  <a:pt x="0" y="46040"/>
                </a:moveTo>
                <a:lnTo>
                  <a:pt x="26072" y="46040"/>
                </a:lnTo>
                <a:lnTo>
                  <a:pt x="26072" y="0"/>
                </a:lnTo>
                <a:lnTo>
                  <a:pt x="0" y="0"/>
                </a:lnTo>
                <a:lnTo>
                  <a:pt x="0" y="46040"/>
                </a:lnTo>
                <a:close/>
              </a:path>
            </a:pathLst>
          </a:custGeom>
          <a:solidFill>
            <a:srgbClr val="5A5A5A"/>
          </a:solidFill>
        </p:spPr>
        <p:txBody>
          <a:bodyPr wrap="square" lIns="0" tIns="0" rIns="0" bIns="0" rtlCol="0"/>
          <a:lstStyle/>
          <a:p>
            <a:endParaRPr/>
          </a:p>
        </p:txBody>
      </p:sp>
      <p:sp>
        <p:nvSpPr>
          <p:cNvPr id="70" name="object 70"/>
          <p:cNvSpPr/>
          <p:nvPr/>
        </p:nvSpPr>
        <p:spPr>
          <a:xfrm>
            <a:off x="3248967" y="2932480"/>
            <a:ext cx="178490" cy="65846"/>
          </a:xfrm>
          <a:custGeom>
            <a:avLst/>
            <a:gdLst/>
            <a:ahLst/>
            <a:cxnLst/>
            <a:rect l="l" t="t" r="r" b="b"/>
            <a:pathLst>
              <a:path w="392429" h="144779">
                <a:moveTo>
                  <a:pt x="0" y="144466"/>
                </a:moveTo>
                <a:lnTo>
                  <a:pt x="391977" y="144466"/>
                </a:lnTo>
                <a:lnTo>
                  <a:pt x="391977" y="0"/>
                </a:lnTo>
                <a:lnTo>
                  <a:pt x="0" y="0"/>
                </a:lnTo>
                <a:lnTo>
                  <a:pt x="0" y="144466"/>
                </a:lnTo>
                <a:close/>
              </a:path>
            </a:pathLst>
          </a:custGeom>
          <a:solidFill>
            <a:srgbClr val="808080"/>
          </a:solidFill>
        </p:spPr>
        <p:txBody>
          <a:bodyPr wrap="square" lIns="0" tIns="0" rIns="0" bIns="0" rtlCol="0"/>
          <a:lstStyle/>
          <a:p>
            <a:endParaRPr/>
          </a:p>
        </p:txBody>
      </p:sp>
      <p:sp>
        <p:nvSpPr>
          <p:cNvPr id="71" name="object 71"/>
          <p:cNvSpPr/>
          <p:nvPr/>
        </p:nvSpPr>
        <p:spPr>
          <a:xfrm>
            <a:off x="3044438" y="2509523"/>
            <a:ext cx="57474" cy="41876"/>
          </a:xfrm>
          <a:custGeom>
            <a:avLst/>
            <a:gdLst/>
            <a:ahLst/>
            <a:cxnLst/>
            <a:rect l="l" t="t" r="r" b="b"/>
            <a:pathLst>
              <a:path w="126365" h="92075">
                <a:moveTo>
                  <a:pt x="0" y="91934"/>
                </a:moveTo>
                <a:lnTo>
                  <a:pt x="126205" y="91934"/>
                </a:lnTo>
                <a:lnTo>
                  <a:pt x="126205" y="0"/>
                </a:lnTo>
                <a:lnTo>
                  <a:pt x="0" y="0"/>
                </a:lnTo>
                <a:lnTo>
                  <a:pt x="0" y="91934"/>
                </a:lnTo>
                <a:close/>
              </a:path>
            </a:pathLst>
          </a:custGeom>
          <a:solidFill>
            <a:srgbClr val="5A5A5A"/>
          </a:solidFill>
        </p:spPr>
        <p:txBody>
          <a:bodyPr wrap="square" lIns="0" tIns="0" rIns="0" bIns="0" rtlCol="0"/>
          <a:lstStyle/>
          <a:p>
            <a:endParaRPr/>
          </a:p>
        </p:txBody>
      </p:sp>
      <p:sp>
        <p:nvSpPr>
          <p:cNvPr id="72" name="object 72"/>
          <p:cNvSpPr/>
          <p:nvPr/>
        </p:nvSpPr>
        <p:spPr>
          <a:xfrm>
            <a:off x="3027852" y="2535729"/>
            <a:ext cx="90400" cy="354067"/>
          </a:xfrm>
          <a:custGeom>
            <a:avLst/>
            <a:gdLst/>
            <a:ahLst/>
            <a:cxnLst/>
            <a:rect l="l" t="t" r="r" b="b"/>
            <a:pathLst>
              <a:path w="198754" h="778510">
                <a:moveTo>
                  <a:pt x="13863" y="0"/>
                </a:moveTo>
                <a:lnTo>
                  <a:pt x="0" y="778217"/>
                </a:lnTo>
                <a:lnTo>
                  <a:pt x="198538" y="778217"/>
                </a:lnTo>
                <a:lnTo>
                  <a:pt x="183973" y="94"/>
                </a:lnTo>
                <a:lnTo>
                  <a:pt x="13863" y="0"/>
                </a:lnTo>
                <a:close/>
              </a:path>
            </a:pathLst>
          </a:custGeom>
          <a:solidFill>
            <a:srgbClr val="C5C5C5"/>
          </a:solidFill>
        </p:spPr>
        <p:txBody>
          <a:bodyPr wrap="square" lIns="0" tIns="0" rIns="0" bIns="0" rtlCol="0"/>
          <a:lstStyle/>
          <a:p>
            <a:endParaRPr/>
          </a:p>
        </p:txBody>
      </p:sp>
      <p:sp>
        <p:nvSpPr>
          <p:cNvPr id="73" name="object 73"/>
          <p:cNvSpPr/>
          <p:nvPr/>
        </p:nvSpPr>
        <p:spPr>
          <a:xfrm>
            <a:off x="3008310" y="2911783"/>
            <a:ext cx="128236" cy="61514"/>
          </a:xfrm>
          <a:custGeom>
            <a:avLst/>
            <a:gdLst/>
            <a:ahLst/>
            <a:cxnLst/>
            <a:rect l="l" t="t" r="r" b="b"/>
            <a:pathLst>
              <a:path w="281940" h="135254">
                <a:moveTo>
                  <a:pt x="47276" y="0"/>
                </a:moveTo>
                <a:lnTo>
                  <a:pt x="0" y="12428"/>
                </a:lnTo>
                <a:lnTo>
                  <a:pt x="0" y="135001"/>
                </a:lnTo>
                <a:lnTo>
                  <a:pt x="281771" y="135001"/>
                </a:lnTo>
                <a:lnTo>
                  <a:pt x="281771" y="12428"/>
                </a:lnTo>
                <a:lnTo>
                  <a:pt x="234715" y="240"/>
                </a:lnTo>
                <a:lnTo>
                  <a:pt x="47276" y="0"/>
                </a:lnTo>
                <a:close/>
              </a:path>
            </a:pathLst>
          </a:custGeom>
          <a:solidFill>
            <a:srgbClr val="808080"/>
          </a:solidFill>
        </p:spPr>
        <p:txBody>
          <a:bodyPr wrap="square" lIns="0" tIns="0" rIns="0" bIns="0" rtlCol="0"/>
          <a:lstStyle/>
          <a:p>
            <a:endParaRPr/>
          </a:p>
        </p:txBody>
      </p:sp>
      <p:sp>
        <p:nvSpPr>
          <p:cNvPr id="74" name="object 74"/>
          <p:cNvSpPr/>
          <p:nvPr/>
        </p:nvSpPr>
        <p:spPr>
          <a:xfrm>
            <a:off x="3008752" y="2911539"/>
            <a:ext cx="127369" cy="0"/>
          </a:xfrm>
          <a:custGeom>
            <a:avLst/>
            <a:gdLst/>
            <a:ahLst/>
            <a:cxnLst/>
            <a:rect l="l" t="t" r="r" b="b"/>
            <a:pathLst>
              <a:path w="280034">
                <a:moveTo>
                  <a:pt x="0" y="0"/>
                </a:moveTo>
                <a:lnTo>
                  <a:pt x="279834" y="0"/>
                </a:lnTo>
              </a:path>
            </a:pathLst>
          </a:custGeom>
          <a:ln w="24920">
            <a:solidFill>
              <a:srgbClr val="C5C5C5"/>
            </a:solidFill>
          </a:ln>
        </p:spPr>
        <p:txBody>
          <a:bodyPr wrap="square" lIns="0" tIns="0" rIns="0" bIns="0" rtlCol="0"/>
          <a:lstStyle/>
          <a:p>
            <a:endParaRPr/>
          </a:p>
        </p:txBody>
      </p:sp>
      <p:sp>
        <p:nvSpPr>
          <p:cNvPr id="75" name="object 75"/>
          <p:cNvSpPr/>
          <p:nvPr/>
        </p:nvSpPr>
        <p:spPr>
          <a:xfrm>
            <a:off x="3064655" y="2508704"/>
            <a:ext cx="16751" cy="27147"/>
          </a:xfrm>
          <a:custGeom>
            <a:avLst/>
            <a:gdLst/>
            <a:ahLst/>
            <a:cxnLst/>
            <a:rect l="l" t="t" r="r" b="b"/>
            <a:pathLst>
              <a:path w="36829" h="59689">
                <a:moveTo>
                  <a:pt x="0" y="59474"/>
                </a:moveTo>
                <a:lnTo>
                  <a:pt x="36669" y="59474"/>
                </a:lnTo>
                <a:lnTo>
                  <a:pt x="36669" y="0"/>
                </a:lnTo>
                <a:lnTo>
                  <a:pt x="0" y="0"/>
                </a:lnTo>
                <a:lnTo>
                  <a:pt x="0" y="59474"/>
                </a:lnTo>
                <a:close/>
              </a:path>
            </a:pathLst>
          </a:custGeom>
          <a:solidFill>
            <a:srgbClr val="808080"/>
          </a:solidFill>
        </p:spPr>
        <p:txBody>
          <a:bodyPr wrap="square" lIns="0" tIns="0" rIns="0" bIns="0" rtlCol="0"/>
          <a:lstStyle/>
          <a:p>
            <a:endParaRPr/>
          </a:p>
        </p:txBody>
      </p:sp>
      <p:sp>
        <p:nvSpPr>
          <p:cNvPr id="76" name="object 76"/>
          <p:cNvSpPr/>
          <p:nvPr/>
        </p:nvSpPr>
        <p:spPr>
          <a:xfrm>
            <a:off x="3036094" y="2508704"/>
            <a:ext cx="16751" cy="27147"/>
          </a:xfrm>
          <a:custGeom>
            <a:avLst/>
            <a:gdLst/>
            <a:ahLst/>
            <a:cxnLst/>
            <a:rect l="l" t="t" r="r" b="b"/>
            <a:pathLst>
              <a:path w="36829" h="59689">
                <a:moveTo>
                  <a:pt x="0" y="59474"/>
                </a:moveTo>
                <a:lnTo>
                  <a:pt x="36721" y="59474"/>
                </a:lnTo>
                <a:lnTo>
                  <a:pt x="36721" y="0"/>
                </a:lnTo>
                <a:lnTo>
                  <a:pt x="0" y="0"/>
                </a:lnTo>
                <a:lnTo>
                  <a:pt x="0" y="59474"/>
                </a:lnTo>
                <a:close/>
              </a:path>
            </a:pathLst>
          </a:custGeom>
          <a:solidFill>
            <a:srgbClr val="808080"/>
          </a:solidFill>
        </p:spPr>
        <p:txBody>
          <a:bodyPr wrap="square" lIns="0" tIns="0" rIns="0" bIns="0" rtlCol="0"/>
          <a:lstStyle/>
          <a:p>
            <a:endParaRPr/>
          </a:p>
        </p:txBody>
      </p:sp>
      <p:sp>
        <p:nvSpPr>
          <p:cNvPr id="77" name="object 77"/>
          <p:cNvSpPr/>
          <p:nvPr/>
        </p:nvSpPr>
        <p:spPr>
          <a:xfrm>
            <a:off x="3026393" y="2506487"/>
            <a:ext cx="93577" cy="0"/>
          </a:xfrm>
          <a:custGeom>
            <a:avLst/>
            <a:gdLst/>
            <a:ahLst/>
            <a:cxnLst/>
            <a:rect l="l" t="t" r="r" b="b"/>
            <a:pathLst>
              <a:path w="205740">
                <a:moveTo>
                  <a:pt x="0" y="0"/>
                </a:moveTo>
                <a:lnTo>
                  <a:pt x="205449" y="0"/>
                </a:lnTo>
              </a:path>
            </a:pathLst>
          </a:custGeom>
          <a:ln w="36616">
            <a:solidFill>
              <a:srgbClr val="808080"/>
            </a:solidFill>
          </a:ln>
        </p:spPr>
        <p:txBody>
          <a:bodyPr wrap="square" lIns="0" tIns="0" rIns="0" bIns="0" rtlCol="0"/>
          <a:lstStyle/>
          <a:p>
            <a:endParaRPr/>
          </a:p>
        </p:txBody>
      </p:sp>
      <p:sp>
        <p:nvSpPr>
          <p:cNvPr id="78" name="object 78"/>
          <p:cNvSpPr/>
          <p:nvPr/>
        </p:nvSpPr>
        <p:spPr>
          <a:xfrm>
            <a:off x="3022213" y="2896986"/>
            <a:ext cx="100508" cy="10397"/>
          </a:xfrm>
          <a:custGeom>
            <a:avLst/>
            <a:gdLst/>
            <a:ahLst/>
            <a:cxnLst/>
            <a:rect l="l" t="t" r="r" b="b"/>
            <a:pathLst>
              <a:path w="220979" h="22860">
                <a:moveTo>
                  <a:pt x="214234" y="0"/>
                </a:moveTo>
                <a:lnTo>
                  <a:pt x="6418" y="0"/>
                </a:lnTo>
                <a:lnTo>
                  <a:pt x="0" y="5005"/>
                </a:lnTo>
                <a:lnTo>
                  <a:pt x="0" y="17360"/>
                </a:lnTo>
                <a:lnTo>
                  <a:pt x="6418" y="22407"/>
                </a:lnTo>
                <a:lnTo>
                  <a:pt x="214234" y="22407"/>
                </a:lnTo>
                <a:lnTo>
                  <a:pt x="220663" y="17360"/>
                </a:lnTo>
                <a:lnTo>
                  <a:pt x="220663" y="5005"/>
                </a:lnTo>
                <a:lnTo>
                  <a:pt x="214234" y="0"/>
                </a:lnTo>
                <a:close/>
              </a:path>
            </a:pathLst>
          </a:custGeom>
          <a:solidFill>
            <a:srgbClr val="808080"/>
          </a:solidFill>
        </p:spPr>
        <p:txBody>
          <a:bodyPr wrap="square" lIns="0" tIns="0" rIns="0" bIns="0" rtlCol="0"/>
          <a:lstStyle/>
          <a:p>
            <a:endParaRPr/>
          </a:p>
        </p:txBody>
      </p:sp>
      <p:sp>
        <p:nvSpPr>
          <p:cNvPr id="79" name="object 79"/>
          <p:cNvSpPr/>
          <p:nvPr/>
        </p:nvSpPr>
        <p:spPr>
          <a:xfrm>
            <a:off x="3022213" y="2887401"/>
            <a:ext cx="100508" cy="10397"/>
          </a:xfrm>
          <a:custGeom>
            <a:avLst/>
            <a:gdLst/>
            <a:ahLst/>
            <a:cxnLst/>
            <a:rect l="l" t="t" r="r" b="b"/>
            <a:pathLst>
              <a:path w="220979" h="22860">
                <a:moveTo>
                  <a:pt x="214234" y="0"/>
                </a:moveTo>
                <a:lnTo>
                  <a:pt x="6418" y="0"/>
                </a:lnTo>
                <a:lnTo>
                  <a:pt x="0" y="5036"/>
                </a:lnTo>
                <a:lnTo>
                  <a:pt x="0" y="17392"/>
                </a:lnTo>
                <a:lnTo>
                  <a:pt x="6418" y="22386"/>
                </a:lnTo>
                <a:lnTo>
                  <a:pt x="214234" y="22386"/>
                </a:lnTo>
                <a:lnTo>
                  <a:pt x="220663" y="17392"/>
                </a:lnTo>
                <a:lnTo>
                  <a:pt x="220663" y="5036"/>
                </a:lnTo>
                <a:lnTo>
                  <a:pt x="214234" y="0"/>
                </a:lnTo>
                <a:close/>
              </a:path>
            </a:pathLst>
          </a:custGeom>
          <a:solidFill>
            <a:srgbClr val="808080"/>
          </a:solidFill>
        </p:spPr>
        <p:txBody>
          <a:bodyPr wrap="square" lIns="0" tIns="0" rIns="0" bIns="0" rtlCol="0"/>
          <a:lstStyle/>
          <a:p>
            <a:endParaRPr/>
          </a:p>
        </p:txBody>
      </p:sp>
      <p:sp>
        <p:nvSpPr>
          <p:cNvPr id="80" name="object 80"/>
          <p:cNvSpPr/>
          <p:nvPr/>
        </p:nvSpPr>
        <p:spPr>
          <a:xfrm>
            <a:off x="3072504" y="2504228"/>
            <a:ext cx="64118" cy="469009"/>
          </a:xfrm>
          <a:custGeom>
            <a:avLst/>
            <a:gdLst/>
            <a:ahLst/>
            <a:cxnLst/>
            <a:rect l="l" t="t" r="r" b="b"/>
            <a:pathLst>
              <a:path w="140970" h="1031240">
                <a:moveTo>
                  <a:pt x="104070" y="0"/>
                </a:moveTo>
                <a:lnTo>
                  <a:pt x="0" y="0"/>
                </a:lnTo>
                <a:lnTo>
                  <a:pt x="0" y="1031109"/>
                </a:lnTo>
                <a:lnTo>
                  <a:pt x="140634" y="1031109"/>
                </a:lnTo>
                <a:lnTo>
                  <a:pt x="140634" y="908548"/>
                </a:lnTo>
                <a:lnTo>
                  <a:pt x="138686" y="908035"/>
                </a:lnTo>
                <a:lnTo>
                  <a:pt x="139671" y="908035"/>
                </a:lnTo>
                <a:lnTo>
                  <a:pt x="97871" y="885627"/>
                </a:lnTo>
                <a:lnTo>
                  <a:pt x="104750" y="884789"/>
                </a:lnTo>
                <a:lnTo>
                  <a:pt x="110090" y="880339"/>
                </a:lnTo>
                <a:lnTo>
                  <a:pt x="110090" y="869774"/>
                </a:lnTo>
                <a:lnTo>
                  <a:pt x="105808" y="865669"/>
                </a:lnTo>
                <a:lnTo>
                  <a:pt x="100017" y="864256"/>
                </a:lnTo>
                <a:lnTo>
                  <a:pt x="105808" y="862821"/>
                </a:lnTo>
                <a:lnTo>
                  <a:pt x="110090" y="858717"/>
                </a:lnTo>
                <a:lnTo>
                  <a:pt x="110090" y="848769"/>
                </a:lnTo>
                <a:lnTo>
                  <a:pt x="105933" y="844728"/>
                </a:lnTo>
                <a:lnTo>
                  <a:pt x="100258" y="843241"/>
                </a:lnTo>
                <a:lnTo>
                  <a:pt x="87756" y="23266"/>
                </a:lnTo>
                <a:lnTo>
                  <a:pt x="104070" y="23266"/>
                </a:lnTo>
                <a:lnTo>
                  <a:pt x="104070" y="0"/>
                </a:lnTo>
                <a:close/>
              </a:path>
            </a:pathLst>
          </a:custGeom>
          <a:solidFill>
            <a:srgbClr val="808080"/>
          </a:solidFill>
        </p:spPr>
        <p:txBody>
          <a:bodyPr wrap="square" lIns="0" tIns="0" rIns="0" bIns="0" rtlCol="0"/>
          <a:lstStyle/>
          <a:p>
            <a:endParaRPr/>
          </a:p>
        </p:txBody>
      </p:sp>
      <p:sp>
        <p:nvSpPr>
          <p:cNvPr id="81" name="object 81"/>
          <p:cNvSpPr/>
          <p:nvPr/>
        </p:nvSpPr>
        <p:spPr>
          <a:xfrm>
            <a:off x="3087448" y="2514814"/>
            <a:ext cx="12130" cy="21082"/>
          </a:xfrm>
          <a:custGeom>
            <a:avLst/>
            <a:gdLst/>
            <a:ahLst/>
            <a:cxnLst/>
            <a:rect l="l" t="t" r="r" b="b"/>
            <a:pathLst>
              <a:path w="26670" h="46354">
                <a:moveTo>
                  <a:pt x="0" y="46040"/>
                </a:moveTo>
                <a:lnTo>
                  <a:pt x="26082" y="46040"/>
                </a:lnTo>
                <a:lnTo>
                  <a:pt x="26082" y="0"/>
                </a:lnTo>
                <a:lnTo>
                  <a:pt x="0" y="0"/>
                </a:lnTo>
                <a:lnTo>
                  <a:pt x="0" y="46040"/>
                </a:lnTo>
                <a:close/>
              </a:path>
            </a:pathLst>
          </a:custGeom>
          <a:solidFill>
            <a:srgbClr val="5A5A5A"/>
          </a:solidFill>
        </p:spPr>
        <p:txBody>
          <a:bodyPr wrap="square" lIns="0" tIns="0" rIns="0" bIns="0" rtlCol="0"/>
          <a:lstStyle/>
          <a:p>
            <a:endParaRPr/>
          </a:p>
        </p:txBody>
      </p:sp>
      <p:sp>
        <p:nvSpPr>
          <p:cNvPr id="82" name="object 82"/>
          <p:cNvSpPr/>
          <p:nvPr/>
        </p:nvSpPr>
        <p:spPr>
          <a:xfrm>
            <a:off x="2984315" y="2932480"/>
            <a:ext cx="178490" cy="65846"/>
          </a:xfrm>
          <a:custGeom>
            <a:avLst/>
            <a:gdLst/>
            <a:ahLst/>
            <a:cxnLst/>
            <a:rect l="l" t="t" r="r" b="b"/>
            <a:pathLst>
              <a:path w="392429" h="144779">
                <a:moveTo>
                  <a:pt x="0" y="144466"/>
                </a:moveTo>
                <a:lnTo>
                  <a:pt x="391977" y="144466"/>
                </a:lnTo>
                <a:lnTo>
                  <a:pt x="391977" y="0"/>
                </a:lnTo>
                <a:lnTo>
                  <a:pt x="0" y="0"/>
                </a:lnTo>
                <a:lnTo>
                  <a:pt x="0" y="144466"/>
                </a:lnTo>
                <a:close/>
              </a:path>
            </a:pathLst>
          </a:custGeom>
          <a:solidFill>
            <a:srgbClr val="808080"/>
          </a:solidFill>
        </p:spPr>
        <p:txBody>
          <a:bodyPr wrap="square" lIns="0" tIns="0" rIns="0" bIns="0" rtlCol="0"/>
          <a:lstStyle/>
          <a:p>
            <a:endParaRPr/>
          </a:p>
        </p:txBody>
      </p:sp>
      <p:sp>
        <p:nvSpPr>
          <p:cNvPr id="83" name="object 83"/>
          <p:cNvSpPr/>
          <p:nvPr/>
        </p:nvSpPr>
        <p:spPr>
          <a:xfrm>
            <a:off x="2779795" y="2509523"/>
            <a:ext cx="57474" cy="41876"/>
          </a:xfrm>
          <a:custGeom>
            <a:avLst/>
            <a:gdLst/>
            <a:ahLst/>
            <a:cxnLst/>
            <a:rect l="l" t="t" r="r" b="b"/>
            <a:pathLst>
              <a:path w="126364" h="92075">
                <a:moveTo>
                  <a:pt x="0" y="91934"/>
                </a:moveTo>
                <a:lnTo>
                  <a:pt x="126195" y="91934"/>
                </a:lnTo>
                <a:lnTo>
                  <a:pt x="126195" y="0"/>
                </a:lnTo>
                <a:lnTo>
                  <a:pt x="0" y="0"/>
                </a:lnTo>
                <a:lnTo>
                  <a:pt x="0" y="91934"/>
                </a:lnTo>
                <a:close/>
              </a:path>
            </a:pathLst>
          </a:custGeom>
          <a:solidFill>
            <a:srgbClr val="5A5A5A"/>
          </a:solidFill>
        </p:spPr>
        <p:txBody>
          <a:bodyPr wrap="square" lIns="0" tIns="0" rIns="0" bIns="0" rtlCol="0"/>
          <a:lstStyle/>
          <a:p>
            <a:endParaRPr/>
          </a:p>
        </p:txBody>
      </p:sp>
      <p:sp>
        <p:nvSpPr>
          <p:cNvPr id="84" name="object 84"/>
          <p:cNvSpPr/>
          <p:nvPr/>
        </p:nvSpPr>
        <p:spPr>
          <a:xfrm>
            <a:off x="2763208" y="2535729"/>
            <a:ext cx="90400" cy="354067"/>
          </a:xfrm>
          <a:custGeom>
            <a:avLst/>
            <a:gdLst/>
            <a:ahLst/>
            <a:cxnLst/>
            <a:rect l="l" t="t" r="r" b="b"/>
            <a:pathLst>
              <a:path w="198754" h="778510">
                <a:moveTo>
                  <a:pt x="13842" y="0"/>
                </a:moveTo>
                <a:lnTo>
                  <a:pt x="0" y="778217"/>
                </a:lnTo>
                <a:lnTo>
                  <a:pt x="198517" y="778217"/>
                </a:lnTo>
                <a:lnTo>
                  <a:pt x="183952" y="94"/>
                </a:lnTo>
                <a:lnTo>
                  <a:pt x="13842" y="0"/>
                </a:lnTo>
                <a:close/>
              </a:path>
            </a:pathLst>
          </a:custGeom>
          <a:solidFill>
            <a:srgbClr val="C5C5C5"/>
          </a:solidFill>
        </p:spPr>
        <p:txBody>
          <a:bodyPr wrap="square" lIns="0" tIns="0" rIns="0" bIns="0" rtlCol="0"/>
          <a:lstStyle/>
          <a:p>
            <a:endParaRPr/>
          </a:p>
        </p:txBody>
      </p:sp>
      <p:sp>
        <p:nvSpPr>
          <p:cNvPr id="85" name="object 85"/>
          <p:cNvSpPr/>
          <p:nvPr/>
        </p:nvSpPr>
        <p:spPr>
          <a:xfrm>
            <a:off x="2743671" y="2911783"/>
            <a:ext cx="128236" cy="61514"/>
          </a:xfrm>
          <a:custGeom>
            <a:avLst/>
            <a:gdLst/>
            <a:ahLst/>
            <a:cxnLst/>
            <a:rect l="l" t="t" r="r" b="b"/>
            <a:pathLst>
              <a:path w="281939" h="135254">
                <a:moveTo>
                  <a:pt x="47255" y="0"/>
                </a:moveTo>
                <a:lnTo>
                  <a:pt x="0" y="12428"/>
                </a:lnTo>
                <a:lnTo>
                  <a:pt x="0" y="135001"/>
                </a:lnTo>
                <a:lnTo>
                  <a:pt x="281740" y="135001"/>
                </a:lnTo>
                <a:lnTo>
                  <a:pt x="281740" y="12428"/>
                </a:lnTo>
                <a:lnTo>
                  <a:pt x="234704" y="240"/>
                </a:lnTo>
                <a:lnTo>
                  <a:pt x="47255" y="0"/>
                </a:lnTo>
                <a:close/>
              </a:path>
            </a:pathLst>
          </a:custGeom>
          <a:solidFill>
            <a:srgbClr val="808080"/>
          </a:solidFill>
        </p:spPr>
        <p:txBody>
          <a:bodyPr wrap="square" lIns="0" tIns="0" rIns="0" bIns="0" rtlCol="0"/>
          <a:lstStyle/>
          <a:p>
            <a:endParaRPr/>
          </a:p>
        </p:txBody>
      </p:sp>
      <p:sp>
        <p:nvSpPr>
          <p:cNvPr id="86" name="object 86"/>
          <p:cNvSpPr/>
          <p:nvPr/>
        </p:nvSpPr>
        <p:spPr>
          <a:xfrm>
            <a:off x="2744103" y="2911539"/>
            <a:ext cx="127369" cy="0"/>
          </a:xfrm>
          <a:custGeom>
            <a:avLst/>
            <a:gdLst/>
            <a:ahLst/>
            <a:cxnLst/>
            <a:rect l="l" t="t" r="r" b="b"/>
            <a:pathLst>
              <a:path w="280035">
                <a:moveTo>
                  <a:pt x="0" y="0"/>
                </a:moveTo>
                <a:lnTo>
                  <a:pt x="279844" y="0"/>
                </a:lnTo>
              </a:path>
            </a:pathLst>
          </a:custGeom>
          <a:ln w="24920">
            <a:solidFill>
              <a:srgbClr val="C5C5C5"/>
            </a:solidFill>
          </a:ln>
        </p:spPr>
        <p:txBody>
          <a:bodyPr wrap="square" lIns="0" tIns="0" rIns="0" bIns="0" rtlCol="0"/>
          <a:lstStyle/>
          <a:p>
            <a:endParaRPr/>
          </a:p>
        </p:txBody>
      </p:sp>
      <p:sp>
        <p:nvSpPr>
          <p:cNvPr id="87" name="object 87"/>
          <p:cNvSpPr/>
          <p:nvPr/>
        </p:nvSpPr>
        <p:spPr>
          <a:xfrm>
            <a:off x="2800002" y="2508704"/>
            <a:ext cx="16751" cy="27147"/>
          </a:xfrm>
          <a:custGeom>
            <a:avLst/>
            <a:gdLst/>
            <a:ahLst/>
            <a:cxnLst/>
            <a:rect l="l" t="t" r="r" b="b"/>
            <a:pathLst>
              <a:path w="36829" h="59689">
                <a:moveTo>
                  <a:pt x="0" y="59474"/>
                </a:moveTo>
                <a:lnTo>
                  <a:pt x="36658" y="59474"/>
                </a:lnTo>
                <a:lnTo>
                  <a:pt x="36658" y="0"/>
                </a:lnTo>
                <a:lnTo>
                  <a:pt x="0" y="0"/>
                </a:lnTo>
                <a:lnTo>
                  <a:pt x="0" y="59474"/>
                </a:lnTo>
                <a:close/>
              </a:path>
            </a:pathLst>
          </a:custGeom>
          <a:solidFill>
            <a:srgbClr val="808080"/>
          </a:solidFill>
        </p:spPr>
        <p:txBody>
          <a:bodyPr wrap="square" lIns="0" tIns="0" rIns="0" bIns="0" rtlCol="0"/>
          <a:lstStyle/>
          <a:p>
            <a:endParaRPr/>
          </a:p>
        </p:txBody>
      </p:sp>
      <p:sp>
        <p:nvSpPr>
          <p:cNvPr id="88" name="object 88"/>
          <p:cNvSpPr/>
          <p:nvPr/>
        </p:nvSpPr>
        <p:spPr>
          <a:xfrm>
            <a:off x="2771442" y="2508704"/>
            <a:ext cx="16751" cy="27147"/>
          </a:xfrm>
          <a:custGeom>
            <a:avLst/>
            <a:gdLst/>
            <a:ahLst/>
            <a:cxnLst/>
            <a:rect l="l" t="t" r="r" b="b"/>
            <a:pathLst>
              <a:path w="36829" h="59689">
                <a:moveTo>
                  <a:pt x="0" y="59474"/>
                </a:moveTo>
                <a:lnTo>
                  <a:pt x="36721" y="59474"/>
                </a:lnTo>
                <a:lnTo>
                  <a:pt x="36721" y="0"/>
                </a:lnTo>
                <a:lnTo>
                  <a:pt x="0" y="0"/>
                </a:lnTo>
                <a:lnTo>
                  <a:pt x="0" y="59474"/>
                </a:lnTo>
                <a:close/>
              </a:path>
            </a:pathLst>
          </a:custGeom>
          <a:solidFill>
            <a:srgbClr val="808080"/>
          </a:solidFill>
        </p:spPr>
        <p:txBody>
          <a:bodyPr wrap="square" lIns="0" tIns="0" rIns="0" bIns="0" rtlCol="0"/>
          <a:lstStyle/>
          <a:p>
            <a:endParaRPr/>
          </a:p>
        </p:txBody>
      </p:sp>
      <p:sp>
        <p:nvSpPr>
          <p:cNvPr id="89" name="object 89"/>
          <p:cNvSpPr/>
          <p:nvPr/>
        </p:nvSpPr>
        <p:spPr>
          <a:xfrm>
            <a:off x="2761745" y="2506487"/>
            <a:ext cx="93577" cy="0"/>
          </a:xfrm>
          <a:custGeom>
            <a:avLst/>
            <a:gdLst/>
            <a:ahLst/>
            <a:cxnLst/>
            <a:rect l="l" t="t" r="r" b="b"/>
            <a:pathLst>
              <a:path w="205739">
                <a:moveTo>
                  <a:pt x="0" y="0"/>
                </a:moveTo>
                <a:lnTo>
                  <a:pt x="205449" y="0"/>
                </a:lnTo>
              </a:path>
            </a:pathLst>
          </a:custGeom>
          <a:ln w="36616">
            <a:solidFill>
              <a:srgbClr val="808080"/>
            </a:solidFill>
          </a:ln>
        </p:spPr>
        <p:txBody>
          <a:bodyPr wrap="square" lIns="0" tIns="0" rIns="0" bIns="0" rtlCol="0"/>
          <a:lstStyle/>
          <a:p>
            <a:endParaRPr/>
          </a:p>
        </p:txBody>
      </p:sp>
      <p:sp>
        <p:nvSpPr>
          <p:cNvPr id="90" name="object 90"/>
          <p:cNvSpPr/>
          <p:nvPr/>
        </p:nvSpPr>
        <p:spPr>
          <a:xfrm>
            <a:off x="2757560" y="2896986"/>
            <a:ext cx="100508" cy="10397"/>
          </a:xfrm>
          <a:custGeom>
            <a:avLst/>
            <a:gdLst/>
            <a:ahLst/>
            <a:cxnLst/>
            <a:rect l="l" t="t" r="r" b="b"/>
            <a:pathLst>
              <a:path w="220979" h="22860">
                <a:moveTo>
                  <a:pt x="214244" y="0"/>
                </a:moveTo>
                <a:lnTo>
                  <a:pt x="6429" y="0"/>
                </a:lnTo>
                <a:lnTo>
                  <a:pt x="0" y="5005"/>
                </a:lnTo>
                <a:lnTo>
                  <a:pt x="0" y="17360"/>
                </a:lnTo>
                <a:lnTo>
                  <a:pt x="6429" y="22407"/>
                </a:lnTo>
                <a:lnTo>
                  <a:pt x="214244" y="22407"/>
                </a:lnTo>
                <a:lnTo>
                  <a:pt x="220673" y="17360"/>
                </a:lnTo>
                <a:lnTo>
                  <a:pt x="220673" y="5005"/>
                </a:lnTo>
                <a:lnTo>
                  <a:pt x="214244" y="0"/>
                </a:lnTo>
                <a:close/>
              </a:path>
            </a:pathLst>
          </a:custGeom>
          <a:solidFill>
            <a:srgbClr val="808080"/>
          </a:solidFill>
        </p:spPr>
        <p:txBody>
          <a:bodyPr wrap="square" lIns="0" tIns="0" rIns="0" bIns="0" rtlCol="0"/>
          <a:lstStyle/>
          <a:p>
            <a:endParaRPr/>
          </a:p>
        </p:txBody>
      </p:sp>
      <p:sp>
        <p:nvSpPr>
          <p:cNvPr id="91" name="object 91"/>
          <p:cNvSpPr/>
          <p:nvPr/>
        </p:nvSpPr>
        <p:spPr>
          <a:xfrm>
            <a:off x="2757560" y="2887401"/>
            <a:ext cx="100508" cy="10397"/>
          </a:xfrm>
          <a:custGeom>
            <a:avLst/>
            <a:gdLst/>
            <a:ahLst/>
            <a:cxnLst/>
            <a:rect l="l" t="t" r="r" b="b"/>
            <a:pathLst>
              <a:path w="220979" h="22860">
                <a:moveTo>
                  <a:pt x="214244" y="0"/>
                </a:moveTo>
                <a:lnTo>
                  <a:pt x="6429" y="0"/>
                </a:lnTo>
                <a:lnTo>
                  <a:pt x="0" y="5036"/>
                </a:lnTo>
                <a:lnTo>
                  <a:pt x="0" y="17392"/>
                </a:lnTo>
                <a:lnTo>
                  <a:pt x="6429" y="22386"/>
                </a:lnTo>
                <a:lnTo>
                  <a:pt x="214244" y="22386"/>
                </a:lnTo>
                <a:lnTo>
                  <a:pt x="220673" y="17392"/>
                </a:lnTo>
                <a:lnTo>
                  <a:pt x="220673" y="5036"/>
                </a:lnTo>
                <a:lnTo>
                  <a:pt x="214244" y="0"/>
                </a:lnTo>
                <a:close/>
              </a:path>
            </a:pathLst>
          </a:custGeom>
          <a:solidFill>
            <a:srgbClr val="808080"/>
          </a:solidFill>
        </p:spPr>
        <p:txBody>
          <a:bodyPr wrap="square" lIns="0" tIns="0" rIns="0" bIns="0" rtlCol="0"/>
          <a:lstStyle/>
          <a:p>
            <a:endParaRPr/>
          </a:p>
        </p:txBody>
      </p:sp>
      <p:sp>
        <p:nvSpPr>
          <p:cNvPr id="92" name="object 92"/>
          <p:cNvSpPr/>
          <p:nvPr/>
        </p:nvSpPr>
        <p:spPr>
          <a:xfrm>
            <a:off x="2807853" y="2504228"/>
            <a:ext cx="64118" cy="469009"/>
          </a:xfrm>
          <a:custGeom>
            <a:avLst/>
            <a:gdLst/>
            <a:ahLst/>
            <a:cxnLst/>
            <a:rect l="l" t="t" r="r" b="b"/>
            <a:pathLst>
              <a:path w="140970" h="1031240">
                <a:moveTo>
                  <a:pt x="104070" y="0"/>
                </a:moveTo>
                <a:lnTo>
                  <a:pt x="0" y="0"/>
                </a:lnTo>
                <a:lnTo>
                  <a:pt x="0" y="1031109"/>
                </a:lnTo>
                <a:lnTo>
                  <a:pt x="140623" y="1031109"/>
                </a:lnTo>
                <a:lnTo>
                  <a:pt x="140623" y="908548"/>
                </a:lnTo>
                <a:lnTo>
                  <a:pt x="138686" y="908035"/>
                </a:lnTo>
                <a:lnTo>
                  <a:pt x="139681" y="908035"/>
                </a:lnTo>
                <a:lnTo>
                  <a:pt x="97881" y="885627"/>
                </a:lnTo>
                <a:lnTo>
                  <a:pt x="104750" y="884789"/>
                </a:lnTo>
                <a:lnTo>
                  <a:pt x="110101" y="880339"/>
                </a:lnTo>
                <a:lnTo>
                  <a:pt x="110101" y="869774"/>
                </a:lnTo>
                <a:lnTo>
                  <a:pt x="105829" y="865669"/>
                </a:lnTo>
                <a:lnTo>
                  <a:pt x="100028" y="864256"/>
                </a:lnTo>
                <a:lnTo>
                  <a:pt x="105829" y="862821"/>
                </a:lnTo>
                <a:lnTo>
                  <a:pt x="110101" y="858717"/>
                </a:lnTo>
                <a:lnTo>
                  <a:pt x="110101" y="848769"/>
                </a:lnTo>
                <a:lnTo>
                  <a:pt x="105944" y="844728"/>
                </a:lnTo>
                <a:lnTo>
                  <a:pt x="100269" y="843241"/>
                </a:lnTo>
                <a:lnTo>
                  <a:pt x="87756" y="23266"/>
                </a:lnTo>
                <a:lnTo>
                  <a:pt x="104070" y="23266"/>
                </a:lnTo>
                <a:lnTo>
                  <a:pt x="104070" y="0"/>
                </a:lnTo>
                <a:close/>
              </a:path>
            </a:pathLst>
          </a:custGeom>
          <a:solidFill>
            <a:srgbClr val="808080"/>
          </a:solidFill>
        </p:spPr>
        <p:txBody>
          <a:bodyPr wrap="square" lIns="0" tIns="0" rIns="0" bIns="0" rtlCol="0"/>
          <a:lstStyle/>
          <a:p>
            <a:endParaRPr/>
          </a:p>
        </p:txBody>
      </p:sp>
      <p:sp>
        <p:nvSpPr>
          <p:cNvPr id="93" name="object 93"/>
          <p:cNvSpPr/>
          <p:nvPr/>
        </p:nvSpPr>
        <p:spPr>
          <a:xfrm>
            <a:off x="2822800" y="2514814"/>
            <a:ext cx="12130" cy="21082"/>
          </a:xfrm>
          <a:custGeom>
            <a:avLst/>
            <a:gdLst/>
            <a:ahLst/>
            <a:cxnLst/>
            <a:rect l="l" t="t" r="r" b="b"/>
            <a:pathLst>
              <a:path w="26670" h="46354">
                <a:moveTo>
                  <a:pt x="0" y="46040"/>
                </a:moveTo>
                <a:lnTo>
                  <a:pt x="26072" y="46040"/>
                </a:lnTo>
                <a:lnTo>
                  <a:pt x="26072" y="0"/>
                </a:lnTo>
                <a:lnTo>
                  <a:pt x="0" y="0"/>
                </a:lnTo>
                <a:lnTo>
                  <a:pt x="0" y="46040"/>
                </a:lnTo>
                <a:close/>
              </a:path>
            </a:pathLst>
          </a:custGeom>
          <a:solidFill>
            <a:srgbClr val="5A5A5A"/>
          </a:solidFill>
        </p:spPr>
        <p:txBody>
          <a:bodyPr wrap="square" lIns="0" tIns="0" rIns="0" bIns="0" rtlCol="0"/>
          <a:lstStyle/>
          <a:p>
            <a:endParaRPr/>
          </a:p>
        </p:txBody>
      </p:sp>
      <p:sp>
        <p:nvSpPr>
          <p:cNvPr id="94" name="object 94"/>
          <p:cNvSpPr/>
          <p:nvPr/>
        </p:nvSpPr>
        <p:spPr>
          <a:xfrm>
            <a:off x="2719668" y="2932480"/>
            <a:ext cx="178490" cy="65846"/>
          </a:xfrm>
          <a:custGeom>
            <a:avLst/>
            <a:gdLst/>
            <a:ahLst/>
            <a:cxnLst/>
            <a:rect l="l" t="t" r="r" b="b"/>
            <a:pathLst>
              <a:path w="392429" h="144779">
                <a:moveTo>
                  <a:pt x="0" y="144466"/>
                </a:moveTo>
                <a:lnTo>
                  <a:pt x="391977" y="144466"/>
                </a:lnTo>
                <a:lnTo>
                  <a:pt x="391977" y="0"/>
                </a:lnTo>
                <a:lnTo>
                  <a:pt x="0" y="0"/>
                </a:lnTo>
                <a:lnTo>
                  <a:pt x="0" y="144466"/>
                </a:lnTo>
                <a:close/>
              </a:path>
            </a:pathLst>
          </a:custGeom>
          <a:solidFill>
            <a:srgbClr val="808080"/>
          </a:solidFill>
        </p:spPr>
        <p:txBody>
          <a:bodyPr wrap="square" lIns="0" tIns="0" rIns="0" bIns="0" rtlCol="0"/>
          <a:lstStyle/>
          <a:p>
            <a:endParaRPr/>
          </a:p>
        </p:txBody>
      </p:sp>
      <p:sp>
        <p:nvSpPr>
          <p:cNvPr id="95" name="object 95"/>
          <p:cNvSpPr/>
          <p:nvPr/>
        </p:nvSpPr>
        <p:spPr>
          <a:xfrm>
            <a:off x="3430295" y="2574255"/>
            <a:ext cx="84624" cy="117252"/>
          </a:xfrm>
          <a:custGeom>
            <a:avLst/>
            <a:gdLst/>
            <a:ahLst/>
            <a:cxnLst/>
            <a:rect l="l" t="t" r="r" b="b"/>
            <a:pathLst>
              <a:path w="186054" h="257810">
                <a:moveTo>
                  <a:pt x="0" y="257583"/>
                </a:moveTo>
                <a:lnTo>
                  <a:pt x="185596" y="257583"/>
                </a:lnTo>
                <a:lnTo>
                  <a:pt x="185596" y="0"/>
                </a:lnTo>
                <a:lnTo>
                  <a:pt x="0" y="0"/>
                </a:lnTo>
                <a:lnTo>
                  <a:pt x="0" y="257583"/>
                </a:lnTo>
                <a:close/>
              </a:path>
            </a:pathLst>
          </a:custGeom>
          <a:solidFill>
            <a:srgbClr val="808080"/>
          </a:solidFill>
        </p:spPr>
        <p:txBody>
          <a:bodyPr wrap="square" lIns="0" tIns="0" rIns="0" bIns="0" rtlCol="0"/>
          <a:lstStyle/>
          <a:p>
            <a:endParaRPr/>
          </a:p>
        </p:txBody>
      </p:sp>
      <p:sp>
        <p:nvSpPr>
          <p:cNvPr id="96" name="object 96"/>
          <p:cNvSpPr/>
          <p:nvPr/>
        </p:nvSpPr>
        <p:spPr>
          <a:xfrm>
            <a:off x="3438301" y="2583170"/>
            <a:ext cx="68450" cy="99347"/>
          </a:xfrm>
          <a:custGeom>
            <a:avLst/>
            <a:gdLst/>
            <a:ahLst/>
            <a:cxnLst/>
            <a:rect l="l" t="t" r="r" b="b"/>
            <a:pathLst>
              <a:path w="150495" h="218439">
                <a:moveTo>
                  <a:pt x="0" y="218380"/>
                </a:moveTo>
                <a:lnTo>
                  <a:pt x="150382" y="218380"/>
                </a:lnTo>
                <a:lnTo>
                  <a:pt x="150382" y="0"/>
                </a:lnTo>
                <a:lnTo>
                  <a:pt x="0" y="0"/>
                </a:lnTo>
                <a:lnTo>
                  <a:pt x="0" y="218380"/>
                </a:lnTo>
                <a:close/>
              </a:path>
            </a:pathLst>
          </a:custGeom>
          <a:solidFill>
            <a:srgbClr val="C5C5C5"/>
          </a:solidFill>
        </p:spPr>
        <p:txBody>
          <a:bodyPr wrap="square" lIns="0" tIns="0" rIns="0" bIns="0" rtlCol="0"/>
          <a:lstStyle/>
          <a:p>
            <a:endParaRPr/>
          </a:p>
        </p:txBody>
      </p:sp>
      <p:sp>
        <p:nvSpPr>
          <p:cNvPr id="97" name="object 97"/>
          <p:cNvSpPr/>
          <p:nvPr/>
        </p:nvSpPr>
        <p:spPr>
          <a:xfrm>
            <a:off x="3430295" y="2742646"/>
            <a:ext cx="84624" cy="117252"/>
          </a:xfrm>
          <a:custGeom>
            <a:avLst/>
            <a:gdLst/>
            <a:ahLst/>
            <a:cxnLst/>
            <a:rect l="l" t="t" r="r" b="b"/>
            <a:pathLst>
              <a:path w="186054" h="257810">
                <a:moveTo>
                  <a:pt x="0" y="257573"/>
                </a:moveTo>
                <a:lnTo>
                  <a:pt x="185596" y="257573"/>
                </a:lnTo>
                <a:lnTo>
                  <a:pt x="185596" y="0"/>
                </a:lnTo>
                <a:lnTo>
                  <a:pt x="0" y="0"/>
                </a:lnTo>
                <a:lnTo>
                  <a:pt x="0" y="257573"/>
                </a:lnTo>
                <a:close/>
              </a:path>
            </a:pathLst>
          </a:custGeom>
          <a:solidFill>
            <a:srgbClr val="808080"/>
          </a:solidFill>
        </p:spPr>
        <p:txBody>
          <a:bodyPr wrap="square" lIns="0" tIns="0" rIns="0" bIns="0" rtlCol="0"/>
          <a:lstStyle/>
          <a:p>
            <a:endParaRPr/>
          </a:p>
        </p:txBody>
      </p:sp>
      <p:sp>
        <p:nvSpPr>
          <p:cNvPr id="98" name="object 98"/>
          <p:cNvSpPr/>
          <p:nvPr/>
        </p:nvSpPr>
        <p:spPr>
          <a:xfrm>
            <a:off x="3438301" y="2751560"/>
            <a:ext cx="68450" cy="99347"/>
          </a:xfrm>
          <a:custGeom>
            <a:avLst/>
            <a:gdLst/>
            <a:ahLst/>
            <a:cxnLst/>
            <a:rect l="l" t="t" r="r" b="b"/>
            <a:pathLst>
              <a:path w="150495" h="218439">
                <a:moveTo>
                  <a:pt x="0" y="218391"/>
                </a:moveTo>
                <a:lnTo>
                  <a:pt x="150382" y="218391"/>
                </a:lnTo>
                <a:lnTo>
                  <a:pt x="150382" y="0"/>
                </a:lnTo>
                <a:lnTo>
                  <a:pt x="0" y="0"/>
                </a:lnTo>
                <a:lnTo>
                  <a:pt x="0" y="218391"/>
                </a:lnTo>
                <a:close/>
              </a:path>
            </a:pathLst>
          </a:custGeom>
          <a:solidFill>
            <a:srgbClr val="C5C5C5"/>
          </a:solidFill>
        </p:spPr>
        <p:txBody>
          <a:bodyPr wrap="square" lIns="0" tIns="0" rIns="0" bIns="0" rtlCol="0"/>
          <a:lstStyle/>
          <a:p>
            <a:endParaRPr/>
          </a:p>
        </p:txBody>
      </p:sp>
      <p:sp>
        <p:nvSpPr>
          <p:cNvPr id="99" name="object 99"/>
          <p:cNvSpPr/>
          <p:nvPr/>
        </p:nvSpPr>
        <p:spPr>
          <a:xfrm>
            <a:off x="3163195" y="2574255"/>
            <a:ext cx="84624" cy="117252"/>
          </a:xfrm>
          <a:custGeom>
            <a:avLst/>
            <a:gdLst/>
            <a:ahLst/>
            <a:cxnLst/>
            <a:rect l="l" t="t" r="r" b="b"/>
            <a:pathLst>
              <a:path w="186054" h="257810">
                <a:moveTo>
                  <a:pt x="0" y="257583"/>
                </a:moveTo>
                <a:lnTo>
                  <a:pt x="185585" y="257583"/>
                </a:lnTo>
                <a:lnTo>
                  <a:pt x="185585" y="0"/>
                </a:lnTo>
                <a:lnTo>
                  <a:pt x="0" y="0"/>
                </a:lnTo>
                <a:lnTo>
                  <a:pt x="0" y="257583"/>
                </a:lnTo>
                <a:close/>
              </a:path>
            </a:pathLst>
          </a:custGeom>
          <a:solidFill>
            <a:srgbClr val="808080"/>
          </a:solidFill>
        </p:spPr>
        <p:txBody>
          <a:bodyPr wrap="square" lIns="0" tIns="0" rIns="0" bIns="0" rtlCol="0"/>
          <a:lstStyle/>
          <a:p>
            <a:endParaRPr/>
          </a:p>
        </p:txBody>
      </p:sp>
      <p:sp>
        <p:nvSpPr>
          <p:cNvPr id="100" name="object 100"/>
          <p:cNvSpPr/>
          <p:nvPr/>
        </p:nvSpPr>
        <p:spPr>
          <a:xfrm>
            <a:off x="3171192" y="2583170"/>
            <a:ext cx="68450" cy="99347"/>
          </a:xfrm>
          <a:custGeom>
            <a:avLst/>
            <a:gdLst/>
            <a:ahLst/>
            <a:cxnLst/>
            <a:rect l="l" t="t" r="r" b="b"/>
            <a:pathLst>
              <a:path w="150495" h="218439">
                <a:moveTo>
                  <a:pt x="0" y="218380"/>
                </a:moveTo>
                <a:lnTo>
                  <a:pt x="150393" y="218380"/>
                </a:lnTo>
                <a:lnTo>
                  <a:pt x="150393" y="0"/>
                </a:lnTo>
                <a:lnTo>
                  <a:pt x="0" y="0"/>
                </a:lnTo>
                <a:lnTo>
                  <a:pt x="0" y="218380"/>
                </a:lnTo>
                <a:close/>
              </a:path>
            </a:pathLst>
          </a:custGeom>
          <a:solidFill>
            <a:srgbClr val="C5C5C5"/>
          </a:solidFill>
        </p:spPr>
        <p:txBody>
          <a:bodyPr wrap="square" lIns="0" tIns="0" rIns="0" bIns="0" rtlCol="0"/>
          <a:lstStyle/>
          <a:p>
            <a:endParaRPr/>
          </a:p>
        </p:txBody>
      </p:sp>
      <p:sp>
        <p:nvSpPr>
          <p:cNvPr id="101" name="object 101"/>
          <p:cNvSpPr/>
          <p:nvPr/>
        </p:nvSpPr>
        <p:spPr>
          <a:xfrm>
            <a:off x="3163195" y="2742646"/>
            <a:ext cx="84624" cy="117252"/>
          </a:xfrm>
          <a:custGeom>
            <a:avLst/>
            <a:gdLst/>
            <a:ahLst/>
            <a:cxnLst/>
            <a:rect l="l" t="t" r="r" b="b"/>
            <a:pathLst>
              <a:path w="186054" h="257810">
                <a:moveTo>
                  <a:pt x="0" y="257573"/>
                </a:moveTo>
                <a:lnTo>
                  <a:pt x="185585" y="257573"/>
                </a:lnTo>
                <a:lnTo>
                  <a:pt x="185585" y="0"/>
                </a:lnTo>
                <a:lnTo>
                  <a:pt x="0" y="0"/>
                </a:lnTo>
                <a:lnTo>
                  <a:pt x="0" y="257573"/>
                </a:lnTo>
                <a:close/>
              </a:path>
            </a:pathLst>
          </a:custGeom>
          <a:solidFill>
            <a:srgbClr val="808080"/>
          </a:solidFill>
        </p:spPr>
        <p:txBody>
          <a:bodyPr wrap="square" lIns="0" tIns="0" rIns="0" bIns="0" rtlCol="0"/>
          <a:lstStyle/>
          <a:p>
            <a:endParaRPr/>
          </a:p>
        </p:txBody>
      </p:sp>
      <p:sp>
        <p:nvSpPr>
          <p:cNvPr id="102" name="object 102"/>
          <p:cNvSpPr/>
          <p:nvPr/>
        </p:nvSpPr>
        <p:spPr>
          <a:xfrm>
            <a:off x="3171192" y="2751560"/>
            <a:ext cx="68450" cy="99347"/>
          </a:xfrm>
          <a:custGeom>
            <a:avLst/>
            <a:gdLst/>
            <a:ahLst/>
            <a:cxnLst/>
            <a:rect l="l" t="t" r="r" b="b"/>
            <a:pathLst>
              <a:path w="150495" h="218439">
                <a:moveTo>
                  <a:pt x="0" y="218391"/>
                </a:moveTo>
                <a:lnTo>
                  <a:pt x="150393" y="218391"/>
                </a:lnTo>
                <a:lnTo>
                  <a:pt x="150393" y="0"/>
                </a:lnTo>
                <a:lnTo>
                  <a:pt x="0" y="0"/>
                </a:lnTo>
                <a:lnTo>
                  <a:pt x="0" y="218391"/>
                </a:lnTo>
                <a:close/>
              </a:path>
            </a:pathLst>
          </a:custGeom>
          <a:solidFill>
            <a:srgbClr val="C5C5C5"/>
          </a:solidFill>
        </p:spPr>
        <p:txBody>
          <a:bodyPr wrap="square" lIns="0" tIns="0" rIns="0" bIns="0" rtlCol="0"/>
          <a:lstStyle/>
          <a:p>
            <a:endParaRPr/>
          </a:p>
        </p:txBody>
      </p:sp>
      <p:sp>
        <p:nvSpPr>
          <p:cNvPr id="103" name="object 103"/>
          <p:cNvSpPr/>
          <p:nvPr/>
        </p:nvSpPr>
        <p:spPr>
          <a:xfrm>
            <a:off x="2896095" y="2574255"/>
            <a:ext cx="84624" cy="117252"/>
          </a:xfrm>
          <a:custGeom>
            <a:avLst/>
            <a:gdLst/>
            <a:ahLst/>
            <a:cxnLst/>
            <a:rect l="l" t="t" r="r" b="b"/>
            <a:pathLst>
              <a:path w="186054" h="257810">
                <a:moveTo>
                  <a:pt x="0" y="257583"/>
                </a:moveTo>
                <a:lnTo>
                  <a:pt x="185575" y="257583"/>
                </a:lnTo>
                <a:lnTo>
                  <a:pt x="185575" y="0"/>
                </a:lnTo>
                <a:lnTo>
                  <a:pt x="0" y="0"/>
                </a:lnTo>
                <a:lnTo>
                  <a:pt x="0" y="257583"/>
                </a:lnTo>
                <a:close/>
              </a:path>
            </a:pathLst>
          </a:custGeom>
          <a:solidFill>
            <a:srgbClr val="808080"/>
          </a:solidFill>
        </p:spPr>
        <p:txBody>
          <a:bodyPr wrap="square" lIns="0" tIns="0" rIns="0" bIns="0" rtlCol="0"/>
          <a:lstStyle/>
          <a:p>
            <a:endParaRPr/>
          </a:p>
        </p:txBody>
      </p:sp>
      <p:sp>
        <p:nvSpPr>
          <p:cNvPr id="104" name="object 104"/>
          <p:cNvSpPr/>
          <p:nvPr/>
        </p:nvSpPr>
        <p:spPr>
          <a:xfrm>
            <a:off x="2904092" y="2583170"/>
            <a:ext cx="68450" cy="99347"/>
          </a:xfrm>
          <a:custGeom>
            <a:avLst/>
            <a:gdLst/>
            <a:ahLst/>
            <a:cxnLst/>
            <a:rect l="l" t="t" r="r" b="b"/>
            <a:pathLst>
              <a:path w="150495" h="218439">
                <a:moveTo>
                  <a:pt x="0" y="218380"/>
                </a:moveTo>
                <a:lnTo>
                  <a:pt x="150393" y="218380"/>
                </a:lnTo>
                <a:lnTo>
                  <a:pt x="150393" y="0"/>
                </a:lnTo>
                <a:lnTo>
                  <a:pt x="0" y="0"/>
                </a:lnTo>
                <a:lnTo>
                  <a:pt x="0" y="218380"/>
                </a:lnTo>
                <a:close/>
              </a:path>
            </a:pathLst>
          </a:custGeom>
          <a:solidFill>
            <a:srgbClr val="C5C5C5"/>
          </a:solidFill>
        </p:spPr>
        <p:txBody>
          <a:bodyPr wrap="square" lIns="0" tIns="0" rIns="0" bIns="0" rtlCol="0"/>
          <a:lstStyle/>
          <a:p>
            <a:endParaRPr/>
          </a:p>
        </p:txBody>
      </p:sp>
      <p:sp>
        <p:nvSpPr>
          <p:cNvPr id="105" name="object 105"/>
          <p:cNvSpPr/>
          <p:nvPr/>
        </p:nvSpPr>
        <p:spPr>
          <a:xfrm>
            <a:off x="2896095" y="2742646"/>
            <a:ext cx="84624" cy="117252"/>
          </a:xfrm>
          <a:custGeom>
            <a:avLst/>
            <a:gdLst/>
            <a:ahLst/>
            <a:cxnLst/>
            <a:rect l="l" t="t" r="r" b="b"/>
            <a:pathLst>
              <a:path w="186054" h="257810">
                <a:moveTo>
                  <a:pt x="0" y="257573"/>
                </a:moveTo>
                <a:lnTo>
                  <a:pt x="185575" y="257573"/>
                </a:lnTo>
                <a:lnTo>
                  <a:pt x="185575" y="0"/>
                </a:lnTo>
                <a:lnTo>
                  <a:pt x="0" y="0"/>
                </a:lnTo>
                <a:lnTo>
                  <a:pt x="0" y="257573"/>
                </a:lnTo>
                <a:close/>
              </a:path>
            </a:pathLst>
          </a:custGeom>
          <a:solidFill>
            <a:srgbClr val="808080"/>
          </a:solidFill>
        </p:spPr>
        <p:txBody>
          <a:bodyPr wrap="square" lIns="0" tIns="0" rIns="0" bIns="0" rtlCol="0"/>
          <a:lstStyle/>
          <a:p>
            <a:endParaRPr/>
          </a:p>
        </p:txBody>
      </p:sp>
      <p:sp>
        <p:nvSpPr>
          <p:cNvPr id="106" name="object 106"/>
          <p:cNvSpPr/>
          <p:nvPr/>
        </p:nvSpPr>
        <p:spPr>
          <a:xfrm>
            <a:off x="2904092" y="2751560"/>
            <a:ext cx="68450" cy="99347"/>
          </a:xfrm>
          <a:custGeom>
            <a:avLst/>
            <a:gdLst/>
            <a:ahLst/>
            <a:cxnLst/>
            <a:rect l="l" t="t" r="r" b="b"/>
            <a:pathLst>
              <a:path w="150495" h="218439">
                <a:moveTo>
                  <a:pt x="0" y="218391"/>
                </a:moveTo>
                <a:lnTo>
                  <a:pt x="150393" y="218391"/>
                </a:lnTo>
                <a:lnTo>
                  <a:pt x="150393" y="0"/>
                </a:lnTo>
                <a:lnTo>
                  <a:pt x="0" y="0"/>
                </a:lnTo>
                <a:lnTo>
                  <a:pt x="0" y="218391"/>
                </a:lnTo>
                <a:close/>
              </a:path>
            </a:pathLst>
          </a:custGeom>
          <a:solidFill>
            <a:srgbClr val="C5C5C5"/>
          </a:solidFill>
        </p:spPr>
        <p:txBody>
          <a:bodyPr wrap="square" lIns="0" tIns="0" rIns="0" bIns="0" rtlCol="0"/>
          <a:lstStyle/>
          <a:p>
            <a:endParaRPr/>
          </a:p>
        </p:txBody>
      </p:sp>
      <p:sp>
        <p:nvSpPr>
          <p:cNvPr id="107" name="object 107"/>
          <p:cNvSpPr/>
          <p:nvPr/>
        </p:nvSpPr>
        <p:spPr>
          <a:xfrm>
            <a:off x="2764614" y="2138882"/>
            <a:ext cx="395393" cy="217754"/>
          </a:xfrm>
          <a:custGeom>
            <a:avLst/>
            <a:gdLst/>
            <a:ahLst/>
            <a:cxnLst/>
            <a:rect l="l" t="t" r="r" b="b"/>
            <a:pathLst>
              <a:path w="869315" h="478789">
                <a:moveTo>
                  <a:pt x="855921" y="0"/>
                </a:moveTo>
                <a:lnTo>
                  <a:pt x="0" y="455420"/>
                </a:lnTo>
                <a:lnTo>
                  <a:pt x="12994" y="478393"/>
                </a:lnTo>
                <a:lnTo>
                  <a:pt x="868957" y="22952"/>
                </a:lnTo>
                <a:lnTo>
                  <a:pt x="855921" y="0"/>
                </a:lnTo>
                <a:close/>
              </a:path>
            </a:pathLst>
          </a:custGeom>
          <a:solidFill>
            <a:srgbClr val="808080"/>
          </a:solidFill>
        </p:spPr>
        <p:txBody>
          <a:bodyPr wrap="square" lIns="0" tIns="0" rIns="0" bIns="0" rtlCol="0"/>
          <a:lstStyle/>
          <a:p>
            <a:endParaRPr/>
          </a:p>
        </p:txBody>
      </p:sp>
      <p:sp>
        <p:nvSpPr>
          <p:cNvPr id="108" name="object 108"/>
          <p:cNvSpPr/>
          <p:nvPr/>
        </p:nvSpPr>
        <p:spPr>
          <a:xfrm>
            <a:off x="1397751" y="2500884"/>
            <a:ext cx="810714" cy="484893"/>
          </a:xfrm>
          <a:custGeom>
            <a:avLst/>
            <a:gdLst/>
            <a:ahLst/>
            <a:cxnLst/>
            <a:rect l="l" t="t" r="r" b="b"/>
            <a:pathLst>
              <a:path w="1782445" h="1066165">
                <a:moveTo>
                  <a:pt x="0" y="1065538"/>
                </a:moveTo>
                <a:lnTo>
                  <a:pt x="1782259" y="1065538"/>
                </a:lnTo>
                <a:lnTo>
                  <a:pt x="1782259" y="0"/>
                </a:lnTo>
                <a:lnTo>
                  <a:pt x="0" y="0"/>
                </a:lnTo>
                <a:lnTo>
                  <a:pt x="0" y="1065538"/>
                </a:lnTo>
                <a:close/>
              </a:path>
            </a:pathLst>
          </a:custGeom>
          <a:solidFill>
            <a:srgbClr val="5A5A5A"/>
          </a:solidFill>
        </p:spPr>
        <p:txBody>
          <a:bodyPr wrap="square" lIns="0" tIns="0" rIns="0" bIns="0" rtlCol="0"/>
          <a:lstStyle/>
          <a:p>
            <a:endParaRPr/>
          </a:p>
        </p:txBody>
      </p:sp>
      <p:sp>
        <p:nvSpPr>
          <p:cNvPr id="109" name="object 109"/>
          <p:cNvSpPr/>
          <p:nvPr/>
        </p:nvSpPr>
        <p:spPr>
          <a:xfrm>
            <a:off x="1287043" y="2055777"/>
            <a:ext cx="1038592" cy="373416"/>
          </a:xfrm>
          <a:custGeom>
            <a:avLst/>
            <a:gdLst/>
            <a:ahLst/>
            <a:cxnLst/>
            <a:rect l="l" t="t" r="r" b="b"/>
            <a:pathLst>
              <a:path w="2283460" h="821054">
                <a:moveTo>
                  <a:pt x="1116636" y="0"/>
                </a:moveTo>
                <a:lnTo>
                  <a:pt x="0" y="616337"/>
                </a:lnTo>
                <a:lnTo>
                  <a:pt x="0" y="820488"/>
                </a:lnTo>
                <a:lnTo>
                  <a:pt x="2283396" y="820488"/>
                </a:lnTo>
                <a:lnTo>
                  <a:pt x="2283396" y="620965"/>
                </a:lnTo>
                <a:lnTo>
                  <a:pt x="1116636" y="0"/>
                </a:lnTo>
                <a:close/>
              </a:path>
            </a:pathLst>
          </a:custGeom>
          <a:solidFill>
            <a:srgbClr val="C5C5C5"/>
          </a:solidFill>
        </p:spPr>
        <p:txBody>
          <a:bodyPr wrap="square" lIns="0" tIns="0" rIns="0" bIns="0" rtlCol="0"/>
          <a:lstStyle/>
          <a:p>
            <a:endParaRPr/>
          </a:p>
        </p:txBody>
      </p:sp>
      <p:sp>
        <p:nvSpPr>
          <p:cNvPr id="110" name="object 110"/>
          <p:cNvSpPr/>
          <p:nvPr/>
        </p:nvSpPr>
        <p:spPr>
          <a:xfrm>
            <a:off x="1328939" y="2138878"/>
            <a:ext cx="948192" cy="255875"/>
          </a:xfrm>
          <a:custGeom>
            <a:avLst/>
            <a:gdLst/>
            <a:ahLst/>
            <a:cxnLst/>
            <a:rect l="l" t="t" r="r" b="b"/>
            <a:pathLst>
              <a:path w="2084704" h="562610">
                <a:moveTo>
                  <a:pt x="1024251" y="0"/>
                </a:moveTo>
                <a:lnTo>
                  <a:pt x="102907" y="508549"/>
                </a:lnTo>
                <a:lnTo>
                  <a:pt x="0" y="562558"/>
                </a:lnTo>
                <a:lnTo>
                  <a:pt x="2084481" y="562558"/>
                </a:lnTo>
                <a:lnTo>
                  <a:pt x="1979363" y="508330"/>
                </a:lnTo>
                <a:lnTo>
                  <a:pt x="1024251" y="0"/>
                </a:lnTo>
                <a:close/>
              </a:path>
            </a:pathLst>
          </a:custGeom>
          <a:solidFill>
            <a:srgbClr val="808080"/>
          </a:solidFill>
        </p:spPr>
        <p:txBody>
          <a:bodyPr wrap="square" lIns="0" tIns="0" rIns="0" bIns="0" rtlCol="0"/>
          <a:lstStyle/>
          <a:p>
            <a:endParaRPr/>
          </a:p>
        </p:txBody>
      </p:sp>
      <p:sp>
        <p:nvSpPr>
          <p:cNvPr id="111" name="object 111"/>
          <p:cNvSpPr/>
          <p:nvPr/>
        </p:nvSpPr>
        <p:spPr>
          <a:xfrm>
            <a:off x="1382079" y="2153774"/>
            <a:ext cx="841040" cy="227862"/>
          </a:xfrm>
          <a:custGeom>
            <a:avLst/>
            <a:gdLst/>
            <a:ahLst/>
            <a:cxnLst/>
            <a:rect l="l" t="t" r="r" b="b"/>
            <a:pathLst>
              <a:path w="1849120" h="501014">
                <a:moveTo>
                  <a:pt x="907658" y="0"/>
                </a:moveTo>
                <a:lnTo>
                  <a:pt x="0" y="501010"/>
                </a:lnTo>
                <a:lnTo>
                  <a:pt x="1849001" y="501010"/>
                </a:lnTo>
                <a:lnTo>
                  <a:pt x="907658" y="0"/>
                </a:lnTo>
                <a:close/>
              </a:path>
            </a:pathLst>
          </a:custGeom>
          <a:solidFill>
            <a:srgbClr val="5A5A5A"/>
          </a:solidFill>
        </p:spPr>
        <p:txBody>
          <a:bodyPr wrap="square" lIns="0" tIns="0" rIns="0" bIns="0" rtlCol="0"/>
          <a:lstStyle/>
          <a:p>
            <a:endParaRPr/>
          </a:p>
        </p:txBody>
      </p:sp>
      <p:sp>
        <p:nvSpPr>
          <p:cNvPr id="112" name="object 112"/>
          <p:cNvSpPr/>
          <p:nvPr/>
        </p:nvSpPr>
        <p:spPr>
          <a:xfrm>
            <a:off x="1276455" y="2471049"/>
            <a:ext cx="1065452" cy="30035"/>
          </a:xfrm>
          <a:custGeom>
            <a:avLst/>
            <a:gdLst/>
            <a:ahLst/>
            <a:cxnLst/>
            <a:rect l="l" t="t" r="r" b="b"/>
            <a:pathLst>
              <a:path w="2342515" h="66039">
                <a:moveTo>
                  <a:pt x="0" y="65600"/>
                </a:moveTo>
                <a:lnTo>
                  <a:pt x="2342253" y="65600"/>
                </a:lnTo>
                <a:lnTo>
                  <a:pt x="2342253" y="0"/>
                </a:lnTo>
                <a:lnTo>
                  <a:pt x="0" y="0"/>
                </a:lnTo>
                <a:lnTo>
                  <a:pt x="0" y="65600"/>
                </a:lnTo>
                <a:close/>
              </a:path>
            </a:pathLst>
          </a:custGeom>
          <a:solidFill>
            <a:srgbClr val="808080"/>
          </a:solidFill>
        </p:spPr>
        <p:txBody>
          <a:bodyPr wrap="square" lIns="0" tIns="0" rIns="0" bIns="0" rtlCol="0"/>
          <a:lstStyle/>
          <a:p>
            <a:endParaRPr/>
          </a:p>
        </p:txBody>
      </p:sp>
      <p:sp>
        <p:nvSpPr>
          <p:cNvPr id="113" name="object 113"/>
          <p:cNvSpPr/>
          <p:nvPr/>
        </p:nvSpPr>
        <p:spPr>
          <a:xfrm>
            <a:off x="1263353" y="2409932"/>
            <a:ext cx="1091735" cy="61225"/>
          </a:xfrm>
          <a:custGeom>
            <a:avLst/>
            <a:gdLst/>
            <a:ahLst/>
            <a:cxnLst/>
            <a:rect l="l" t="t" r="r" b="b"/>
            <a:pathLst>
              <a:path w="2400300" h="134620">
                <a:moveTo>
                  <a:pt x="2399853" y="134383"/>
                </a:moveTo>
                <a:lnTo>
                  <a:pt x="0" y="134383"/>
                </a:lnTo>
                <a:lnTo>
                  <a:pt x="0" y="0"/>
                </a:lnTo>
                <a:lnTo>
                  <a:pt x="2399853" y="0"/>
                </a:lnTo>
                <a:lnTo>
                  <a:pt x="2399853" y="134383"/>
                </a:lnTo>
                <a:close/>
              </a:path>
            </a:pathLst>
          </a:custGeom>
          <a:solidFill>
            <a:srgbClr val="C5C5C5"/>
          </a:solidFill>
        </p:spPr>
        <p:txBody>
          <a:bodyPr wrap="square" lIns="0" tIns="0" rIns="0" bIns="0" rtlCol="0"/>
          <a:lstStyle/>
          <a:p>
            <a:endParaRPr/>
          </a:p>
        </p:txBody>
      </p:sp>
      <p:sp>
        <p:nvSpPr>
          <p:cNvPr id="114" name="object 114"/>
          <p:cNvSpPr/>
          <p:nvPr/>
        </p:nvSpPr>
        <p:spPr>
          <a:xfrm>
            <a:off x="1263353" y="2409932"/>
            <a:ext cx="1091735" cy="19061"/>
          </a:xfrm>
          <a:custGeom>
            <a:avLst/>
            <a:gdLst/>
            <a:ahLst/>
            <a:cxnLst/>
            <a:rect l="l" t="t" r="r" b="b"/>
            <a:pathLst>
              <a:path w="2400300" h="41910">
                <a:moveTo>
                  <a:pt x="0" y="41778"/>
                </a:moveTo>
                <a:lnTo>
                  <a:pt x="2399853" y="41778"/>
                </a:lnTo>
                <a:lnTo>
                  <a:pt x="2399853" y="0"/>
                </a:lnTo>
                <a:lnTo>
                  <a:pt x="0" y="0"/>
                </a:lnTo>
                <a:lnTo>
                  <a:pt x="0" y="41778"/>
                </a:lnTo>
                <a:close/>
              </a:path>
            </a:pathLst>
          </a:custGeom>
          <a:solidFill>
            <a:srgbClr val="808080"/>
          </a:solidFill>
        </p:spPr>
        <p:txBody>
          <a:bodyPr wrap="square" lIns="0" tIns="0" rIns="0" bIns="0" rtlCol="0"/>
          <a:lstStyle/>
          <a:p>
            <a:endParaRPr/>
          </a:p>
        </p:txBody>
      </p:sp>
      <p:sp>
        <p:nvSpPr>
          <p:cNvPr id="115" name="object 115"/>
          <p:cNvSpPr/>
          <p:nvPr/>
        </p:nvSpPr>
        <p:spPr>
          <a:xfrm>
            <a:off x="1276460" y="2985492"/>
            <a:ext cx="1065452" cy="30035"/>
          </a:xfrm>
          <a:custGeom>
            <a:avLst/>
            <a:gdLst/>
            <a:ahLst/>
            <a:cxnLst/>
            <a:rect l="l" t="t" r="r" b="b"/>
            <a:pathLst>
              <a:path w="2342515" h="66040">
                <a:moveTo>
                  <a:pt x="0" y="65579"/>
                </a:moveTo>
                <a:lnTo>
                  <a:pt x="2342253" y="65579"/>
                </a:lnTo>
                <a:lnTo>
                  <a:pt x="2342253" y="0"/>
                </a:lnTo>
                <a:lnTo>
                  <a:pt x="0" y="0"/>
                </a:lnTo>
                <a:lnTo>
                  <a:pt x="0" y="65579"/>
                </a:lnTo>
                <a:close/>
              </a:path>
            </a:pathLst>
          </a:custGeom>
          <a:solidFill>
            <a:srgbClr val="808080"/>
          </a:solidFill>
        </p:spPr>
        <p:txBody>
          <a:bodyPr wrap="square" lIns="0" tIns="0" rIns="0" bIns="0" rtlCol="0"/>
          <a:lstStyle/>
          <a:p>
            <a:endParaRPr/>
          </a:p>
        </p:txBody>
      </p:sp>
      <p:sp>
        <p:nvSpPr>
          <p:cNvPr id="116" name="object 116"/>
          <p:cNvSpPr/>
          <p:nvPr/>
        </p:nvSpPr>
        <p:spPr>
          <a:xfrm>
            <a:off x="1263357" y="3015317"/>
            <a:ext cx="1091735" cy="29746"/>
          </a:xfrm>
          <a:custGeom>
            <a:avLst/>
            <a:gdLst/>
            <a:ahLst/>
            <a:cxnLst/>
            <a:rect l="l" t="t" r="r" b="b"/>
            <a:pathLst>
              <a:path w="2400300" h="65404">
                <a:moveTo>
                  <a:pt x="0" y="65254"/>
                </a:moveTo>
                <a:lnTo>
                  <a:pt x="2399853" y="65254"/>
                </a:lnTo>
                <a:lnTo>
                  <a:pt x="2399853" y="0"/>
                </a:lnTo>
                <a:lnTo>
                  <a:pt x="0" y="0"/>
                </a:lnTo>
                <a:lnTo>
                  <a:pt x="0" y="65254"/>
                </a:lnTo>
                <a:close/>
              </a:path>
            </a:pathLst>
          </a:custGeom>
          <a:solidFill>
            <a:srgbClr val="C5C5C5"/>
          </a:solidFill>
        </p:spPr>
        <p:txBody>
          <a:bodyPr wrap="square" lIns="0" tIns="0" rIns="0" bIns="0" rtlCol="0"/>
          <a:lstStyle/>
          <a:p>
            <a:endParaRPr/>
          </a:p>
        </p:txBody>
      </p:sp>
      <p:sp>
        <p:nvSpPr>
          <p:cNvPr id="117" name="object 117"/>
          <p:cNvSpPr/>
          <p:nvPr/>
        </p:nvSpPr>
        <p:spPr>
          <a:xfrm>
            <a:off x="1247346" y="3044995"/>
            <a:ext cx="1123794" cy="62958"/>
          </a:xfrm>
          <a:custGeom>
            <a:avLst/>
            <a:gdLst/>
            <a:ahLst/>
            <a:cxnLst/>
            <a:rect l="l" t="t" r="r" b="b"/>
            <a:pathLst>
              <a:path w="2470785" h="138429">
                <a:moveTo>
                  <a:pt x="0" y="0"/>
                </a:moveTo>
                <a:lnTo>
                  <a:pt x="2470249" y="0"/>
                </a:lnTo>
                <a:lnTo>
                  <a:pt x="2470249" y="138299"/>
                </a:lnTo>
                <a:lnTo>
                  <a:pt x="0" y="138299"/>
                </a:lnTo>
                <a:lnTo>
                  <a:pt x="0" y="0"/>
                </a:lnTo>
                <a:close/>
              </a:path>
            </a:pathLst>
          </a:custGeom>
          <a:solidFill>
            <a:srgbClr val="5A5A5A"/>
          </a:solidFill>
        </p:spPr>
        <p:txBody>
          <a:bodyPr wrap="square" lIns="0" tIns="0" rIns="0" bIns="0" rtlCol="0"/>
          <a:lstStyle/>
          <a:p>
            <a:endParaRPr/>
          </a:p>
        </p:txBody>
      </p:sp>
      <p:sp>
        <p:nvSpPr>
          <p:cNvPr id="118" name="object 118"/>
          <p:cNvSpPr/>
          <p:nvPr/>
        </p:nvSpPr>
        <p:spPr>
          <a:xfrm>
            <a:off x="1377243" y="2509523"/>
            <a:ext cx="57474" cy="41876"/>
          </a:xfrm>
          <a:custGeom>
            <a:avLst/>
            <a:gdLst/>
            <a:ahLst/>
            <a:cxnLst/>
            <a:rect l="l" t="t" r="r" b="b"/>
            <a:pathLst>
              <a:path w="126364" h="92075">
                <a:moveTo>
                  <a:pt x="126184" y="91934"/>
                </a:moveTo>
                <a:lnTo>
                  <a:pt x="0" y="91934"/>
                </a:lnTo>
                <a:lnTo>
                  <a:pt x="0" y="0"/>
                </a:lnTo>
                <a:lnTo>
                  <a:pt x="126184" y="0"/>
                </a:lnTo>
                <a:lnTo>
                  <a:pt x="126184" y="91934"/>
                </a:lnTo>
                <a:close/>
              </a:path>
            </a:pathLst>
          </a:custGeom>
          <a:solidFill>
            <a:srgbClr val="5A5A5A"/>
          </a:solidFill>
        </p:spPr>
        <p:txBody>
          <a:bodyPr wrap="square" lIns="0" tIns="0" rIns="0" bIns="0" rtlCol="0"/>
          <a:lstStyle/>
          <a:p>
            <a:endParaRPr/>
          </a:p>
        </p:txBody>
      </p:sp>
      <p:sp>
        <p:nvSpPr>
          <p:cNvPr id="119" name="object 119"/>
          <p:cNvSpPr/>
          <p:nvPr/>
        </p:nvSpPr>
        <p:spPr>
          <a:xfrm>
            <a:off x="1360923" y="2535729"/>
            <a:ext cx="90400" cy="354067"/>
          </a:xfrm>
          <a:custGeom>
            <a:avLst/>
            <a:gdLst/>
            <a:ahLst/>
            <a:cxnLst/>
            <a:rect l="l" t="t" r="r" b="b"/>
            <a:pathLst>
              <a:path w="198755" h="778510">
                <a:moveTo>
                  <a:pt x="184675" y="0"/>
                </a:moveTo>
                <a:lnTo>
                  <a:pt x="14565" y="94"/>
                </a:lnTo>
                <a:lnTo>
                  <a:pt x="0" y="778217"/>
                </a:lnTo>
                <a:lnTo>
                  <a:pt x="198538" y="778217"/>
                </a:lnTo>
                <a:lnTo>
                  <a:pt x="184675" y="0"/>
                </a:lnTo>
                <a:close/>
              </a:path>
            </a:pathLst>
          </a:custGeom>
          <a:solidFill>
            <a:srgbClr val="C5C5C5"/>
          </a:solidFill>
        </p:spPr>
        <p:txBody>
          <a:bodyPr wrap="square" lIns="0" tIns="0" rIns="0" bIns="0" rtlCol="0"/>
          <a:lstStyle/>
          <a:p>
            <a:endParaRPr/>
          </a:p>
        </p:txBody>
      </p:sp>
      <p:sp>
        <p:nvSpPr>
          <p:cNvPr id="120" name="object 120"/>
          <p:cNvSpPr/>
          <p:nvPr/>
        </p:nvSpPr>
        <p:spPr>
          <a:xfrm>
            <a:off x="1342604" y="2911783"/>
            <a:ext cx="128236" cy="61514"/>
          </a:xfrm>
          <a:custGeom>
            <a:avLst/>
            <a:gdLst/>
            <a:ahLst/>
            <a:cxnLst/>
            <a:rect l="l" t="t" r="r" b="b"/>
            <a:pathLst>
              <a:path w="281939" h="135254">
                <a:moveTo>
                  <a:pt x="234505" y="0"/>
                </a:moveTo>
                <a:lnTo>
                  <a:pt x="47066" y="240"/>
                </a:lnTo>
                <a:lnTo>
                  <a:pt x="0" y="12428"/>
                </a:lnTo>
                <a:lnTo>
                  <a:pt x="0" y="135001"/>
                </a:lnTo>
                <a:lnTo>
                  <a:pt x="281761" y="135001"/>
                </a:lnTo>
                <a:lnTo>
                  <a:pt x="281761" y="12428"/>
                </a:lnTo>
                <a:lnTo>
                  <a:pt x="234505" y="0"/>
                </a:lnTo>
                <a:close/>
              </a:path>
            </a:pathLst>
          </a:custGeom>
          <a:solidFill>
            <a:srgbClr val="808080"/>
          </a:solidFill>
        </p:spPr>
        <p:txBody>
          <a:bodyPr wrap="square" lIns="0" tIns="0" rIns="0" bIns="0" rtlCol="0"/>
          <a:lstStyle/>
          <a:p>
            <a:endParaRPr/>
          </a:p>
        </p:txBody>
      </p:sp>
      <p:sp>
        <p:nvSpPr>
          <p:cNvPr id="121" name="object 121"/>
          <p:cNvSpPr/>
          <p:nvPr/>
        </p:nvSpPr>
        <p:spPr>
          <a:xfrm>
            <a:off x="1343039" y="2911539"/>
            <a:ext cx="127369" cy="0"/>
          </a:xfrm>
          <a:custGeom>
            <a:avLst/>
            <a:gdLst/>
            <a:ahLst/>
            <a:cxnLst/>
            <a:rect l="l" t="t" r="r" b="b"/>
            <a:pathLst>
              <a:path w="280035">
                <a:moveTo>
                  <a:pt x="0" y="0"/>
                </a:moveTo>
                <a:lnTo>
                  <a:pt x="279865" y="0"/>
                </a:lnTo>
              </a:path>
            </a:pathLst>
          </a:custGeom>
          <a:ln w="24920">
            <a:solidFill>
              <a:srgbClr val="C5C5C5"/>
            </a:solidFill>
          </a:ln>
        </p:spPr>
        <p:txBody>
          <a:bodyPr wrap="square" lIns="0" tIns="0" rIns="0" bIns="0" rtlCol="0"/>
          <a:lstStyle/>
          <a:p>
            <a:endParaRPr/>
          </a:p>
        </p:txBody>
      </p:sp>
      <p:sp>
        <p:nvSpPr>
          <p:cNvPr id="122" name="object 122"/>
          <p:cNvSpPr/>
          <p:nvPr/>
        </p:nvSpPr>
        <p:spPr>
          <a:xfrm>
            <a:off x="1397751" y="2508704"/>
            <a:ext cx="16751" cy="27147"/>
          </a:xfrm>
          <a:custGeom>
            <a:avLst/>
            <a:gdLst/>
            <a:ahLst/>
            <a:cxnLst/>
            <a:rect l="l" t="t" r="r" b="b"/>
            <a:pathLst>
              <a:path w="36830" h="59689">
                <a:moveTo>
                  <a:pt x="36669" y="59474"/>
                </a:moveTo>
                <a:lnTo>
                  <a:pt x="0" y="59474"/>
                </a:lnTo>
                <a:lnTo>
                  <a:pt x="0" y="0"/>
                </a:lnTo>
                <a:lnTo>
                  <a:pt x="36669" y="0"/>
                </a:lnTo>
                <a:lnTo>
                  <a:pt x="36669" y="59474"/>
                </a:lnTo>
                <a:close/>
              </a:path>
            </a:pathLst>
          </a:custGeom>
          <a:solidFill>
            <a:srgbClr val="808080"/>
          </a:solidFill>
        </p:spPr>
        <p:txBody>
          <a:bodyPr wrap="square" lIns="0" tIns="0" rIns="0" bIns="0" rtlCol="0"/>
          <a:lstStyle/>
          <a:p>
            <a:endParaRPr/>
          </a:p>
        </p:txBody>
      </p:sp>
      <p:sp>
        <p:nvSpPr>
          <p:cNvPr id="123" name="object 123"/>
          <p:cNvSpPr/>
          <p:nvPr/>
        </p:nvSpPr>
        <p:spPr>
          <a:xfrm>
            <a:off x="1426283" y="2508704"/>
            <a:ext cx="16751" cy="27147"/>
          </a:xfrm>
          <a:custGeom>
            <a:avLst/>
            <a:gdLst/>
            <a:ahLst/>
            <a:cxnLst/>
            <a:rect l="l" t="t" r="r" b="b"/>
            <a:pathLst>
              <a:path w="36830" h="59689">
                <a:moveTo>
                  <a:pt x="36721" y="59474"/>
                </a:moveTo>
                <a:lnTo>
                  <a:pt x="0" y="59474"/>
                </a:lnTo>
                <a:lnTo>
                  <a:pt x="0" y="0"/>
                </a:lnTo>
                <a:lnTo>
                  <a:pt x="36721" y="0"/>
                </a:lnTo>
                <a:lnTo>
                  <a:pt x="36721" y="59474"/>
                </a:lnTo>
                <a:close/>
              </a:path>
            </a:pathLst>
          </a:custGeom>
          <a:solidFill>
            <a:srgbClr val="808080"/>
          </a:solidFill>
        </p:spPr>
        <p:txBody>
          <a:bodyPr wrap="square" lIns="0" tIns="0" rIns="0" bIns="0" rtlCol="0"/>
          <a:lstStyle/>
          <a:p>
            <a:endParaRPr/>
          </a:p>
        </p:txBody>
      </p:sp>
      <p:sp>
        <p:nvSpPr>
          <p:cNvPr id="124" name="object 124"/>
          <p:cNvSpPr/>
          <p:nvPr/>
        </p:nvSpPr>
        <p:spPr>
          <a:xfrm>
            <a:off x="1359246" y="2506487"/>
            <a:ext cx="93577" cy="0"/>
          </a:xfrm>
          <a:custGeom>
            <a:avLst/>
            <a:gdLst/>
            <a:ahLst/>
            <a:cxnLst/>
            <a:rect l="l" t="t" r="r" b="b"/>
            <a:pathLst>
              <a:path w="205739">
                <a:moveTo>
                  <a:pt x="0" y="0"/>
                </a:moveTo>
                <a:lnTo>
                  <a:pt x="205428" y="0"/>
                </a:lnTo>
              </a:path>
            </a:pathLst>
          </a:custGeom>
          <a:ln w="36616">
            <a:solidFill>
              <a:srgbClr val="808080"/>
            </a:solidFill>
          </a:ln>
        </p:spPr>
        <p:txBody>
          <a:bodyPr wrap="square" lIns="0" tIns="0" rIns="0" bIns="0" rtlCol="0"/>
          <a:lstStyle/>
          <a:p>
            <a:endParaRPr/>
          </a:p>
        </p:txBody>
      </p:sp>
      <p:sp>
        <p:nvSpPr>
          <p:cNvPr id="125" name="object 125"/>
          <p:cNvSpPr/>
          <p:nvPr/>
        </p:nvSpPr>
        <p:spPr>
          <a:xfrm>
            <a:off x="1356498" y="2896986"/>
            <a:ext cx="100508" cy="10397"/>
          </a:xfrm>
          <a:custGeom>
            <a:avLst/>
            <a:gdLst/>
            <a:ahLst/>
            <a:cxnLst/>
            <a:rect l="l" t="t" r="r" b="b"/>
            <a:pathLst>
              <a:path w="220980" h="22860">
                <a:moveTo>
                  <a:pt x="214244" y="0"/>
                </a:moveTo>
                <a:lnTo>
                  <a:pt x="6429" y="0"/>
                </a:lnTo>
                <a:lnTo>
                  <a:pt x="0" y="5005"/>
                </a:lnTo>
                <a:lnTo>
                  <a:pt x="0" y="17360"/>
                </a:lnTo>
                <a:lnTo>
                  <a:pt x="6429" y="22407"/>
                </a:lnTo>
                <a:lnTo>
                  <a:pt x="214244" y="22407"/>
                </a:lnTo>
                <a:lnTo>
                  <a:pt x="220673" y="17360"/>
                </a:lnTo>
                <a:lnTo>
                  <a:pt x="220673" y="5005"/>
                </a:lnTo>
                <a:lnTo>
                  <a:pt x="214244" y="0"/>
                </a:lnTo>
                <a:close/>
              </a:path>
            </a:pathLst>
          </a:custGeom>
          <a:solidFill>
            <a:srgbClr val="808080"/>
          </a:solidFill>
        </p:spPr>
        <p:txBody>
          <a:bodyPr wrap="square" lIns="0" tIns="0" rIns="0" bIns="0" rtlCol="0"/>
          <a:lstStyle/>
          <a:p>
            <a:endParaRPr/>
          </a:p>
        </p:txBody>
      </p:sp>
      <p:sp>
        <p:nvSpPr>
          <p:cNvPr id="126" name="object 126"/>
          <p:cNvSpPr/>
          <p:nvPr/>
        </p:nvSpPr>
        <p:spPr>
          <a:xfrm>
            <a:off x="1356498" y="2887401"/>
            <a:ext cx="100508" cy="10397"/>
          </a:xfrm>
          <a:custGeom>
            <a:avLst/>
            <a:gdLst/>
            <a:ahLst/>
            <a:cxnLst/>
            <a:rect l="l" t="t" r="r" b="b"/>
            <a:pathLst>
              <a:path w="220980" h="22860">
                <a:moveTo>
                  <a:pt x="214244" y="0"/>
                </a:moveTo>
                <a:lnTo>
                  <a:pt x="6429" y="0"/>
                </a:lnTo>
                <a:lnTo>
                  <a:pt x="0" y="5036"/>
                </a:lnTo>
                <a:lnTo>
                  <a:pt x="0" y="17392"/>
                </a:lnTo>
                <a:lnTo>
                  <a:pt x="6429" y="22386"/>
                </a:lnTo>
                <a:lnTo>
                  <a:pt x="214244" y="22386"/>
                </a:lnTo>
                <a:lnTo>
                  <a:pt x="220673" y="17392"/>
                </a:lnTo>
                <a:lnTo>
                  <a:pt x="220673" y="5036"/>
                </a:lnTo>
                <a:lnTo>
                  <a:pt x="214244" y="0"/>
                </a:lnTo>
                <a:close/>
              </a:path>
            </a:pathLst>
          </a:custGeom>
          <a:solidFill>
            <a:srgbClr val="808080"/>
          </a:solidFill>
        </p:spPr>
        <p:txBody>
          <a:bodyPr wrap="square" lIns="0" tIns="0" rIns="0" bIns="0" rtlCol="0"/>
          <a:lstStyle/>
          <a:p>
            <a:endParaRPr/>
          </a:p>
        </p:txBody>
      </p:sp>
      <p:sp>
        <p:nvSpPr>
          <p:cNvPr id="127" name="object 127"/>
          <p:cNvSpPr/>
          <p:nvPr/>
        </p:nvSpPr>
        <p:spPr>
          <a:xfrm>
            <a:off x="1342608" y="2504228"/>
            <a:ext cx="64118" cy="469009"/>
          </a:xfrm>
          <a:custGeom>
            <a:avLst/>
            <a:gdLst/>
            <a:ahLst/>
            <a:cxnLst/>
            <a:rect l="l" t="t" r="r" b="b"/>
            <a:pathLst>
              <a:path w="140969" h="1031240">
                <a:moveTo>
                  <a:pt x="140623" y="0"/>
                </a:moveTo>
                <a:lnTo>
                  <a:pt x="36574" y="0"/>
                </a:lnTo>
                <a:lnTo>
                  <a:pt x="36574" y="23266"/>
                </a:lnTo>
                <a:lnTo>
                  <a:pt x="52888" y="23266"/>
                </a:lnTo>
                <a:lnTo>
                  <a:pt x="40375" y="843241"/>
                </a:lnTo>
                <a:lnTo>
                  <a:pt x="34700" y="844728"/>
                </a:lnTo>
                <a:lnTo>
                  <a:pt x="30533" y="848769"/>
                </a:lnTo>
                <a:lnTo>
                  <a:pt x="30533" y="858717"/>
                </a:lnTo>
                <a:lnTo>
                  <a:pt x="34826" y="862821"/>
                </a:lnTo>
                <a:lnTo>
                  <a:pt x="40627" y="864256"/>
                </a:lnTo>
                <a:lnTo>
                  <a:pt x="34826" y="865669"/>
                </a:lnTo>
                <a:lnTo>
                  <a:pt x="30533" y="869774"/>
                </a:lnTo>
                <a:lnTo>
                  <a:pt x="30533" y="880339"/>
                </a:lnTo>
                <a:lnTo>
                  <a:pt x="35894" y="884789"/>
                </a:lnTo>
                <a:lnTo>
                  <a:pt x="42773" y="885627"/>
                </a:lnTo>
                <a:lnTo>
                  <a:pt x="942" y="908035"/>
                </a:lnTo>
                <a:lnTo>
                  <a:pt x="1947" y="908035"/>
                </a:lnTo>
                <a:lnTo>
                  <a:pt x="0" y="908548"/>
                </a:lnTo>
                <a:lnTo>
                  <a:pt x="0" y="1031109"/>
                </a:lnTo>
                <a:lnTo>
                  <a:pt x="140623" y="1031109"/>
                </a:lnTo>
                <a:lnTo>
                  <a:pt x="140623" y="0"/>
                </a:lnTo>
                <a:close/>
              </a:path>
            </a:pathLst>
          </a:custGeom>
          <a:solidFill>
            <a:srgbClr val="808080"/>
          </a:solidFill>
        </p:spPr>
        <p:txBody>
          <a:bodyPr wrap="square" lIns="0" tIns="0" rIns="0" bIns="0" rtlCol="0"/>
          <a:lstStyle/>
          <a:p>
            <a:endParaRPr/>
          </a:p>
        </p:txBody>
      </p:sp>
      <p:sp>
        <p:nvSpPr>
          <p:cNvPr id="128" name="object 128"/>
          <p:cNvSpPr/>
          <p:nvPr/>
        </p:nvSpPr>
        <p:spPr>
          <a:xfrm>
            <a:off x="1379773" y="2514814"/>
            <a:ext cx="12130" cy="21082"/>
          </a:xfrm>
          <a:custGeom>
            <a:avLst/>
            <a:gdLst/>
            <a:ahLst/>
            <a:cxnLst/>
            <a:rect l="l" t="t" r="r" b="b"/>
            <a:pathLst>
              <a:path w="26669" h="46354">
                <a:moveTo>
                  <a:pt x="26062" y="46040"/>
                </a:moveTo>
                <a:lnTo>
                  <a:pt x="0" y="46040"/>
                </a:lnTo>
                <a:lnTo>
                  <a:pt x="0" y="0"/>
                </a:lnTo>
                <a:lnTo>
                  <a:pt x="26062" y="0"/>
                </a:lnTo>
                <a:lnTo>
                  <a:pt x="26062" y="46040"/>
                </a:lnTo>
                <a:close/>
              </a:path>
            </a:pathLst>
          </a:custGeom>
          <a:solidFill>
            <a:srgbClr val="5A5A5A"/>
          </a:solidFill>
        </p:spPr>
        <p:txBody>
          <a:bodyPr wrap="square" lIns="0" tIns="0" rIns="0" bIns="0" rtlCol="0"/>
          <a:lstStyle/>
          <a:p>
            <a:endParaRPr/>
          </a:p>
        </p:txBody>
      </p:sp>
      <p:sp>
        <p:nvSpPr>
          <p:cNvPr id="129" name="object 129"/>
          <p:cNvSpPr/>
          <p:nvPr/>
        </p:nvSpPr>
        <p:spPr>
          <a:xfrm>
            <a:off x="1316474" y="2932480"/>
            <a:ext cx="178490" cy="65846"/>
          </a:xfrm>
          <a:custGeom>
            <a:avLst/>
            <a:gdLst/>
            <a:ahLst/>
            <a:cxnLst/>
            <a:rect l="l" t="t" r="r" b="b"/>
            <a:pathLst>
              <a:path w="392429" h="144779">
                <a:moveTo>
                  <a:pt x="391988" y="144466"/>
                </a:moveTo>
                <a:lnTo>
                  <a:pt x="0" y="144466"/>
                </a:lnTo>
                <a:lnTo>
                  <a:pt x="0" y="0"/>
                </a:lnTo>
                <a:lnTo>
                  <a:pt x="391988" y="0"/>
                </a:lnTo>
                <a:lnTo>
                  <a:pt x="391988" y="144466"/>
                </a:lnTo>
                <a:close/>
              </a:path>
            </a:pathLst>
          </a:custGeom>
          <a:solidFill>
            <a:srgbClr val="808080"/>
          </a:solidFill>
        </p:spPr>
        <p:txBody>
          <a:bodyPr wrap="square" lIns="0" tIns="0" rIns="0" bIns="0" rtlCol="0"/>
          <a:lstStyle/>
          <a:p>
            <a:endParaRPr/>
          </a:p>
        </p:txBody>
      </p:sp>
      <p:sp>
        <p:nvSpPr>
          <p:cNvPr id="130" name="object 130"/>
          <p:cNvSpPr/>
          <p:nvPr/>
        </p:nvSpPr>
        <p:spPr>
          <a:xfrm>
            <a:off x="1641891" y="2509523"/>
            <a:ext cx="57474" cy="41876"/>
          </a:xfrm>
          <a:custGeom>
            <a:avLst/>
            <a:gdLst/>
            <a:ahLst/>
            <a:cxnLst/>
            <a:rect l="l" t="t" r="r" b="b"/>
            <a:pathLst>
              <a:path w="126364" h="92075">
                <a:moveTo>
                  <a:pt x="126195" y="91934"/>
                </a:moveTo>
                <a:lnTo>
                  <a:pt x="0" y="91934"/>
                </a:lnTo>
                <a:lnTo>
                  <a:pt x="0" y="0"/>
                </a:lnTo>
                <a:lnTo>
                  <a:pt x="126195" y="0"/>
                </a:lnTo>
                <a:lnTo>
                  <a:pt x="126195" y="91934"/>
                </a:lnTo>
                <a:close/>
              </a:path>
            </a:pathLst>
          </a:custGeom>
          <a:solidFill>
            <a:srgbClr val="5A5A5A"/>
          </a:solidFill>
        </p:spPr>
        <p:txBody>
          <a:bodyPr wrap="square" lIns="0" tIns="0" rIns="0" bIns="0" rtlCol="0"/>
          <a:lstStyle/>
          <a:p>
            <a:endParaRPr/>
          </a:p>
        </p:txBody>
      </p:sp>
      <p:sp>
        <p:nvSpPr>
          <p:cNvPr id="131" name="object 131"/>
          <p:cNvSpPr/>
          <p:nvPr/>
        </p:nvSpPr>
        <p:spPr>
          <a:xfrm>
            <a:off x="1625574" y="2535729"/>
            <a:ext cx="90400" cy="354067"/>
          </a:xfrm>
          <a:custGeom>
            <a:avLst/>
            <a:gdLst/>
            <a:ahLst/>
            <a:cxnLst/>
            <a:rect l="l" t="t" r="r" b="b"/>
            <a:pathLst>
              <a:path w="198754" h="778510">
                <a:moveTo>
                  <a:pt x="184675" y="0"/>
                </a:moveTo>
                <a:lnTo>
                  <a:pt x="14565" y="94"/>
                </a:lnTo>
                <a:lnTo>
                  <a:pt x="0" y="778217"/>
                </a:lnTo>
                <a:lnTo>
                  <a:pt x="198538" y="778217"/>
                </a:lnTo>
                <a:lnTo>
                  <a:pt x="184675" y="0"/>
                </a:lnTo>
                <a:close/>
              </a:path>
            </a:pathLst>
          </a:custGeom>
          <a:solidFill>
            <a:srgbClr val="C5C5C5"/>
          </a:solidFill>
        </p:spPr>
        <p:txBody>
          <a:bodyPr wrap="square" lIns="0" tIns="0" rIns="0" bIns="0" rtlCol="0"/>
          <a:lstStyle/>
          <a:p>
            <a:endParaRPr/>
          </a:p>
        </p:txBody>
      </p:sp>
      <p:sp>
        <p:nvSpPr>
          <p:cNvPr id="132" name="object 132"/>
          <p:cNvSpPr/>
          <p:nvPr/>
        </p:nvSpPr>
        <p:spPr>
          <a:xfrm>
            <a:off x="1607260" y="2911783"/>
            <a:ext cx="128236" cy="61514"/>
          </a:xfrm>
          <a:custGeom>
            <a:avLst/>
            <a:gdLst/>
            <a:ahLst/>
            <a:cxnLst/>
            <a:rect l="l" t="t" r="r" b="b"/>
            <a:pathLst>
              <a:path w="281939" h="135254">
                <a:moveTo>
                  <a:pt x="234495" y="0"/>
                </a:moveTo>
                <a:lnTo>
                  <a:pt x="47045" y="240"/>
                </a:lnTo>
                <a:lnTo>
                  <a:pt x="0" y="12428"/>
                </a:lnTo>
                <a:lnTo>
                  <a:pt x="0" y="135001"/>
                </a:lnTo>
                <a:lnTo>
                  <a:pt x="281750" y="135001"/>
                </a:lnTo>
                <a:lnTo>
                  <a:pt x="281750" y="12428"/>
                </a:lnTo>
                <a:lnTo>
                  <a:pt x="234495" y="0"/>
                </a:lnTo>
                <a:close/>
              </a:path>
            </a:pathLst>
          </a:custGeom>
          <a:solidFill>
            <a:srgbClr val="808080"/>
          </a:solidFill>
        </p:spPr>
        <p:txBody>
          <a:bodyPr wrap="square" lIns="0" tIns="0" rIns="0" bIns="0" rtlCol="0"/>
          <a:lstStyle/>
          <a:p>
            <a:endParaRPr/>
          </a:p>
        </p:txBody>
      </p:sp>
      <p:sp>
        <p:nvSpPr>
          <p:cNvPr id="133" name="object 133"/>
          <p:cNvSpPr/>
          <p:nvPr/>
        </p:nvSpPr>
        <p:spPr>
          <a:xfrm>
            <a:off x="1607691" y="2911539"/>
            <a:ext cx="127369" cy="0"/>
          </a:xfrm>
          <a:custGeom>
            <a:avLst/>
            <a:gdLst/>
            <a:ahLst/>
            <a:cxnLst/>
            <a:rect l="l" t="t" r="r" b="b"/>
            <a:pathLst>
              <a:path w="280035">
                <a:moveTo>
                  <a:pt x="0" y="0"/>
                </a:moveTo>
                <a:lnTo>
                  <a:pt x="279855" y="0"/>
                </a:lnTo>
              </a:path>
            </a:pathLst>
          </a:custGeom>
          <a:ln w="24920">
            <a:solidFill>
              <a:srgbClr val="C5C5C5"/>
            </a:solidFill>
          </a:ln>
        </p:spPr>
        <p:txBody>
          <a:bodyPr wrap="square" lIns="0" tIns="0" rIns="0" bIns="0" rtlCol="0"/>
          <a:lstStyle/>
          <a:p>
            <a:endParaRPr/>
          </a:p>
        </p:txBody>
      </p:sp>
      <p:sp>
        <p:nvSpPr>
          <p:cNvPr id="134" name="object 134"/>
          <p:cNvSpPr/>
          <p:nvPr/>
        </p:nvSpPr>
        <p:spPr>
          <a:xfrm>
            <a:off x="1662398" y="2508704"/>
            <a:ext cx="16751" cy="27147"/>
          </a:xfrm>
          <a:custGeom>
            <a:avLst/>
            <a:gdLst/>
            <a:ahLst/>
            <a:cxnLst/>
            <a:rect l="l" t="t" r="r" b="b"/>
            <a:pathLst>
              <a:path w="36829" h="59689">
                <a:moveTo>
                  <a:pt x="36669" y="59474"/>
                </a:moveTo>
                <a:lnTo>
                  <a:pt x="0" y="59474"/>
                </a:lnTo>
                <a:lnTo>
                  <a:pt x="0" y="0"/>
                </a:lnTo>
                <a:lnTo>
                  <a:pt x="36669" y="0"/>
                </a:lnTo>
                <a:lnTo>
                  <a:pt x="36669" y="59474"/>
                </a:lnTo>
                <a:close/>
              </a:path>
            </a:pathLst>
          </a:custGeom>
          <a:solidFill>
            <a:srgbClr val="808080"/>
          </a:solidFill>
        </p:spPr>
        <p:txBody>
          <a:bodyPr wrap="square" lIns="0" tIns="0" rIns="0" bIns="0" rtlCol="0"/>
          <a:lstStyle/>
          <a:p>
            <a:endParaRPr/>
          </a:p>
        </p:txBody>
      </p:sp>
      <p:sp>
        <p:nvSpPr>
          <p:cNvPr id="135" name="object 135"/>
          <p:cNvSpPr/>
          <p:nvPr/>
        </p:nvSpPr>
        <p:spPr>
          <a:xfrm>
            <a:off x="1690935" y="2508704"/>
            <a:ext cx="16751" cy="27147"/>
          </a:xfrm>
          <a:custGeom>
            <a:avLst/>
            <a:gdLst/>
            <a:ahLst/>
            <a:cxnLst/>
            <a:rect l="l" t="t" r="r" b="b"/>
            <a:pathLst>
              <a:path w="36829" h="59689">
                <a:moveTo>
                  <a:pt x="36731" y="59474"/>
                </a:moveTo>
                <a:lnTo>
                  <a:pt x="0" y="59474"/>
                </a:lnTo>
                <a:lnTo>
                  <a:pt x="0" y="0"/>
                </a:lnTo>
                <a:lnTo>
                  <a:pt x="36731" y="0"/>
                </a:lnTo>
                <a:lnTo>
                  <a:pt x="36731" y="59474"/>
                </a:lnTo>
                <a:close/>
              </a:path>
            </a:pathLst>
          </a:custGeom>
          <a:solidFill>
            <a:srgbClr val="808080"/>
          </a:solidFill>
        </p:spPr>
        <p:txBody>
          <a:bodyPr wrap="square" lIns="0" tIns="0" rIns="0" bIns="0" rtlCol="0"/>
          <a:lstStyle/>
          <a:p>
            <a:endParaRPr/>
          </a:p>
        </p:txBody>
      </p:sp>
      <p:sp>
        <p:nvSpPr>
          <p:cNvPr id="136" name="object 136"/>
          <p:cNvSpPr/>
          <p:nvPr/>
        </p:nvSpPr>
        <p:spPr>
          <a:xfrm>
            <a:off x="1623888" y="2506487"/>
            <a:ext cx="93577" cy="0"/>
          </a:xfrm>
          <a:custGeom>
            <a:avLst/>
            <a:gdLst/>
            <a:ahLst/>
            <a:cxnLst/>
            <a:rect l="l" t="t" r="r" b="b"/>
            <a:pathLst>
              <a:path w="205739">
                <a:moveTo>
                  <a:pt x="0" y="0"/>
                </a:moveTo>
                <a:lnTo>
                  <a:pt x="205438" y="0"/>
                </a:lnTo>
              </a:path>
            </a:pathLst>
          </a:custGeom>
          <a:ln w="36616">
            <a:solidFill>
              <a:srgbClr val="808080"/>
            </a:solidFill>
          </a:ln>
        </p:spPr>
        <p:txBody>
          <a:bodyPr wrap="square" lIns="0" tIns="0" rIns="0" bIns="0" rtlCol="0"/>
          <a:lstStyle/>
          <a:p>
            <a:endParaRPr/>
          </a:p>
        </p:txBody>
      </p:sp>
      <p:sp>
        <p:nvSpPr>
          <p:cNvPr id="137" name="object 137"/>
          <p:cNvSpPr/>
          <p:nvPr/>
        </p:nvSpPr>
        <p:spPr>
          <a:xfrm>
            <a:off x="1621149" y="2896986"/>
            <a:ext cx="100508" cy="10397"/>
          </a:xfrm>
          <a:custGeom>
            <a:avLst/>
            <a:gdLst/>
            <a:ahLst/>
            <a:cxnLst/>
            <a:rect l="l" t="t" r="r" b="b"/>
            <a:pathLst>
              <a:path w="220979" h="22860">
                <a:moveTo>
                  <a:pt x="214234" y="0"/>
                </a:moveTo>
                <a:lnTo>
                  <a:pt x="6429" y="0"/>
                </a:lnTo>
                <a:lnTo>
                  <a:pt x="0" y="5005"/>
                </a:lnTo>
                <a:lnTo>
                  <a:pt x="0" y="17360"/>
                </a:lnTo>
                <a:lnTo>
                  <a:pt x="6429" y="22407"/>
                </a:lnTo>
                <a:lnTo>
                  <a:pt x="214234" y="22407"/>
                </a:lnTo>
                <a:lnTo>
                  <a:pt x="220663" y="17360"/>
                </a:lnTo>
                <a:lnTo>
                  <a:pt x="220663" y="5005"/>
                </a:lnTo>
                <a:lnTo>
                  <a:pt x="214234" y="0"/>
                </a:lnTo>
                <a:close/>
              </a:path>
            </a:pathLst>
          </a:custGeom>
          <a:solidFill>
            <a:srgbClr val="808080"/>
          </a:solidFill>
        </p:spPr>
        <p:txBody>
          <a:bodyPr wrap="square" lIns="0" tIns="0" rIns="0" bIns="0" rtlCol="0"/>
          <a:lstStyle/>
          <a:p>
            <a:endParaRPr/>
          </a:p>
        </p:txBody>
      </p:sp>
      <p:sp>
        <p:nvSpPr>
          <p:cNvPr id="138" name="object 138"/>
          <p:cNvSpPr/>
          <p:nvPr/>
        </p:nvSpPr>
        <p:spPr>
          <a:xfrm>
            <a:off x="1621149" y="2887401"/>
            <a:ext cx="100508" cy="10397"/>
          </a:xfrm>
          <a:custGeom>
            <a:avLst/>
            <a:gdLst/>
            <a:ahLst/>
            <a:cxnLst/>
            <a:rect l="l" t="t" r="r" b="b"/>
            <a:pathLst>
              <a:path w="220979" h="22860">
                <a:moveTo>
                  <a:pt x="214234" y="0"/>
                </a:moveTo>
                <a:lnTo>
                  <a:pt x="6429" y="0"/>
                </a:lnTo>
                <a:lnTo>
                  <a:pt x="0" y="5036"/>
                </a:lnTo>
                <a:lnTo>
                  <a:pt x="0" y="17392"/>
                </a:lnTo>
                <a:lnTo>
                  <a:pt x="6429" y="22386"/>
                </a:lnTo>
                <a:lnTo>
                  <a:pt x="214234" y="22386"/>
                </a:lnTo>
                <a:lnTo>
                  <a:pt x="220663" y="17392"/>
                </a:lnTo>
                <a:lnTo>
                  <a:pt x="220663" y="5036"/>
                </a:lnTo>
                <a:lnTo>
                  <a:pt x="214234" y="0"/>
                </a:lnTo>
                <a:close/>
              </a:path>
            </a:pathLst>
          </a:custGeom>
          <a:solidFill>
            <a:srgbClr val="808080"/>
          </a:solidFill>
        </p:spPr>
        <p:txBody>
          <a:bodyPr wrap="square" lIns="0" tIns="0" rIns="0" bIns="0" rtlCol="0"/>
          <a:lstStyle/>
          <a:p>
            <a:endParaRPr/>
          </a:p>
        </p:txBody>
      </p:sp>
      <p:sp>
        <p:nvSpPr>
          <p:cNvPr id="139" name="object 139"/>
          <p:cNvSpPr/>
          <p:nvPr/>
        </p:nvSpPr>
        <p:spPr>
          <a:xfrm>
            <a:off x="1607260" y="2504228"/>
            <a:ext cx="64118" cy="469009"/>
          </a:xfrm>
          <a:custGeom>
            <a:avLst/>
            <a:gdLst/>
            <a:ahLst/>
            <a:cxnLst/>
            <a:rect l="l" t="t" r="r" b="b"/>
            <a:pathLst>
              <a:path w="140970" h="1031240">
                <a:moveTo>
                  <a:pt x="140634" y="0"/>
                </a:moveTo>
                <a:lnTo>
                  <a:pt x="36564" y="0"/>
                </a:lnTo>
                <a:lnTo>
                  <a:pt x="36564" y="23266"/>
                </a:lnTo>
                <a:lnTo>
                  <a:pt x="52888" y="23266"/>
                </a:lnTo>
                <a:lnTo>
                  <a:pt x="40375" y="843241"/>
                </a:lnTo>
                <a:lnTo>
                  <a:pt x="34700" y="844728"/>
                </a:lnTo>
                <a:lnTo>
                  <a:pt x="30533" y="848769"/>
                </a:lnTo>
                <a:lnTo>
                  <a:pt x="30533" y="858717"/>
                </a:lnTo>
                <a:lnTo>
                  <a:pt x="34815" y="862821"/>
                </a:lnTo>
                <a:lnTo>
                  <a:pt x="40616" y="864256"/>
                </a:lnTo>
                <a:lnTo>
                  <a:pt x="34815" y="865669"/>
                </a:lnTo>
                <a:lnTo>
                  <a:pt x="30533" y="869774"/>
                </a:lnTo>
                <a:lnTo>
                  <a:pt x="30533" y="880339"/>
                </a:lnTo>
                <a:lnTo>
                  <a:pt x="35894" y="884789"/>
                </a:lnTo>
                <a:lnTo>
                  <a:pt x="42773" y="885627"/>
                </a:lnTo>
                <a:lnTo>
                  <a:pt x="942" y="908035"/>
                </a:lnTo>
                <a:lnTo>
                  <a:pt x="1947" y="908035"/>
                </a:lnTo>
                <a:lnTo>
                  <a:pt x="0" y="908548"/>
                </a:lnTo>
                <a:lnTo>
                  <a:pt x="0" y="1031109"/>
                </a:lnTo>
                <a:lnTo>
                  <a:pt x="140634" y="1031109"/>
                </a:lnTo>
                <a:lnTo>
                  <a:pt x="140634" y="0"/>
                </a:lnTo>
                <a:close/>
              </a:path>
            </a:pathLst>
          </a:custGeom>
          <a:solidFill>
            <a:srgbClr val="808080"/>
          </a:solidFill>
        </p:spPr>
        <p:txBody>
          <a:bodyPr wrap="square" lIns="0" tIns="0" rIns="0" bIns="0" rtlCol="0"/>
          <a:lstStyle/>
          <a:p>
            <a:endParaRPr/>
          </a:p>
        </p:txBody>
      </p:sp>
      <p:sp>
        <p:nvSpPr>
          <p:cNvPr id="140" name="object 140"/>
          <p:cNvSpPr/>
          <p:nvPr/>
        </p:nvSpPr>
        <p:spPr>
          <a:xfrm>
            <a:off x="1644420" y="2514814"/>
            <a:ext cx="12130" cy="21082"/>
          </a:xfrm>
          <a:custGeom>
            <a:avLst/>
            <a:gdLst/>
            <a:ahLst/>
            <a:cxnLst/>
            <a:rect l="l" t="t" r="r" b="b"/>
            <a:pathLst>
              <a:path w="26670" h="46354">
                <a:moveTo>
                  <a:pt x="26072" y="46040"/>
                </a:moveTo>
                <a:lnTo>
                  <a:pt x="0" y="46040"/>
                </a:lnTo>
                <a:lnTo>
                  <a:pt x="0" y="0"/>
                </a:lnTo>
                <a:lnTo>
                  <a:pt x="26072" y="0"/>
                </a:lnTo>
                <a:lnTo>
                  <a:pt x="26072" y="46040"/>
                </a:lnTo>
                <a:close/>
              </a:path>
            </a:pathLst>
          </a:custGeom>
          <a:solidFill>
            <a:srgbClr val="5A5A5A"/>
          </a:solidFill>
        </p:spPr>
        <p:txBody>
          <a:bodyPr wrap="square" lIns="0" tIns="0" rIns="0" bIns="0" rtlCol="0"/>
          <a:lstStyle/>
          <a:p>
            <a:endParaRPr/>
          </a:p>
        </p:txBody>
      </p:sp>
      <p:sp>
        <p:nvSpPr>
          <p:cNvPr id="141" name="object 141"/>
          <p:cNvSpPr/>
          <p:nvPr/>
        </p:nvSpPr>
        <p:spPr>
          <a:xfrm>
            <a:off x="1581131" y="2932480"/>
            <a:ext cx="178490" cy="65846"/>
          </a:xfrm>
          <a:custGeom>
            <a:avLst/>
            <a:gdLst/>
            <a:ahLst/>
            <a:cxnLst/>
            <a:rect l="l" t="t" r="r" b="b"/>
            <a:pathLst>
              <a:path w="392429" h="144779">
                <a:moveTo>
                  <a:pt x="391977" y="144466"/>
                </a:moveTo>
                <a:lnTo>
                  <a:pt x="0" y="144466"/>
                </a:lnTo>
                <a:lnTo>
                  <a:pt x="0" y="0"/>
                </a:lnTo>
                <a:lnTo>
                  <a:pt x="391977" y="0"/>
                </a:lnTo>
                <a:lnTo>
                  <a:pt x="391977" y="144466"/>
                </a:lnTo>
                <a:close/>
              </a:path>
            </a:pathLst>
          </a:custGeom>
          <a:solidFill>
            <a:srgbClr val="808080"/>
          </a:solidFill>
        </p:spPr>
        <p:txBody>
          <a:bodyPr wrap="square" lIns="0" tIns="0" rIns="0" bIns="0" rtlCol="0"/>
          <a:lstStyle/>
          <a:p>
            <a:endParaRPr/>
          </a:p>
        </p:txBody>
      </p:sp>
      <p:sp>
        <p:nvSpPr>
          <p:cNvPr id="142" name="object 142"/>
          <p:cNvSpPr/>
          <p:nvPr/>
        </p:nvSpPr>
        <p:spPr>
          <a:xfrm>
            <a:off x="1906543" y="2509523"/>
            <a:ext cx="57474" cy="41876"/>
          </a:xfrm>
          <a:custGeom>
            <a:avLst/>
            <a:gdLst/>
            <a:ahLst/>
            <a:cxnLst/>
            <a:rect l="l" t="t" r="r" b="b"/>
            <a:pathLst>
              <a:path w="126364" h="92075">
                <a:moveTo>
                  <a:pt x="126195" y="91934"/>
                </a:moveTo>
                <a:lnTo>
                  <a:pt x="0" y="91934"/>
                </a:lnTo>
                <a:lnTo>
                  <a:pt x="0" y="0"/>
                </a:lnTo>
                <a:lnTo>
                  <a:pt x="126195" y="0"/>
                </a:lnTo>
                <a:lnTo>
                  <a:pt x="126195" y="91934"/>
                </a:lnTo>
                <a:close/>
              </a:path>
            </a:pathLst>
          </a:custGeom>
          <a:solidFill>
            <a:srgbClr val="5A5A5A"/>
          </a:solidFill>
        </p:spPr>
        <p:txBody>
          <a:bodyPr wrap="square" lIns="0" tIns="0" rIns="0" bIns="0" rtlCol="0"/>
          <a:lstStyle/>
          <a:p>
            <a:endParaRPr/>
          </a:p>
        </p:txBody>
      </p:sp>
      <p:sp>
        <p:nvSpPr>
          <p:cNvPr id="143" name="object 143"/>
          <p:cNvSpPr/>
          <p:nvPr/>
        </p:nvSpPr>
        <p:spPr>
          <a:xfrm>
            <a:off x="1890230" y="2535729"/>
            <a:ext cx="90400" cy="354067"/>
          </a:xfrm>
          <a:custGeom>
            <a:avLst/>
            <a:gdLst/>
            <a:ahLst/>
            <a:cxnLst/>
            <a:rect l="l" t="t" r="r" b="b"/>
            <a:pathLst>
              <a:path w="198754" h="778510">
                <a:moveTo>
                  <a:pt x="184664" y="0"/>
                </a:moveTo>
                <a:lnTo>
                  <a:pt x="14554" y="94"/>
                </a:lnTo>
                <a:lnTo>
                  <a:pt x="0" y="778217"/>
                </a:lnTo>
                <a:lnTo>
                  <a:pt x="198527" y="778217"/>
                </a:lnTo>
                <a:lnTo>
                  <a:pt x="184664" y="0"/>
                </a:lnTo>
                <a:close/>
              </a:path>
            </a:pathLst>
          </a:custGeom>
          <a:solidFill>
            <a:srgbClr val="C5C5C5"/>
          </a:solidFill>
        </p:spPr>
        <p:txBody>
          <a:bodyPr wrap="square" lIns="0" tIns="0" rIns="0" bIns="0" rtlCol="0"/>
          <a:lstStyle/>
          <a:p>
            <a:endParaRPr/>
          </a:p>
        </p:txBody>
      </p:sp>
      <p:sp>
        <p:nvSpPr>
          <p:cNvPr id="144" name="object 144"/>
          <p:cNvSpPr/>
          <p:nvPr/>
        </p:nvSpPr>
        <p:spPr>
          <a:xfrm>
            <a:off x="1871912" y="2911783"/>
            <a:ext cx="128236" cy="61514"/>
          </a:xfrm>
          <a:custGeom>
            <a:avLst/>
            <a:gdLst/>
            <a:ahLst/>
            <a:cxnLst/>
            <a:rect l="l" t="t" r="r" b="b"/>
            <a:pathLst>
              <a:path w="281939" h="135254">
                <a:moveTo>
                  <a:pt x="234495" y="0"/>
                </a:moveTo>
                <a:lnTo>
                  <a:pt x="47056" y="240"/>
                </a:lnTo>
                <a:lnTo>
                  <a:pt x="0" y="12428"/>
                </a:lnTo>
                <a:lnTo>
                  <a:pt x="0" y="135001"/>
                </a:lnTo>
                <a:lnTo>
                  <a:pt x="281761" y="135001"/>
                </a:lnTo>
                <a:lnTo>
                  <a:pt x="281761" y="12428"/>
                </a:lnTo>
                <a:lnTo>
                  <a:pt x="234495" y="0"/>
                </a:lnTo>
                <a:close/>
              </a:path>
            </a:pathLst>
          </a:custGeom>
          <a:solidFill>
            <a:srgbClr val="808080"/>
          </a:solidFill>
        </p:spPr>
        <p:txBody>
          <a:bodyPr wrap="square" lIns="0" tIns="0" rIns="0" bIns="0" rtlCol="0"/>
          <a:lstStyle/>
          <a:p>
            <a:endParaRPr/>
          </a:p>
        </p:txBody>
      </p:sp>
      <p:sp>
        <p:nvSpPr>
          <p:cNvPr id="145" name="object 145"/>
          <p:cNvSpPr/>
          <p:nvPr/>
        </p:nvSpPr>
        <p:spPr>
          <a:xfrm>
            <a:off x="1872352" y="2911539"/>
            <a:ext cx="127369" cy="0"/>
          </a:xfrm>
          <a:custGeom>
            <a:avLst/>
            <a:gdLst/>
            <a:ahLst/>
            <a:cxnLst/>
            <a:rect l="l" t="t" r="r" b="b"/>
            <a:pathLst>
              <a:path w="280035">
                <a:moveTo>
                  <a:pt x="0" y="0"/>
                </a:moveTo>
                <a:lnTo>
                  <a:pt x="279834" y="0"/>
                </a:lnTo>
              </a:path>
            </a:pathLst>
          </a:custGeom>
          <a:ln w="24920">
            <a:solidFill>
              <a:srgbClr val="C5C5C5"/>
            </a:solidFill>
          </a:ln>
        </p:spPr>
        <p:txBody>
          <a:bodyPr wrap="square" lIns="0" tIns="0" rIns="0" bIns="0" rtlCol="0"/>
          <a:lstStyle/>
          <a:p>
            <a:endParaRPr/>
          </a:p>
        </p:txBody>
      </p:sp>
      <p:sp>
        <p:nvSpPr>
          <p:cNvPr id="146" name="object 146"/>
          <p:cNvSpPr/>
          <p:nvPr/>
        </p:nvSpPr>
        <p:spPr>
          <a:xfrm>
            <a:off x="1927050" y="2508704"/>
            <a:ext cx="16751" cy="27147"/>
          </a:xfrm>
          <a:custGeom>
            <a:avLst/>
            <a:gdLst/>
            <a:ahLst/>
            <a:cxnLst/>
            <a:rect l="l" t="t" r="r" b="b"/>
            <a:pathLst>
              <a:path w="36829" h="59689">
                <a:moveTo>
                  <a:pt x="36669" y="59474"/>
                </a:moveTo>
                <a:lnTo>
                  <a:pt x="0" y="59474"/>
                </a:lnTo>
                <a:lnTo>
                  <a:pt x="0" y="0"/>
                </a:lnTo>
                <a:lnTo>
                  <a:pt x="36669" y="0"/>
                </a:lnTo>
                <a:lnTo>
                  <a:pt x="36669" y="59474"/>
                </a:lnTo>
                <a:close/>
              </a:path>
            </a:pathLst>
          </a:custGeom>
          <a:solidFill>
            <a:srgbClr val="808080"/>
          </a:solidFill>
        </p:spPr>
        <p:txBody>
          <a:bodyPr wrap="square" lIns="0" tIns="0" rIns="0" bIns="0" rtlCol="0"/>
          <a:lstStyle/>
          <a:p>
            <a:endParaRPr/>
          </a:p>
        </p:txBody>
      </p:sp>
      <p:sp>
        <p:nvSpPr>
          <p:cNvPr id="147" name="object 147"/>
          <p:cNvSpPr/>
          <p:nvPr/>
        </p:nvSpPr>
        <p:spPr>
          <a:xfrm>
            <a:off x="1955592" y="2508704"/>
            <a:ext cx="16751" cy="27147"/>
          </a:xfrm>
          <a:custGeom>
            <a:avLst/>
            <a:gdLst/>
            <a:ahLst/>
            <a:cxnLst/>
            <a:rect l="l" t="t" r="r" b="b"/>
            <a:pathLst>
              <a:path w="36829" h="59689">
                <a:moveTo>
                  <a:pt x="36710" y="59474"/>
                </a:moveTo>
                <a:lnTo>
                  <a:pt x="0" y="59474"/>
                </a:lnTo>
                <a:lnTo>
                  <a:pt x="0" y="0"/>
                </a:lnTo>
                <a:lnTo>
                  <a:pt x="36710" y="0"/>
                </a:lnTo>
                <a:lnTo>
                  <a:pt x="36710" y="59474"/>
                </a:lnTo>
                <a:close/>
              </a:path>
            </a:pathLst>
          </a:custGeom>
          <a:solidFill>
            <a:srgbClr val="808080"/>
          </a:solidFill>
        </p:spPr>
        <p:txBody>
          <a:bodyPr wrap="square" lIns="0" tIns="0" rIns="0" bIns="0" rtlCol="0"/>
          <a:lstStyle/>
          <a:p>
            <a:endParaRPr/>
          </a:p>
        </p:txBody>
      </p:sp>
      <p:sp>
        <p:nvSpPr>
          <p:cNvPr id="148" name="object 148"/>
          <p:cNvSpPr/>
          <p:nvPr/>
        </p:nvSpPr>
        <p:spPr>
          <a:xfrm>
            <a:off x="1888541" y="2506487"/>
            <a:ext cx="93577" cy="0"/>
          </a:xfrm>
          <a:custGeom>
            <a:avLst/>
            <a:gdLst/>
            <a:ahLst/>
            <a:cxnLst/>
            <a:rect l="l" t="t" r="r" b="b"/>
            <a:pathLst>
              <a:path w="205739">
                <a:moveTo>
                  <a:pt x="0" y="0"/>
                </a:moveTo>
                <a:lnTo>
                  <a:pt x="205449" y="0"/>
                </a:lnTo>
              </a:path>
            </a:pathLst>
          </a:custGeom>
          <a:ln w="36616">
            <a:solidFill>
              <a:srgbClr val="808080"/>
            </a:solidFill>
          </a:ln>
        </p:spPr>
        <p:txBody>
          <a:bodyPr wrap="square" lIns="0" tIns="0" rIns="0" bIns="0" rtlCol="0"/>
          <a:lstStyle/>
          <a:p>
            <a:endParaRPr/>
          </a:p>
        </p:txBody>
      </p:sp>
      <p:sp>
        <p:nvSpPr>
          <p:cNvPr id="149" name="object 149"/>
          <p:cNvSpPr/>
          <p:nvPr/>
        </p:nvSpPr>
        <p:spPr>
          <a:xfrm>
            <a:off x="1885806" y="2896986"/>
            <a:ext cx="100508" cy="10397"/>
          </a:xfrm>
          <a:custGeom>
            <a:avLst/>
            <a:gdLst/>
            <a:ahLst/>
            <a:cxnLst/>
            <a:rect l="l" t="t" r="r" b="b"/>
            <a:pathLst>
              <a:path w="220979" h="22860">
                <a:moveTo>
                  <a:pt x="214244" y="0"/>
                </a:moveTo>
                <a:lnTo>
                  <a:pt x="6418" y="0"/>
                </a:lnTo>
                <a:lnTo>
                  <a:pt x="0" y="5005"/>
                </a:lnTo>
                <a:lnTo>
                  <a:pt x="0" y="17360"/>
                </a:lnTo>
                <a:lnTo>
                  <a:pt x="6418" y="22407"/>
                </a:lnTo>
                <a:lnTo>
                  <a:pt x="214244" y="22407"/>
                </a:lnTo>
                <a:lnTo>
                  <a:pt x="220652" y="17360"/>
                </a:lnTo>
                <a:lnTo>
                  <a:pt x="220652" y="5005"/>
                </a:lnTo>
                <a:lnTo>
                  <a:pt x="214244" y="0"/>
                </a:lnTo>
                <a:close/>
              </a:path>
            </a:pathLst>
          </a:custGeom>
          <a:solidFill>
            <a:srgbClr val="808080"/>
          </a:solidFill>
        </p:spPr>
        <p:txBody>
          <a:bodyPr wrap="square" lIns="0" tIns="0" rIns="0" bIns="0" rtlCol="0"/>
          <a:lstStyle/>
          <a:p>
            <a:endParaRPr/>
          </a:p>
        </p:txBody>
      </p:sp>
      <p:sp>
        <p:nvSpPr>
          <p:cNvPr id="150" name="object 150"/>
          <p:cNvSpPr/>
          <p:nvPr/>
        </p:nvSpPr>
        <p:spPr>
          <a:xfrm>
            <a:off x="1885806" y="2887401"/>
            <a:ext cx="100508" cy="10397"/>
          </a:xfrm>
          <a:custGeom>
            <a:avLst/>
            <a:gdLst/>
            <a:ahLst/>
            <a:cxnLst/>
            <a:rect l="l" t="t" r="r" b="b"/>
            <a:pathLst>
              <a:path w="220979" h="22860">
                <a:moveTo>
                  <a:pt x="214244" y="0"/>
                </a:moveTo>
                <a:lnTo>
                  <a:pt x="6418" y="0"/>
                </a:lnTo>
                <a:lnTo>
                  <a:pt x="0" y="5036"/>
                </a:lnTo>
                <a:lnTo>
                  <a:pt x="0" y="17392"/>
                </a:lnTo>
                <a:lnTo>
                  <a:pt x="6418" y="22386"/>
                </a:lnTo>
                <a:lnTo>
                  <a:pt x="214244" y="22386"/>
                </a:lnTo>
                <a:lnTo>
                  <a:pt x="220652" y="17392"/>
                </a:lnTo>
                <a:lnTo>
                  <a:pt x="220652" y="5036"/>
                </a:lnTo>
                <a:lnTo>
                  <a:pt x="214244" y="0"/>
                </a:lnTo>
                <a:close/>
              </a:path>
            </a:pathLst>
          </a:custGeom>
          <a:solidFill>
            <a:srgbClr val="808080"/>
          </a:solidFill>
        </p:spPr>
        <p:txBody>
          <a:bodyPr wrap="square" lIns="0" tIns="0" rIns="0" bIns="0" rtlCol="0"/>
          <a:lstStyle/>
          <a:p>
            <a:endParaRPr/>
          </a:p>
        </p:txBody>
      </p:sp>
      <p:sp>
        <p:nvSpPr>
          <p:cNvPr id="151" name="object 151"/>
          <p:cNvSpPr/>
          <p:nvPr/>
        </p:nvSpPr>
        <p:spPr>
          <a:xfrm>
            <a:off x="1871911" y="2504228"/>
            <a:ext cx="64118" cy="469009"/>
          </a:xfrm>
          <a:custGeom>
            <a:avLst/>
            <a:gdLst/>
            <a:ahLst/>
            <a:cxnLst/>
            <a:rect l="l" t="t" r="r" b="b"/>
            <a:pathLst>
              <a:path w="140970" h="1031240">
                <a:moveTo>
                  <a:pt x="140634" y="0"/>
                </a:moveTo>
                <a:lnTo>
                  <a:pt x="36564" y="0"/>
                </a:lnTo>
                <a:lnTo>
                  <a:pt x="36564" y="23266"/>
                </a:lnTo>
                <a:lnTo>
                  <a:pt x="52877" y="23266"/>
                </a:lnTo>
                <a:lnTo>
                  <a:pt x="40375" y="843241"/>
                </a:lnTo>
                <a:lnTo>
                  <a:pt x="34700" y="844728"/>
                </a:lnTo>
                <a:lnTo>
                  <a:pt x="30543" y="848769"/>
                </a:lnTo>
                <a:lnTo>
                  <a:pt x="30543" y="858717"/>
                </a:lnTo>
                <a:lnTo>
                  <a:pt x="34826" y="862821"/>
                </a:lnTo>
                <a:lnTo>
                  <a:pt x="40616" y="864256"/>
                </a:lnTo>
                <a:lnTo>
                  <a:pt x="34826" y="865669"/>
                </a:lnTo>
                <a:lnTo>
                  <a:pt x="30543" y="869774"/>
                </a:lnTo>
                <a:lnTo>
                  <a:pt x="30543" y="880339"/>
                </a:lnTo>
                <a:lnTo>
                  <a:pt x="35883" y="884789"/>
                </a:lnTo>
                <a:lnTo>
                  <a:pt x="42763" y="885627"/>
                </a:lnTo>
                <a:lnTo>
                  <a:pt x="963" y="908035"/>
                </a:lnTo>
                <a:lnTo>
                  <a:pt x="1947" y="908035"/>
                </a:lnTo>
                <a:lnTo>
                  <a:pt x="0" y="908548"/>
                </a:lnTo>
                <a:lnTo>
                  <a:pt x="0" y="1031109"/>
                </a:lnTo>
                <a:lnTo>
                  <a:pt x="140634" y="1031109"/>
                </a:lnTo>
                <a:lnTo>
                  <a:pt x="140634" y="0"/>
                </a:lnTo>
                <a:close/>
              </a:path>
            </a:pathLst>
          </a:custGeom>
          <a:solidFill>
            <a:srgbClr val="808080"/>
          </a:solidFill>
        </p:spPr>
        <p:txBody>
          <a:bodyPr wrap="square" lIns="0" tIns="0" rIns="0" bIns="0" rtlCol="0"/>
          <a:lstStyle/>
          <a:p>
            <a:endParaRPr/>
          </a:p>
        </p:txBody>
      </p:sp>
      <p:sp>
        <p:nvSpPr>
          <p:cNvPr id="152" name="object 152"/>
          <p:cNvSpPr/>
          <p:nvPr/>
        </p:nvSpPr>
        <p:spPr>
          <a:xfrm>
            <a:off x="1909072" y="2514814"/>
            <a:ext cx="12130" cy="21082"/>
          </a:xfrm>
          <a:custGeom>
            <a:avLst/>
            <a:gdLst/>
            <a:ahLst/>
            <a:cxnLst/>
            <a:rect l="l" t="t" r="r" b="b"/>
            <a:pathLst>
              <a:path w="26670" h="46354">
                <a:moveTo>
                  <a:pt x="26082" y="46040"/>
                </a:moveTo>
                <a:lnTo>
                  <a:pt x="0" y="46040"/>
                </a:lnTo>
                <a:lnTo>
                  <a:pt x="0" y="0"/>
                </a:lnTo>
                <a:lnTo>
                  <a:pt x="26082" y="0"/>
                </a:lnTo>
                <a:lnTo>
                  <a:pt x="26082" y="46040"/>
                </a:lnTo>
                <a:close/>
              </a:path>
            </a:pathLst>
          </a:custGeom>
          <a:solidFill>
            <a:srgbClr val="5A5A5A"/>
          </a:solidFill>
        </p:spPr>
        <p:txBody>
          <a:bodyPr wrap="square" lIns="0" tIns="0" rIns="0" bIns="0" rtlCol="0"/>
          <a:lstStyle/>
          <a:p>
            <a:endParaRPr/>
          </a:p>
        </p:txBody>
      </p:sp>
      <p:sp>
        <p:nvSpPr>
          <p:cNvPr id="153" name="object 153"/>
          <p:cNvSpPr/>
          <p:nvPr/>
        </p:nvSpPr>
        <p:spPr>
          <a:xfrm>
            <a:off x="1845783" y="2932480"/>
            <a:ext cx="178490" cy="65846"/>
          </a:xfrm>
          <a:custGeom>
            <a:avLst/>
            <a:gdLst/>
            <a:ahLst/>
            <a:cxnLst/>
            <a:rect l="l" t="t" r="r" b="b"/>
            <a:pathLst>
              <a:path w="392429" h="144779">
                <a:moveTo>
                  <a:pt x="391977" y="144466"/>
                </a:moveTo>
                <a:lnTo>
                  <a:pt x="0" y="144466"/>
                </a:lnTo>
                <a:lnTo>
                  <a:pt x="0" y="0"/>
                </a:lnTo>
                <a:lnTo>
                  <a:pt x="391977" y="0"/>
                </a:lnTo>
                <a:lnTo>
                  <a:pt x="391977" y="144466"/>
                </a:lnTo>
                <a:close/>
              </a:path>
            </a:pathLst>
          </a:custGeom>
          <a:solidFill>
            <a:srgbClr val="808080"/>
          </a:solidFill>
        </p:spPr>
        <p:txBody>
          <a:bodyPr wrap="square" lIns="0" tIns="0" rIns="0" bIns="0" rtlCol="0"/>
          <a:lstStyle/>
          <a:p>
            <a:endParaRPr/>
          </a:p>
        </p:txBody>
      </p:sp>
      <p:sp>
        <p:nvSpPr>
          <p:cNvPr id="154" name="object 154"/>
          <p:cNvSpPr/>
          <p:nvPr/>
        </p:nvSpPr>
        <p:spPr>
          <a:xfrm>
            <a:off x="2171190" y="2509523"/>
            <a:ext cx="57474" cy="41876"/>
          </a:xfrm>
          <a:custGeom>
            <a:avLst/>
            <a:gdLst/>
            <a:ahLst/>
            <a:cxnLst/>
            <a:rect l="l" t="t" r="r" b="b"/>
            <a:pathLst>
              <a:path w="126364" h="92075">
                <a:moveTo>
                  <a:pt x="126195" y="91934"/>
                </a:moveTo>
                <a:lnTo>
                  <a:pt x="0" y="91934"/>
                </a:lnTo>
                <a:lnTo>
                  <a:pt x="0" y="0"/>
                </a:lnTo>
                <a:lnTo>
                  <a:pt x="126195" y="0"/>
                </a:lnTo>
                <a:lnTo>
                  <a:pt x="126195" y="91934"/>
                </a:lnTo>
                <a:close/>
              </a:path>
            </a:pathLst>
          </a:custGeom>
          <a:solidFill>
            <a:srgbClr val="5A5A5A"/>
          </a:solidFill>
        </p:spPr>
        <p:txBody>
          <a:bodyPr wrap="square" lIns="0" tIns="0" rIns="0" bIns="0" rtlCol="0"/>
          <a:lstStyle/>
          <a:p>
            <a:endParaRPr/>
          </a:p>
        </p:txBody>
      </p:sp>
      <p:sp>
        <p:nvSpPr>
          <p:cNvPr id="155" name="object 155"/>
          <p:cNvSpPr/>
          <p:nvPr/>
        </p:nvSpPr>
        <p:spPr>
          <a:xfrm>
            <a:off x="2154881" y="2535729"/>
            <a:ext cx="90400" cy="354067"/>
          </a:xfrm>
          <a:custGeom>
            <a:avLst/>
            <a:gdLst/>
            <a:ahLst/>
            <a:cxnLst/>
            <a:rect l="l" t="t" r="r" b="b"/>
            <a:pathLst>
              <a:path w="198754" h="778510">
                <a:moveTo>
                  <a:pt x="184664" y="0"/>
                </a:moveTo>
                <a:lnTo>
                  <a:pt x="14565" y="94"/>
                </a:lnTo>
                <a:lnTo>
                  <a:pt x="0" y="778217"/>
                </a:lnTo>
                <a:lnTo>
                  <a:pt x="198517" y="778217"/>
                </a:lnTo>
                <a:lnTo>
                  <a:pt x="184664" y="0"/>
                </a:lnTo>
                <a:close/>
              </a:path>
            </a:pathLst>
          </a:custGeom>
          <a:solidFill>
            <a:srgbClr val="C5C5C5"/>
          </a:solidFill>
        </p:spPr>
        <p:txBody>
          <a:bodyPr wrap="square" lIns="0" tIns="0" rIns="0" bIns="0" rtlCol="0"/>
          <a:lstStyle/>
          <a:p>
            <a:endParaRPr/>
          </a:p>
        </p:txBody>
      </p:sp>
      <p:sp>
        <p:nvSpPr>
          <p:cNvPr id="156" name="object 156"/>
          <p:cNvSpPr/>
          <p:nvPr/>
        </p:nvSpPr>
        <p:spPr>
          <a:xfrm>
            <a:off x="2136560" y="2911783"/>
            <a:ext cx="128236" cy="61514"/>
          </a:xfrm>
          <a:custGeom>
            <a:avLst/>
            <a:gdLst/>
            <a:ahLst/>
            <a:cxnLst/>
            <a:rect l="l" t="t" r="r" b="b"/>
            <a:pathLst>
              <a:path w="281939" h="135254">
                <a:moveTo>
                  <a:pt x="234495" y="0"/>
                </a:moveTo>
                <a:lnTo>
                  <a:pt x="47045" y="240"/>
                </a:lnTo>
                <a:lnTo>
                  <a:pt x="0" y="12428"/>
                </a:lnTo>
                <a:lnTo>
                  <a:pt x="0" y="135001"/>
                </a:lnTo>
                <a:lnTo>
                  <a:pt x="281750" y="135001"/>
                </a:lnTo>
                <a:lnTo>
                  <a:pt x="281750" y="12428"/>
                </a:lnTo>
                <a:lnTo>
                  <a:pt x="234495" y="0"/>
                </a:lnTo>
                <a:close/>
              </a:path>
            </a:pathLst>
          </a:custGeom>
          <a:solidFill>
            <a:srgbClr val="808080"/>
          </a:solidFill>
        </p:spPr>
        <p:txBody>
          <a:bodyPr wrap="square" lIns="0" tIns="0" rIns="0" bIns="0" rtlCol="0"/>
          <a:lstStyle/>
          <a:p>
            <a:endParaRPr/>
          </a:p>
        </p:txBody>
      </p:sp>
      <p:sp>
        <p:nvSpPr>
          <p:cNvPr id="157" name="object 157"/>
          <p:cNvSpPr/>
          <p:nvPr/>
        </p:nvSpPr>
        <p:spPr>
          <a:xfrm>
            <a:off x="2136996" y="2911539"/>
            <a:ext cx="127369" cy="0"/>
          </a:xfrm>
          <a:custGeom>
            <a:avLst/>
            <a:gdLst/>
            <a:ahLst/>
            <a:cxnLst/>
            <a:rect l="l" t="t" r="r" b="b"/>
            <a:pathLst>
              <a:path w="280035">
                <a:moveTo>
                  <a:pt x="0" y="0"/>
                </a:moveTo>
                <a:lnTo>
                  <a:pt x="279844" y="0"/>
                </a:lnTo>
              </a:path>
            </a:pathLst>
          </a:custGeom>
          <a:ln w="24920">
            <a:solidFill>
              <a:srgbClr val="C5C5C5"/>
            </a:solidFill>
          </a:ln>
        </p:spPr>
        <p:txBody>
          <a:bodyPr wrap="square" lIns="0" tIns="0" rIns="0" bIns="0" rtlCol="0"/>
          <a:lstStyle/>
          <a:p>
            <a:endParaRPr/>
          </a:p>
        </p:txBody>
      </p:sp>
      <p:sp>
        <p:nvSpPr>
          <p:cNvPr id="158" name="object 158"/>
          <p:cNvSpPr/>
          <p:nvPr/>
        </p:nvSpPr>
        <p:spPr>
          <a:xfrm>
            <a:off x="2191708" y="2508704"/>
            <a:ext cx="16751" cy="27147"/>
          </a:xfrm>
          <a:custGeom>
            <a:avLst/>
            <a:gdLst/>
            <a:ahLst/>
            <a:cxnLst/>
            <a:rect l="l" t="t" r="r" b="b"/>
            <a:pathLst>
              <a:path w="36829" h="59689">
                <a:moveTo>
                  <a:pt x="36658" y="59474"/>
                </a:moveTo>
                <a:lnTo>
                  <a:pt x="0" y="59474"/>
                </a:lnTo>
                <a:lnTo>
                  <a:pt x="0" y="0"/>
                </a:lnTo>
                <a:lnTo>
                  <a:pt x="36658" y="0"/>
                </a:lnTo>
                <a:lnTo>
                  <a:pt x="36658" y="59474"/>
                </a:lnTo>
                <a:close/>
              </a:path>
            </a:pathLst>
          </a:custGeom>
          <a:solidFill>
            <a:srgbClr val="808080"/>
          </a:solidFill>
        </p:spPr>
        <p:txBody>
          <a:bodyPr wrap="square" lIns="0" tIns="0" rIns="0" bIns="0" rtlCol="0"/>
          <a:lstStyle/>
          <a:p>
            <a:endParaRPr/>
          </a:p>
        </p:txBody>
      </p:sp>
      <p:sp>
        <p:nvSpPr>
          <p:cNvPr id="159" name="object 159"/>
          <p:cNvSpPr/>
          <p:nvPr/>
        </p:nvSpPr>
        <p:spPr>
          <a:xfrm>
            <a:off x="2220235" y="2508704"/>
            <a:ext cx="16751" cy="27147"/>
          </a:xfrm>
          <a:custGeom>
            <a:avLst/>
            <a:gdLst/>
            <a:ahLst/>
            <a:cxnLst/>
            <a:rect l="l" t="t" r="r" b="b"/>
            <a:pathLst>
              <a:path w="36829" h="59689">
                <a:moveTo>
                  <a:pt x="36721" y="59474"/>
                </a:moveTo>
                <a:lnTo>
                  <a:pt x="0" y="59474"/>
                </a:lnTo>
                <a:lnTo>
                  <a:pt x="0" y="0"/>
                </a:lnTo>
                <a:lnTo>
                  <a:pt x="36721" y="0"/>
                </a:lnTo>
                <a:lnTo>
                  <a:pt x="36721" y="59474"/>
                </a:lnTo>
                <a:close/>
              </a:path>
            </a:pathLst>
          </a:custGeom>
          <a:solidFill>
            <a:srgbClr val="808080"/>
          </a:solidFill>
        </p:spPr>
        <p:txBody>
          <a:bodyPr wrap="square" lIns="0" tIns="0" rIns="0" bIns="0" rtlCol="0"/>
          <a:lstStyle/>
          <a:p>
            <a:endParaRPr/>
          </a:p>
        </p:txBody>
      </p:sp>
      <p:sp>
        <p:nvSpPr>
          <p:cNvPr id="160" name="object 160"/>
          <p:cNvSpPr/>
          <p:nvPr/>
        </p:nvSpPr>
        <p:spPr>
          <a:xfrm>
            <a:off x="2153193" y="2506487"/>
            <a:ext cx="93577" cy="0"/>
          </a:xfrm>
          <a:custGeom>
            <a:avLst/>
            <a:gdLst/>
            <a:ahLst/>
            <a:cxnLst/>
            <a:rect l="l" t="t" r="r" b="b"/>
            <a:pathLst>
              <a:path w="205739">
                <a:moveTo>
                  <a:pt x="0" y="0"/>
                </a:moveTo>
                <a:lnTo>
                  <a:pt x="205438" y="0"/>
                </a:lnTo>
              </a:path>
            </a:pathLst>
          </a:custGeom>
          <a:ln w="36616">
            <a:solidFill>
              <a:srgbClr val="808080"/>
            </a:solidFill>
          </a:ln>
        </p:spPr>
        <p:txBody>
          <a:bodyPr wrap="square" lIns="0" tIns="0" rIns="0" bIns="0" rtlCol="0"/>
          <a:lstStyle/>
          <a:p>
            <a:endParaRPr/>
          </a:p>
        </p:txBody>
      </p:sp>
      <p:sp>
        <p:nvSpPr>
          <p:cNvPr id="161" name="object 161"/>
          <p:cNvSpPr/>
          <p:nvPr/>
        </p:nvSpPr>
        <p:spPr>
          <a:xfrm>
            <a:off x="2150449" y="2896986"/>
            <a:ext cx="100508" cy="10397"/>
          </a:xfrm>
          <a:custGeom>
            <a:avLst/>
            <a:gdLst/>
            <a:ahLst/>
            <a:cxnLst/>
            <a:rect l="l" t="t" r="r" b="b"/>
            <a:pathLst>
              <a:path w="220979" h="22860">
                <a:moveTo>
                  <a:pt x="214244" y="0"/>
                </a:moveTo>
                <a:lnTo>
                  <a:pt x="6429" y="0"/>
                </a:lnTo>
                <a:lnTo>
                  <a:pt x="0" y="5005"/>
                </a:lnTo>
                <a:lnTo>
                  <a:pt x="0" y="17360"/>
                </a:lnTo>
                <a:lnTo>
                  <a:pt x="6429" y="22407"/>
                </a:lnTo>
                <a:lnTo>
                  <a:pt x="214244" y="22407"/>
                </a:lnTo>
                <a:lnTo>
                  <a:pt x="220673" y="17360"/>
                </a:lnTo>
                <a:lnTo>
                  <a:pt x="220673" y="5005"/>
                </a:lnTo>
                <a:lnTo>
                  <a:pt x="214244" y="0"/>
                </a:lnTo>
                <a:close/>
              </a:path>
            </a:pathLst>
          </a:custGeom>
          <a:solidFill>
            <a:srgbClr val="808080"/>
          </a:solidFill>
        </p:spPr>
        <p:txBody>
          <a:bodyPr wrap="square" lIns="0" tIns="0" rIns="0" bIns="0" rtlCol="0"/>
          <a:lstStyle/>
          <a:p>
            <a:endParaRPr/>
          </a:p>
        </p:txBody>
      </p:sp>
      <p:sp>
        <p:nvSpPr>
          <p:cNvPr id="162" name="object 162"/>
          <p:cNvSpPr/>
          <p:nvPr/>
        </p:nvSpPr>
        <p:spPr>
          <a:xfrm>
            <a:off x="2150449" y="2887401"/>
            <a:ext cx="100508" cy="10397"/>
          </a:xfrm>
          <a:custGeom>
            <a:avLst/>
            <a:gdLst/>
            <a:ahLst/>
            <a:cxnLst/>
            <a:rect l="l" t="t" r="r" b="b"/>
            <a:pathLst>
              <a:path w="220979" h="22860">
                <a:moveTo>
                  <a:pt x="214244" y="0"/>
                </a:moveTo>
                <a:lnTo>
                  <a:pt x="6429" y="0"/>
                </a:lnTo>
                <a:lnTo>
                  <a:pt x="0" y="5036"/>
                </a:lnTo>
                <a:lnTo>
                  <a:pt x="0" y="17392"/>
                </a:lnTo>
                <a:lnTo>
                  <a:pt x="6429" y="22386"/>
                </a:lnTo>
                <a:lnTo>
                  <a:pt x="214244" y="22386"/>
                </a:lnTo>
                <a:lnTo>
                  <a:pt x="220673" y="17392"/>
                </a:lnTo>
                <a:lnTo>
                  <a:pt x="220673" y="5036"/>
                </a:lnTo>
                <a:lnTo>
                  <a:pt x="214244" y="0"/>
                </a:lnTo>
                <a:close/>
              </a:path>
            </a:pathLst>
          </a:custGeom>
          <a:solidFill>
            <a:srgbClr val="808080"/>
          </a:solidFill>
        </p:spPr>
        <p:txBody>
          <a:bodyPr wrap="square" lIns="0" tIns="0" rIns="0" bIns="0" rtlCol="0"/>
          <a:lstStyle/>
          <a:p>
            <a:endParaRPr/>
          </a:p>
        </p:txBody>
      </p:sp>
      <p:sp>
        <p:nvSpPr>
          <p:cNvPr id="163" name="object 163"/>
          <p:cNvSpPr/>
          <p:nvPr/>
        </p:nvSpPr>
        <p:spPr>
          <a:xfrm>
            <a:off x="2136562" y="2504228"/>
            <a:ext cx="64118" cy="469009"/>
          </a:xfrm>
          <a:custGeom>
            <a:avLst/>
            <a:gdLst/>
            <a:ahLst/>
            <a:cxnLst/>
            <a:rect l="l" t="t" r="r" b="b"/>
            <a:pathLst>
              <a:path w="140970" h="1031240">
                <a:moveTo>
                  <a:pt x="140634" y="0"/>
                </a:moveTo>
                <a:lnTo>
                  <a:pt x="36564" y="0"/>
                </a:lnTo>
                <a:lnTo>
                  <a:pt x="36564" y="23266"/>
                </a:lnTo>
                <a:lnTo>
                  <a:pt x="52877" y="23266"/>
                </a:lnTo>
                <a:lnTo>
                  <a:pt x="40365" y="843241"/>
                </a:lnTo>
                <a:lnTo>
                  <a:pt x="34690" y="844728"/>
                </a:lnTo>
                <a:lnTo>
                  <a:pt x="30533" y="848769"/>
                </a:lnTo>
                <a:lnTo>
                  <a:pt x="30533" y="858717"/>
                </a:lnTo>
                <a:lnTo>
                  <a:pt x="34805" y="862821"/>
                </a:lnTo>
                <a:lnTo>
                  <a:pt x="40606" y="864256"/>
                </a:lnTo>
                <a:lnTo>
                  <a:pt x="34805" y="865669"/>
                </a:lnTo>
                <a:lnTo>
                  <a:pt x="30533" y="869774"/>
                </a:lnTo>
                <a:lnTo>
                  <a:pt x="30533" y="880339"/>
                </a:lnTo>
                <a:lnTo>
                  <a:pt x="35883" y="884789"/>
                </a:lnTo>
                <a:lnTo>
                  <a:pt x="42752" y="885627"/>
                </a:lnTo>
                <a:lnTo>
                  <a:pt x="952" y="908035"/>
                </a:lnTo>
                <a:lnTo>
                  <a:pt x="1947" y="908035"/>
                </a:lnTo>
                <a:lnTo>
                  <a:pt x="0" y="908548"/>
                </a:lnTo>
                <a:lnTo>
                  <a:pt x="0" y="1031109"/>
                </a:lnTo>
                <a:lnTo>
                  <a:pt x="140634" y="1031109"/>
                </a:lnTo>
                <a:lnTo>
                  <a:pt x="140634" y="0"/>
                </a:lnTo>
                <a:close/>
              </a:path>
            </a:pathLst>
          </a:custGeom>
          <a:solidFill>
            <a:srgbClr val="808080"/>
          </a:solidFill>
        </p:spPr>
        <p:txBody>
          <a:bodyPr wrap="square" lIns="0" tIns="0" rIns="0" bIns="0" rtlCol="0"/>
          <a:lstStyle/>
          <a:p>
            <a:endParaRPr/>
          </a:p>
        </p:txBody>
      </p:sp>
      <p:sp>
        <p:nvSpPr>
          <p:cNvPr id="164" name="object 164"/>
          <p:cNvSpPr/>
          <p:nvPr/>
        </p:nvSpPr>
        <p:spPr>
          <a:xfrm>
            <a:off x="2173724" y="2514814"/>
            <a:ext cx="12130" cy="21082"/>
          </a:xfrm>
          <a:custGeom>
            <a:avLst/>
            <a:gdLst/>
            <a:ahLst/>
            <a:cxnLst/>
            <a:rect l="l" t="t" r="r" b="b"/>
            <a:pathLst>
              <a:path w="26670" h="46354">
                <a:moveTo>
                  <a:pt x="26062" y="46040"/>
                </a:moveTo>
                <a:lnTo>
                  <a:pt x="0" y="46040"/>
                </a:lnTo>
                <a:lnTo>
                  <a:pt x="0" y="0"/>
                </a:lnTo>
                <a:lnTo>
                  <a:pt x="26062" y="0"/>
                </a:lnTo>
                <a:lnTo>
                  <a:pt x="26062" y="46040"/>
                </a:lnTo>
                <a:close/>
              </a:path>
            </a:pathLst>
          </a:custGeom>
          <a:solidFill>
            <a:srgbClr val="5A5A5A"/>
          </a:solidFill>
        </p:spPr>
        <p:txBody>
          <a:bodyPr wrap="square" lIns="0" tIns="0" rIns="0" bIns="0" rtlCol="0"/>
          <a:lstStyle/>
          <a:p>
            <a:endParaRPr/>
          </a:p>
        </p:txBody>
      </p:sp>
      <p:sp>
        <p:nvSpPr>
          <p:cNvPr id="165" name="object 165"/>
          <p:cNvSpPr/>
          <p:nvPr/>
        </p:nvSpPr>
        <p:spPr>
          <a:xfrm>
            <a:off x="2110425" y="2932480"/>
            <a:ext cx="178490" cy="65846"/>
          </a:xfrm>
          <a:custGeom>
            <a:avLst/>
            <a:gdLst/>
            <a:ahLst/>
            <a:cxnLst/>
            <a:rect l="l" t="t" r="r" b="b"/>
            <a:pathLst>
              <a:path w="392429" h="144779">
                <a:moveTo>
                  <a:pt x="391977" y="144466"/>
                </a:moveTo>
                <a:lnTo>
                  <a:pt x="0" y="144466"/>
                </a:lnTo>
                <a:lnTo>
                  <a:pt x="0" y="0"/>
                </a:lnTo>
                <a:lnTo>
                  <a:pt x="391977" y="0"/>
                </a:lnTo>
                <a:lnTo>
                  <a:pt x="391977" y="144466"/>
                </a:lnTo>
                <a:close/>
              </a:path>
            </a:pathLst>
          </a:custGeom>
          <a:solidFill>
            <a:srgbClr val="808080"/>
          </a:solidFill>
        </p:spPr>
        <p:txBody>
          <a:bodyPr wrap="square" lIns="0" tIns="0" rIns="0" bIns="0" rtlCol="0"/>
          <a:lstStyle/>
          <a:p>
            <a:endParaRPr/>
          </a:p>
        </p:txBody>
      </p:sp>
      <p:sp>
        <p:nvSpPr>
          <p:cNvPr id="166" name="object 166"/>
          <p:cNvSpPr/>
          <p:nvPr/>
        </p:nvSpPr>
        <p:spPr>
          <a:xfrm>
            <a:off x="1493672" y="2574255"/>
            <a:ext cx="84624" cy="117252"/>
          </a:xfrm>
          <a:custGeom>
            <a:avLst/>
            <a:gdLst/>
            <a:ahLst/>
            <a:cxnLst/>
            <a:rect l="l" t="t" r="r" b="b"/>
            <a:pathLst>
              <a:path w="186054" h="257810">
                <a:moveTo>
                  <a:pt x="185596" y="257583"/>
                </a:moveTo>
                <a:lnTo>
                  <a:pt x="0" y="257583"/>
                </a:lnTo>
                <a:lnTo>
                  <a:pt x="0" y="0"/>
                </a:lnTo>
                <a:lnTo>
                  <a:pt x="185596" y="0"/>
                </a:lnTo>
                <a:lnTo>
                  <a:pt x="185596" y="257583"/>
                </a:lnTo>
                <a:close/>
              </a:path>
            </a:pathLst>
          </a:custGeom>
          <a:solidFill>
            <a:srgbClr val="808080"/>
          </a:solidFill>
        </p:spPr>
        <p:txBody>
          <a:bodyPr wrap="square" lIns="0" tIns="0" rIns="0" bIns="0" rtlCol="0"/>
          <a:lstStyle/>
          <a:p>
            <a:endParaRPr/>
          </a:p>
        </p:txBody>
      </p:sp>
      <p:sp>
        <p:nvSpPr>
          <p:cNvPr id="167" name="object 167"/>
          <p:cNvSpPr/>
          <p:nvPr/>
        </p:nvSpPr>
        <p:spPr>
          <a:xfrm>
            <a:off x="1501678" y="2583170"/>
            <a:ext cx="68450" cy="99347"/>
          </a:xfrm>
          <a:custGeom>
            <a:avLst/>
            <a:gdLst/>
            <a:ahLst/>
            <a:cxnLst/>
            <a:rect l="l" t="t" r="r" b="b"/>
            <a:pathLst>
              <a:path w="150495" h="218439">
                <a:moveTo>
                  <a:pt x="150393" y="218380"/>
                </a:moveTo>
                <a:lnTo>
                  <a:pt x="0" y="218380"/>
                </a:lnTo>
                <a:lnTo>
                  <a:pt x="0" y="0"/>
                </a:lnTo>
                <a:lnTo>
                  <a:pt x="150393" y="0"/>
                </a:lnTo>
                <a:lnTo>
                  <a:pt x="150393" y="218380"/>
                </a:lnTo>
                <a:close/>
              </a:path>
            </a:pathLst>
          </a:custGeom>
          <a:solidFill>
            <a:srgbClr val="C5C5C5"/>
          </a:solidFill>
        </p:spPr>
        <p:txBody>
          <a:bodyPr wrap="square" lIns="0" tIns="0" rIns="0" bIns="0" rtlCol="0"/>
          <a:lstStyle/>
          <a:p>
            <a:endParaRPr/>
          </a:p>
        </p:txBody>
      </p:sp>
      <p:sp>
        <p:nvSpPr>
          <p:cNvPr id="168" name="object 168"/>
          <p:cNvSpPr/>
          <p:nvPr/>
        </p:nvSpPr>
        <p:spPr>
          <a:xfrm>
            <a:off x="1493672" y="2742646"/>
            <a:ext cx="84624" cy="117252"/>
          </a:xfrm>
          <a:custGeom>
            <a:avLst/>
            <a:gdLst/>
            <a:ahLst/>
            <a:cxnLst/>
            <a:rect l="l" t="t" r="r" b="b"/>
            <a:pathLst>
              <a:path w="186054" h="257810">
                <a:moveTo>
                  <a:pt x="185596" y="257573"/>
                </a:moveTo>
                <a:lnTo>
                  <a:pt x="0" y="257573"/>
                </a:lnTo>
                <a:lnTo>
                  <a:pt x="0" y="0"/>
                </a:lnTo>
                <a:lnTo>
                  <a:pt x="185596" y="0"/>
                </a:lnTo>
                <a:lnTo>
                  <a:pt x="185596" y="257573"/>
                </a:lnTo>
                <a:close/>
              </a:path>
            </a:pathLst>
          </a:custGeom>
          <a:solidFill>
            <a:srgbClr val="808080"/>
          </a:solidFill>
        </p:spPr>
        <p:txBody>
          <a:bodyPr wrap="square" lIns="0" tIns="0" rIns="0" bIns="0" rtlCol="0"/>
          <a:lstStyle/>
          <a:p>
            <a:endParaRPr/>
          </a:p>
        </p:txBody>
      </p:sp>
      <p:sp>
        <p:nvSpPr>
          <p:cNvPr id="169" name="object 169"/>
          <p:cNvSpPr/>
          <p:nvPr/>
        </p:nvSpPr>
        <p:spPr>
          <a:xfrm>
            <a:off x="1501678" y="2751560"/>
            <a:ext cx="68450" cy="99347"/>
          </a:xfrm>
          <a:custGeom>
            <a:avLst/>
            <a:gdLst/>
            <a:ahLst/>
            <a:cxnLst/>
            <a:rect l="l" t="t" r="r" b="b"/>
            <a:pathLst>
              <a:path w="150495" h="218439">
                <a:moveTo>
                  <a:pt x="150393" y="218391"/>
                </a:moveTo>
                <a:lnTo>
                  <a:pt x="0" y="218391"/>
                </a:lnTo>
                <a:lnTo>
                  <a:pt x="0" y="0"/>
                </a:lnTo>
                <a:lnTo>
                  <a:pt x="150393" y="0"/>
                </a:lnTo>
                <a:lnTo>
                  <a:pt x="150393" y="218391"/>
                </a:lnTo>
                <a:close/>
              </a:path>
            </a:pathLst>
          </a:custGeom>
          <a:solidFill>
            <a:srgbClr val="C5C5C5"/>
          </a:solidFill>
        </p:spPr>
        <p:txBody>
          <a:bodyPr wrap="square" lIns="0" tIns="0" rIns="0" bIns="0" rtlCol="0"/>
          <a:lstStyle/>
          <a:p>
            <a:endParaRPr/>
          </a:p>
        </p:txBody>
      </p:sp>
      <p:sp>
        <p:nvSpPr>
          <p:cNvPr id="170" name="object 170"/>
          <p:cNvSpPr/>
          <p:nvPr/>
        </p:nvSpPr>
        <p:spPr>
          <a:xfrm>
            <a:off x="1760777" y="2574255"/>
            <a:ext cx="84624" cy="117252"/>
          </a:xfrm>
          <a:custGeom>
            <a:avLst/>
            <a:gdLst/>
            <a:ahLst/>
            <a:cxnLst/>
            <a:rect l="l" t="t" r="r" b="b"/>
            <a:pathLst>
              <a:path w="186054" h="257810">
                <a:moveTo>
                  <a:pt x="185585" y="257583"/>
                </a:moveTo>
                <a:lnTo>
                  <a:pt x="0" y="257583"/>
                </a:lnTo>
                <a:lnTo>
                  <a:pt x="0" y="0"/>
                </a:lnTo>
                <a:lnTo>
                  <a:pt x="185585" y="0"/>
                </a:lnTo>
                <a:lnTo>
                  <a:pt x="185585" y="257583"/>
                </a:lnTo>
                <a:close/>
              </a:path>
            </a:pathLst>
          </a:custGeom>
          <a:solidFill>
            <a:srgbClr val="808080"/>
          </a:solidFill>
        </p:spPr>
        <p:txBody>
          <a:bodyPr wrap="square" lIns="0" tIns="0" rIns="0" bIns="0" rtlCol="0"/>
          <a:lstStyle/>
          <a:p>
            <a:endParaRPr/>
          </a:p>
        </p:txBody>
      </p:sp>
      <p:sp>
        <p:nvSpPr>
          <p:cNvPr id="171" name="object 171"/>
          <p:cNvSpPr/>
          <p:nvPr/>
        </p:nvSpPr>
        <p:spPr>
          <a:xfrm>
            <a:off x="1768778" y="2583170"/>
            <a:ext cx="68450" cy="99347"/>
          </a:xfrm>
          <a:custGeom>
            <a:avLst/>
            <a:gdLst/>
            <a:ahLst/>
            <a:cxnLst/>
            <a:rect l="l" t="t" r="r" b="b"/>
            <a:pathLst>
              <a:path w="150495" h="218439">
                <a:moveTo>
                  <a:pt x="150403" y="218380"/>
                </a:moveTo>
                <a:lnTo>
                  <a:pt x="0" y="218380"/>
                </a:lnTo>
                <a:lnTo>
                  <a:pt x="0" y="0"/>
                </a:lnTo>
                <a:lnTo>
                  <a:pt x="150403" y="0"/>
                </a:lnTo>
                <a:lnTo>
                  <a:pt x="150403" y="218380"/>
                </a:lnTo>
                <a:close/>
              </a:path>
            </a:pathLst>
          </a:custGeom>
          <a:solidFill>
            <a:srgbClr val="C5C5C5"/>
          </a:solidFill>
        </p:spPr>
        <p:txBody>
          <a:bodyPr wrap="square" lIns="0" tIns="0" rIns="0" bIns="0" rtlCol="0"/>
          <a:lstStyle/>
          <a:p>
            <a:endParaRPr/>
          </a:p>
        </p:txBody>
      </p:sp>
      <p:sp>
        <p:nvSpPr>
          <p:cNvPr id="172" name="object 172"/>
          <p:cNvSpPr/>
          <p:nvPr/>
        </p:nvSpPr>
        <p:spPr>
          <a:xfrm>
            <a:off x="1760777" y="2742646"/>
            <a:ext cx="84624" cy="117252"/>
          </a:xfrm>
          <a:custGeom>
            <a:avLst/>
            <a:gdLst/>
            <a:ahLst/>
            <a:cxnLst/>
            <a:rect l="l" t="t" r="r" b="b"/>
            <a:pathLst>
              <a:path w="186054" h="257810">
                <a:moveTo>
                  <a:pt x="185585" y="257573"/>
                </a:moveTo>
                <a:lnTo>
                  <a:pt x="0" y="257573"/>
                </a:lnTo>
                <a:lnTo>
                  <a:pt x="0" y="0"/>
                </a:lnTo>
                <a:lnTo>
                  <a:pt x="185585" y="0"/>
                </a:lnTo>
                <a:lnTo>
                  <a:pt x="185585" y="257573"/>
                </a:lnTo>
                <a:close/>
              </a:path>
            </a:pathLst>
          </a:custGeom>
          <a:solidFill>
            <a:srgbClr val="808080"/>
          </a:solidFill>
        </p:spPr>
        <p:txBody>
          <a:bodyPr wrap="square" lIns="0" tIns="0" rIns="0" bIns="0" rtlCol="0"/>
          <a:lstStyle/>
          <a:p>
            <a:endParaRPr/>
          </a:p>
        </p:txBody>
      </p:sp>
      <p:sp>
        <p:nvSpPr>
          <p:cNvPr id="173" name="object 173"/>
          <p:cNvSpPr/>
          <p:nvPr/>
        </p:nvSpPr>
        <p:spPr>
          <a:xfrm>
            <a:off x="1768778" y="2751560"/>
            <a:ext cx="68450" cy="99347"/>
          </a:xfrm>
          <a:custGeom>
            <a:avLst/>
            <a:gdLst/>
            <a:ahLst/>
            <a:cxnLst/>
            <a:rect l="l" t="t" r="r" b="b"/>
            <a:pathLst>
              <a:path w="150495" h="218439">
                <a:moveTo>
                  <a:pt x="150403" y="218391"/>
                </a:moveTo>
                <a:lnTo>
                  <a:pt x="0" y="218391"/>
                </a:lnTo>
                <a:lnTo>
                  <a:pt x="0" y="0"/>
                </a:lnTo>
                <a:lnTo>
                  <a:pt x="150403" y="0"/>
                </a:lnTo>
                <a:lnTo>
                  <a:pt x="150403" y="218391"/>
                </a:lnTo>
                <a:close/>
              </a:path>
            </a:pathLst>
          </a:custGeom>
          <a:solidFill>
            <a:srgbClr val="C5C5C5"/>
          </a:solidFill>
        </p:spPr>
        <p:txBody>
          <a:bodyPr wrap="square" lIns="0" tIns="0" rIns="0" bIns="0" rtlCol="0"/>
          <a:lstStyle/>
          <a:p>
            <a:endParaRPr/>
          </a:p>
        </p:txBody>
      </p:sp>
      <p:sp>
        <p:nvSpPr>
          <p:cNvPr id="174" name="object 174"/>
          <p:cNvSpPr/>
          <p:nvPr/>
        </p:nvSpPr>
        <p:spPr>
          <a:xfrm>
            <a:off x="2027877" y="2574255"/>
            <a:ext cx="84624" cy="117252"/>
          </a:xfrm>
          <a:custGeom>
            <a:avLst/>
            <a:gdLst/>
            <a:ahLst/>
            <a:cxnLst/>
            <a:rect l="l" t="t" r="r" b="b"/>
            <a:pathLst>
              <a:path w="186054" h="257810">
                <a:moveTo>
                  <a:pt x="185585" y="257583"/>
                </a:moveTo>
                <a:lnTo>
                  <a:pt x="0" y="257583"/>
                </a:lnTo>
                <a:lnTo>
                  <a:pt x="0" y="0"/>
                </a:lnTo>
                <a:lnTo>
                  <a:pt x="185585" y="0"/>
                </a:lnTo>
                <a:lnTo>
                  <a:pt x="185585" y="257583"/>
                </a:lnTo>
                <a:close/>
              </a:path>
            </a:pathLst>
          </a:custGeom>
          <a:solidFill>
            <a:srgbClr val="808080"/>
          </a:solidFill>
        </p:spPr>
        <p:txBody>
          <a:bodyPr wrap="square" lIns="0" tIns="0" rIns="0" bIns="0" rtlCol="0"/>
          <a:lstStyle/>
          <a:p>
            <a:endParaRPr/>
          </a:p>
        </p:txBody>
      </p:sp>
      <p:sp>
        <p:nvSpPr>
          <p:cNvPr id="175" name="object 175"/>
          <p:cNvSpPr/>
          <p:nvPr/>
        </p:nvSpPr>
        <p:spPr>
          <a:xfrm>
            <a:off x="2035883" y="2583170"/>
            <a:ext cx="68450" cy="99347"/>
          </a:xfrm>
          <a:custGeom>
            <a:avLst/>
            <a:gdLst/>
            <a:ahLst/>
            <a:cxnLst/>
            <a:rect l="l" t="t" r="r" b="b"/>
            <a:pathLst>
              <a:path w="150495" h="218439">
                <a:moveTo>
                  <a:pt x="150403" y="218380"/>
                </a:moveTo>
                <a:lnTo>
                  <a:pt x="0" y="218380"/>
                </a:lnTo>
                <a:lnTo>
                  <a:pt x="0" y="0"/>
                </a:lnTo>
                <a:lnTo>
                  <a:pt x="150403" y="0"/>
                </a:lnTo>
                <a:lnTo>
                  <a:pt x="150403" y="218380"/>
                </a:lnTo>
                <a:close/>
              </a:path>
            </a:pathLst>
          </a:custGeom>
          <a:solidFill>
            <a:srgbClr val="C5C5C5"/>
          </a:solidFill>
        </p:spPr>
        <p:txBody>
          <a:bodyPr wrap="square" lIns="0" tIns="0" rIns="0" bIns="0" rtlCol="0"/>
          <a:lstStyle/>
          <a:p>
            <a:endParaRPr/>
          </a:p>
        </p:txBody>
      </p:sp>
      <p:sp>
        <p:nvSpPr>
          <p:cNvPr id="176" name="object 176"/>
          <p:cNvSpPr/>
          <p:nvPr/>
        </p:nvSpPr>
        <p:spPr>
          <a:xfrm>
            <a:off x="2027877" y="2742646"/>
            <a:ext cx="84624" cy="117252"/>
          </a:xfrm>
          <a:custGeom>
            <a:avLst/>
            <a:gdLst/>
            <a:ahLst/>
            <a:cxnLst/>
            <a:rect l="l" t="t" r="r" b="b"/>
            <a:pathLst>
              <a:path w="186054" h="257810">
                <a:moveTo>
                  <a:pt x="185585" y="257573"/>
                </a:moveTo>
                <a:lnTo>
                  <a:pt x="0" y="257573"/>
                </a:lnTo>
                <a:lnTo>
                  <a:pt x="0" y="0"/>
                </a:lnTo>
                <a:lnTo>
                  <a:pt x="185585" y="0"/>
                </a:lnTo>
                <a:lnTo>
                  <a:pt x="185585" y="257573"/>
                </a:lnTo>
                <a:close/>
              </a:path>
            </a:pathLst>
          </a:custGeom>
          <a:solidFill>
            <a:srgbClr val="808080"/>
          </a:solidFill>
        </p:spPr>
        <p:txBody>
          <a:bodyPr wrap="square" lIns="0" tIns="0" rIns="0" bIns="0" rtlCol="0"/>
          <a:lstStyle/>
          <a:p>
            <a:endParaRPr/>
          </a:p>
        </p:txBody>
      </p:sp>
      <p:sp>
        <p:nvSpPr>
          <p:cNvPr id="177" name="object 177"/>
          <p:cNvSpPr/>
          <p:nvPr/>
        </p:nvSpPr>
        <p:spPr>
          <a:xfrm>
            <a:off x="2035883" y="2751560"/>
            <a:ext cx="68450" cy="99347"/>
          </a:xfrm>
          <a:custGeom>
            <a:avLst/>
            <a:gdLst/>
            <a:ahLst/>
            <a:cxnLst/>
            <a:rect l="l" t="t" r="r" b="b"/>
            <a:pathLst>
              <a:path w="150495" h="218439">
                <a:moveTo>
                  <a:pt x="150403" y="218391"/>
                </a:moveTo>
                <a:lnTo>
                  <a:pt x="0" y="218391"/>
                </a:lnTo>
                <a:lnTo>
                  <a:pt x="0" y="0"/>
                </a:lnTo>
                <a:lnTo>
                  <a:pt x="150403" y="0"/>
                </a:lnTo>
                <a:lnTo>
                  <a:pt x="150403" y="218391"/>
                </a:lnTo>
                <a:close/>
              </a:path>
            </a:pathLst>
          </a:custGeom>
          <a:solidFill>
            <a:srgbClr val="C5C5C5"/>
          </a:solidFill>
        </p:spPr>
        <p:txBody>
          <a:bodyPr wrap="square" lIns="0" tIns="0" rIns="0" bIns="0" rtlCol="0"/>
          <a:lstStyle/>
          <a:p>
            <a:endParaRPr/>
          </a:p>
        </p:txBody>
      </p:sp>
      <p:sp>
        <p:nvSpPr>
          <p:cNvPr id="178" name="object 178"/>
          <p:cNvSpPr/>
          <p:nvPr/>
        </p:nvSpPr>
        <p:spPr>
          <a:xfrm>
            <a:off x="1863822" y="2123596"/>
            <a:ext cx="395393" cy="217754"/>
          </a:xfrm>
          <a:custGeom>
            <a:avLst/>
            <a:gdLst/>
            <a:ahLst/>
            <a:cxnLst/>
            <a:rect l="l" t="t" r="r" b="b"/>
            <a:pathLst>
              <a:path w="869314" h="478789">
                <a:moveTo>
                  <a:pt x="13036" y="0"/>
                </a:moveTo>
                <a:lnTo>
                  <a:pt x="0" y="22952"/>
                </a:lnTo>
                <a:lnTo>
                  <a:pt x="855963" y="478393"/>
                </a:lnTo>
                <a:lnTo>
                  <a:pt x="868957" y="455420"/>
                </a:lnTo>
                <a:lnTo>
                  <a:pt x="13036" y="0"/>
                </a:lnTo>
                <a:close/>
              </a:path>
            </a:pathLst>
          </a:custGeom>
          <a:solidFill>
            <a:srgbClr val="808080"/>
          </a:solidFill>
        </p:spPr>
        <p:txBody>
          <a:bodyPr wrap="square" lIns="0" tIns="0" rIns="0" bIns="0" rtlCol="0"/>
          <a:lstStyle/>
          <a:p>
            <a:endParaRPr/>
          </a:p>
        </p:txBody>
      </p:sp>
      <p:sp>
        <p:nvSpPr>
          <p:cNvPr id="179" name="object 179"/>
          <p:cNvSpPr/>
          <p:nvPr/>
        </p:nvSpPr>
        <p:spPr>
          <a:xfrm>
            <a:off x="1968362" y="2052752"/>
            <a:ext cx="227011" cy="218331"/>
          </a:xfrm>
          <a:custGeom>
            <a:avLst/>
            <a:gdLst/>
            <a:ahLst/>
            <a:cxnLst/>
            <a:rect l="l" t="t" r="r" b="b"/>
            <a:pathLst>
              <a:path w="499110" h="480060">
                <a:moveTo>
                  <a:pt x="270753" y="0"/>
                </a:moveTo>
                <a:lnTo>
                  <a:pt x="225574" y="282"/>
                </a:lnTo>
                <a:lnTo>
                  <a:pt x="181162" y="8598"/>
                </a:lnTo>
                <a:lnTo>
                  <a:pt x="140112" y="24222"/>
                </a:lnTo>
                <a:lnTo>
                  <a:pt x="103058" y="46383"/>
                </a:lnTo>
                <a:lnTo>
                  <a:pt x="70636" y="74309"/>
                </a:lnTo>
                <a:lnTo>
                  <a:pt x="43484" y="107229"/>
                </a:lnTo>
                <a:lnTo>
                  <a:pt x="22236" y="144371"/>
                </a:lnTo>
                <a:lnTo>
                  <a:pt x="7529" y="184963"/>
                </a:lnTo>
                <a:lnTo>
                  <a:pt x="0" y="228235"/>
                </a:lnTo>
                <a:lnTo>
                  <a:pt x="282" y="273415"/>
                </a:lnTo>
                <a:lnTo>
                  <a:pt x="4328" y="295020"/>
                </a:lnTo>
                <a:lnTo>
                  <a:pt x="346555" y="479448"/>
                </a:lnTo>
                <a:lnTo>
                  <a:pt x="358868" y="474763"/>
                </a:lnTo>
                <a:lnTo>
                  <a:pt x="395919" y="452605"/>
                </a:lnTo>
                <a:lnTo>
                  <a:pt x="428338" y="424681"/>
                </a:lnTo>
                <a:lnTo>
                  <a:pt x="455489" y="391763"/>
                </a:lnTo>
                <a:lnTo>
                  <a:pt x="476734" y="354622"/>
                </a:lnTo>
                <a:lnTo>
                  <a:pt x="491438" y="314029"/>
                </a:lnTo>
                <a:lnTo>
                  <a:pt x="498964" y="270756"/>
                </a:lnTo>
                <a:lnTo>
                  <a:pt x="498676" y="225574"/>
                </a:lnTo>
                <a:lnTo>
                  <a:pt x="490363" y="181165"/>
                </a:lnTo>
                <a:lnTo>
                  <a:pt x="474744" y="140115"/>
                </a:lnTo>
                <a:lnTo>
                  <a:pt x="452587" y="103062"/>
                </a:lnTo>
                <a:lnTo>
                  <a:pt x="424666" y="70640"/>
                </a:lnTo>
                <a:lnTo>
                  <a:pt x="391751" y="43487"/>
                </a:lnTo>
                <a:lnTo>
                  <a:pt x="354612" y="22238"/>
                </a:lnTo>
                <a:lnTo>
                  <a:pt x="314023" y="7530"/>
                </a:lnTo>
                <a:lnTo>
                  <a:pt x="270753" y="0"/>
                </a:lnTo>
                <a:close/>
              </a:path>
            </a:pathLst>
          </a:custGeom>
          <a:solidFill>
            <a:srgbClr val="DC9D02"/>
          </a:solidFill>
        </p:spPr>
        <p:txBody>
          <a:bodyPr wrap="square" lIns="0" tIns="0" rIns="0" bIns="0" rtlCol="0"/>
          <a:lstStyle/>
          <a:p>
            <a:endParaRPr/>
          </a:p>
        </p:txBody>
      </p:sp>
      <p:sp>
        <p:nvSpPr>
          <p:cNvPr id="180" name="object 180"/>
          <p:cNvSpPr/>
          <p:nvPr/>
        </p:nvSpPr>
        <p:spPr>
          <a:xfrm>
            <a:off x="1968362" y="2052752"/>
            <a:ext cx="227011" cy="218331"/>
          </a:xfrm>
          <a:custGeom>
            <a:avLst/>
            <a:gdLst/>
            <a:ahLst/>
            <a:cxnLst/>
            <a:rect l="l" t="t" r="r" b="b"/>
            <a:pathLst>
              <a:path w="499110" h="480060">
                <a:moveTo>
                  <a:pt x="270753" y="0"/>
                </a:moveTo>
                <a:lnTo>
                  <a:pt x="225574" y="282"/>
                </a:lnTo>
                <a:lnTo>
                  <a:pt x="181162" y="8598"/>
                </a:lnTo>
                <a:lnTo>
                  <a:pt x="140112" y="24222"/>
                </a:lnTo>
                <a:lnTo>
                  <a:pt x="103058" y="46383"/>
                </a:lnTo>
                <a:lnTo>
                  <a:pt x="70636" y="74309"/>
                </a:lnTo>
                <a:lnTo>
                  <a:pt x="43484" y="107229"/>
                </a:lnTo>
                <a:lnTo>
                  <a:pt x="22236" y="144371"/>
                </a:lnTo>
                <a:lnTo>
                  <a:pt x="7529" y="184963"/>
                </a:lnTo>
                <a:lnTo>
                  <a:pt x="0" y="228235"/>
                </a:lnTo>
                <a:lnTo>
                  <a:pt x="282" y="273415"/>
                </a:lnTo>
                <a:lnTo>
                  <a:pt x="4328" y="295020"/>
                </a:lnTo>
                <a:lnTo>
                  <a:pt x="346555" y="479448"/>
                </a:lnTo>
                <a:lnTo>
                  <a:pt x="358868" y="474763"/>
                </a:lnTo>
                <a:lnTo>
                  <a:pt x="395919" y="452605"/>
                </a:lnTo>
                <a:lnTo>
                  <a:pt x="428338" y="424681"/>
                </a:lnTo>
                <a:lnTo>
                  <a:pt x="455489" y="391763"/>
                </a:lnTo>
                <a:lnTo>
                  <a:pt x="476734" y="354622"/>
                </a:lnTo>
                <a:lnTo>
                  <a:pt x="491438" y="314029"/>
                </a:lnTo>
                <a:lnTo>
                  <a:pt x="498964" y="270756"/>
                </a:lnTo>
                <a:lnTo>
                  <a:pt x="498676" y="225574"/>
                </a:lnTo>
                <a:lnTo>
                  <a:pt x="490363" y="181165"/>
                </a:lnTo>
                <a:lnTo>
                  <a:pt x="474744" y="140115"/>
                </a:lnTo>
                <a:lnTo>
                  <a:pt x="452587" y="103062"/>
                </a:lnTo>
                <a:lnTo>
                  <a:pt x="424666" y="70640"/>
                </a:lnTo>
                <a:lnTo>
                  <a:pt x="391751" y="43487"/>
                </a:lnTo>
                <a:lnTo>
                  <a:pt x="354612" y="22238"/>
                </a:lnTo>
                <a:lnTo>
                  <a:pt x="314023" y="7530"/>
                </a:lnTo>
                <a:lnTo>
                  <a:pt x="270753" y="0"/>
                </a:lnTo>
                <a:close/>
              </a:path>
            </a:pathLst>
          </a:custGeom>
          <a:solidFill>
            <a:srgbClr val="FFB400"/>
          </a:solidFill>
        </p:spPr>
        <p:txBody>
          <a:bodyPr wrap="square" lIns="0" tIns="0" rIns="0" bIns="0" rtlCol="0"/>
          <a:lstStyle/>
          <a:p>
            <a:endParaRPr/>
          </a:p>
        </p:txBody>
      </p:sp>
      <p:sp>
        <p:nvSpPr>
          <p:cNvPr id="181" name="object 181"/>
          <p:cNvSpPr/>
          <p:nvPr/>
        </p:nvSpPr>
        <p:spPr>
          <a:xfrm>
            <a:off x="1986418" y="2070816"/>
            <a:ext cx="190909" cy="188297"/>
          </a:xfrm>
          <a:custGeom>
            <a:avLst/>
            <a:gdLst/>
            <a:ahLst/>
            <a:cxnLst/>
            <a:rect l="l" t="t" r="r" b="b"/>
            <a:pathLst>
              <a:path w="419735" h="414020">
                <a:moveTo>
                  <a:pt x="189648" y="0"/>
                </a:moveTo>
                <a:lnTo>
                  <a:pt x="142075" y="10157"/>
                </a:lnTo>
                <a:lnTo>
                  <a:pt x="99433" y="30177"/>
                </a:lnTo>
                <a:lnTo>
                  <a:pt x="62858" y="58680"/>
                </a:lnTo>
                <a:lnTo>
                  <a:pt x="33490" y="94286"/>
                </a:lnTo>
                <a:lnTo>
                  <a:pt x="12466" y="135615"/>
                </a:lnTo>
                <a:lnTo>
                  <a:pt x="923" y="181286"/>
                </a:lnTo>
                <a:lnTo>
                  <a:pt x="0" y="229919"/>
                </a:lnTo>
                <a:lnTo>
                  <a:pt x="10157" y="277488"/>
                </a:lnTo>
                <a:lnTo>
                  <a:pt x="11632" y="280630"/>
                </a:lnTo>
                <a:lnTo>
                  <a:pt x="258219" y="413517"/>
                </a:lnTo>
                <a:lnTo>
                  <a:pt x="277503" y="409400"/>
                </a:lnTo>
                <a:lnTo>
                  <a:pt x="320147" y="389378"/>
                </a:lnTo>
                <a:lnTo>
                  <a:pt x="356723" y="360873"/>
                </a:lnTo>
                <a:lnTo>
                  <a:pt x="386092" y="325266"/>
                </a:lnTo>
                <a:lnTo>
                  <a:pt x="407117" y="283937"/>
                </a:lnTo>
                <a:lnTo>
                  <a:pt x="418658" y="238268"/>
                </a:lnTo>
                <a:lnTo>
                  <a:pt x="419578" y="189638"/>
                </a:lnTo>
                <a:lnTo>
                  <a:pt x="409420" y="142071"/>
                </a:lnTo>
                <a:lnTo>
                  <a:pt x="389399" y="99432"/>
                </a:lnTo>
                <a:lnTo>
                  <a:pt x="360893" y="62857"/>
                </a:lnTo>
                <a:lnTo>
                  <a:pt x="325285" y="33488"/>
                </a:lnTo>
                <a:lnTo>
                  <a:pt x="283955" y="12463"/>
                </a:lnTo>
                <a:lnTo>
                  <a:pt x="238282" y="920"/>
                </a:lnTo>
                <a:lnTo>
                  <a:pt x="189648" y="0"/>
                </a:lnTo>
                <a:close/>
              </a:path>
            </a:pathLst>
          </a:custGeom>
          <a:solidFill>
            <a:srgbClr val="FFC203"/>
          </a:solidFill>
        </p:spPr>
        <p:txBody>
          <a:bodyPr wrap="square" lIns="0" tIns="0" rIns="0" bIns="0" rtlCol="0"/>
          <a:lstStyle/>
          <a:p>
            <a:endParaRPr/>
          </a:p>
        </p:txBody>
      </p:sp>
      <p:sp>
        <p:nvSpPr>
          <p:cNvPr id="182" name="object 182"/>
          <p:cNvSpPr/>
          <p:nvPr/>
        </p:nvSpPr>
        <p:spPr>
          <a:xfrm>
            <a:off x="2072675" y="1942875"/>
            <a:ext cx="225856" cy="225840"/>
          </a:xfrm>
          <a:custGeom>
            <a:avLst/>
            <a:gdLst/>
            <a:ahLst/>
            <a:cxnLst/>
            <a:rect l="l" t="t" r="r" b="b"/>
            <a:pathLst>
              <a:path w="496570" h="496570">
                <a:moveTo>
                  <a:pt x="269395" y="0"/>
                </a:moveTo>
                <a:lnTo>
                  <a:pt x="224443" y="285"/>
                </a:lnTo>
                <a:lnTo>
                  <a:pt x="180254" y="8557"/>
                </a:lnTo>
                <a:lnTo>
                  <a:pt x="139409" y="24101"/>
                </a:lnTo>
                <a:lnTo>
                  <a:pt x="102540" y="46149"/>
                </a:lnTo>
                <a:lnTo>
                  <a:pt x="70282" y="73934"/>
                </a:lnTo>
                <a:lnTo>
                  <a:pt x="43265" y="106688"/>
                </a:lnTo>
                <a:lnTo>
                  <a:pt x="22124" y="143643"/>
                </a:lnTo>
                <a:lnTo>
                  <a:pt x="7491" y="184033"/>
                </a:lnTo>
                <a:lnTo>
                  <a:pt x="0" y="227090"/>
                </a:lnTo>
                <a:lnTo>
                  <a:pt x="282" y="272046"/>
                </a:lnTo>
                <a:lnTo>
                  <a:pt x="8557" y="316232"/>
                </a:lnTo>
                <a:lnTo>
                  <a:pt x="24102" y="357075"/>
                </a:lnTo>
                <a:lnTo>
                  <a:pt x="46151" y="393943"/>
                </a:lnTo>
                <a:lnTo>
                  <a:pt x="73935" y="426202"/>
                </a:lnTo>
                <a:lnTo>
                  <a:pt x="106688" y="453218"/>
                </a:lnTo>
                <a:lnTo>
                  <a:pt x="143643" y="474359"/>
                </a:lnTo>
                <a:lnTo>
                  <a:pt x="184032" y="488991"/>
                </a:lnTo>
                <a:lnTo>
                  <a:pt x="227088" y="496481"/>
                </a:lnTo>
                <a:lnTo>
                  <a:pt x="272043" y="496196"/>
                </a:lnTo>
                <a:lnTo>
                  <a:pt x="316229" y="487924"/>
                </a:lnTo>
                <a:lnTo>
                  <a:pt x="357072" y="472380"/>
                </a:lnTo>
                <a:lnTo>
                  <a:pt x="393940" y="450332"/>
                </a:lnTo>
                <a:lnTo>
                  <a:pt x="426198" y="422547"/>
                </a:lnTo>
                <a:lnTo>
                  <a:pt x="453213" y="389793"/>
                </a:lnTo>
                <a:lnTo>
                  <a:pt x="474353" y="352837"/>
                </a:lnTo>
                <a:lnTo>
                  <a:pt x="488983" y="312447"/>
                </a:lnTo>
                <a:lnTo>
                  <a:pt x="496471" y="269391"/>
                </a:lnTo>
                <a:lnTo>
                  <a:pt x="496183" y="224435"/>
                </a:lnTo>
                <a:lnTo>
                  <a:pt x="487911" y="180249"/>
                </a:lnTo>
                <a:lnTo>
                  <a:pt x="472368" y="139406"/>
                </a:lnTo>
                <a:lnTo>
                  <a:pt x="450322" y="102538"/>
                </a:lnTo>
                <a:lnTo>
                  <a:pt x="422539" y="70279"/>
                </a:lnTo>
                <a:lnTo>
                  <a:pt x="389788" y="43263"/>
                </a:lnTo>
                <a:lnTo>
                  <a:pt x="352835" y="22122"/>
                </a:lnTo>
                <a:lnTo>
                  <a:pt x="312448" y="7490"/>
                </a:lnTo>
                <a:lnTo>
                  <a:pt x="269395" y="0"/>
                </a:lnTo>
                <a:close/>
              </a:path>
            </a:pathLst>
          </a:custGeom>
          <a:solidFill>
            <a:srgbClr val="DC9D02"/>
          </a:solidFill>
        </p:spPr>
        <p:txBody>
          <a:bodyPr wrap="square" lIns="0" tIns="0" rIns="0" bIns="0" rtlCol="0"/>
          <a:lstStyle/>
          <a:p>
            <a:endParaRPr/>
          </a:p>
        </p:txBody>
      </p:sp>
      <p:sp>
        <p:nvSpPr>
          <p:cNvPr id="183" name="object 183"/>
          <p:cNvSpPr/>
          <p:nvPr/>
        </p:nvSpPr>
        <p:spPr>
          <a:xfrm>
            <a:off x="2072675" y="1942875"/>
            <a:ext cx="225856" cy="225840"/>
          </a:xfrm>
          <a:custGeom>
            <a:avLst/>
            <a:gdLst/>
            <a:ahLst/>
            <a:cxnLst/>
            <a:rect l="l" t="t" r="r" b="b"/>
            <a:pathLst>
              <a:path w="496570" h="496570">
                <a:moveTo>
                  <a:pt x="269395" y="0"/>
                </a:moveTo>
                <a:lnTo>
                  <a:pt x="224443" y="285"/>
                </a:lnTo>
                <a:lnTo>
                  <a:pt x="180254" y="8557"/>
                </a:lnTo>
                <a:lnTo>
                  <a:pt x="139409" y="24101"/>
                </a:lnTo>
                <a:lnTo>
                  <a:pt x="102540" y="46149"/>
                </a:lnTo>
                <a:lnTo>
                  <a:pt x="70282" y="73934"/>
                </a:lnTo>
                <a:lnTo>
                  <a:pt x="43265" y="106688"/>
                </a:lnTo>
                <a:lnTo>
                  <a:pt x="22124" y="143643"/>
                </a:lnTo>
                <a:lnTo>
                  <a:pt x="7491" y="184033"/>
                </a:lnTo>
                <a:lnTo>
                  <a:pt x="0" y="227090"/>
                </a:lnTo>
                <a:lnTo>
                  <a:pt x="282" y="272046"/>
                </a:lnTo>
                <a:lnTo>
                  <a:pt x="8557" y="316232"/>
                </a:lnTo>
                <a:lnTo>
                  <a:pt x="24102" y="357075"/>
                </a:lnTo>
                <a:lnTo>
                  <a:pt x="46151" y="393943"/>
                </a:lnTo>
                <a:lnTo>
                  <a:pt x="73935" y="426202"/>
                </a:lnTo>
                <a:lnTo>
                  <a:pt x="106688" y="453218"/>
                </a:lnTo>
                <a:lnTo>
                  <a:pt x="143643" y="474359"/>
                </a:lnTo>
                <a:lnTo>
                  <a:pt x="184032" y="488991"/>
                </a:lnTo>
                <a:lnTo>
                  <a:pt x="227088" y="496481"/>
                </a:lnTo>
                <a:lnTo>
                  <a:pt x="272043" y="496196"/>
                </a:lnTo>
                <a:lnTo>
                  <a:pt x="316229" y="487924"/>
                </a:lnTo>
                <a:lnTo>
                  <a:pt x="357072" y="472380"/>
                </a:lnTo>
                <a:lnTo>
                  <a:pt x="393940" y="450332"/>
                </a:lnTo>
                <a:lnTo>
                  <a:pt x="426198" y="422547"/>
                </a:lnTo>
                <a:lnTo>
                  <a:pt x="453213" y="389793"/>
                </a:lnTo>
                <a:lnTo>
                  <a:pt x="474353" y="352837"/>
                </a:lnTo>
                <a:lnTo>
                  <a:pt x="488983" y="312447"/>
                </a:lnTo>
                <a:lnTo>
                  <a:pt x="496471" y="269391"/>
                </a:lnTo>
                <a:lnTo>
                  <a:pt x="496183" y="224435"/>
                </a:lnTo>
                <a:lnTo>
                  <a:pt x="487911" y="180249"/>
                </a:lnTo>
                <a:lnTo>
                  <a:pt x="472368" y="139406"/>
                </a:lnTo>
                <a:lnTo>
                  <a:pt x="450322" y="102538"/>
                </a:lnTo>
                <a:lnTo>
                  <a:pt x="422539" y="70279"/>
                </a:lnTo>
                <a:lnTo>
                  <a:pt x="389788" y="43263"/>
                </a:lnTo>
                <a:lnTo>
                  <a:pt x="352835" y="22122"/>
                </a:lnTo>
                <a:lnTo>
                  <a:pt x="312448" y="7490"/>
                </a:lnTo>
                <a:lnTo>
                  <a:pt x="269395" y="0"/>
                </a:lnTo>
                <a:close/>
              </a:path>
            </a:pathLst>
          </a:custGeom>
          <a:solidFill>
            <a:srgbClr val="FFB400"/>
          </a:solidFill>
        </p:spPr>
        <p:txBody>
          <a:bodyPr wrap="square" lIns="0" tIns="0" rIns="0" bIns="0" rtlCol="0"/>
          <a:lstStyle/>
          <a:p>
            <a:endParaRPr/>
          </a:p>
        </p:txBody>
      </p:sp>
      <p:sp>
        <p:nvSpPr>
          <p:cNvPr id="184" name="object 184"/>
          <p:cNvSpPr/>
          <p:nvPr/>
        </p:nvSpPr>
        <p:spPr>
          <a:xfrm>
            <a:off x="2090638" y="1960841"/>
            <a:ext cx="190043" cy="190029"/>
          </a:xfrm>
          <a:custGeom>
            <a:avLst/>
            <a:gdLst/>
            <a:ahLst/>
            <a:cxnLst/>
            <a:rect l="l" t="t" r="r" b="b"/>
            <a:pathLst>
              <a:path w="417829" h="417829">
                <a:moveTo>
                  <a:pt x="188706" y="0"/>
                </a:moveTo>
                <a:lnTo>
                  <a:pt x="141370" y="10107"/>
                </a:lnTo>
                <a:lnTo>
                  <a:pt x="98940" y="30029"/>
                </a:lnTo>
                <a:lnTo>
                  <a:pt x="62548" y="58390"/>
                </a:lnTo>
                <a:lnTo>
                  <a:pt x="33327" y="93819"/>
                </a:lnTo>
                <a:lnTo>
                  <a:pt x="12407" y="134943"/>
                </a:lnTo>
                <a:lnTo>
                  <a:pt x="921" y="180386"/>
                </a:lnTo>
                <a:lnTo>
                  <a:pt x="0" y="228778"/>
                </a:lnTo>
                <a:lnTo>
                  <a:pt x="10107" y="276110"/>
                </a:lnTo>
                <a:lnTo>
                  <a:pt x="30029" y="318537"/>
                </a:lnTo>
                <a:lnTo>
                  <a:pt x="58391" y="354926"/>
                </a:lnTo>
                <a:lnTo>
                  <a:pt x="93821" y="384145"/>
                </a:lnTo>
                <a:lnTo>
                  <a:pt x="134946" y="405063"/>
                </a:lnTo>
                <a:lnTo>
                  <a:pt x="180393" y="416546"/>
                </a:lnTo>
                <a:lnTo>
                  <a:pt x="228788" y="417463"/>
                </a:lnTo>
                <a:lnTo>
                  <a:pt x="276122" y="407356"/>
                </a:lnTo>
                <a:lnTo>
                  <a:pt x="318551" y="387436"/>
                </a:lnTo>
                <a:lnTo>
                  <a:pt x="354944" y="359076"/>
                </a:lnTo>
                <a:lnTo>
                  <a:pt x="384167" y="323650"/>
                </a:lnTo>
                <a:lnTo>
                  <a:pt x="405086" y="282529"/>
                </a:lnTo>
                <a:lnTo>
                  <a:pt x="416570" y="237086"/>
                </a:lnTo>
                <a:lnTo>
                  <a:pt x="417484" y="188695"/>
                </a:lnTo>
                <a:lnTo>
                  <a:pt x="407376" y="141362"/>
                </a:lnTo>
                <a:lnTo>
                  <a:pt x="387455" y="98934"/>
                </a:lnTo>
                <a:lnTo>
                  <a:pt x="359093" y="62543"/>
                </a:lnTo>
                <a:lnTo>
                  <a:pt x="323664" y="33322"/>
                </a:lnTo>
                <a:lnTo>
                  <a:pt x="282541" y="12402"/>
                </a:lnTo>
                <a:lnTo>
                  <a:pt x="237097" y="917"/>
                </a:lnTo>
                <a:lnTo>
                  <a:pt x="188706" y="0"/>
                </a:lnTo>
                <a:close/>
              </a:path>
            </a:pathLst>
          </a:custGeom>
          <a:solidFill>
            <a:srgbClr val="FFC203"/>
          </a:solidFill>
        </p:spPr>
        <p:txBody>
          <a:bodyPr wrap="square" lIns="0" tIns="0" rIns="0" bIns="0" rtlCol="0"/>
          <a:lstStyle/>
          <a:p>
            <a:endParaRPr/>
          </a:p>
        </p:txBody>
      </p:sp>
      <p:sp>
        <p:nvSpPr>
          <p:cNvPr id="185" name="object 185"/>
          <p:cNvSpPr txBox="1"/>
          <p:nvPr/>
        </p:nvSpPr>
        <p:spPr>
          <a:xfrm rot="21300000">
            <a:off x="1995220" y="2043131"/>
            <a:ext cx="259141" cy="128240"/>
          </a:xfrm>
          <a:prstGeom prst="rect">
            <a:avLst/>
          </a:prstGeom>
        </p:spPr>
        <p:txBody>
          <a:bodyPr vert="horz" wrap="square" lIns="0" tIns="0" rIns="0" bIns="0" rtlCol="0">
            <a:spAutoFit/>
          </a:bodyPr>
          <a:lstStyle/>
          <a:p>
            <a:pPr>
              <a:lnSpc>
                <a:spcPts val="960"/>
              </a:lnSpc>
            </a:pPr>
            <a:r>
              <a:rPr sz="1900" b="1" spc="7" baseline="-35353" dirty="0">
                <a:solidFill>
                  <a:srgbClr val="FFB400"/>
                </a:solidFill>
                <a:latin typeface="Helvetica Neue"/>
                <a:cs typeface="Helvetica Neue"/>
              </a:rPr>
              <a:t>€</a:t>
            </a:r>
            <a:r>
              <a:rPr sz="1900" b="1" spc="-314" baseline="-35353" dirty="0">
                <a:solidFill>
                  <a:srgbClr val="FFB400"/>
                </a:solidFill>
                <a:latin typeface="Helvetica Neue"/>
                <a:cs typeface="Helvetica Neue"/>
              </a:rPr>
              <a:t> </a:t>
            </a:r>
            <a:r>
              <a:rPr sz="1300" b="1" spc="2" dirty="0">
                <a:solidFill>
                  <a:srgbClr val="FFB400"/>
                </a:solidFill>
                <a:latin typeface="Helvetica Neue"/>
                <a:cs typeface="Helvetica Neue"/>
              </a:rPr>
              <a:t>€</a:t>
            </a:r>
            <a:endParaRPr sz="1300">
              <a:latin typeface="Helvetica Neue"/>
              <a:cs typeface="Helvetica Neue"/>
            </a:endParaRPr>
          </a:p>
        </p:txBody>
      </p:sp>
      <p:sp>
        <p:nvSpPr>
          <p:cNvPr id="186" name="object 186"/>
          <p:cNvSpPr/>
          <p:nvPr/>
        </p:nvSpPr>
        <p:spPr>
          <a:xfrm>
            <a:off x="2228882" y="1829574"/>
            <a:ext cx="225856" cy="225840"/>
          </a:xfrm>
          <a:custGeom>
            <a:avLst/>
            <a:gdLst/>
            <a:ahLst/>
            <a:cxnLst/>
            <a:rect l="l" t="t" r="r" b="b"/>
            <a:pathLst>
              <a:path w="496570" h="496570">
                <a:moveTo>
                  <a:pt x="269405" y="0"/>
                </a:moveTo>
                <a:lnTo>
                  <a:pt x="224453" y="284"/>
                </a:lnTo>
                <a:lnTo>
                  <a:pt x="180264" y="8559"/>
                </a:lnTo>
                <a:lnTo>
                  <a:pt x="139418" y="24106"/>
                </a:lnTo>
                <a:lnTo>
                  <a:pt x="102548" y="46155"/>
                </a:lnTo>
                <a:lnTo>
                  <a:pt x="70287" y="73941"/>
                </a:lnTo>
                <a:lnTo>
                  <a:pt x="43269" y="106695"/>
                </a:lnTo>
                <a:lnTo>
                  <a:pt x="22126" y="143650"/>
                </a:lnTo>
                <a:lnTo>
                  <a:pt x="7492" y="184039"/>
                </a:lnTo>
                <a:lnTo>
                  <a:pt x="0" y="227093"/>
                </a:lnTo>
                <a:lnTo>
                  <a:pt x="281" y="272046"/>
                </a:lnTo>
                <a:lnTo>
                  <a:pt x="8557" y="316234"/>
                </a:lnTo>
                <a:lnTo>
                  <a:pt x="24103" y="357079"/>
                </a:lnTo>
                <a:lnTo>
                  <a:pt x="46153" y="393948"/>
                </a:lnTo>
                <a:lnTo>
                  <a:pt x="73939" y="426207"/>
                </a:lnTo>
                <a:lnTo>
                  <a:pt x="106694" y="453223"/>
                </a:lnTo>
                <a:lnTo>
                  <a:pt x="143650" y="474364"/>
                </a:lnTo>
                <a:lnTo>
                  <a:pt x="184041" y="488997"/>
                </a:lnTo>
                <a:lnTo>
                  <a:pt x="227097" y="496489"/>
                </a:lnTo>
                <a:lnTo>
                  <a:pt x="272053" y="496206"/>
                </a:lnTo>
                <a:lnTo>
                  <a:pt x="316239" y="487931"/>
                </a:lnTo>
                <a:lnTo>
                  <a:pt x="357081" y="472385"/>
                </a:lnTo>
                <a:lnTo>
                  <a:pt x="393948" y="450335"/>
                </a:lnTo>
                <a:lnTo>
                  <a:pt x="426205" y="422549"/>
                </a:lnTo>
                <a:lnTo>
                  <a:pt x="453219" y="389794"/>
                </a:lnTo>
                <a:lnTo>
                  <a:pt x="474359" y="352837"/>
                </a:lnTo>
                <a:lnTo>
                  <a:pt x="488989" y="312447"/>
                </a:lnTo>
                <a:lnTo>
                  <a:pt x="496479" y="269390"/>
                </a:lnTo>
                <a:lnTo>
                  <a:pt x="496193" y="224434"/>
                </a:lnTo>
                <a:lnTo>
                  <a:pt x="487921" y="180251"/>
                </a:lnTo>
                <a:lnTo>
                  <a:pt x="472379" y="139409"/>
                </a:lnTo>
                <a:lnTo>
                  <a:pt x="450332" y="102542"/>
                </a:lnTo>
                <a:lnTo>
                  <a:pt x="422549" y="70283"/>
                </a:lnTo>
                <a:lnTo>
                  <a:pt x="389798" y="43266"/>
                </a:lnTo>
                <a:lnTo>
                  <a:pt x="352845" y="22124"/>
                </a:lnTo>
                <a:lnTo>
                  <a:pt x="312458" y="7491"/>
                </a:lnTo>
                <a:lnTo>
                  <a:pt x="269405" y="0"/>
                </a:lnTo>
                <a:close/>
              </a:path>
            </a:pathLst>
          </a:custGeom>
          <a:solidFill>
            <a:srgbClr val="DC9D02"/>
          </a:solidFill>
        </p:spPr>
        <p:txBody>
          <a:bodyPr wrap="square" lIns="0" tIns="0" rIns="0" bIns="0" rtlCol="0"/>
          <a:lstStyle/>
          <a:p>
            <a:endParaRPr/>
          </a:p>
        </p:txBody>
      </p:sp>
      <p:sp>
        <p:nvSpPr>
          <p:cNvPr id="187" name="object 187"/>
          <p:cNvSpPr/>
          <p:nvPr/>
        </p:nvSpPr>
        <p:spPr>
          <a:xfrm>
            <a:off x="2228882" y="1829574"/>
            <a:ext cx="225856" cy="225840"/>
          </a:xfrm>
          <a:custGeom>
            <a:avLst/>
            <a:gdLst/>
            <a:ahLst/>
            <a:cxnLst/>
            <a:rect l="l" t="t" r="r" b="b"/>
            <a:pathLst>
              <a:path w="496570" h="496570">
                <a:moveTo>
                  <a:pt x="269405" y="0"/>
                </a:moveTo>
                <a:lnTo>
                  <a:pt x="224453" y="284"/>
                </a:lnTo>
                <a:lnTo>
                  <a:pt x="180264" y="8559"/>
                </a:lnTo>
                <a:lnTo>
                  <a:pt x="139418" y="24106"/>
                </a:lnTo>
                <a:lnTo>
                  <a:pt x="102548" y="46155"/>
                </a:lnTo>
                <a:lnTo>
                  <a:pt x="70287" y="73941"/>
                </a:lnTo>
                <a:lnTo>
                  <a:pt x="43269" y="106695"/>
                </a:lnTo>
                <a:lnTo>
                  <a:pt x="22126" y="143650"/>
                </a:lnTo>
                <a:lnTo>
                  <a:pt x="7492" y="184039"/>
                </a:lnTo>
                <a:lnTo>
                  <a:pt x="0" y="227093"/>
                </a:lnTo>
                <a:lnTo>
                  <a:pt x="281" y="272046"/>
                </a:lnTo>
                <a:lnTo>
                  <a:pt x="8557" y="316234"/>
                </a:lnTo>
                <a:lnTo>
                  <a:pt x="24103" y="357079"/>
                </a:lnTo>
                <a:lnTo>
                  <a:pt x="46153" y="393948"/>
                </a:lnTo>
                <a:lnTo>
                  <a:pt x="73939" y="426207"/>
                </a:lnTo>
                <a:lnTo>
                  <a:pt x="106694" y="453223"/>
                </a:lnTo>
                <a:lnTo>
                  <a:pt x="143650" y="474364"/>
                </a:lnTo>
                <a:lnTo>
                  <a:pt x="184041" y="488997"/>
                </a:lnTo>
                <a:lnTo>
                  <a:pt x="227097" y="496489"/>
                </a:lnTo>
                <a:lnTo>
                  <a:pt x="272053" y="496206"/>
                </a:lnTo>
                <a:lnTo>
                  <a:pt x="316239" y="487931"/>
                </a:lnTo>
                <a:lnTo>
                  <a:pt x="357081" y="472385"/>
                </a:lnTo>
                <a:lnTo>
                  <a:pt x="393948" y="450335"/>
                </a:lnTo>
                <a:lnTo>
                  <a:pt x="426205" y="422549"/>
                </a:lnTo>
                <a:lnTo>
                  <a:pt x="453219" y="389794"/>
                </a:lnTo>
                <a:lnTo>
                  <a:pt x="474359" y="352837"/>
                </a:lnTo>
                <a:lnTo>
                  <a:pt x="488989" y="312447"/>
                </a:lnTo>
                <a:lnTo>
                  <a:pt x="496479" y="269390"/>
                </a:lnTo>
                <a:lnTo>
                  <a:pt x="496193" y="224434"/>
                </a:lnTo>
                <a:lnTo>
                  <a:pt x="487921" y="180251"/>
                </a:lnTo>
                <a:lnTo>
                  <a:pt x="472379" y="139409"/>
                </a:lnTo>
                <a:lnTo>
                  <a:pt x="450332" y="102542"/>
                </a:lnTo>
                <a:lnTo>
                  <a:pt x="422549" y="70283"/>
                </a:lnTo>
                <a:lnTo>
                  <a:pt x="389798" y="43266"/>
                </a:lnTo>
                <a:lnTo>
                  <a:pt x="352845" y="22124"/>
                </a:lnTo>
                <a:lnTo>
                  <a:pt x="312458" y="7491"/>
                </a:lnTo>
                <a:lnTo>
                  <a:pt x="269405" y="0"/>
                </a:lnTo>
                <a:close/>
              </a:path>
            </a:pathLst>
          </a:custGeom>
          <a:solidFill>
            <a:srgbClr val="FFB400"/>
          </a:solidFill>
        </p:spPr>
        <p:txBody>
          <a:bodyPr wrap="square" lIns="0" tIns="0" rIns="0" bIns="0" rtlCol="0"/>
          <a:lstStyle/>
          <a:p>
            <a:endParaRPr/>
          </a:p>
        </p:txBody>
      </p:sp>
      <p:sp>
        <p:nvSpPr>
          <p:cNvPr id="188" name="object 188"/>
          <p:cNvSpPr/>
          <p:nvPr/>
        </p:nvSpPr>
        <p:spPr>
          <a:xfrm>
            <a:off x="2246850" y="1847544"/>
            <a:ext cx="190043" cy="190029"/>
          </a:xfrm>
          <a:custGeom>
            <a:avLst/>
            <a:gdLst/>
            <a:ahLst/>
            <a:cxnLst/>
            <a:rect l="l" t="t" r="r" b="b"/>
            <a:pathLst>
              <a:path w="417829" h="417829">
                <a:moveTo>
                  <a:pt x="188706" y="0"/>
                </a:moveTo>
                <a:lnTo>
                  <a:pt x="141369" y="10107"/>
                </a:lnTo>
                <a:lnTo>
                  <a:pt x="98938" y="30027"/>
                </a:lnTo>
                <a:lnTo>
                  <a:pt x="62545" y="58386"/>
                </a:lnTo>
                <a:lnTo>
                  <a:pt x="33322" y="93813"/>
                </a:lnTo>
                <a:lnTo>
                  <a:pt x="12402" y="134934"/>
                </a:lnTo>
                <a:lnTo>
                  <a:pt x="917" y="180376"/>
                </a:lnTo>
                <a:lnTo>
                  <a:pt x="0" y="228767"/>
                </a:lnTo>
                <a:lnTo>
                  <a:pt x="10107" y="276100"/>
                </a:lnTo>
                <a:lnTo>
                  <a:pt x="30029" y="318527"/>
                </a:lnTo>
                <a:lnTo>
                  <a:pt x="58391" y="354916"/>
                </a:lnTo>
                <a:lnTo>
                  <a:pt x="93821" y="384137"/>
                </a:lnTo>
                <a:lnTo>
                  <a:pt x="134946" y="405056"/>
                </a:lnTo>
                <a:lnTo>
                  <a:pt x="180393" y="416542"/>
                </a:lnTo>
                <a:lnTo>
                  <a:pt x="228788" y="417463"/>
                </a:lnTo>
                <a:lnTo>
                  <a:pt x="276122" y="407356"/>
                </a:lnTo>
                <a:lnTo>
                  <a:pt x="318551" y="387436"/>
                </a:lnTo>
                <a:lnTo>
                  <a:pt x="354944" y="359076"/>
                </a:lnTo>
                <a:lnTo>
                  <a:pt x="384167" y="323650"/>
                </a:lnTo>
                <a:lnTo>
                  <a:pt x="405086" y="282529"/>
                </a:lnTo>
                <a:lnTo>
                  <a:pt x="416570" y="237086"/>
                </a:lnTo>
                <a:lnTo>
                  <a:pt x="417484" y="188695"/>
                </a:lnTo>
                <a:lnTo>
                  <a:pt x="407376" y="141362"/>
                </a:lnTo>
                <a:lnTo>
                  <a:pt x="387455" y="98934"/>
                </a:lnTo>
                <a:lnTo>
                  <a:pt x="359093" y="62543"/>
                </a:lnTo>
                <a:lnTo>
                  <a:pt x="323664" y="33322"/>
                </a:lnTo>
                <a:lnTo>
                  <a:pt x="282541" y="12402"/>
                </a:lnTo>
                <a:lnTo>
                  <a:pt x="237097" y="917"/>
                </a:lnTo>
                <a:lnTo>
                  <a:pt x="188706" y="0"/>
                </a:lnTo>
                <a:close/>
              </a:path>
            </a:pathLst>
          </a:custGeom>
          <a:solidFill>
            <a:srgbClr val="FFC203"/>
          </a:solidFill>
        </p:spPr>
        <p:txBody>
          <a:bodyPr wrap="square" lIns="0" tIns="0" rIns="0" bIns="0" rtlCol="0"/>
          <a:lstStyle/>
          <a:p>
            <a:endParaRPr/>
          </a:p>
        </p:txBody>
      </p:sp>
      <p:sp>
        <p:nvSpPr>
          <p:cNvPr id="189" name="object 189"/>
          <p:cNvSpPr txBox="1"/>
          <p:nvPr/>
        </p:nvSpPr>
        <p:spPr>
          <a:xfrm rot="21300000">
            <a:off x="2241370" y="1855093"/>
            <a:ext cx="183274" cy="166712"/>
          </a:xfrm>
          <a:prstGeom prst="rect">
            <a:avLst/>
          </a:prstGeom>
        </p:spPr>
        <p:txBody>
          <a:bodyPr vert="horz" wrap="square" lIns="0" tIns="0" rIns="0" bIns="0" rtlCol="0">
            <a:spAutoFit/>
          </a:bodyPr>
          <a:lstStyle/>
          <a:p>
            <a:pPr>
              <a:lnSpc>
                <a:spcPts val="1255"/>
              </a:lnSpc>
            </a:pPr>
            <a:r>
              <a:rPr sz="1300" b="1" spc="2" dirty="0">
                <a:solidFill>
                  <a:srgbClr val="FFB400"/>
                </a:solidFill>
                <a:latin typeface="Helvetica Neue"/>
                <a:cs typeface="Helvetica Neue"/>
              </a:rPr>
              <a:t>€</a:t>
            </a:r>
            <a:endParaRPr sz="1300">
              <a:latin typeface="Helvetica Neue"/>
              <a:cs typeface="Helvetica Neue"/>
            </a:endParaRPr>
          </a:p>
        </p:txBody>
      </p:sp>
      <p:sp>
        <p:nvSpPr>
          <p:cNvPr id="190" name="object 190"/>
          <p:cNvSpPr/>
          <p:nvPr/>
        </p:nvSpPr>
        <p:spPr>
          <a:xfrm>
            <a:off x="1735238" y="2216805"/>
            <a:ext cx="113833" cy="113830"/>
          </a:xfrm>
          <a:prstGeom prst="rect">
            <a:avLst/>
          </a:prstGeom>
          <a:blipFill>
            <a:blip r:embed="rId3" cstate="print"/>
            <a:stretch>
              <a:fillRect/>
            </a:stretch>
          </a:blipFill>
        </p:spPr>
        <p:txBody>
          <a:bodyPr wrap="square" lIns="0" tIns="0" rIns="0" bIns="0" rtlCol="0"/>
          <a:lstStyle/>
          <a:p>
            <a:endParaRPr/>
          </a:p>
        </p:txBody>
      </p:sp>
      <p:sp>
        <p:nvSpPr>
          <p:cNvPr id="191" name="object 191"/>
          <p:cNvSpPr/>
          <p:nvPr/>
        </p:nvSpPr>
        <p:spPr>
          <a:xfrm>
            <a:off x="3162597" y="2216805"/>
            <a:ext cx="113838" cy="113830"/>
          </a:xfrm>
          <a:prstGeom prst="rect">
            <a:avLst/>
          </a:prstGeom>
          <a:blipFill>
            <a:blip r:embed="rId4" cstate="print"/>
            <a:stretch>
              <a:fillRect/>
            </a:stretch>
          </a:blipFill>
        </p:spPr>
        <p:txBody>
          <a:bodyPr wrap="square" lIns="0" tIns="0" rIns="0" bIns="0" rtlCol="0"/>
          <a:lstStyle/>
          <a:p>
            <a:endParaRPr/>
          </a:p>
        </p:txBody>
      </p:sp>
      <p:sp>
        <p:nvSpPr>
          <p:cNvPr id="192" name="object 192"/>
          <p:cNvSpPr txBox="1"/>
          <p:nvPr/>
        </p:nvSpPr>
        <p:spPr>
          <a:xfrm>
            <a:off x="1241571" y="3348463"/>
            <a:ext cx="2865370" cy="629003"/>
          </a:xfrm>
          <a:prstGeom prst="rect">
            <a:avLst/>
          </a:prstGeom>
        </p:spPr>
        <p:txBody>
          <a:bodyPr vert="horz" wrap="square" lIns="0" tIns="6642" rIns="0" bIns="0" rtlCol="0">
            <a:spAutoFit/>
          </a:bodyPr>
          <a:lstStyle/>
          <a:p>
            <a:pPr marL="5776">
              <a:spcBef>
                <a:spcPts val="52"/>
              </a:spcBef>
            </a:pPr>
            <a:r>
              <a:rPr sz="1300" b="1" spc="2" dirty="0">
                <a:solidFill>
                  <a:srgbClr val="FF7900"/>
                </a:solidFill>
                <a:latin typeface="Helvetica Neue"/>
                <a:cs typeface="Helvetica Neue"/>
              </a:rPr>
              <a:t>Prêt </a:t>
            </a:r>
            <a:r>
              <a:rPr sz="1300" b="1" spc="5" dirty="0">
                <a:solidFill>
                  <a:srgbClr val="FF7900"/>
                </a:solidFill>
                <a:latin typeface="Helvetica Neue"/>
                <a:cs typeface="Helvetica Neue"/>
              </a:rPr>
              <a:t>à</a:t>
            </a:r>
            <a:r>
              <a:rPr sz="1300" b="1" dirty="0">
                <a:solidFill>
                  <a:srgbClr val="FF7900"/>
                </a:solidFill>
                <a:latin typeface="Helvetica Neue"/>
                <a:cs typeface="Helvetica Neue"/>
              </a:rPr>
              <a:t> </a:t>
            </a:r>
            <a:r>
              <a:rPr sz="1300" b="1" spc="5" dirty="0">
                <a:solidFill>
                  <a:srgbClr val="FF7900"/>
                </a:solidFill>
                <a:latin typeface="Helvetica Neue"/>
                <a:cs typeface="Helvetica Neue"/>
              </a:rPr>
              <a:t>changer</a:t>
            </a:r>
            <a:endParaRPr sz="1300">
              <a:latin typeface="Helvetica Neue"/>
              <a:cs typeface="Helvetica Neue"/>
            </a:endParaRPr>
          </a:p>
          <a:p>
            <a:pPr marL="5776">
              <a:spcBef>
                <a:spcPts val="11"/>
              </a:spcBef>
            </a:pPr>
            <a:r>
              <a:rPr sz="1300" b="1" spc="2" dirty="0">
                <a:solidFill>
                  <a:srgbClr val="1D1D1B"/>
                </a:solidFill>
                <a:latin typeface="Helvetica Neue"/>
                <a:cs typeface="Helvetica Neue"/>
              </a:rPr>
              <a:t>Oui, et </a:t>
            </a:r>
            <a:r>
              <a:rPr sz="1300" b="1" spc="5" dirty="0">
                <a:solidFill>
                  <a:srgbClr val="1D1D1B"/>
                </a:solidFill>
                <a:latin typeface="Helvetica Neue"/>
                <a:cs typeface="Helvetica Neue"/>
              </a:rPr>
              <a:t>vous </a:t>
            </a:r>
            <a:r>
              <a:rPr sz="1300" b="1" spc="2" dirty="0">
                <a:solidFill>
                  <a:srgbClr val="1D1D1B"/>
                </a:solidFill>
                <a:latin typeface="Helvetica Neue"/>
                <a:cs typeface="Helvetica Neue"/>
              </a:rPr>
              <a:t>l'avez déjà</a:t>
            </a:r>
            <a:r>
              <a:rPr sz="1300" b="1" spc="-5" dirty="0">
                <a:solidFill>
                  <a:srgbClr val="1D1D1B"/>
                </a:solidFill>
                <a:latin typeface="Helvetica Neue"/>
                <a:cs typeface="Helvetica Neue"/>
              </a:rPr>
              <a:t> </a:t>
            </a:r>
            <a:r>
              <a:rPr sz="1300" b="1" spc="2" dirty="0">
                <a:solidFill>
                  <a:srgbClr val="1D1D1B"/>
                </a:solidFill>
                <a:latin typeface="Helvetica Neue"/>
                <a:cs typeface="Helvetica Neue"/>
              </a:rPr>
              <a:t>fait</a:t>
            </a:r>
            <a:endParaRPr sz="1300">
              <a:latin typeface="Helvetica Neue"/>
              <a:cs typeface="Helvetica Neue"/>
            </a:endParaRPr>
          </a:p>
          <a:p>
            <a:pPr marL="5776">
              <a:spcBef>
                <a:spcPts val="9"/>
              </a:spcBef>
            </a:pPr>
            <a:r>
              <a:rPr sz="1300" b="1" spc="2" dirty="0">
                <a:solidFill>
                  <a:srgbClr val="1D1D1B"/>
                </a:solidFill>
                <a:latin typeface="Helvetica Neue"/>
                <a:cs typeface="Helvetica Neue"/>
              </a:rPr>
              <a:t>Oui, </a:t>
            </a:r>
            <a:r>
              <a:rPr sz="1300" b="1" spc="5" dirty="0">
                <a:solidFill>
                  <a:srgbClr val="1D1D1B"/>
                </a:solidFill>
                <a:latin typeface="Helvetica Neue"/>
                <a:cs typeface="Helvetica Neue"/>
              </a:rPr>
              <a:t>mais vous ne </a:t>
            </a:r>
            <a:r>
              <a:rPr sz="1300" b="1" spc="2" dirty="0">
                <a:solidFill>
                  <a:srgbClr val="1D1D1B"/>
                </a:solidFill>
                <a:latin typeface="Helvetica Neue"/>
                <a:cs typeface="Helvetica Neue"/>
              </a:rPr>
              <a:t>l'avez jamais</a:t>
            </a:r>
            <a:r>
              <a:rPr sz="1300" b="1" spc="-18" dirty="0">
                <a:solidFill>
                  <a:srgbClr val="1D1D1B"/>
                </a:solidFill>
                <a:latin typeface="Helvetica Neue"/>
                <a:cs typeface="Helvetica Neue"/>
              </a:rPr>
              <a:t> </a:t>
            </a:r>
            <a:r>
              <a:rPr sz="1300" b="1" spc="2" dirty="0">
                <a:solidFill>
                  <a:srgbClr val="1D1D1B"/>
                </a:solidFill>
                <a:latin typeface="Helvetica Neue"/>
                <a:cs typeface="Helvetica Neue"/>
              </a:rPr>
              <a:t>fait</a:t>
            </a:r>
            <a:endParaRPr sz="1300">
              <a:latin typeface="Helvetica Neue"/>
              <a:cs typeface="Helvetica Neue"/>
            </a:endParaRPr>
          </a:p>
        </p:txBody>
      </p:sp>
      <p:grpSp>
        <p:nvGrpSpPr>
          <p:cNvPr id="193" name="Groupe 192">
            <a:extLst>
              <a:ext uri="{FF2B5EF4-FFF2-40B4-BE49-F238E27FC236}">
                <a16:creationId xmlns:a16="http://schemas.microsoft.com/office/drawing/2014/main" id="{9661A3E7-36DE-834C-A039-03F70A657345}"/>
              </a:ext>
            </a:extLst>
          </p:cNvPr>
          <p:cNvGrpSpPr/>
          <p:nvPr/>
        </p:nvGrpSpPr>
        <p:grpSpPr>
          <a:xfrm>
            <a:off x="190893" y="214492"/>
            <a:ext cx="422542" cy="422512"/>
            <a:chOff x="419699" y="471617"/>
            <a:chExt cx="929005" cy="929005"/>
          </a:xfrm>
        </p:grpSpPr>
        <p:sp>
          <p:nvSpPr>
            <p:cNvPr id="194" name="object 8">
              <a:extLst>
                <a:ext uri="{FF2B5EF4-FFF2-40B4-BE49-F238E27FC236}">
                  <a16:creationId xmlns:a16="http://schemas.microsoft.com/office/drawing/2014/main" id="{C9F0AC20-E0B9-9543-AC38-2C4EF2117D1B}"/>
                </a:ext>
              </a:extLst>
            </p:cNvPr>
            <p:cNvSpPr/>
            <p:nvPr/>
          </p:nvSpPr>
          <p:spPr>
            <a:xfrm>
              <a:off x="419699" y="471617"/>
              <a:ext cx="929005" cy="929005"/>
            </a:xfrm>
            <a:custGeom>
              <a:avLst/>
              <a:gdLst/>
              <a:ahLst/>
              <a:cxnLst/>
              <a:rect l="l" t="t" r="r" b="b"/>
              <a:pathLst>
                <a:path w="929005" h="929005">
                  <a:moveTo>
                    <a:pt x="464352" y="0"/>
                  </a:moveTo>
                  <a:lnTo>
                    <a:pt x="416875" y="2397"/>
                  </a:lnTo>
                  <a:lnTo>
                    <a:pt x="370769" y="9434"/>
                  </a:lnTo>
                  <a:lnTo>
                    <a:pt x="326268" y="20876"/>
                  </a:lnTo>
                  <a:lnTo>
                    <a:pt x="283606" y="36491"/>
                  </a:lnTo>
                  <a:lnTo>
                    <a:pt x="243015" y="56045"/>
                  </a:lnTo>
                  <a:lnTo>
                    <a:pt x="204729" y="79304"/>
                  </a:lnTo>
                  <a:lnTo>
                    <a:pt x="168981" y="106036"/>
                  </a:lnTo>
                  <a:lnTo>
                    <a:pt x="136006" y="136006"/>
                  </a:lnTo>
                  <a:lnTo>
                    <a:pt x="106036" y="168981"/>
                  </a:lnTo>
                  <a:lnTo>
                    <a:pt x="79304" y="204729"/>
                  </a:lnTo>
                  <a:lnTo>
                    <a:pt x="56045" y="243015"/>
                  </a:lnTo>
                  <a:lnTo>
                    <a:pt x="36491" y="283606"/>
                  </a:lnTo>
                  <a:lnTo>
                    <a:pt x="20876" y="326268"/>
                  </a:lnTo>
                  <a:lnTo>
                    <a:pt x="9434" y="370769"/>
                  </a:lnTo>
                  <a:lnTo>
                    <a:pt x="2397" y="416875"/>
                  </a:lnTo>
                  <a:lnTo>
                    <a:pt x="0" y="464352"/>
                  </a:lnTo>
                  <a:lnTo>
                    <a:pt x="2397" y="511829"/>
                  </a:lnTo>
                  <a:lnTo>
                    <a:pt x="9434" y="557935"/>
                  </a:lnTo>
                  <a:lnTo>
                    <a:pt x="20876" y="602435"/>
                  </a:lnTo>
                  <a:lnTo>
                    <a:pt x="36491" y="645098"/>
                  </a:lnTo>
                  <a:lnTo>
                    <a:pt x="56045" y="685689"/>
                  </a:lnTo>
                  <a:lnTo>
                    <a:pt x="79304" y="723975"/>
                  </a:lnTo>
                  <a:lnTo>
                    <a:pt x="106036" y="759722"/>
                  </a:lnTo>
                  <a:lnTo>
                    <a:pt x="136006" y="792698"/>
                  </a:lnTo>
                  <a:lnTo>
                    <a:pt x="168981" y="822668"/>
                  </a:lnTo>
                  <a:lnTo>
                    <a:pt x="204729" y="849400"/>
                  </a:lnTo>
                  <a:lnTo>
                    <a:pt x="243015" y="872659"/>
                  </a:lnTo>
                  <a:lnTo>
                    <a:pt x="283606" y="892213"/>
                  </a:lnTo>
                  <a:lnTo>
                    <a:pt x="326268" y="907828"/>
                  </a:lnTo>
                  <a:lnTo>
                    <a:pt x="370769" y="919270"/>
                  </a:lnTo>
                  <a:lnTo>
                    <a:pt x="416875" y="926307"/>
                  </a:lnTo>
                  <a:lnTo>
                    <a:pt x="464352" y="928704"/>
                  </a:lnTo>
                  <a:lnTo>
                    <a:pt x="511829" y="926307"/>
                  </a:lnTo>
                  <a:lnTo>
                    <a:pt x="557934" y="919270"/>
                  </a:lnTo>
                  <a:lnTo>
                    <a:pt x="602434" y="907828"/>
                  </a:lnTo>
                  <a:lnTo>
                    <a:pt x="645096" y="892213"/>
                  </a:lnTo>
                  <a:lnTo>
                    <a:pt x="685687" y="872659"/>
                  </a:lnTo>
                  <a:lnTo>
                    <a:pt x="723972" y="849400"/>
                  </a:lnTo>
                  <a:lnTo>
                    <a:pt x="759718" y="822668"/>
                  </a:lnTo>
                  <a:lnTo>
                    <a:pt x="792693" y="792698"/>
                  </a:lnTo>
                  <a:lnTo>
                    <a:pt x="822662" y="759722"/>
                  </a:lnTo>
                  <a:lnTo>
                    <a:pt x="849392" y="723975"/>
                  </a:lnTo>
                  <a:lnTo>
                    <a:pt x="872651" y="685689"/>
                  </a:lnTo>
                  <a:lnTo>
                    <a:pt x="892204" y="645098"/>
                  </a:lnTo>
                  <a:lnTo>
                    <a:pt x="907818" y="602435"/>
                  </a:lnTo>
                  <a:lnTo>
                    <a:pt x="919260" y="557935"/>
                  </a:lnTo>
                  <a:lnTo>
                    <a:pt x="926296" y="511829"/>
                  </a:lnTo>
                  <a:lnTo>
                    <a:pt x="928694" y="464352"/>
                  </a:lnTo>
                  <a:lnTo>
                    <a:pt x="926296" y="416875"/>
                  </a:lnTo>
                  <a:lnTo>
                    <a:pt x="919260" y="370769"/>
                  </a:lnTo>
                  <a:lnTo>
                    <a:pt x="907818" y="326268"/>
                  </a:lnTo>
                  <a:lnTo>
                    <a:pt x="892204" y="283606"/>
                  </a:lnTo>
                  <a:lnTo>
                    <a:pt x="872651" y="243015"/>
                  </a:lnTo>
                  <a:lnTo>
                    <a:pt x="849392" y="204729"/>
                  </a:lnTo>
                  <a:lnTo>
                    <a:pt x="822662" y="168981"/>
                  </a:lnTo>
                  <a:lnTo>
                    <a:pt x="792693" y="136006"/>
                  </a:lnTo>
                  <a:lnTo>
                    <a:pt x="759718" y="106036"/>
                  </a:lnTo>
                  <a:lnTo>
                    <a:pt x="723972" y="79304"/>
                  </a:lnTo>
                  <a:lnTo>
                    <a:pt x="685687" y="56045"/>
                  </a:lnTo>
                  <a:lnTo>
                    <a:pt x="645096" y="36491"/>
                  </a:lnTo>
                  <a:lnTo>
                    <a:pt x="602434" y="20876"/>
                  </a:lnTo>
                  <a:lnTo>
                    <a:pt x="557934" y="9434"/>
                  </a:lnTo>
                  <a:lnTo>
                    <a:pt x="511829" y="2397"/>
                  </a:lnTo>
                  <a:lnTo>
                    <a:pt x="464352" y="0"/>
                  </a:lnTo>
                  <a:close/>
                </a:path>
              </a:pathLst>
            </a:custGeom>
            <a:solidFill>
              <a:srgbClr val="4AB4E6"/>
            </a:solidFill>
          </p:spPr>
          <p:txBody>
            <a:bodyPr wrap="square" lIns="0" tIns="0" rIns="0" bIns="0" rtlCol="0"/>
            <a:lstStyle/>
            <a:p>
              <a:endParaRPr/>
            </a:p>
          </p:txBody>
        </p:sp>
        <p:sp>
          <p:nvSpPr>
            <p:cNvPr id="195" name="object 9">
              <a:extLst>
                <a:ext uri="{FF2B5EF4-FFF2-40B4-BE49-F238E27FC236}">
                  <a16:creationId xmlns:a16="http://schemas.microsoft.com/office/drawing/2014/main" id="{D745174F-3CF0-0044-9D84-10A03FF14D1D}"/>
                </a:ext>
              </a:extLst>
            </p:cNvPr>
            <p:cNvSpPr/>
            <p:nvPr/>
          </p:nvSpPr>
          <p:spPr>
            <a:xfrm>
              <a:off x="446112" y="791330"/>
              <a:ext cx="697865" cy="502284"/>
            </a:xfrm>
            <a:custGeom>
              <a:avLst/>
              <a:gdLst/>
              <a:ahLst/>
              <a:cxnLst/>
              <a:rect l="l" t="t" r="r" b="b"/>
              <a:pathLst>
                <a:path w="697865" h="502284">
                  <a:moveTo>
                    <a:pt x="193090" y="138686"/>
                  </a:moveTo>
                  <a:lnTo>
                    <a:pt x="77638" y="138686"/>
                  </a:lnTo>
                  <a:lnTo>
                    <a:pt x="80965" y="187932"/>
                  </a:lnTo>
                  <a:lnTo>
                    <a:pt x="90651" y="235192"/>
                  </a:lnTo>
                  <a:lnTo>
                    <a:pt x="106253" y="280029"/>
                  </a:lnTo>
                  <a:lnTo>
                    <a:pt x="127330" y="322004"/>
                  </a:lnTo>
                  <a:lnTo>
                    <a:pt x="153438" y="360681"/>
                  </a:lnTo>
                  <a:lnTo>
                    <a:pt x="184135" y="395621"/>
                  </a:lnTo>
                  <a:lnTo>
                    <a:pt x="218980" y="426387"/>
                  </a:lnTo>
                  <a:lnTo>
                    <a:pt x="257528" y="452540"/>
                  </a:lnTo>
                  <a:lnTo>
                    <a:pt x="299339" y="473643"/>
                  </a:lnTo>
                  <a:lnTo>
                    <a:pt x="343970" y="489259"/>
                  </a:lnTo>
                  <a:lnTo>
                    <a:pt x="390978" y="498950"/>
                  </a:lnTo>
                  <a:lnTo>
                    <a:pt x="439921" y="502277"/>
                  </a:lnTo>
                  <a:lnTo>
                    <a:pt x="489404" y="499022"/>
                  </a:lnTo>
                  <a:lnTo>
                    <a:pt x="536750" y="489501"/>
                  </a:lnTo>
                  <a:lnTo>
                    <a:pt x="581590" y="474082"/>
                  </a:lnTo>
                  <a:lnTo>
                    <a:pt x="623554" y="453132"/>
                  </a:lnTo>
                  <a:lnTo>
                    <a:pt x="662270" y="427020"/>
                  </a:lnTo>
                  <a:lnTo>
                    <a:pt x="697368" y="396113"/>
                  </a:lnTo>
                  <a:lnTo>
                    <a:pt x="686749" y="385496"/>
                  </a:lnTo>
                  <a:lnTo>
                    <a:pt x="439921" y="385496"/>
                  </a:lnTo>
                  <a:lnTo>
                    <a:pt x="390068" y="380496"/>
                  </a:lnTo>
                  <a:lnTo>
                    <a:pt x="343684" y="366150"/>
                  </a:lnTo>
                  <a:lnTo>
                    <a:pt x="301750" y="343439"/>
                  </a:lnTo>
                  <a:lnTo>
                    <a:pt x="265244" y="313341"/>
                  </a:lnTo>
                  <a:lnTo>
                    <a:pt x="235146" y="276837"/>
                  </a:lnTo>
                  <a:lnTo>
                    <a:pt x="212435" y="234906"/>
                  </a:lnTo>
                  <a:lnTo>
                    <a:pt x="198090" y="188530"/>
                  </a:lnTo>
                  <a:lnTo>
                    <a:pt x="193090" y="138686"/>
                  </a:lnTo>
                  <a:close/>
                </a:path>
                <a:path w="697865" h="502284">
                  <a:moveTo>
                    <a:pt x="615099" y="313854"/>
                  </a:moveTo>
                  <a:lnTo>
                    <a:pt x="578953" y="343526"/>
                  </a:lnTo>
                  <a:lnTo>
                    <a:pt x="536961" y="366100"/>
                  </a:lnTo>
                  <a:lnTo>
                    <a:pt x="490244" y="380461"/>
                  </a:lnTo>
                  <a:lnTo>
                    <a:pt x="439921" y="385496"/>
                  </a:lnTo>
                  <a:lnTo>
                    <a:pt x="686749" y="385496"/>
                  </a:lnTo>
                  <a:lnTo>
                    <a:pt x="615099" y="313854"/>
                  </a:lnTo>
                  <a:close/>
                </a:path>
                <a:path w="697865" h="502284">
                  <a:moveTo>
                    <a:pt x="136193" y="0"/>
                  </a:moveTo>
                  <a:lnTo>
                    <a:pt x="59053" y="61715"/>
                  </a:lnTo>
                  <a:lnTo>
                    <a:pt x="7295" y="116122"/>
                  </a:lnTo>
                  <a:lnTo>
                    <a:pt x="0" y="131876"/>
                  </a:lnTo>
                  <a:lnTo>
                    <a:pt x="5434" y="136838"/>
                  </a:lnTo>
                  <a:lnTo>
                    <a:pt x="16593" y="138686"/>
                  </a:lnTo>
                  <a:lnTo>
                    <a:pt x="255455" y="138686"/>
                  </a:lnTo>
                  <a:lnTo>
                    <a:pt x="267382" y="136838"/>
                  </a:lnTo>
                  <a:lnTo>
                    <a:pt x="273208" y="131876"/>
                  </a:lnTo>
                  <a:lnTo>
                    <a:pt x="272815" y="124679"/>
                  </a:lnTo>
                  <a:lnTo>
                    <a:pt x="266083" y="116122"/>
                  </a:lnTo>
                  <a:lnTo>
                    <a:pt x="159908" y="9957"/>
                  </a:lnTo>
                  <a:lnTo>
                    <a:pt x="148738" y="2489"/>
                  </a:lnTo>
                  <a:lnTo>
                    <a:pt x="136193" y="0"/>
                  </a:lnTo>
                  <a:close/>
                </a:path>
              </a:pathLst>
            </a:custGeom>
            <a:solidFill>
              <a:srgbClr val="C5C5C5"/>
            </a:solidFill>
          </p:spPr>
          <p:txBody>
            <a:bodyPr wrap="square" lIns="0" tIns="0" rIns="0" bIns="0" rtlCol="0"/>
            <a:lstStyle/>
            <a:p>
              <a:endParaRPr/>
            </a:p>
          </p:txBody>
        </p:sp>
        <p:sp>
          <p:nvSpPr>
            <p:cNvPr id="196" name="object 10">
              <a:extLst>
                <a:ext uri="{FF2B5EF4-FFF2-40B4-BE49-F238E27FC236}">
                  <a16:creationId xmlns:a16="http://schemas.microsoft.com/office/drawing/2014/main" id="{8B83FD92-3663-0642-93F9-1FF323FF864E}"/>
                </a:ext>
              </a:extLst>
            </p:cNvPr>
            <p:cNvSpPr/>
            <p:nvPr/>
          </p:nvSpPr>
          <p:spPr>
            <a:xfrm>
              <a:off x="623278" y="578336"/>
              <a:ext cx="699135" cy="504190"/>
            </a:xfrm>
            <a:custGeom>
              <a:avLst/>
              <a:gdLst/>
              <a:ahLst/>
              <a:cxnLst/>
              <a:rect l="l" t="t" r="r" b="b"/>
              <a:pathLst>
                <a:path w="699135" h="504190">
                  <a:moveTo>
                    <a:pt x="682115" y="363611"/>
                  </a:moveTo>
                  <a:lnTo>
                    <a:pt x="441913" y="363611"/>
                  </a:lnTo>
                  <a:lnTo>
                    <a:pt x="430752" y="365479"/>
                  </a:lnTo>
                  <a:lnTo>
                    <a:pt x="425314" y="370582"/>
                  </a:lnTo>
                  <a:lnTo>
                    <a:pt x="425848" y="378171"/>
                  </a:lnTo>
                  <a:lnTo>
                    <a:pt x="432604" y="387496"/>
                  </a:lnTo>
                  <a:lnTo>
                    <a:pt x="538789" y="493649"/>
                  </a:lnTo>
                  <a:lnTo>
                    <a:pt x="549220" y="501124"/>
                  </a:lnTo>
                  <a:lnTo>
                    <a:pt x="561514" y="503615"/>
                  </a:lnTo>
                  <a:lnTo>
                    <a:pt x="574055" y="501124"/>
                  </a:lnTo>
                  <a:lnTo>
                    <a:pt x="585228" y="493649"/>
                  </a:lnTo>
                  <a:lnTo>
                    <a:pt x="691392" y="387496"/>
                  </a:lnTo>
                  <a:lnTo>
                    <a:pt x="698157" y="378171"/>
                  </a:lnTo>
                  <a:lnTo>
                    <a:pt x="698702" y="370582"/>
                  </a:lnTo>
                  <a:lnTo>
                    <a:pt x="693272" y="365479"/>
                  </a:lnTo>
                  <a:lnTo>
                    <a:pt x="682115" y="363611"/>
                  </a:lnTo>
                  <a:close/>
                </a:path>
                <a:path w="699135" h="504190">
                  <a:moveTo>
                    <a:pt x="523459" y="116781"/>
                  </a:moveTo>
                  <a:lnTo>
                    <a:pt x="257458" y="116781"/>
                  </a:lnTo>
                  <a:lnTo>
                    <a:pt x="307362" y="121781"/>
                  </a:lnTo>
                  <a:lnTo>
                    <a:pt x="353893" y="136128"/>
                  </a:lnTo>
                  <a:lnTo>
                    <a:pt x="396040" y="158842"/>
                  </a:lnTo>
                  <a:lnTo>
                    <a:pt x="432791" y="188943"/>
                  </a:lnTo>
                  <a:lnTo>
                    <a:pt x="463136" y="225450"/>
                  </a:lnTo>
                  <a:lnTo>
                    <a:pt x="486063" y="267384"/>
                  </a:lnTo>
                  <a:lnTo>
                    <a:pt x="500560" y="313764"/>
                  </a:lnTo>
                  <a:lnTo>
                    <a:pt x="505618" y="363611"/>
                  </a:lnTo>
                  <a:lnTo>
                    <a:pt x="621059" y="363611"/>
                  </a:lnTo>
                  <a:lnTo>
                    <a:pt x="617732" y="314361"/>
                  </a:lnTo>
                  <a:lnTo>
                    <a:pt x="608047" y="267097"/>
                  </a:lnTo>
                  <a:lnTo>
                    <a:pt x="592446" y="222257"/>
                  </a:lnTo>
                  <a:lnTo>
                    <a:pt x="571370" y="180279"/>
                  </a:lnTo>
                  <a:lnTo>
                    <a:pt x="545263" y="141600"/>
                  </a:lnTo>
                  <a:lnTo>
                    <a:pt x="523459" y="116781"/>
                  </a:lnTo>
                  <a:close/>
                </a:path>
                <a:path w="699135" h="504190">
                  <a:moveTo>
                    <a:pt x="258777" y="0"/>
                  </a:moveTo>
                  <a:lnTo>
                    <a:pt x="209201" y="3348"/>
                  </a:lnTo>
                  <a:lnTo>
                    <a:pt x="161612" y="13074"/>
                  </a:lnTo>
                  <a:lnTo>
                    <a:pt x="116454" y="28698"/>
                  </a:lnTo>
                  <a:lnTo>
                    <a:pt x="74171" y="49740"/>
                  </a:lnTo>
                  <a:lnTo>
                    <a:pt x="35205" y="75722"/>
                  </a:lnTo>
                  <a:lnTo>
                    <a:pt x="0" y="106164"/>
                  </a:lnTo>
                  <a:lnTo>
                    <a:pt x="83589" y="189753"/>
                  </a:lnTo>
                  <a:lnTo>
                    <a:pt x="119717" y="159316"/>
                  </a:lnTo>
                  <a:lnTo>
                    <a:pt x="161570" y="136347"/>
                  </a:lnTo>
                  <a:lnTo>
                    <a:pt x="207900" y="121838"/>
                  </a:lnTo>
                  <a:lnTo>
                    <a:pt x="257458" y="116781"/>
                  </a:lnTo>
                  <a:lnTo>
                    <a:pt x="523459" y="116781"/>
                  </a:lnTo>
                  <a:lnTo>
                    <a:pt x="514566" y="106659"/>
                  </a:lnTo>
                  <a:lnTo>
                    <a:pt x="479723" y="75892"/>
                  </a:lnTo>
                  <a:lnTo>
                    <a:pt x="441174" y="49738"/>
                  </a:lnTo>
                  <a:lnTo>
                    <a:pt x="399363" y="28634"/>
                  </a:lnTo>
                  <a:lnTo>
                    <a:pt x="354731" y="13018"/>
                  </a:lnTo>
                  <a:lnTo>
                    <a:pt x="307722" y="3327"/>
                  </a:lnTo>
                  <a:lnTo>
                    <a:pt x="258777" y="0"/>
                  </a:lnTo>
                  <a:close/>
                </a:path>
              </a:pathLst>
            </a:custGeom>
            <a:solidFill>
              <a:srgbClr val="000000"/>
            </a:solidFill>
          </p:spPr>
          <p:txBody>
            <a:bodyPr wrap="square" lIns="0" tIns="0" rIns="0" bIns="0" rtlCol="0"/>
            <a:lstStyle/>
            <a:p>
              <a:endParaRPr/>
            </a:p>
          </p:txBody>
        </p:sp>
        <p:sp>
          <p:nvSpPr>
            <p:cNvPr id="197" name="object 11">
              <a:extLst>
                <a:ext uri="{FF2B5EF4-FFF2-40B4-BE49-F238E27FC236}">
                  <a16:creationId xmlns:a16="http://schemas.microsoft.com/office/drawing/2014/main" id="{FC5D9B05-A82C-7F44-92FB-1C86F8F2152D}"/>
                </a:ext>
              </a:extLst>
            </p:cNvPr>
            <p:cNvSpPr/>
            <p:nvPr/>
          </p:nvSpPr>
          <p:spPr>
            <a:xfrm>
              <a:off x="690094" y="733558"/>
              <a:ext cx="387985" cy="302260"/>
            </a:xfrm>
            <a:custGeom>
              <a:avLst/>
              <a:gdLst/>
              <a:ahLst/>
              <a:cxnLst/>
              <a:rect l="l" t="t" r="r" b="b"/>
              <a:pathLst>
                <a:path w="387984" h="302259">
                  <a:moveTo>
                    <a:pt x="387904" y="290923"/>
                  </a:moveTo>
                  <a:lnTo>
                    <a:pt x="0" y="290923"/>
                  </a:lnTo>
                  <a:lnTo>
                    <a:pt x="0" y="301697"/>
                  </a:lnTo>
                  <a:lnTo>
                    <a:pt x="387904" y="301697"/>
                  </a:lnTo>
                  <a:lnTo>
                    <a:pt x="387904" y="290923"/>
                  </a:lnTo>
                  <a:close/>
                </a:path>
                <a:path w="387984" h="302259">
                  <a:moveTo>
                    <a:pt x="377129" y="280148"/>
                  </a:moveTo>
                  <a:lnTo>
                    <a:pt x="10774" y="280148"/>
                  </a:lnTo>
                  <a:lnTo>
                    <a:pt x="10774" y="290923"/>
                  </a:lnTo>
                  <a:lnTo>
                    <a:pt x="377129" y="290923"/>
                  </a:lnTo>
                  <a:lnTo>
                    <a:pt x="377129" y="280148"/>
                  </a:lnTo>
                  <a:close/>
                </a:path>
                <a:path w="387984" h="302259">
                  <a:moveTo>
                    <a:pt x="107755" y="96970"/>
                  </a:moveTo>
                  <a:lnTo>
                    <a:pt x="21549" y="96970"/>
                  </a:lnTo>
                  <a:lnTo>
                    <a:pt x="21549" y="280148"/>
                  </a:lnTo>
                  <a:lnTo>
                    <a:pt x="366355" y="280148"/>
                  </a:lnTo>
                  <a:lnTo>
                    <a:pt x="366355" y="269373"/>
                  </a:lnTo>
                  <a:lnTo>
                    <a:pt x="107755" y="269373"/>
                  </a:lnTo>
                  <a:lnTo>
                    <a:pt x="107755" y="247824"/>
                  </a:lnTo>
                  <a:lnTo>
                    <a:pt x="43108" y="247824"/>
                  </a:lnTo>
                  <a:lnTo>
                    <a:pt x="43108" y="194381"/>
                  </a:lnTo>
                  <a:lnTo>
                    <a:pt x="107755" y="194381"/>
                  </a:lnTo>
                  <a:lnTo>
                    <a:pt x="107755" y="172403"/>
                  </a:lnTo>
                  <a:lnTo>
                    <a:pt x="43108" y="172403"/>
                  </a:lnTo>
                  <a:lnTo>
                    <a:pt x="43108" y="118530"/>
                  </a:lnTo>
                  <a:lnTo>
                    <a:pt x="107755" y="118530"/>
                  </a:lnTo>
                  <a:lnTo>
                    <a:pt x="107755" y="96970"/>
                  </a:lnTo>
                  <a:close/>
                </a:path>
                <a:path w="387984" h="302259">
                  <a:moveTo>
                    <a:pt x="150854" y="96970"/>
                  </a:moveTo>
                  <a:lnTo>
                    <a:pt x="129304" y="96970"/>
                  </a:lnTo>
                  <a:lnTo>
                    <a:pt x="129304" y="269373"/>
                  </a:lnTo>
                  <a:lnTo>
                    <a:pt x="150854" y="269373"/>
                  </a:lnTo>
                  <a:lnTo>
                    <a:pt x="150854" y="96970"/>
                  </a:lnTo>
                  <a:close/>
                </a:path>
                <a:path w="387984" h="302259">
                  <a:moveTo>
                    <a:pt x="215511" y="96970"/>
                  </a:moveTo>
                  <a:lnTo>
                    <a:pt x="172403" y="96970"/>
                  </a:lnTo>
                  <a:lnTo>
                    <a:pt x="172403" y="269373"/>
                  </a:lnTo>
                  <a:lnTo>
                    <a:pt x="215511" y="269373"/>
                  </a:lnTo>
                  <a:lnTo>
                    <a:pt x="215511" y="96970"/>
                  </a:lnTo>
                  <a:close/>
                </a:path>
                <a:path w="387984" h="302259">
                  <a:moveTo>
                    <a:pt x="258609" y="96970"/>
                  </a:moveTo>
                  <a:lnTo>
                    <a:pt x="237060" y="96970"/>
                  </a:lnTo>
                  <a:lnTo>
                    <a:pt x="237060" y="269373"/>
                  </a:lnTo>
                  <a:lnTo>
                    <a:pt x="258609" y="269373"/>
                  </a:lnTo>
                  <a:lnTo>
                    <a:pt x="258609" y="96970"/>
                  </a:lnTo>
                  <a:close/>
                </a:path>
                <a:path w="387984" h="302259">
                  <a:moveTo>
                    <a:pt x="366355" y="96970"/>
                  </a:moveTo>
                  <a:lnTo>
                    <a:pt x="280159" y="96970"/>
                  </a:lnTo>
                  <a:lnTo>
                    <a:pt x="280159" y="269373"/>
                  </a:lnTo>
                  <a:lnTo>
                    <a:pt x="366355" y="269373"/>
                  </a:lnTo>
                  <a:lnTo>
                    <a:pt x="366355" y="247824"/>
                  </a:lnTo>
                  <a:lnTo>
                    <a:pt x="301708" y="247824"/>
                  </a:lnTo>
                  <a:lnTo>
                    <a:pt x="301708" y="194381"/>
                  </a:lnTo>
                  <a:lnTo>
                    <a:pt x="366355" y="194381"/>
                  </a:lnTo>
                  <a:lnTo>
                    <a:pt x="366355" y="172403"/>
                  </a:lnTo>
                  <a:lnTo>
                    <a:pt x="301708" y="172403"/>
                  </a:lnTo>
                  <a:lnTo>
                    <a:pt x="301708" y="118530"/>
                  </a:lnTo>
                  <a:lnTo>
                    <a:pt x="366355" y="118530"/>
                  </a:lnTo>
                  <a:lnTo>
                    <a:pt x="366355" y="96970"/>
                  </a:lnTo>
                  <a:close/>
                </a:path>
                <a:path w="387984" h="302259">
                  <a:moveTo>
                    <a:pt x="107755" y="194381"/>
                  </a:moveTo>
                  <a:lnTo>
                    <a:pt x="86206" y="194381"/>
                  </a:lnTo>
                  <a:lnTo>
                    <a:pt x="86206" y="247824"/>
                  </a:lnTo>
                  <a:lnTo>
                    <a:pt x="107755" y="247824"/>
                  </a:lnTo>
                  <a:lnTo>
                    <a:pt x="107755" y="194381"/>
                  </a:lnTo>
                  <a:close/>
                </a:path>
                <a:path w="387984" h="302259">
                  <a:moveTo>
                    <a:pt x="366355" y="194381"/>
                  </a:moveTo>
                  <a:lnTo>
                    <a:pt x="344806" y="194381"/>
                  </a:lnTo>
                  <a:lnTo>
                    <a:pt x="344806" y="247824"/>
                  </a:lnTo>
                  <a:lnTo>
                    <a:pt x="366355" y="247824"/>
                  </a:lnTo>
                  <a:lnTo>
                    <a:pt x="366355" y="194381"/>
                  </a:lnTo>
                  <a:close/>
                </a:path>
                <a:path w="387984" h="302259">
                  <a:moveTo>
                    <a:pt x="107755" y="118530"/>
                  </a:moveTo>
                  <a:lnTo>
                    <a:pt x="86206" y="118530"/>
                  </a:lnTo>
                  <a:lnTo>
                    <a:pt x="86206" y="172403"/>
                  </a:lnTo>
                  <a:lnTo>
                    <a:pt x="107755" y="172403"/>
                  </a:lnTo>
                  <a:lnTo>
                    <a:pt x="107755" y="118530"/>
                  </a:lnTo>
                  <a:close/>
                </a:path>
                <a:path w="387984" h="302259">
                  <a:moveTo>
                    <a:pt x="366355" y="118530"/>
                  </a:moveTo>
                  <a:lnTo>
                    <a:pt x="344806" y="118530"/>
                  </a:lnTo>
                  <a:lnTo>
                    <a:pt x="344806" y="172403"/>
                  </a:lnTo>
                  <a:lnTo>
                    <a:pt x="366355" y="172403"/>
                  </a:lnTo>
                  <a:lnTo>
                    <a:pt x="366355" y="118530"/>
                  </a:lnTo>
                  <a:close/>
                </a:path>
                <a:path w="387984" h="302259">
                  <a:moveTo>
                    <a:pt x="377129" y="75421"/>
                  </a:moveTo>
                  <a:lnTo>
                    <a:pt x="10774" y="75421"/>
                  </a:lnTo>
                  <a:lnTo>
                    <a:pt x="10774" y="96970"/>
                  </a:lnTo>
                  <a:lnTo>
                    <a:pt x="377129" y="96970"/>
                  </a:lnTo>
                  <a:lnTo>
                    <a:pt x="377129" y="75421"/>
                  </a:lnTo>
                  <a:close/>
                </a:path>
                <a:path w="387984" h="302259">
                  <a:moveTo>
                    <a:pt x="193952" y="0"/>
                  </a:moveTo>
                  <a:lnTo>
                    <a:pt x="75421" y="54856"/>
                  </a:lnTo>
                  <a:lnTo>
                    <a:pt x="75421" y="75421"/>
                  </a:lnTo>
                  <a:lnTo>
                    <a:pt x="312482" y="75421"/>
                  </a:lnTo>
                  <a:lnTo>
                    <a:pt x="312482" y="54856"/>
                  </a:lnTo>
                  <a:lnTo>
                    <a:pt x="310355" y="53872"/>
                  </a:lnTo>
                  <a:lnTo>
                    <a:pt x="128854" y="53872"/>
                  </a:lnTo>
                  <a:lnTo>
                    <a:pt x="193952" y="23747"/>
                  </a:lnTo>
                  <a:lnTo>
                    <a:pt x="245264" y="23747"/>
                  </a:lnTo>
                  <a:lnTo>
                    <a:pt x="193952" y="0"/>
                  </a:lnTo>
                  <a:close/>
                </a:path>
                <a:path w="387984" h="302259">
                  <a:moveTo>
                    <a:pt x="245264" y="23747"/>
                  </a:moveTo>
                  <a:lnTo>
                    <a:pt x="193952" y="23747"/>
                  </a:lnTo>
                  <a:lnTo>
                    <a:pt x="259060" y="53872"/>
                  </a:lnTo>
                  <a:lnTo>
                    <a:pt x="310355" y="53872"/>
                  </a:lnTo>
                  <a:lnTo>
                    <a:pt x="245264" y="23747"/>
                  </a:lnTo>
                  <a:close/>
                </a:path>
              </a:pathLst>
            </a:custGeom>
            <a:solidFill>
              <a:srgbClr val="FFFFFF"/>
            </a:solidFill>
          </p:spPr>
          <p:txBody>
            <a:bodyPr wrap="square" lIns="0" tIns="0" rIns="0" bIns="0" rtlCol="0"/>
            <a:lstStyle/>
            <a:p>
              <a:endParaRPr/>
            </a:p>
          </p:txBody>
        </p:sp>
      </p:grpSp>
    </p:spTree>
    <p:extLst>
      <p:ext uri="{BB962C8B-B14F-4D97-AF65-F5344CB8AC3E}">
        <p14:creationId xmlns:p14="http://schemas.microsoft.com/office/powerpoint/2010/main" val="17226844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382452"/>
            <a:ext cx="9144000" cy="3760733"/>
          </a:xfrm>
          <a:custGeom>
            <a:avLst/>
            <a:gdLst/>
            <a:ahLst/>
            <a:cxnLst/>
            <a:rect l="l" t="t" r="r" b="b"/>
            <a:pathLst>
              <a:path w="20104100" h="8268970">
                <a:moveTo>
                  <a:pt x="0" y="8268868"/>
                </a:moveTo>
                <a:lnTo>
                  <a:pt x="20104099" y="8268868"/>
                </a:lnTo>
                <a:lnTo>
                  <a:pt x="20104099" y="0"/>
                </a:lnTo>
                <a:lnTo>
                  <a:pt x="0" y="0"/>
                </a:lnTo>
                <a:lnTo>
                  <a:pt x="0" y="8268868"/>
                </a:lnTo>
                <a:close/>
              </a:path>
            </a:pathLst>
          </a:custGeom>
          <a:solidFill>
            <a:srgbClr val="D5D5D5"/>
          </a:solidFill>
        </p:spPr>
        <p:txBody>
          <a:bodyPr wrap="square" lIns="0" tIns="0" rIns="0" bIns="0" rtlCol="0"/>
          <a:lstStyle/>
          <a:p>
            <a:endParaRPr/>
          </a:p>
        </p:txBody>
      </p:sp>
      <p:sp>
        <p:nvSpPr>
          <p:cNvPr id="3" name="object 3"/>
          <p:cNvSpPr txBox="1">
            <a:spLocks noGrp="1"/>
          </p:cNvSpPr>
          <p:nvPr>
            <p:ph type="title"/>
          </p:nvPr>
        </p:nvSpPr>
        <p:spPr>
          <a:xfrm>
            <a:off x="775669" y="109930"/>
            <a:ext cx="8224979" cy="640266"/>
          </a:xfrm>
          <a:prstGeom prst="rect">
            <a:avLst/>
          </a:prstGeom>
        </p:spPr>
        <p:txBody>
          <a:bodyPr vert="horz" wrap="square" lIns="0" tIns="5198" rIns="0" bIns="0" rtlCol="0">
            <a:spAutoFit/>
          </a:bodyPr>
          <a:lstStyle/>
          <a:p>
            <a:pPr marL="5776" marR="2310">
              <a:lnSpc>
                <a:spcPct val="100800"/>
              </a:lnSpc>
              <a:spcBef>
                <a:spcPts val="41"/>
              </a:spcBef>
            </a:pPr>
            <a:r>
              <a:rPr spc="-20" dirty="0"/>
              <a:t>Les </a:t>
            </a:r>
            <a:r>
              <a:rPr spc="-30" dirty="0"/>
              <a:t>raisons </a:t>
            </a:r>
            <a:r>
              <a:rPr spc="-14" dirty="0"/>
              <a:t>de </a:t>
            </a:r>
            <a:r>
              <a:rPr spc="-32" dirty="0"/>
              <a:t>vouloir </a:t>
            </a:r>
            <a:r>
              <a:rPr spc="-11" dirty="0"/>
              <a:t>changer </a:t>
            </a:r>
            <a:r>
              <a:rPr spc="-2" dirty="0"/>
              <a:t>de </a:t>
            </a:r>
            <a:r>
              <a:rPr spc="-11" dirty="0"/>
              <a:t>banque </a:t>
            </a:r>
            <a:r>
              <a:rPr spc="-14" dirty="0"/>
              <a:t>principale </a:t>
            </a:r>
            <a:r>
              <a:rPr spc="-9" dirty="0"/>
              <a:t>sont</a:t>
            </a:r>
            <a:r>
              <a:rPr spc="-377" dirty="0"/>
              <a:t> </a:t>
            </a:r>
            <a:r>
              <a:rPr spc="-14" dirty="0"/>
              <a:t>dominées  </a:t>
            </a:r>
            <a:r>
              <a:rPr spc="-9" dirty="0"/>
              <a:t>par </a:t>
            </a:r>
            <a:r>
              <a:rPr spc="-7" dirty="0"/>
              <a:t>la </a:t>
            </a:r>
            <a:r>
              <a:rPr spc="-14" dirty="0"/>
              <a:t>question </a:t>
            </a:r>
            <a:r>
              <a:rPr spc="-7" dirty="0"/>
              <a:t>des</a:t>
            </a:r>
            <a:r>
              <a:rPr spc="-127" dirty="0"/>
              <a:t> </a:t>
            </a:r>
            <a:r>
              <a:rPr spc="-18" dirty="0"/>
              <a:t>tarifs</a:t>
            </a:r>
          </a:p>
        </p:txBody>
      </p:sp>
      <p:sp>
        <p:nvSpPr>
          <p:cNvPr id="4" name="object 4"/>
          <p:cNvSpPr txBox="1"/>
          <p:nvPr/>
        </p:nvSpPr>
        <p:spPr>
          <a:xfrm>
            <a:off x="775669" y="886163"/>
            <a:ext cx="4847822" cy="354644"/>
          </a:xfrm>
          <a:prstGeom prst="rect">
            <a:avLst/>
          </a:prstGeom>
        </p:spPr>
        <p:txBody>
          <a:bodyPr vert="horz" wrap="square" lIns="0" tIns="6931" rIns="0" bIns="0" rtlCol="0">
            <a:spAutoFit/>
          </a:bodyPr>
          <a:lstStyle/>
          <a:p>
            <a:pPr marL="5776">
              <a:spcBef>
                <a:spcPts val="55"/>
              </a:spcBef>
            </a:pPr>
            <a:r>
              <a:rPr sz="1100" spc="5" dirty="0">
                <a:latin typeface="Helvetica Neue"/>
                <a:cs typeface="Helvetica Neue"/>
              </a:rPr>
              <a:t>P</a:t>
            </a:r>
            <a:r>
              <a:rPr sz="1100" b="1" spc="5" dirty="0">
                <a:latin typeface="Helvetica Neue"/>
                <a:cs typeface="Helvetica Neue"/>
              </a:rPr>
              <a:t>our quelles raisons seriez-vous prêt à changer de banque principale</a:t>
            </a:r>
            <a:r>
              <a:rPr sz="1100" b="1" spc="-7" dirty="0">
                <a:latin typeface="Helvetica Neue"/>
                <a:cs typeface="Helvetica Neue"/>
              </a:rPr>
              <a:t> </a:t>
            </a:r>
            <a:r>
              <a:rPr sz="1100" b="1" spc="5" dirty="0">
                <a:latin typeface="Helvetica Neue"/>
                <a:cs typeface="Helvetica Neue"/>
              </a:rPr>
              <a:t>?</a:t>
            </a:r>
            <a:endParaRPr sz="1100">
              <a:latin typeface="Helvetica Neue"/>
              <a:cs typeface="Helvetica Neue"/>
            </a:endParaRPr>
          </a:p>
          <a:p>
            <a:pPr marL="5776">
              <a:spcBef>
                <a:spcPts val="14"/>
              </a:spcBef>
            </a:pPr>
            <a:r>
              <a:rPr sz="1100" spc="5" dirty="0">
                <a:latin typeface="Helvetica Neue"/>
                <a:cs typeface="Helvetica Neue"/>
              </a:rPr>
              <a:t>Base </a:t>
            </a:r>
            <a:r>
              <a:rPr sz="1100" spc="2" dirty="0">
                <a:latin typeface="Helvetica Neue"/>
                <a:cs typeface="Helvetica Neue"/>
              </a:rPr>
              <a:t>: </a:t>
            </a:r>
            <a:r>
              <a:rPr sz="1100" spc="5" dirty="0">
                <a:latin typeface="Helvetica Neue"/>
                <a:cs typeface="Helvetica Neue"/>
              </a:rPr>
              <a:t>prêts à changer de banque </a:t>
            </a:r>
            <a:r>
              <a:rPr sz="1100" spc="2" dirty="0">
                <a:latin typeface="Helvetica Neue"/>
                <a:cs typeface="Helvetica Neue"/>
              </a:rPr>
              <a:t>principale. </a:t>
            </a:r>
            <a:r>
              <a:rPr sz="1100" spc="5" dirty="0">
                <a:latin typeface="Helvetica Neue"/>
                <a:cs typeface="Helvetica Neue"/>
              </a:rPr>
              <a:t>Question</a:t>
            </a:r>
            <a:r>
              <a:rPr sz="1100" spc="-7" dirty="0">
                <a:latin typeface="Helvetica Neue"/>
                <a:cs typeface="Helvetica Neue"/>
              </a:rPr>
              <a:t> </a:t>
            </a:r>
            <a:r>
              <a:rPr sz="1100" spc="5" dirty="0">
                <a:latin typeface="Helvetica Neue"/>
                <a:cs typeface="Helvetica Neue"/>
              </a:rPr>
              <a:t>ouverte</a:t>
            </a:r>
            <a:endParaRPr sz="1100">
              <a:latin typeface="Helvetica Neue"/>
              <a:cs typeface="Helvetica Neue"/>
            </a:endParaRPr>
          </a:p>
        </p:txBody>
      </p:sp>
      <p:sp>
        <p:nvSpPr>
          <p:cNvPr id="5" name="object 5"/>
          <p:cNvSpPr txBox="1"/>
          <p:nvPr/>
        </p:nvSpPr>
        <p:spPr>
          <a:xfrm>
            <a:off x="7864564" y="1142064"/>
            <a:ext cx="280732" cy="98749"/>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948</a:t>
            </a:r>
            <a:endParaRPr sz="600">
              <a:latin typeface="Helvetica Neue"/>
              <a:cs typeface="Helvetica Neue"/>
            </a:endParaRPr>
          </a:p>
        </p:txBody>
      </p:sp>
      <p:sp>
        <p:nvSpPr>
          <p:cNvPr id="6" name="object 6"/>
          <p:cNvSpPr/>
          <p:nvPr/>
        </p:nvSpPr>
        <p:spPr>
          <a:xfrm>
            <a:off x="8081496" y="836741"/>
            <a:ext cx="101375" cy="288221"/>
          </a:xfrm>
          <a:custGeom>
            <a:avLst/>
            <a:gdLst/>
            <a:ahLst/>
            <a:cxnLst/>
            <a:rect l="l" t="t" r="r" b="b"/>
            <a:pathLst>
              <a:path w="222884" h="633730">
                <a:moveTo>
                  <a:pt x="0" y="0"/>
                </a:moveTo>
                <a:lnTo>
                  <a:pt x="0" y="633656"/>
                </a:lnTo>
                <a:lnTo>
                  <a:pt x="41747" y="615188"/>
                </a:lnTo>
                <a:lnTo>
                  <a:pt x="80305" y="591483"/>
                </a:lnTo>
                <a:lnTo>
                  <a:pt x="115215" y="562993"/>
                </a:lnTo>
                <a:lnTo>
                  <a:pt x="146015" y="530169"/>
                </a:lnTo>
                <a:lnTo>
                  <a:pt x="172246" y="493463"/>
                </a:lnTo>
                <a:lnTo>
                  <a:pt x="193449" y="453324"/>
                </a:lnTo>
                <a:lnTo>
                  <a:pt x="209163" y="410204"/>
                </a:lnTo>
                <a:lnTo>
                  <a:pt x="218929" y="364555"/>
                </a:lnTo>
                <a:lnTo>
                  <a:pt x="222286" y="316828"/>
                </a:lnTo>
                <a:lnTo>
                  <a:pt x="218929" y="269100"/>
                </a:lnTo>
                <a:lnTo>
                  <a:pt x="209163" y="223451"/>
                </a:lnTo>
                <a:lnTo>
                  <a:pt x="193449" y="180331"/>
                </a:lnTo>
                <a:lnTo>
                  <a:pt x="172246" y="140193"/>
                </a:lnTo>
                <a:lnTo>
                  <a:pt x="146015" y="103486"/>
                </a:lnTo>
                <a:lnTo>
                  <a:pt x="115215" y="70662"/>
                </a:lnTo>
                <a:lnTo>
                  <a:pt x="80305" y="42172"/>
                </a:lnTo>
                <a:lnTo>
                  <a:pt x="41747" y="18467"/>
                </a:lnTo>
                <a:lnTo>
                  <a:pt x="0" y="0"/>
                </a:lnTo>
                <a:close/>
              </a:path>
            </a:pathLst>
          </a:custGeom>
          <a:solidFill>
            <a:srgbClr val="C60E33"/>
          </a:solidFill>
        </p:spPr>
        <p:txBody>
          <a:bodyPr wrap="square" lIns="0" tIns="0" rIns="0" bIns="0" rtlCol="0"/>
          <a:lstStyle/>
          <a:p>
            <a:endParaRPr/>
          </a:p>
        </p:txBody>
      </p:sp>
      <p:sp>
        <p:nvSpPr>
          <p:cNvPr id="7" name="object 7"/>
          <p:cNvSpPr/>
          <p:nvPr/>
        </p:nvSpPr>
        <p:spPr>
          <a:xfrm>
            <a:off x="7875669" y="836741"/>
            <a:ext cx="101375" cy="288221"/>
          </a:xfrm>
          <a:custGeom>
            <a:avLst/>
            <a:gdLst/>
            <a:ahLst/>
            <a:cxnLst/>
            <a:rect l="l" t="t" r="r" b="b"/>
            <a:pathLst>
              <a:path w="222884" h="633730">
                <a:moveTo>
                  <a:pt x="222286" y="0"/>
                </a:moveTo>
                <a:lnTo>
                  <a:pt x="180536" y="18467"/>
                </a:lnTo>
                <a:lnTo>
                  <a:pt x="141976" y="42172"/>
                </a:lnTo>
                <a:lnTo>
                  <a:pt x="107066" y="70662"/>
                </a:lnTo>
                <a:lnTo>
                  <a:pt x="76266" y="103486"/>
                </a:lnTo>
                <a:lnTo>
                  <a:pt x="50036" y="140193"/>
                </a:lnTo>
                <a:lnTo>
                  <a:pt x="28834" y="180331"/>
                </a:lnTo>
                <a:lnTo>
                  <a:pt x="13121" y="223451"/>
                </a:lnTo>
                <a:lnTo>
                  <a:pt x="3357" y="269100"/>
                </a:lnTo>
                <a:lnTo>
                  <a:pt x="0" y="316828"/>
                </a:lnTo>
                <a:lnTo>
                  <a:pt x="3357" y="364555"/>
                </a:lnTo>
                <a:lnTo>
                  <a:pt x="13121" y="410204"/>
                </a:lnTo>
                <a:lnTo>
                  <a:pt x="28834" y="453324"/>
                </a:lnTo>
                <a:lnTo>
                  <a:pt x="50036" y="493463"/>
                </a:lnTo>
                <a:lnTo>
                  <a:pt x="76266" y="530169"/>
                </a:lnTo>
                <a:lnTo>
                  <a:pt x="107066" y="562993"/>
                </a:lnTo>
                <a:lnTo>
                  <a:pt x="141976" y="591483"/>
                </a:lnTo>
                <a:lnTo>
                  <a:pt x="180536" y="615188"/>
                </a:lnTo>
                <a:lnTo>
                  <a:pt x="222286" y="633656"/>
                </a:lnTo>
                <a:lnTo>
                  <a:pt x="222286" y="0"/>
                </a:lnTo>
                <a:close/>
              </a:path>
            </a:pathLst>
          </a:custGeom>
          <a:solidFill>
            <a:srgbClr val="354083"/>
          </a:solidFill>
        </p:spPr>
        <p:txBody>
          <a:bodyPr wrap="square" lIns="0" tIns="0" rIns="0" bIns="0" rtlCol="0"/>
          <a:lstStyle/>
          <a:p>
            <a:endParaRPr/>
          </a:p>
        </p:txBody>
      </p:sp>
      <p:grpSp>
        <p:nvGrpSpPr>
          <p:cNvPr id="20" name="Groupe 19">
            <a:extLst>
              <a:ext uri="{FF2B5EF4-FFF2-40B4-BE49-F238E27FC236}">
                <a16:creationId xmlns:a16="http://schemas.microsoft.com/office/drawing/2014/main" id="{481B4418-486A-1A40-BF42-C5DEF111E6C8}"/>
              </a:ext>
            </a:extLst>
          </p:cNvPr>
          <p:cNvGrpSpPr/>
          <p:nvPr/>
        </p:nvGrpSpPr>
        <p:grpSpPr>
          <a:xfrm>
            <a:off x="190893" y="214492"/>
            <a:ext cx="422542" cy="422512"/>
            <a:chOff x="419699" y="471617"/>
            <a:chExt cx="929005" cy="929005"/>
          </a:xfrm>
        </p:grpSpPr>
        <p:sp>
          <p:nvSpPr>
            <p:cNvPr id="8" name="object 8"/>
            <p:cNvSpPr/>
            <p:nvPr/>
          </p:nvSpPr>
          <p:spPr>
            <a:xfrm>
              <a:off x="419699" y="471617"/>
              <a:ext cx="929005" cy="929005"/>
            </a:xfrm>
            <a:custGeom>
              <a:avLst/>
              <a:gdLst/>
              <a:ahLst/>
              <a:cxnLst/>
              <a:rect l="l" t="t" r="r" b="b"/>
              <a:pathLst>
                <a:path w="929005" h="929005">
                  <a:moveTo>
                    <a:pt x="464352" y="0"/>
                  </a:moveTo>
                  <a:lnTo>
                    <a:pt x="416875" y="2397"/>
                  </a:lnTo>
                  <a:lnTo>
                    <a:pt x="370769" y="9434"/>
                  </a:lnTo>
                  <a:lnTo>
                    <a:pt x="326268" y="20876"/>
                  </a:lnTo>
                  <a:lnTo>
                    <a:pt x="283606" y="36491"/>
                  </a:lnTo>
                  <a:lnTo>
                    <a:pt x="243015" y="56045"/>
                  </a:lnTo>
                  <a:lnTo>
                    <a:pt x="204729" y="79304"/>
                  </a:lnTo>
                  <a:lnTo>
                    <a:pt x="168981" y="106036"/>
                  </a:lnTo>
                  <a:lnTo>
                    <a:pt x="136006" y="136006"/>
                  </a:lnTo>
                  <a:lnTo>
                    <a:pt x="106036" y="168981"/>
                  </a:lnTo>
                  <a:lnTo>
                    <a:pt x="79304" y="204729"/>
                  </a:lnTo>
                  <a:lnTo>
                    <a:pt x="56045" y="243015"/>
                  </a:lnTo>
                  <a:lnTo>
                    <a:pt x="36491" y="283606"/>
                  </a:lnTo>
                  <a:lnTo>
                    <a:pt x="20876" y="326268"/>
                  </a:lnTo>
                  <a:lnTo>
                    <a:pt x="9434" y="370769"/>
                  </a:lnTo>
                  <a:lnTo>
                    <a:pt x="2397" y="416875"/>
                  </a:lnTo>
                  <a:lnTo>
                    <a:pt x="0" y="464352"/>
                  </a:lnTo>
                  <a:lnTo>
                    <a:pt x="2397" y="511829"/>
                  </a:lnTo>
                  <a:lnTo>
                    <a:pt x="9434" y="557935"/>
                  </a:lnTo>
                  <a:lnTo>
                    <a:pt x="20876" y="602435"/>
                  </a:lnTo>
                  <a:lnTo>
                    <a:pt x="36491" y="645098"/>
                  </a:lnTo>
                  <a:lnTo>
                    <a:pt x="56045" y="685689"/>
                  </a:lnTo>
                  <a:lnTo>
                    <a:pt x="79304" y="723975"/>
                  </a:lnTo>
                  <a:lnTo>
                    <a:pt x="106036" y="759722"/>
                  </a:lnTo>
                  <a:lnTo>
                    <a:pt x="136006" y="792698"/>
                  </a:lnTo>
                  <a:lnTo>
                    <a:pt x="168981" y="822668"/>
                  </a:lnTo>
                  <a:lnTo>
                    <a:pt x="204729" y="849400"/>
                  </a:lnTo>
                  <a:lnTo>
                    <a:pt x="243015" y="872659"/>
                  </a:lnTo>
                  <a:lnTo>
                    <a:pt x="283606" y="892213"/>
                  </a:lnTo>
                  <a:lnTo>
                    <a:pt x="326268" y="907828"/>
                  </a:lnTo>
                  <a:lnTo>
                    <a:pt x="370769" y="919270"/>
                  </a:lnTo>
                  <a:lnTo>
                    <a:pt x="416875" y="926307"/>
                  </a:lnTo>
                  <a:lnTo>
                    <a:pt x="464352" y="928704"/>
                  </a:lnTo>
                  <a:lnTo>
                    <a:pt x="511829" y="926307"/>
                  </a:lnTo>
                  <a:lnTo>
                    <a:pt x="557934" y="919270"/>
                  </a:lnTo>
                  <a:lnTo>
                    <a:pt x="602434" y="907828"/>
                  </a:lnTo>
                  <a:lnTo>
                    <a:pt x="645096" y="892213"/>
                  </a:lnTo>
                  <a:lnTo>
                    <a:pt x="685687" y="872659"/>
                  </a:lnTo>
                  <a:lnTo>
                    <a:pt x="723972" y="849400"/>
                  </a:lnTo>
                  <a:lnTo>
                    <a:pt x="759718" y="822668"/>
                  </a:lnTo>
                  <a:lnTo>
                    <a:pt x="792693" y="792698"/>
                  </a:lnTo>
                  <a:lnTo>
                    <a:pt x="822662" y="759722"/>
                  </a:lnTo>
                  <a:lnTo>
                    <a:pt x="849392" y="723975"/>
                  </a:lnTo>
                  <a:lnTo>
                    <a:pt x="872651" y="685689"/>
                  </a:lnTo>
                  <a:lnTo>
                    <a:pt x="892204" y="645098"/>
                  </a:lnTo>
                  <a:lnTo>
                    <a:pt x="907818" y="602435"/>
                  </a:lnTo>
                  <a:lnTo>
                    <a:pt x="919260" y="557935"/>
                  </a:lnTo>
                  <a:lnTo>
                    <a:pt x="926296" y="511829"/>
                  </a:lnTo>
                  <a:lnTo>
                    <a:pt x="928694" y="464352"/>
                  </a:lnTo>
                  <a:lnTo>
                    <a:pt x="926296" y="416875"/>
                  </a:lnTo>
                  <a:lnTo>
                    <a:pt x="919260" y="370769"/>
                  </a:lnTo>
                  <a:lnTo>
                    <a:pt x="907818" y="326268"/>
                  </a:lnTo>
                  <a:lnTo>
                    <a:pt x="892204" y="283606"/>
                  </a:lnTo>
                  <a:lnTo>
                    <a:pt x="872651" y="243015"/>
                  </a:lnTo>
                  <a:lnTo>
                    <a:pt x="849392" y="204729"/>
                  </a:lnTo>
                  <a:lnTo>
                    <a:pt x="822662" y="168981"/>
                  </a:lnTo>
                  <a:lnTo>
                    <a:pt x="792693" y="136006"/>
                  </a:lnTo>
                  <a:lnTo>
                    <a:pt x="759718" y="106036"/>
                  </a:lnTo>
                  <a:lnTo>
                    <a:pt x="723972" y="79304"/>
                  </a:lnTo>
                  <a:lnTo>
                    <a:pt x="685687" y="56045"/>
                  </a:lnTo>
                  <a:lnTo>
                    <a:pt x="645096" y="36491"/>
                  </a:lnTo>
                  <a:lnTo>
                    <a:pt x="602434" y="20876"/>
                  </a:lnTo>
                  <a:lnTo>
                    <a:pt x="557934" y="9434"/>
                  </a:lnTo>
                  <a:lnTo>
                    <a:pt x="511829" y="2397"/>
                  </a:lnTo>
                  <a:lnTo>
                    <a:pt x="464352" y="0"/>
                  </a:lnTo>
                  <a:close/>
                </a:path>
              </a:pathLst>
            </a:custGeom>
            <a:solidFill>
              <a:srgbClr val="4AB4E6"/>
            </a:solidFill>
          </p:spPr>
          <p:txBody>
            <a:bodyPr wrap="square" lIns="0" tIns="0" rIns="0" bIns="0" rtlCol="0"/>
            <a:lstStyle/>
            <a:p>
              <a:endParaRPr/>
            </a:p>
          </p:txBody>
        </p:sp>
        <p:sp>
          <p:nvSpPr>
            <p:cNvPr id="9" name="object 9"/>
            <p:cNvSpPr/>
            <p:nvPr/>
          </p:nvSpPr>
          <p:spPr>
            <a:xfrm>
              <a:off x="446112" y="791330"/>
              <a:ext cx="697865" cy="502284"/>
            </a:xfrm>
            <a:custGeom>
              <a:avLst/>
              <a:gdLst/>
              <a:ahLst/>
              <a:cxnLst/>
              <a:rect l="l" t="t" r="r" b="b"/>
              <a:pathLst>
                <a:path w="697865" h="502284">
                  <a:moveTo>
                    <a:pt x="193090" y="138686"/>
                  </a:moveTo>
                  <a:lnTo>
                    <a:pt x="77638" y="138686"/>
                  </a:lnTo>
                  <a:lnTo>
                    <a:pt x="80965" y="187932"/>
                  </a:lnTo>
                  <a:lnTo>
                    <a:pt x="90651" y="235192"/>
                  </a:lnTo>
                  <a:lnTo>
                    <a:pt x="106253" y="280029"/>
                  </a:lnTo>
                  <a:lnTo>
                    <a:pt x="127330" y="322004"/>
                  </a:lnTo>
                  <a:lnTo>
                    <a:pt x="153438" y="360681"/>
                  </a:lnTo>
                  <a:lnTo>
                    <a:pt x="184135" y="395621"/>
                  </a:lnTo>
                  <a:lnTo>
                    <a:pt x="218980" y="426387"/>
                  </a:lnTo>
                  <a:lnTo>
                    <a:pt x="257528" y="452540"/>
                  </a:lnTo>
                  <a:lnTo>
                    <a:pt x="299339" y="473643"/>
                  </a:lnTo>
                  <a:lnTo>
                    <a:pt x="343970" y="489259"/>
                  </a:lnTo>
                  <a:lnTo>
                    <a:pt x="390978" y="498950"/>
                  </a:lnTo>
                  <a:lnTo>
                    <a:pt x="439921" y="502277"/>
                  </a:lnTo>
                  <a:lnTo>
                    <a:pt x="489404" y="499022"/>
                  </a:lnTo>
                  <a:lnTo>
                    <a:pt x="536750" y="489501"/>
                  </a:lnTo>
                  <a:lnTo>
                    <a:pt x="581590" y="474082"/>
                  </a:lnTo>
                  <a:lnTo>
                    <a:pt x="623554" y="453132"/>
                  </a:lnTo>
                  <a:lnTo>
                    <a:pt x="662270" y="427020"/>
                  </a:lnTo>
                  <a:lnTo>
                    <a:pt x="697368" y="396113"/>
                  </a:lnTo>
                  <a:lnTo>
                    <a:pt x="686749" y="385496"/>
                  </a:lnTo>
                  <a:lnTo>
                    <a:pt x="439921" y="385496"/>
                  </a:lnTo>
                  <a:lnTo>
                    <a:pt x="390068" y="380496"/>
                  </a:lnTo>
                  <a:lnTo>
                    <a:pt x="343684" y="366150"/>
                  </a:lnTo>
                  <a:lnTo>
                    <a:pt x="301750" y="343439"/>
                  </a:lnTo>
                  <a:lnTo>
                    <a:pt x="265244" y="313341"/>
                  </a:lnTo>
                  <a:lnTo>
                    <a:pt x="235146" y="276837"/>
                  </a:lnTo>
                  <a:lnTo>
                    <a:pt x="212435" y="234906"/>
                  </a:lnTo>
                  <a:lnTo>
                    <a:pt x="198090" y="188530"/>
                  </a:lnTo>
                  <a:lnTo>
                    <a:pt x="193090" y="138686"/>
                  </a:lnTo>
                  <a:close/>
                </a:path>
                <a:path w="697865" h="502284">
                  <a:moveTo>
                    <a:pt x="615099" y="313854"/>
                  </a:moveTo>
                  <a:lnTo>
                    <a:pt x="578953" y="343526"/>
                  </a:lnTo>
                  <a:lnTo>
                    <a:pt x="536961" y="366100"/>
                  </a:lnTo>
                  <a:lnTo>
                    <a:pt x="490244" y="380461"/>
                  </a:lnTo>
                  <a:lnTo>
                    <a:pt x="439921" y="385496"/>
                  </a:lnTo>
                  <a:lnTo>
                    <a:pt x="686749" y="385496"/>
                  </a:lnTo>
                  <a:lnTo>
                    <a:pt x="615099" y="313854"/>
                  </a:lnTo>
                  <a:close/>
                </a:path>
                <a:path w="697865" h="502284">
                  <a:moveTo>
                    <a:pt x="136193" y="0"/>
                  </a:moveTo>
                  <a:lnTo>
                    <a:pt x="59053" y="61715"/>
                  </a:lnTo>
                  <a:lnTo>
                    <a:pt x="7295" y="116122"/>
                  </a:lnTo>
                  <a:lnTo>
                    <a:pt x="0" y="131876"/>
                  </a:lnTo>
                  <a:lnTo>
                    <a:pt x="5434" y="136838"/>
                  </a:lnTo>
                  <a:lnTo>
                    <a:pt x="16593" y="138686"/>
                  </a:lnTo>
                  <a:lnTo>
                    <a:pt x="255455" y="138686"/>
                  </a:lnTo>
                  <a:lnTo>
                    <a:pt x="267382" y="136838"/>
                  </a:lnTo>
                  <a:lnTo>
                    <a:pt x="273208" y="131876"/>
                  </a:lnTo>
                  <a:lnTo>
                    <a:pt x="272815" y="124679"/>
                  </a:lnTo>
                  <a:lnTo>
                    <a:pt x="266083" y="116122"/>
                  </a:lnTo>
                  <a:lnTo>
                    <a:pt x="159908" y="9957"/>
                  </a:lnTo>
                  <a:lnTo>
                    <a:pt x="148738" y="2489"/>
                  </a:lnTo>
                  <a:lnTo>
                    <a:pt x="136193" y="0"/>
                  </a:lnTo>
                  <a:close/>
                </a:path>
              </a:pathLst>
            </a:custGeom>
            <a:solidFill>
              <a:srgbClr val="C5C5C5"/>
            </a:solidFill>
          </p:spPr>
          <p:txBody>
            <a:bodyPr wrap="square" lIns="0" tIns="0" rIns="0" bIns="0" rtlCol="0"/>
            <a:lstStyle/>
            <a:p>
              <a:endParaRPr/>
            </a:p>
          </p:txBody>
        </p:sp>
        <p:sp>
          <p:nvSpPr>
            <p:cNvPr id="10" name="object 10"/>
            <p:cNvSpPr/>
            <p:nvPr/>
          </p:nvSpPr>
          <p:spPr>
            <a:xfrm>
              <a:off x="623278" y="578336"/>
              <a:ext cx="699135" cy="504190"/>
            </a:xfrm>
            <a:custGeom>
              <a:avLst/>
              <a:gdLst/>
              <a:ahLst/>
              <a:cxnLst/>
              <a:rect l="l" t="t" r="r" b="b"/>
              <a:pathLst>
                <a:path w="699135" h="504190">
                  <a:moveTo>
                    <a:pt x="682115" y="363611"/>
                  </a:moveTo>
                  <a:lnTo>
                    <a:pt x="441913" y="363611"/>
                  </a:lnTo>
                  <a:lnTo>
                    <a:pt x="430752" y="365479"/>
                  </a:lnTo>
                  <a:lnTo>
                    <a:pt x="425314" y="370582"/>
                  </a:lnTo>
                  <a:lnTo>
                    <a:pt x="425848" y="378171"/>
                  </a:lnTo>
                  <a:lnTo>
                    <a:pt x="432604" y="387496"/>
                  </a:lnTo>
                  <a:lnTo>
                    <a:pt x="538789" y="493649"/>
                  </a:lnTo>
                  <a:lnTo>
                    <a:pt x="549220" y="501124"/>
                  </a:lnTo>
                  <a:lnTo>
                    <a:pt x="561514" y="503615"/>
                  </a:lnTo>
                  <a:lnTo>
                    <a:pt x="574055" y="501124"/>
                  </a:lnTo>
                  <a:lnTo>
                    <a:pt x="585228" y="493649"/>
                  </a:lnTo>
                  <a:lnTo>
                    <a:pt x="691392" y="387496"/>
                  </a:lnTo>
                  <a:lnTo>
                    <a:pt x="698157" y="378171"/>
                  </a:lnTo>
                  <a:lnTo>
                    <a:pt x="698702" y="370582"/>
                  </a:lnTo>
                  <a:lnTo>
                    <a:pt x="693272" y="365479"/>
                  </a:lnTo>
                  <a:lnTo>
                    <a:pt x="682115" y="363611"/>
                  </a:lnTo>
                  <a:close/>
                </a:path>
                <a:path w="699135" h="504190">
                  <a:moveTo>
                    <a:pt x="523459" y="116781"/>
                  </a:moveTo>
                  <a:lnTo>
                    <a:pt x="257458" y="116781"/>
                  </a:lnTo>
                  <a:lnTo>
                    <a:pt x="307362" y="121781"/>
                  </a:lnTo>
                  <a:lnTo>
                    <a:pt x="353893" y="136128"/>
                  </a:lnTo>
                  <a:lnTo>
                    <a:pt x="396040" y="158842"/>
                  </a:lnTo>
                  <a:lnTo>
                    <a:pt x="432791" y="188943"/>
                  </a:lnTo>
                  <a:lnTo>
                    <a:pt x="463136" y="225450"/>
                  </a:lnTo>
                  <a:lnTo>
                    <a:pt x="486063" y="267384"/>
                  </a:lnTo>
                  <a:lnTo>
                    <a:pt x="500560" y="313764"/>
                  </a:lnTo>
                  <a:lnTo>
                    <a:pt x="505618" y="363611"/>
                  </a:lnTo>
                  <a:lnTo>
                    <a:pt x="621059" y="363611"/>
                  </a:lnTo>
                  <a:lnTo>
                    <a:pt x="617732" y="314361"/>
                  </a:lnTo>
                  <a:lnTo>
                    <a:pt x="608047" y="267097"/>
                  </a:lnTo>
                  <a:lnTo>
                    <a:pt x="592446" y="222257"/>
                  </a:lnTo>
                  <a:lnTo>
                    <a:pt x="571370" y="180279"/>
                  </a:lnTo>
                  <a:lnTo>
                    <a:pt x="545263" y="141600"/>
                  </a:lnTo>
                  <a:lnTo>
                    <a:pt x="523459" y="116781"/>
                  </a:lnTo>
                  <a:close/>
                </a:path>
                <a:path w="699135" h="504190">
                  <a:moveTo>
                    <a:pt x="258777" y="0"/>
                  </a:moveTo>
                  <a:lnTo>
                    <a:pt x="209201" y="3348"/>
                  </a:lnTo>
                  <a:lnTo>
                    <a:pt x="161612" y="13074"/>
                  </a:lnTo>
                  <a:lnTo>
                    <a:pt x="116454" y="28698"/>
                  </a:lnTo>
                  <a:lnTo>
                    <a:pt x="74171" y="49740"/>
                  </a:lnTo>
                  <a:lnTo>
                    <a:pt x="35205" y="75722"/>
                  </a:lnTo>
                  <a:lnTo>
                    <a:pt x="0" y="106164"/>
                  </a:lnTo>
                  <a:lnTo>
                    <a:pt x="83589" y="189753"/>
                  </a:lnTo>
                  <a:lnTo>
                    <a:pt x="119717" y="159316"/>
                  </a:lnTo>
                  <a:lnTo>
                    <a:pt x="161570" y="136347"/>
                  </a:lnTo>
                  <a:lnTo>
                    <a:pt x="207900" y="121838"/>
                  </a:lnTo>
                  <a:lnTo>
                    <a:pt x="257458" y="116781"/>
                  </a:lnTo>
                  <a:lnTo>
                    <a:pt x="523459" y="116781"/>
                  </a:lnTo>
                  <a:lnTo>
                    <a:pt x="514566" y="106659"/>
                  </a:lnTo>
                  <a:lnTo>
                    <a:pt x="479723" y="75892"/>
                  </a:lnTo>
                  <a:lnTo>
                    <a:pt x="441174" y="49738"/>
                  </a:lnTo>
                  <a:lnTo>
                    <a:pt x="399363" y="28634"/>
                  </a:lnTo>
                  <a:lnTo>
                    <a:pt x="354731" y="13018"/>
                  </a:lnTo>
                  <a:lnTo>
                    <a:pt x="307722" y="3327"/>
                  </a:lnTo>
                  <a:lnTo>
                    <a:pt x="258777" y="0"/>
                  </a:lnTo>
                  <a:close/>
                </a:path>
              </a:pathLst>
            </a:custGeom>
            <a:solidFill>
              <a:srgbClr val="000000"/>
            </a:solidFill>
          </p:spPr>
          <p:txBody>
            <a:bodyPr wrap="square" lIns="0" tIns="0" rIns="0" bIns="0" rtlCol="0"/>
            <a:lstStyle/>
            <a:p>
              <a:endParaRPr/>
            </a:p>
          </p:txBody>
        </p:sp>
        <p:sp>
          <p:nvSpPr>
            <p:cNvPr id="11" name="object 11"/>
            <p:cNvSpPr/>
            <p:nvPr/>
          </p:nvSpPr>
          <p:spPr>
            <a:xfrm>
              <a:off x="690094" y="733558"/>
              <a:ext cx="387985" cy="302260"/>
            </a:xfrm>
            <a:custGeom>
              <a:avLst/>
              <a:gdLst/>
              <a:ahLst/>
              <a:cxnLst/>
              <a:rect l="l" t="t" r="r" b="b"/>
              <a:pathLst>
                <a:path w="387984" h="302259">
                  <a:moveTo>
                    <a:pt x="387904" y="290923"/>
                  </a:moveTo>
                  <a:lnTo>
                    <a:pt x="0" y="290923"/>
                  </a:lnTo>
                  <a:lnTo>
                    <a:pt x="0" y="301697"/>
                  </a:lnTo>
                  <a:lnTo>
                    <a:pt x="387904" y="301697"/>
                  </a:lnTo>
                  <a:lnTo>
                    <a:pt x="387904" y="290923"/>
                  </a:lnTo>
                  <a:close/>
                </a:path>
                <a:path w="387984" h="302259">
                  <a:moveTo>
                    <a:pt x="377129" y="280148"/>
                  </a:moveTo>
                  <a:lnTo>
                    <a:pt x="10774" y="280148"/>
                  </a:lnTo>
                  <a:lnTo>
                    <a:pt x="10774" y="290923"/>
                  </a:lnTo>
                  <a:lnTo>
                    <a:pt x="377129" y="290923"/>
                  </a:lnTo>
                  <a:lnTo>
                    <a:pt x="377129" y="280148"/>
                  </a:lnTo>
                  <a:close/>
                </a:path>
                <a:path w="387984" h="302259">
                  <a:moveTo>
                    <a:pt x="107755" y="96970"/>
                  </a:moveTo>
                  <a:lnTo>
                    <a:pt x="21549" y="96970"/>
                  </a:lnTo>
                  <a:lnTo>
                    <a:pt x="21549" y="280148"/>
                  </a:lnTo>
                  <a:lnTo>
                    <a:pt x="366355" y="280148"/>
                  </a:lnTo>
                  <a:lnTo>
                    <a:pt x="366355" y="269373"/>
                  </a:lnTo>
                  <a:lnTo>
                    <a:pt x="107755" y="269373"/>
                  </a:lnTo>
                  <a:lnTo>
                    <a:pt x="107755" y="247824"/>
                  </a:lnTo>
                  <a:lnTo>
                    <a:pt x="43108" y="247824"/>
                  </a:lnTo>
                  <a:lnTo>
                    <a:pt x="43108" y="194381"/>
                  </a:lnTo>
                  <a:lnTo>
                    <a:pt x="107755" y="194381"/>
                  </a:lnTo>
                  <a:lnTo>
                    <a:pt x="107755" y="172403"/>
                  </a:lnTo>
                  <a:lnTo>
                    <a:pt x="43108" y="172403"/>
                  </a:lnTo>
                  <a:lnTo>
                    <a:pt x="43108" y="118530"/>
                  </a:lnTo>
                  <a:lnTo>
                    <a:pt x="107755" y="118530"/>
                  </a:lnTo>
                  <a:lnTo>
                    <a:pt x="107755" y="96970"/>
                  </a:lnTo>
                  <a:close/>
                </a:path>
                <a:path w="387984" h="302259">
                  <a:moveTo>
                    <a:pt x="150854" y="96970"/>
                  </a:moveTo>
                  <a:lnTo>
                    <a:pt x="129304" y="96970"/>
                  </a:lnTo>
                  <a:lnTo>
                    <a:pt x="129304" y="269373"/>
                  </a:lnTo>
                  <a:lnTo>
                    <a:pt x="150854" y="269373"/>
                  </a:lnTo>
                  <a:lnTo>
                    <a:pt x="150854" y="96970"/>
                  </a:lnTo>
                  <a:close/>
                </a:path>
                <a:path w="387984" h="302259">
                  <a:moveTo>
                    <a:pt x="215511" y="96970"/>
                  </a:moveTo>
                  <a:lnTo>
                    <a:pt x="172403" y="96970"/>
                  </a:lnTo>
                  <a:lnTo>
                    <a:pt x="172403" y="269373"/>
                  </a:lnTo>
                  <a:lnTo>
                    <a:pt x="215511" y="269373"/>
                  </a:lnTo>
                  <a:lnTo>
                    <a:pt x="215511" y="96970"/>
                  </a:lnTo>
                  <a:close/>
                </a:path>
                <a:path w="387984" h="302259">
                  <a:moveTo>
                    <a:pt x="258609" y="96970"/>
                  </a:moveTo>
                  <a:lnTo>
                    <a:pt x="237060" y="96970"/>
                  </a:lnTo>
                  <a:lnTo>
                    <a:pt x="237060" y="269373"/>
                  </a:lnTo>
                  <a:lnTo>
                    <a:pt x="258609" y="269373"/>
                  </a:lnTo>
                  <a:lnTo>
                    <a:pt x="258609" y="96970"/>
                  </a:lnTo>
                  <a:close/>
                </a:path>
                <a:path w="387984" h="302259">
                  <a:moveTo>
                    <a:pt x="366355" y="96970"/>
                  </a:moveTo>
                  <a:lnTo>
                    <a:pt x="280159" y="96970"/>
                  </a:lnTo>
                  <a:lnTo>
                    <a:pt x="280159" y="269373"/>
                  </a:lnTo>
                  <a:lnTo>
                    <a:pt x="366355" y="269373"/>
                  </a:lnTo>
                  <a:lnTo>
                    <a:pt x="366355" y="247824"/>
                  </a:lnTo>
                  <a:lnTo>
                    <a:pt x="301708" y="247824"/>
                  </a:lnTo>
                  <a:lnTo>
                    <a:pt x="301708" y="194381"/>
                  </a:lnTo>
                  <a:lnTo>
                    <a:pt x="366355" y="194381"/>
                  </a:lnTo>
                  <a:lnTo>
                    <a:pt x="366355" y="172403"/>
                  </a:lnTo>
                  <a:lnTo>
                    <a:pt x="301708" y="172403"/>
                  </a:lnTo>
                  <a:lnTo>
                    <a:pt x="301708" y="118530"/>
                  </a:lnTo>
                  <a:lnTo>
                    <a:pt x="366355" y="118530"/>
                  </a:lnTo>
                  <a:lnTo>
                    <a:pt x="366355" y="96970"/>
                  </a:lnTo>
                  <a:close/>
                </a:path>
                <a:path w="387984" h="302259">
                  <a:moveTo>
                    <a:pt x="107755" y="194381"/>
                  </a:moveTo>
                  <a:lnTo>
                    <a:pt x="86206" y="194381"/>
                  </a:lnTo>
                  <a:lnTo>
                    <a:pt x="86206" y="247824"/>
                  </a:lnTo>
                  <a:lnTo>
                    <a:pt x="107755" y="247824"/>
                  </a:lnTo>
                  <a:lnTo>
                    <a:pt x="107755" y="194381"/>
                  </a:lnTo>
                  <a:close/>
                </a:path>
                <a:path w="387984" h="302259">
                  <a:moveTo>
                    <a:pt x="366355" y="194381"/>
                  </a:moveTo>
                  <a:lnTo>
                    <a:pt x="344806" y="194381"/>
                  </a:lnTo>
                  <a:lnTo>
                    <a:pt x="344806" y="247824"/>
                  </a:lnTo>
                  <a:lnTo>
                    <a:pt x="366355" y="247824"/>
                  </a:lnTo>
                  <a:lnTo>
                    <a:pt x="366355" y="194381"/>
                  </a:lnTo>
                  <a:close/>
                </a:path>
                <a:path w="387984" h="302259">
                  <a:moveTo>
                    <a:pt x="107755" y="118530"/>
                  </a:moveTo>
                  <a:lnTo>
                    <a:pt x="86206" y="118530"/>
                  </a:lnTo>
                  <a:lnTo>
                    <a:pt x="86206" y="172403"/>
                  </a:lnTo>
                  <a:lnTo>
                    <a:pt x="107755" y="172403"/>
                  </a:lnTo>
                  <a:lnTo>
                    <a:pt x="107755" y="118530"/>
                  </a:lnTo>
                  <a:close/>
                </a:path>
                <a:path w="387984" h="302259">
                  <a:moveTo>
                    <a:pt x="366355" y="118530"/>
                  </a:moveTo>
                  <a:lnTo>
                    <a:pt x="344806" y="118530"/>
                  </a:lnTo>
                  <a:lnTo>
                    <a:pt x="344806" y="172403"/>
                  </a:lnTo>
                  <a:lnTo>
                    <a:pt x="366355" y="172403"/>
                  </a:lnTo>
                  <a:lnTo>
                    <a:pt x="366355" y="118530"/>
                  </a:lnTo>
                  <a:close/>
                </a:path>
                <a:path w="387984" h="302259">
                  <a:moveTo>
                    <a:pt x="377129" y="75421"/>
                  </a:moveTo>
                  <a:lnTo>
                    <a:pt x="10774" y="75421"/>
                  </a:lnTo>
                  <a:lnTo>
                    <a:pt x="10774" y="96970"/>
                  </a:lnTo>
                  <a:lnTo>
                    <a:pt x="377129" y="96970"/>
                  </a:lnTo>
                  <a:lnTo>
                    <a:pt x="377129" y="75421"/>
                  </a:lnTo>
                  <a:close/>
                </a:path>
                <a:path w="387984" h="302259">
                  <a:moveTo>
                    <a:pt x="193952" y="0"/>
                  </a:moveTo>
                  <a:lnTo>
                    <a:pt x="75421" y="54856"/>
                  </a:lnTo>
                  <a:lnTo>
                    <a:pt x="75421" y="75421"/>
                  </a:lnTo>
                  <a:lnTo>
                    <a:pt x="312482" y="75421"/>
                  </a:lnTo>
                  <a:lnTo>
                    <a:pt x="312482" y="54856"/>
                  </a:lnTo>
                  <a:lnTo>
                    <a:pt x="310355" y="53872"/>
                  </a:lnTo>
                  <a:lnTo>
                    <a:pt x="128854" y="53872"/>
                  </a:lnTo>
                  <a:lnTo>
                    <a:pt x="193952" y="23747"/>
                  </a:lnTo>
                  <a:lnTo>
                    <a:pt x="245264" y="23747"/>
                  </a:lnTo>
                  <a:lnTo>
                    <a:pt x="193952" y="0"/>
                  </a:lnTo>
                  <a:close/>
                </a:path>
                <a:path w="387984" h="302259">
                  <a:moveTo>
                    <a:pt x="245264" y="23747"/>
                  </a:moveTo>
                  <a:lnTo>
                    <a:pt x="193952" y="23747"/>
                  </a:lnTo>
                  <a:lnTo>
                    <a:pt x="259060" y="53872"/>
                  </a:lnTo>
                  <a:lnTo>
                    <a:pt x="310355" y="53872"/>
                  </a:lnTo>
                  <a:lnTo>
                    <a:pt x="245264" y="23747"/>
                  </a:lnTo>
                  <a:close/>
                </a:path>
              </a:pathLst>
            </a:custGeom>
            <a:solidFill>
              <a:srgbClr val="FFFFFF"/>
            </a:solidFill>
          </p:spPr>
          <p:txBody>
            <a:bodyPr wrap="square" lIns="0" tIns="0" rIns="0" bIns="0" rtlCol="0"/>
            <a:lstStyle/>
            <a:p>
              <a:endParaRPr/>
            </a:p>
          </p:txBody>
        </p:sp>
      </p:grpSp>
      <p:sp>
        <p:nvSpPr>
          <p:cNvPr id="13" name="object 13"/>
          <p:cNvSpPr txBox="1"/>
          <p:nvPr/>
        </p:nvSpPr>
        <p:spPr>
          <a:xfrm>
            <a:off x="2350346" y="1562371"/>
            <a:ext cx="6501598" cy="805667"/>
          </a:xfrm>
          <a:prstGeom prst="rect">
            <a:avLst/>
          </a:prstGeom>
          <a:solidFill>
            <a:srgbClr val="FFFFFF"/>
          </a:solidFill>
        </p:spPr>
        <p:txBody>
          <a:bodyPr vert="horz" wrap="square" lIns="0" tIns="150175" rIns="0" bIns="0" rtlCol="0">
            <a:spAutoFit/>
          </a:bodyPr>
          <a:lstStyle/>
          <a:p>
            <a:pPr marL="166925">
              <a:spcBef>
                <a:spcPts val="1182"/>
              </a:spcBef>
            </a:pPr>
            <a:r>
              <a:rPr sz="1300" b="1" spc="-23" dirty="0">
                <a:solidFill>
                  <a:srgbClr val="FF7900"/>
                </a:solidFill>
                <a:latin typeface="Helvetica Neue"/>
                <a:cs typeface="Helvetica Neue"/>
              </a:rPr>
              <a:t>Tarifs</a:t>
            </a:r>
            <a:endParaRPr sz="1300">
              <a:latin typeface="Helvetica Neue"/>
              <a:cs typeface="Helvetica Neue"/>
            </a:endParaRPr>
          </a:p>
          <a:p>
            <a:pPr marL="166925">
              <a:spcBef>
                <a:spcPts val="905"/>
              </a:spcBef>
            </a:pPr>
            <a:r>
              <a:rPr sz="1100" b="1" spc="5" dirty="0">
                <a:latin typeface="Helvetica Neue"/>
                <a:cs typeface="Helvetica Neue"/>
              </a:rPr>
              <a:t>« Pour un prix plus </a:t>
            </a:r>
            <a:r>
              <a:rPr sz="1100" b="1" spc="2" dirty="0">
                <a:latin typeface="Helvetica Neue"/>
                <a:cs typeface="Helvetica Neue"/>
              </a:rPr>
              <a:t>attractif </a:t>
            </a:r>
            <a:r>
              <a:rPr sz="1100" b="1" spc="5" dirty="0">
                <a:latin typeface="Helvetica Neue"/>
                <a:cs typeface="Helvetica Neue"/>
              </a:rPr>
              <a:t>et une récompense de </a:t>
            </a:r>
            <a:r>
              <a:rPr sz="1100" b="1" spc="2" dirty="0">
                <a:latin typeface="Helvetica Neue"/>
                <a:cs typeface="Helvetica Neue"/>
              </a:rPr>
              <a:t>la fidélité, </a:t>
            </a:r>
            <a:r>
              <a:rPr sz="1100" b="1" spc="5" dirty="0">
                <a:latin typeface="Helvetica Neue"/>
                <a:cs typeface="Helvetica Neue"/>
              </a:rPr>
              <a:t>de meilleurs placements</a:t>
            </a:r>
            <a:r>
              <a:rPr sz="1100" b="1" spc="11" dirty="0">
                <a:latin typeface="Helvetica Neue"/>
                <a:cs typeface="Helvetica Neue"/>
              </a:rPr>
              <a:t> </a:t>
            </a:r>
            <a:r>
              <a:rPr sz="1100" b="1" spc="5" dirty="0">
                <a:latin typeface="Helvetica Neue"/>
                <a:cs typeface="Helvetica Neue"/>
              </a:rPr>
              <a:t>»</a:t>
            </a:r>
            <a:endParaRPr sz="1100">
              <a:latin typeface="Helvetica Neue"/>
              <a:cs typeface="Helvetica Neue"/>
            </a:endParaRPr>
          </a:p>
          <a:p>
            <a:pPr marL="166925">
              <a:spcBef>
                <a:spcPts val="14"/>
              </a:spcBef>
            </a:pPr>
            <a:r>
              <a:rPr sz="1100" b="1" spc="5" dirty="0">
                <a:latin typeface="Helvetica Neue"/>
                <a:cs typeface="Helvetica Neue"/>
              </a:rPr>
              <a:t>«</a:t>
            </a:r>
            <a:r>
              <a:rPr sz="1100" b="1" spc="-43" dirty="0">
                <a:latin typeface="Helvetica Neue"/>
                <a:cs typeface="Helvetica Neue"/>
              </a:rPr>
              <a:t> </a:t>
            </a:r>
            <a:r>
              <a:rPr sz="1100" b="1" spc="-7" dirty="0">
                <a:latin typeface="Helvetica Neue"/>
                <a:cs typeface="Helvetica Neue"/>
              </a:rPr>
              <a:t>Si</a:t>
            </a:r>
            <a:r>
              <a:rPr sz="1100" b="1" spc="-43" dirty="0">
                <a:latin typeface="Helvetica Neue"/>
                <a:cs typeface="Helvetica Neue"/>
              </a:rPr>
              <a:t> </a:t>
            </a:r>
            <a:r>
              <a:rPr sz="1100" b="1" spc="-7" dirty="0">
                <a:latin typeface="Helvetica Neue"/>
                <a:cs typeface="Helvetica Neue"/>
              </a:rPr>
              <a:t>je</a:t>
            </a:r>
            <a:r>
              <a:rPr sz="1100" b="1" spc="-43" dirty="0">
                <a:latin typeface="Helvetica Neue"/>
                <a:cs typeface="Helvetica Neue"/>
              </a:rPr>
              <a:t> </a:t>
            </a:r>
            <a:r>
              <a:rPr sz="1100" b="1" spc="-18" dirty="0">
                <a:latin typeface="Helvetica Neue"/>
                <a:cs typeface="Helvetica Neue"/>
              </a:rPr>
              <a:t>trouve</a:t>
            </a:r>
            <a:r>
              <a:rPr sz="1100" b="1" spc="-43" dirty="0">
                <a:latin typeface="Helvetica Neue"/>
                <a:cs typeface="Helvetica Neue"/>
              </a:rPr>
              <a:t> </a:t>
            </a:r>
            <a:r>
              <a:rPr sz="1100" b="1" spc="-14" dirty="0">
                <a:latin typeface="Helvetica Neue"/>
                <a:cs typeface="Helvetica Neue"/>
              </a:rPr>
              <a:t>mieux</a:t>
            </a:r>
            <a:r>
              <a:rPr sz="1100" b="1" spc="-43" dirty="0">
                <a:latin typeface="Helvetica Neue"/>
                <a:cs typeface="Helvetica Neue"/>
              </a:rPr>
              <a:t> </a:t>
            </a:r>
            <a:r>
              <a:rPr sz="1100" b="1" spc="-16" dirty="0">
                <a:latin typeface="Helvetica Neue"/>
                <a:cs typeface="Helvetica Neue"/>
              </a:rPr>
              <a:t>ailleurs</a:t>
            </a:r>
            <a:r>
              <a:rPr sz="1100" b="1" spc="-43" dirty="0">
                <a:latin typeface="Helvetica Neue"/>
                <a:cs typeface="Helvetica Neue"/>
              </a:rPr>
              <a:t> </a:t>
            </a:r>
            <a:r>
              <a:rPr sz="1100" b="1" spc="-7" dirty="0">
                <a:latin typeface="Helvetica Neue"/>
                <a:cs typeface="Helvetica Neue"/>
              </a:rPr>
              <a:t>en</a:t>
            </a:r>
            <a:r>
              <a:rPr sz="1100" b="1" spc="-43" dirty="0">
                <a:latin typeface="Helvetica Neue"/>
                <a:cs typeface="Helvetica Neue"/>
              </a:rPr>
              <a:t> </a:t>
            </a:r>
            <a:r>
              <a:rPr sz="1100" b="1" spc="-14" dirty="0">
                <a:latin typeface="Helvetica Neue"/>
                <a:cs typeface="Helvetica Neue"/>
              </a:rPr>
              <a:t>terme</a:t>
            </a:r>
            <a:r>
              <a:rPr sz="1100" b="1" spc="-43" dirty="0">
                <a:latin typeface="Helvetica Neue"/>
                <a:cs typeface="Helvetica Neue"/>
              </a:rPr>
              <a:t> </a:t>
            </a:r>
            <a:r>
              <a:rPr sz="1100" b="1" spc="-7" dirty="0">
                <a:latin typeface="Helvetica Neue"/>
                <a:cs typeface="Helvetica Neue"/>
              </a:rPr>
              <a:t>de</a:t>
            </a:r>
            <a:r>
              <a:rPr sz="1100" b="1" spc="-43" dirty="0">
                <a:latin typeface="Helvetica Neue"/>
                <a:cs typeface="Helvetica Neue"/>
              </a:rPr>
              <a:t> </a:t>
            </a:r>
            <a:r>
              <a:rPr sz="1100" b="1" spc="-16" dirty="0">
                <a:latin typeface="Helvetica Neue"/>
                <a:cs typeface="Helvetica Neue"/>
              </a:rPr>
              <a:t>frais</a:t>
            </a:r>
            <a:r>
              <a:rPr sz="1100" b="1" spc="-43" dirty="0">
                <a:latin typeface="Helvetica Neue"/>
                <a:cs typeface="Helvetica Neue"/>
              </a:rPr>
              <a:t> </a:t>
            </a:r>
            <a:r>
              <a:rPr sz="1100" b="1" spc="-18" dirty="0">
                <a:latin typeface="Helvetica Neue"/>
                <a:cs typeface="Helvetica Neue"/>
              </a:rPr>
              <a:t>bancaires</a:t>
            </a:r>
            <a:r>
              <a:rPr sz="1100" b="1" spc="-43" dirty="0">
                <a:latin typeface="Helvetica Neue"/>
                <a:cs typeface="Helvetica Neue"/>
              </a:rPr>
              <a:t> </a:t>
            </a:r>
            <a:r>
              <a:rPr sz="1100" b="1" spc="5" dirty="0">
                <a:latin typeface="Helvetica Neue"/>
                <a:cs typeface="Helvetica Neue"/>
              </a:rPr>
              <a:t>»</a:t>
            </a:r>
            <a:endParaRPr sz="1100">
              <a:latin typeface="Helvetica Neue"/>
              <a:cs typeface="Helvetica Neue"/>
            </a:endParaRPr>
          </a:p>
        </p:txBody>
      </p:sp>
      <p:sp>
        <p:nvSpPr>
          <p:cNvPr id="14" name="object 14"/>
          <p:cNvSpPr txBox="1"/>
          <p:nvPr/>
        </p:nvSpPr>
        <p:spPr>
          <a:xfrm>
            <a:off x="3080632" y="1692131"/>
            <a:ext cx="1854216" cy="226592"/>
          </a:xfrm>
          <a:prstGeom prst="rect">
            <a:avLst/>
          </a:prstGeom>
          <a:solidFill>
            <a:srgbClr val="FF7900"/>
          </a:solidFill>
        </p:spPr>
        <p:txBody>
          <a:bodyPr vert="horz" wrap="square" lIns="0" tIns="26281" rIns="0" bIns="0" rtlCol="0">
            <a:spAutoFit/>
          </a:bodyPr>
          <a:lstStyle/>
          <a:p>
            <a:pPr marR="49962" algn="r">
              <a:spcBef>
                <a:spcPts val="207"/>
              </a:spcBef>
            </a:pPr>
            <a:r>
              <a:rPr sz="1300" b="1" spc="-2" dirty="0">
                <a:solidFill>
                  <a:srgbClr val="FFFFFF"/>
                </a:solidFill>
                <a:latin typeface="Helvetica"/>
                <a:cs typeface="Helvetica"/>
              </a:rPr>
              <a:t>41%</a:t>
            </a:r>
            <a:endParaRPr sz="1300">
              <a:latin typeface="Helvetica"/>
              <a:cs typeface="Helvetica"/>
            </a:endParaRPr>
          </a:p>
        </p:txBody>
      </p:sp>
      <p:sp>
        <p:nvSpPr>
          <p:cNvPr id="15" name="object 15"/>
          <p:cNvSpPr txBox="1"/>
          <p:nvPr/>
        </p:nvSpPr>
        <p:spPr>
          <a:xfrm>
            <a:off x="2350346" y="2607476"/>
            <a:ext cx="6501598" cy="974944"/>
          </a:xfrm>
          <a:prstGeom prst="rect">
            <a:avLst/>
          </a:prstGeom>
          <a:solidFill>
            <a:srgbClr val="FFFFFF"/>
          </a:solidFill>
        </p:spPr>
        <p:txBody>
          <a:bodyPr vert="horz" wrap="square" lIns="0" tIns="150175" rIns="0" bIns="0" rtlCol="0">
            <a:spAutoFit/>
          </a:bodyPr>
          <a:lstStyle/>
          <a:p>
            <a:pPr marL="166925">
              <a:spcBef>
                <a:spcPts val="1182"/>
              </a:spcBef>
            </a:pPr>
            <a:r>
              <a:rPr sz="1300" b="1" spc="2" dirty="0">
                <a:solidFill>
                  <a:srgbClr val="FF7900"/>
                </a:solidFill>
                <a:latin typeface="Helvetica Neue"/>
                <a:cs typeface="Helvetica Neue"/>
              </a:rPr>
              <a:t>Services</a:t>
            </a:r>
            <a:endParaRPr sz="1300" dirty="0">
              <a:latin typeface="Helvetica Neue"/>
              <a:cs typeface="Helvetica Neue"/>
            </a:endParaRPr>
          </a:p>
          <a:p>
            <a:pPr marL="166925">
              <a:spcBef>
                <a:spcPts val="905"/>
              </a:spcBef>
            </a:pPr>
            <a:r>
              <a:rPr sz="1100" b="1" spc="5" dirty="0">
                <a:latin typeface="Helvetica Neue"/>
                <a:cs typeface="Helvetica Neue"/>
              </a:rPr>
              <a:t>«</a:t>
            </a:r>
            <a:r>
              <a:rPr sz="1100" b="1" spc="-43" dirty="0">
                <a:latin typeface="Helvetica Neue"/>
                <a:cs typeface="Helvetica Neue"/>
              </a:rPr>
              <a:t> </a:t>
            </a:r>
            <a:r>
              <a:rPr sz="1100" b="1" spc="-7" dirty="0">
                <a:latin typeface="Helvetica Neue"/>
                <a:cs typeface="Helvetica Neue"/>
              </a:rPr>
              <a:t>Si</a:t>
            </a:r>
            <a:r>
              <a:rPr sz="1100" b="1" spc="-43" dirty="0">
                <a:latin typeface="Helvetica Neue"/>
                <a:cs typeface="Helvetica Neue"/>
              </a:rPr>
              <a:t> </a:t>
            </a:r>
            <a:r>
              <a:rPr sz="1100" b="1" spc="-9" dirty="0">
                <a:latin typeface="Helvetica Neue"/>
                <a:cs typeface="Helvetica Neue"/>
              </a:rPr>
              <a:t>une</a:t>
            </a:r>
            <a:r>
              <a:rPr sz="1100" b="1" spc="-43" dirty="0">
                <a:latin typeface="Helvetica Neue"/>
                <a:cs typeface="Helvetica Neue"/>
              </a:rPr>
              <a:t> </a:t>
            </a:r>
            <a:r>
              <a:rPr sz="1100" b="1" spc="-18" dirty="0">
                <a:latin typeface="Helvetica Neue"/>
                <a:cs typeface="Helvetica Neue"/>
              </a:rPr>
              <a:t>autre</a:t>
            </a:r>
            <a:r>
              <a:rPr sz="1100" b="1" spc="-43" dirty="0">
                <a:latin typeface="Helvetica Neue"/>
                <a:cs typeface="Helvetica Neue"/>
              </a:rPr>
              <a:t> </a:t>
            </a:r>
            <a:r>
              <a:rPr sz="1100" b="1" spc="-14" dirty="0">
                <a:latin typeface="Helvetica Neue"/>
                <a:cs typeface="Helvetica Neue"/>
              </a:rPr>
              <a:t>banque</a:t>
            </a:r>
            <a:r>
              <a:rPr sz="1100" b="1" spc="-43" dirty="0">
                <a:latin typeface="Helvetica Neue"/>
                <a:cs typeface="Helvetica Neue"/>
              </a:rPr>
              <a:t> </a:t>
            </a:r>
            <a:r>
              <a:rPr sz="1100" b="1" spc="-18" dirty="0">
                <a:latin typeface="Helvetica Neue"/>
                <a:cs typeface="Helvetica Neue"/>
              </a:rPr>
              <a:t>m'offrait</a:t>
            </a:r>
            <a:r>
              <a:rPr sz="1100" b="1" spc="-43" dirty="0">
                <a:latin typeface="Helvetica Neue"/>
                <a:cs typeface="Helvetica Neue"/>
              </a:rPr>
              <a:t> </a:t>
            </a:r>
            <a:r>
              <a:rPr sz="1100" b="1" spc="-9" dirty="0">
                <a:latin typeface="Helvetica Neue"/>
                <a:cs typeface="Helvetica Neue"/>
              </a:rPr>
              <a:t>des</a:t>
            </a:r>
            <a:r>
              <a:rPr sz="1100" b="1" spc="-43" dirty="0">
                <a:latin typeface="Helvetica Neue"/>
                <a:cs typeface="Helvetica Neue"/>
              </a:rPr>
              <a:t> </a:t>
            </a:r>
            <a:r>
              <a:rPr sz="1100" b="1" spc="-16" dirty="0">
                <a:latin typeface="Helvetica Neue"/>
                <a:cs typeface="Helvetica Neue"/>
              </a:rPr>
              <a:t>services</a:t>
            </a:r>
            <a:r>
              <a:rPr sz="1100" b="1" spc="-41" dirty="0">
                <a:latin typeface="Helvetica Neue"/>
                <a:cs typeface="Helvetica Neue"/>
              </a:rPr>
              <a:t> </a:t>
            </a:r>
            <a:r>
              <a:rPr sz="1100" b="1" spc="-7" dirty="0">
                <a:latin typeface="Helvetica Neue"/>
                <a:cs typeface="Helvetica Neue"/>
              </a:rPr>
              <a:t>et</a:t>
            </a:r>
            <a:r>
              <a:rPr sz="1100" b="1" spc="-43" dirty="0">
                <a:latin typeface="Helvetica Neue"/>
                <a:cs typeface="Helvetica Neue"/>
              </a:rPr>
              <a:t> </a:t>
            </a:r>
            <a:r>
              <a:rPr sz="1100" b="1" spc="-16" dirty="0">
                <a:latin typeface="Helvetica Neue"/>
                <a:cs typeface="Helvetica Neue"/>
              </a:rPr>
              <a:t>placements</a:t>
            </a:r>
            <a:r>
              <a:rPr sz="1100" b="1" spc="-43" dirty="0">
                <a:latin typeface="Helvetica Neue"/>
                <a:cs typeface="Helvetica Neue"/>
              </a:rPr>
              <a:t> </a:t>
            </a:r>
            <a:r>
              <a:rPr sz="1100" b="1" spc="-14" dirty="0">
                <a:latin typeface="Helvetica Neue"/>
                <a:cs typeface="Helvetica Neue"/>
              </a:rPr>
              <a:t>plus</a:t>
            </a:r>
            <a:r>
              <a:rPr sz="1100" b="1" spc="-43" dirty="0">
                <a:latin typeface="Helvetica Neue"/>
                <a:cs typeface="Helvetica Neue"/>
              </a:rPr>
              <a:t> </a:t>
            </a:r>
            <a:r>
              <a:rPr sz="1100" b="1" spc="-18" dirty="0">
                <a:latin typeface="Helvetica Neue"/>
                <a:cs typeface="Helvetica Neue"/>
              </a:rPr>
              <a:t>intéressants</a:t>
            </a:r>
            <a:r>
              <a:rPr sz="1100" b="1" spc="-43" dirty="0">
                <a:latin typeface="Helvetica Neue"/>
                <a:cs typeface="Helvetica Neue"/>
              </a:rPr>
              <a:t> </a:t>
            </a:r>
            <a:r>
              <a:rPr sz="1100" b="1" spc="5" dirty="0">
                <a:latin typeface="Helvetica Neue"/>
                <a:cs typeface="Helvetica Neue"/>
              </a:rPr>
              <a:t>»</a:t>
            </a:r>
            <a:endParaRPr sz="1100" dirty="0">
              <a:latin typeface="Helvetica Neue"/>
              <a:cs typeface="Helvetica Neue"/>
            </a:endParaRPr>
          </a:p>
          <a:p>
            <a:pPr marL="166925">
              <a:spcBef>
                <a:spcPts val="14"/>
              </a:spcBef>
            </a:pPr>
            <a:r>
              <a:rPr sz="1100" b="1" spc="5" dirty="0">
                <a:latin typeface="Helvetica Neue"/>
                <a:cs typeface="Helvetica Neue"/>
              </a:rPr>
              <a:t>«</a:t>
            </a:r>
            <a:r>
              <a:rPr sz="1100" b="1" spc="-43" dirty="0">
                <a:latin typeface="Helvetica Neue"/>
                <a:cs typeface="Helvetica Neue"/>
              </a:rPr>
              <a:t> </a:t>
            </a:r>
            <a:r>
              <a:rPr sz="1100" b="1" spc="-18" dirty="0">
                <a:latin typeface="Helvetica Neue"/>
                <a:cs typeface="Helvetica Neue"/>
              </a:rPr>
              <a:t>Parce</a:t>
            </a:r>
            <a:r>
              <a:rPr sz="1100" b="1" spc="-43" dirty="0">
                <a:latin typeface="Helvetica Neue"/>
                <a:cs typeface="Helvetica Neue"/>
              </a:rPr>
              <a:t> </a:t>
            </a:r>
            <a:r>
              <a:rPr sz="1100" b="1" spc="-9" dirty="0">
                <a:latin typeface="Helvetica Neue"/>
                <a:cs typeface="Helvetica Neue"/>
              </a:rPr>
              <a:t>que</a:t>
            </a:r>
            <a:r>
              <a:rPr sz="1100" b="1" spc="-41" dirty="0">
                <a:latin typeface="Helvetica Neue"/>
                <a:cs typeface="Helvetica Neue"/>
              </a:rPr>
              <a:t> </a:t>
            </a:r>
            <a:r>
              <a:rPr sz="1100" b="1" spc="-7" dirty="0">
                <a:latin typeface="Helvetica Neue"/>
                <a:cs typeface="Helvetica Neue"/>
              </a:rPr>
              <a:t>je</a:t>
            </a:r>
            <a:r>
              <a:rPr sz="1100" b="1" spc="-43" dirty="0">
                <a:latin typeface="Helvetica Neue"/>
                <a:cs typeface="Helvetica Neue"/>
              </a:rPr>
              <a:t> </a:t>
            </a:r>
            <a:r>
              <a:rPr sz="1100" b="1" spc="-16" dirty="0">
                <a:latin typeface="Helvetica Neue"/>
                <a:cs typeface="Helvetica Neue"/>
              </a:rPr>
              <a:t>voudrais</a:t>
            </a:r>
            <a:r>
              <a:rPr sz="1100" b="1" spc="-41" dirty="0">
                <a:latin typeface="Helvetica Neue"/>
                <a:cs typeface="Helvetica Neue"/>
              </a:rPr>
              <a:t> </a:t>
            </a:r>
            <a:r>
              <a:rPr sz="1100" b="1" spc="-14" dirty="0">
                <a:latin typeface="Helvetica Neue"/>
                <a:cs typeface="Helvetica Neue"/>
              </a:rPr>
              <a:t>bien</a:t>
            </a:r>
            <a:r>
              <a:rPr sz="1100" b="1" spc="-43" dirty="0">
                <a:latin typeface="Helvetica Neue"/>
                <a:cs typeface="Helvetica Neue"/>
              </a:rPr>
              <a:t> </a:t>
            </a:r>
            <a:r>
              <a:rPr sz="1100" b="1" spc="-14" dirty="0">
                <a:latin typeface="Helvetica Neue"/>
                <a:cs typeface="Helvetica Neue"/>
              </a:rPr>
              <a:t>voir</a:t>
            </a:r>
            <a:r>
              <a:rPr sz="1100" b="1" spc="-41" dirty="0">
                <a:latin typeface="Helvetica Neue"/>
                <a:cs typeface="Helvetica Neue"/>
              </a:rPr>
              <a:t> </a:t>
            </a:r>
            <a:r>
              <a:rPr sz="1100" b="1" spc="-14" dirty="0">
                <a:latin typeface="Helvetica Neue"/>
                <a:cs typeface="Helvetica Neue"/>
              </a:rPr>
              <a:t>comment</a:t>
            </a:r>
            <a:r>
              <a:rPr sz="1100" b="1" spc="-43" dirty="0">
                <a:latin typeface="Helvetica Neue"/>
                <a:cs typeface="Helvetica Neue"/>
              </a:rPr>
              <a:t> </a:t>
            </a:r>
            <a:r>
              <a:rPr sz="1100" b="1" spc="-14" dirty="0">
                <a:latin typeface="Helvetica Neue"/>
                <a:cs typeface="Helvetica Neue"/>
              </a:rPr>
              <a:t>cela</a:t>
            </a:r>
            <a:r>
              <a:rPr sz="1100" b="1" spc="-41" dirty="0">
                <a:latin typeface="Helvetica Neue"/>
                <a:cs typeface="Helvetica Neue"/>
              </a:rPr>
              <a:t> </a:t>
            </a:r>
            <a:r>
              <a:rPr sz="1100" b="1" spc="-7" dirty="0">
                <a:latin typeface="Helvetica Neue"/>
                <a:cs typeface="Helvetica Neue"/>
              </a:rPr>
              <a:t>se</a:t>
            </a:r>
            <a:r>
              <a:rPr sz="1100" b="1" spc="-43" dirty="0">
                <a:latin typeface="Helvetica Neue"/>
                <a:cs typeface="Helvetica Neue"/>
              </a:rPr>
              <a:t> </a:t>
            </a:r>
            <a:r>
              <a:rPr sz="1100" b="1" spc="-14" dirty="0">
                <a:latin typeface="Helvetica Neue"/>
                <a:cs typeface="Helvetica Neue"/>
              </a:rPr>
              <a:t>passe</a:t>
            </a:r>
            <a:r>
              <a:rPr sz="1100" b="1" spc="-41" dirty="0">
                <a:latin typeface="Helvetica Neue"/>
                <a:cs typeface="Helvetica Neue"/>
              </a:rPr>
              <a:t> </a:t>
            </a:r>
            <a:r>
              <a:rPr sz="1100" b="1" spc="-16" dirty="0">
                <a:latin typeface="Helvetica Neue"/>
                <a:cs typeface="Helvetica Neue"/>
              </a:rPr>
              <a:t>ailleurs,</a:t>
            </a:r>
            <a:r>
              <a:rPr sz="1100" b="1" spc="-43" dirty="0">
                <a:latin typeface="Helvetica Neue"/>
                <a:cs typeface="Helvetica Neue"/>
              </a:rPr>
              <a:t> </a:t>
            </a:r>
            <a:r>
              <a:rPr sz="1100" b="1" spc="-14" dirty="0">
                <a:latin typeface="Helvetica Neue"/>
                <a:cs typeface="Helvetica Neue"/>
              </a:rPr>
              <a:t>s’il</a:t>
            </a:r>
            <a:r>
              <a:rPr sz="1100" b="1" spc="-41" dirty="0">
                <a:latin typeface="Helvetica Neue"/>
                <a:cs typeface="Helvetica Neue"/>
              </a:rPr>
              <a:t> </a:t>
            </a:r>
            <a:r>
              <a:rPr sz="1100" b="1" spc="5" dirty="0">
                <a:latin typeface="Helvetica Neue"/>
                <a:cs typeface="Helvetica Neue"/>
              </a:rPr>
              <a:t>y</a:t>
            </a:r>
            <a:r>
              <a:rPr sz="1100" b="1" spc="-43" dirty="0">
                <a:latin typeface="Helvetica Neue"/>
                <a:cs typeface="Helvetica Neue"/>
              </a:rPr>
              <a:t> </a:t>
            </a:r>
            <a:r>
              <a:rPr sz="1100" b="1" spc="-14" dirty="0">
                <a:latin typeface="Helvetica Neue"/>
                <a:cs typeface="Helvetica Neue"/>
              </a:rPr>
              <a:t>plus</a:t>
            </a:r>
            <a:r>
              <a:rPr sz="1100" b="1" spc="-41" dirty="0">
                <a:latin typeface="Helvetica Neue"/>
                <a:cs typeface="Helvetica Neue"/>
              </a:rPr>
              <a:t> </a:t>
            </a:r>
            <a:r>
              <a:rPr sz="1100" b="1" spc="-16" dirty="0">
                <a:latin typeface="Helvetica Neue"/>
                <a:cs typeface="Helvetica Neue"/>
              </a:rPr>
              <a:t>d’avantages</a:t>
            </a:r>
            <a:r>
              <a:rPr sz="1100" b="1" spc="-43" dirty="0">
                <a:latin typeface="Helvetica Neue"/>
                <a:cs typeface="Helvetica Neue"/>
              </a:rPr>
              <a:t> </a:t>
            </a:r>
            <a:r>
              <a:rPr sz="1100" b="1" spc="5" dirty="0">
                <a:latin typeface="Helvetica Neue"/>
                <a:cs typeface="Helvetica Neue"/>
              </a:rPr>
              <a:t>»</a:t>
            </a:r>
            <a:endParaRPr sz="1100" dirty="0">
              <a:latin typeface="Helvetica Neue"/>
              <a:cs typeface="Helvetica Neue"/>
            </a:endParaRPr>
          </a:p>
          <a:p>
            <a:pPr marL="166925">
              <a:spcBef>
                <a:spcPts val="11"/>
              </a:spcBef>
            </a:pPr>
            <a:r>
              <a:rPr sz="1100" b="1" spc="5" dirty="0">
                <a:latin typeface="Helvetica Neue"/>
                <a:cs typeface="Helvetica Neue"/>
              </a:rPr>
              <a:t>«</a:t>
            </a:r>
            <a:r>
              <a:rPr sz="1100" b="1" spc="-43" dirty="0">
                <a:latin typeface="Helvetica Neue"/>
                <a:cs typeface="Helvetica Neue"/>
              </a:rPr>
              <a:t> </a:t>
            </a:r>
            <a:r>
              <a:rPr sz="1100" b="1" spc="-7" dirty="0">
                <a:latin typeface="Helvetica Neue"/>
                <a:cs typeface="Helvetica Neue"/>
              </a:rPr>
              <a:t>Si</a:t>
            </a:r>
            <a:r>
              <a:rPr sz="1100" b="1" spc="-43" dirty="0">
                <a:latin typeface="Helvetica Neue"/>
                <a:cs typeface="Helvetica Neue"/>
              </a:rPr>
              <a:t> </a:t>
            </a:r>
            <a:r>
              <a:rPr sz="1100" b="1" spc="-7" dirty="0">
                <a:latin typeface="Helvetica Neue"/>
                <a:cs typeface="Helvetica Neue"/>
              </a:rPr>
              <a:t>je</a:t>
            </a:r>
            <a:r>
              <a:rPr sz="1100" b="1" spc="-43" dirty="0">
                <a:latin typeface="Helvetica Neue"/>
                <a:cs typeface="Helvetica Neue"/>
              </a:rPr>
              <a:t> </a:t>
            </a:r>
            <a:r>
              <a:rPr sz="1100" b="1" spc="-18" dirty="0">
                <a:latin typeface="Helvetica Neue"/>
                <a:cs typeface="Helvetica Neue"/>
              </a:rPr>
              <a:t>trouve</a:t>
            </a:r>
            <a:r>
              <a:rPr sz="1100" b="1" spc="-41" dirty="0">
                <a:latin typeface="Helvetica Neue"/>
                <a:cs typeface="Helvetica Neue"/>
              </a:rPr>
              <a:t> </a:t>
            </a:r>
            <a:r>
              <a:rPr sz="1100" b="1" spc="-9" dirty="0">
                <a:latin typeface="Helvetica Neue"/>
                <a:cs typeface="Helvetica Neue"/>
              </a:rPr>
              <a:t>une</a:t>
            </a:r>
            <a:r>
              <a:rPr sz="1100" b="1" spc="-43" dirty="0">
                <a:latin typeface="Helvetica Neue"/>
                <a:cs typeface="Helvetica Neue"/>
              </a:rPr>
              <a:t> </a:t>
            </a:r>
            <a:r>
              <a:rPr sz="1100" b="1" spc="-18" dirty="0">
                <a:latin typeface="Helvetica Neue"/>
                <a:cs typeface="Helvetica Neue"/>
              </a:rPr>
              <a:t>meilleure</a:t>
            </a:r>
            <a:r>
              <a:rPr sz="1100" b="1" spc="-43" dirty="0">
                <a:latin typeface="Helvetica Neue"/>
                <a:cs typeface="Helvetica Neue"/>
              </a:rPr>
              <a:t> </a:t>
            </a:r>
            <a:r>
              <a:rPr sz="1100" b="1" spc="-14" dirty="0">
                <a:latin typeface="Helvetica Neue"/>
                <a:cs typeface="Helvetica Neue"/>
              </a:rPr>
              <a:t>écoute</a:t>
            </a:r>
            <a:r>
              <a:rPr sz="1100" b="1" spc="-41" dirty="0">
                <a:latin typeface="Helvetica Neue"/>
                <a:cs typeface="Helvetica Neue"/>
              </a:rPr>
              <a:t> </a:t>
            </a:r>
            <a:r>
              <a:rPr sz="1100" b="1" spc="-16" dirty="0">
                <a:latin typeface="Helvetica Neue"/>
                <a:cs typeface="Helvetica Neue"/>
              </a:rPr>
              <a:t>ailleurs</a:t>
            </a:r>
            <a:r>
              <a:rPr sz="1100" b="1" spc="-43" dirty="0">
                <a:latin typeface="Helvetica Neue"/>
                <a:cs typeface="Helvetica Neue"/>
              </a:rPr>
              <a:t> </a:t>
            </a:r>
            <a:r>
              <a:rPr sz="1100" b="1" spc="5" dirty="0">
                <a:latin typeface="Helvetica Neue"/>
                <a:cs typeface="Helvetica Neue"/>
              </a:rPr>
              <a:t>»</a:t>
            </a:r>
            <a:r>
              <a:rPr sz="1100" b="1" spc="-43" dirty="0">
                <a:latin typeface="Helvetica Neue"/>
                <a:cs typeface="Helvetica Neue"/>
              </a:rPr>
              <a:t> </a:t>
            </a:r>
            <a:r>
              <a:rPr sz="1100" b="1" spc="5" dirty="0">
                <a:latin typeface="Helvetica Neue"/>
                <a:cs typeface="Helvetica Neue"/>
              </a:rPr>
              <a:t>«</a:t>
            </a:r>
            <a:r>
              <a:rPr sz="1100" b="1" spc="-43" dirty="0">
                <a:latin typeface="Helvetica Neue"/>
                <a:cs typeface="Helvetica Neue"/>
              </a:rPr>
              <a:t> </a:t>
            </a:r>
            <a:r>
              <a:rPr sz="1100" b="1" spc="-11" dirty="0">
                <a:latin typeface="Helvetica Neue"/>
                <a:cs typeface="Helvetica Neue"/>
              </a:rPr>
              <a:t>Pour</a:t>
            </a:r>
            <a:r>
              <a:rPr sz="1100" b="1" spc="-41" dirty="0">
                <a:latin typeface="Helvetica Neue"/>
                <a:cs typeface="Helvetica Neue"/>
              </a:rPr>
              <a:t> </a:t>
            </a:r>
            <a:r>
              <a:rPr sz="1100" b="1" spc="-9" dirty="0">
                <a:latin typeface="Helvetica Neue"/>
                <a:cs typeface="Helvetica Neue"/>
              </a:rPr>
              <a:t>une</a:t>
            </a:r>
            <a:r>
              <a:rPr sz="1100" b="1" spc="-43" dirty="0">
                <a:latin typeface="Helvetica Neue"/>
                <a:cs typeface="Helvetica Neue"/>
              </a:rPr>
              <a:t> </a:t>
            </a:r>
            <a:r>
              <a:rPr sz="1100" b="1" spc="-18" dirty="0">
                <a:latin typeface="Helvetica Neue"/>
                <a:cs typeface="Helvetica Neue"/>
              </a:rPr>
              <a:t>meilleure</a:t>
            </a:r>
            <a:r>
              <a:rPr sz="1100" b="1" spc="-43" dirty="0">
                <a:latin typeface="Helvetica Neue"/>
                <a:cs typeface="Helvetica Neue"/>
              </a:rPr>
              <a:t> </a:t>
            </a:r>
            <a:r>
              <a:rPr sz="1100" b="1" spc="-23" dirty="0">
                <a:latin typeface="Helvetica Neue"/>
                <a:cs typeface="Helvetica Neue"/>
              </a:rPr>
              <a:t>offre</a:t>
            </a:r>
            <a:r>
              <a:rPr sz="1100" b="1" spc="-41" dirty="0">
                <a:latin typeface="Helvetica Neue"/>
                <a:cs typeface="Helvetica Neue"/>
              </a:rPr>
              <a:t> </a:t>
            </a:r>
            <a:r>
              <a:rPr sz="1100" b="1" spc="-11" dirty="0">
                <a:latin typeface="Helvetica Neue"/>
                <a:cs typeface="Helvetica Neue"/>
              </a:rPr>
              <a:t>pour</a:t>
            </a:r>
            <a:r>
              <a:rPr sz="1100" b="1" spc="-43" dirty="0">
                <a:latin typeface="Helvetica Neue"/>
                <a:cs typeface="Helvetica Neue"/>
              </a:rPr>
              <a:t> </a:t>
            </a:r>
            <a:r>
              <a:rPr sz="1100" b="1" spc="-7" dirty="0">
                <a:latin typeface="Helvetica Neue"/>
                <a:cs typeface="Helvetica Neue"/>
              </a:rPr>
              <a:t>un</a:t>
            </a:r>
            <a:r>
              <a:rPr sz="1100" b="1" spc="-43" dirty="0">
                <a:latin typeface="Helvetica Neue"/>
                <a:cs typeface="Helvetica Neue"/>
              </a:rPr>
              <a:t> </a:t>
            </a:r>
            <a:r>
              <a:rPr sz="1100" b="1" spc="-14" dirty="0">
                <a:latin typeface="Helvetica Neue"/>
                <a:cs typeface="Helvetica Neue"/>
              </a:rPr>
              <a:t>prêt</a:t>
            </a:r>
            <a:r>
              <a:rPr sz="1100" b="1" spc="-41" dirty="0">
                <a:latin typeface="Helvetica Neue"/>
                <a:cs typeface="Helvetica Neue"/>
              </a:rPr>
              <a:t> </a:t>
            </a:r>
            <a:r>
              <a:rPr sz="1100" b="1" spc="-16" dirty="0">
                <a:latin typeface="Helvetica Neue"/>
                <a:cs typeface="Helvetica Neue"/>
              </a:rPr>
              <a:t>immobilier</a:t>
            </a:r>
            <a:r>
              <a:rPr sz="1100" b="1" spc="-43" dirty="0">
                <a:latin typeface="Helvetica Neue"/>
                <a:cs typeface="Helvetica Neue"/>
              </a:rPr>
              <a:t> </a:t>
            </a:r>
            <a:r>
              <a:rPr sz="1100" b="1" spc="5" dirty="0">
                <a:latin typeface="Helvetica Neue"/>
                <a:cs typeface="Helvetica Neue"/>
              </a:rPr>
              <a:t>»</a:t>
            </a:r>
            <a:endParaRPr sz="1100" dirty="0">
              <a:latin typeface="Helvetica Neue"/>
              <a:cs typeface="Helvetica Neue"/>
            </a:endParaRPr>
          </a:p>
        </p:txBody>
      </p:sp>
      <p:sp>
        <p:nvSpPr>
          <p:cNvPr id="16" name="object 16"/>
          <p:cNvSpPr txBox="1"/>
          <p:nvPr/>
        </p:nvSpPr>
        <p:spPr>
          <a:xfrm>
            <a:off x="2350346" y="3821662"/>
            <a:ext cx="6501598" cy="1278989"/>
          </a:xfrm>
          <a:prstGeom prst="rect">
            <a:avLst/>
          </a:prstGeom>
          <a:solidFill>
            <a:srgbClr val="FFFFFF"/>
          </a:solidFill>
        </p:spPr>
        <p:txBody>
          <a:bodyPr vert="horz" wrap="square" lIns="0" tIns="149020" rIns="0" bIns="0" rtlCol="0">
            <a:spAutoFit/>
          </a:bodyPr>
          <a:lstStyle/>
          <a:p>
            <a:pPr marL="166925">
              <a:spcBef>
                <a:spcPts val="785"/>
              </a:spcBef>
            </a:pPr>
            <a:endParaRPr lang="fr-FR" sz="1100" b="1" spc="5" dirty="0">
              <a:latin typeface="Helvetica Neue"/>
              <a:cs typeface="Helvetica Neue"/>
            </a:endParaRPr>
          </a:p>
          <a:p>
            <a:pPr marL="166925">
              <a:spcBef>
                <a:spcPts val="785"/>
              </a:spcBef>
            </a:pPr>
            <a:endParaRPr lang="fr-FR" b="1" spc="5" dirty="0">
              <a:latin typeface="Helvetica Neue"/>
              <a:cs typeface="Helvetica Neue"/>
            </a:endParaRPr>
          </a:p>
          <a:p>
            <a:pPr marL="166925">
              <a:spcBef>
                <a:spcPts val="785"/>
              </a:spcBef>
            </a:pPr>
            <a:r>
              <a:rPr sz="1100" b="1" spc="5" dirty="0">
                <a:latin typeface="Helvetica Neue"/>
                <a:cs typeface="Helvetica Neue"/>
              </a:rPr>
              <a:t>«</a:t>
            </a:r>
            <a:r>
              <a:rPr sz="1100" b="1" spc="-55" dirty="0">
                <a:latin typeface="Helvetica Neue"/>
                <a:cs typeface="Helvetica Neue"/>
              </a:rPr>
              <a:t> </a:t>
            </a:r>
            <a:r>
              <a:rPr sz="1100" b="1" spc="-11" dirty="0">
                <a:latin typeface="Helvetica Neue"/>
                <a:cs typeface="Helvetica Neue"/>
              </a:rPr>
              <a:t>Si</a:t>
            </a:r>
            <a:r>
              <a:rPr sz="1100" b="1" spc="-52" dirty="0">
                <a:latin typeface="Helvetica Neue"/>
                <a:cs typeface="Helvetica Neue"/>
              </a:rPr>
              <a:t> </a:t>
            </a:r>
            <a:r>
              <a:rPr sz="1100" b="1" spc="-14" dirty="0">
                <a:latin typeface="Helvetica Neue"/>
                <a:cs typeface="Helvetica Neue"/>
              </a:rPr>
              <a:t>mon</a:t>
            </a:r>
            <a:r>
              <a:rPr sz="1100" b="1" spc="-52" dirty="0">
                <a:latin typeface="Helvetica Neue"/>
                <a:cs typeface="Helvetica Neue"/>
              </a:rPr>
              <a:t> </a:t>
            </a:r>
            <a:r>
              <a:rPr sz="1100" b="1" spc="-23" dirty="0" err="1">
                <a:latin typeface="Helvetica Neue"/>
                <a:cs typeface="Helvetica Neue"/>
              </a:rPr>
              <a:t>conseiller</a:t>
            </a:r>
            <a:r>
              <a:rPr sz="1100" b="1" spc="-52" dirty="0">
                <a:latin typeface="Helvetica Neue"/>
                <a:cs typeface="Helvetica Neue"/>
              </a:rPr>
              <a:t> </a:t>
            </a:r>
            <a:r>
              <a:rPr sz="1100" b="1" spc="-16" dirty="0">
                <a:latin typeface="Helvetica Neue"/>
                <a:cs typeface="Helvetica Neue"/>
              </a:rPr>
              <a:t>est</a:t>
            </a:r>
            <a:r>
              <a:rPr sz="1100" b="1" spc="-52" dirty="0">
                <a:latin typeface="Helvetica Neue"/>
                <a:cs typeface="Helvetica Neue"/>
              </a:rPr>
              <a:t> </a:t>
            </a:r>
            <a:r>
              <a:rPr sz="1100" b="1" spc="-23" dirty="0">
                <a:latin typeface="Helvetica Neue"/>
                <a:cs typeface="Helvetica Neue"/>
              </a:rPr>
              <a:t>trop</a:t>
            </a:r>
            <a:r>
              <a:rPr sz="1100" b="1" spc="-52" dirty="0">
                <a:latin typeface="Helvetica Neue"/>
                <a:cs typeface="Helvetica Neue"/>
              </a:rPr>
              <a:t> </a:t>
            </a:r>
            <a:r>
              <a:rPr sz="1100" b="1" spc="-25" dirty="0">
                <a:latin typeface="Helvetica Neue"/>
                <a:cs typeface="Helvetica Neue"/>
              </a:rPr>
              <a:t>froid</a:t>
            </a:r>
            <a:r>
              <a:rPr sz="1100" b="1" spc="-52" dirty="0">
                <a:latin typeface="Helvetica Neue"/>
                <a:cs typeface="Helvetica Neue"/>
              </a:rPr>
              <a:t> </a:t>
            </a:r>
            <a:r>
              <a:rPr sz="1100" b="1" spc="-18" dirty="0">
                <a:latin typeface="Helvetica Neue"/>
                <a:cs typeface="Helvetica Neue"/>
              </a:rPr>
              <a:t>avec</a:t>
            </a:r>
            <a:r>
              <a:rPr sz="1100" b="1" spc="-52" dirty="0">
                <a:latin typeface="Helvetica Neue"/>
                <a:cs typeface="Helvetica Neue"/>
              </a:rPr>
              <a:t> </a:t>
            </a:r>
            <a:r>
              <a:rPr sz="1100" b="1" spc="-14" dirty="0">
                <a:latin typeface="Helvetica Neue"/>
                <a:cs typeface="Helvetica Neue"/>
              </a:rPr>
              <a:t>moi</a:t>
            </a:r>
            <a:r>
              <a:rPr sz="1100" b="1" spc="-52" dirty="0">
                <a:latin typeface="Helvetica Neue"/>
                <a:cs typeface="Helvetica Neue"/>
              </a:rPr>
              <a:t> </a:t>
            </a:r>
            <a:r>
              <a:rPr sz="1100" b="1" spc="-11" dirty="0">
                <a:latin typeface="Helvetica Neue"/>
                <a:cs typeface="Helvetica Neue"/>
              </a:rPr>
              <a:t>et</a:t>
            </a:r>
            <a:r>
              <a:rPr sz="1100" b="1" spc="-55" dirty="0">
                <a:latin typeface="Helvetica Neue"/>
                <a:cs typeface="Helvetica Neue"/>
              </a:rPr>
              <a:t> </a:t>
            </a:r>
            <a:r>
              <a:rPr sz="1100" b="1" spc="-9" dirty="0">
                <a:latin typeface="Helvetica Neue"/>
                <a:cs typeface="Helvetica Neue"/>
              </a:rPr>
              <a:t>ne</a:t>
            </a:r>
            <a:r>
              <a:rPr sz="1100" b="1" spc="-52" dirty="0">
                <a:latin typeface="Helvetica Neue"/>
                <a:cs typeface="Helvetica Neue"/>
              </a:rPr>
              <a:t> </a:t>
            </a:r>
            <a:r>
              <a:rPr sz="1100" b="1" spc="-20" dirty="0">
                <a:latin typeface="Helvetica Neue"/>
                <a:cs typeface="Helvetica Neue"/>
              </a:rPr>
              <a:t>connaît</a:t>
            </a:r>
            <a:r>
              <a:rPr sz="1100" b="1" spc="-52" dirty="0">
                <a:latin typeface="Helvetica Neue"/>
                <a:cs typeface="Helvetica Neue"/>
              </a:rPr>
              <a:t> </a:t>
            </a:r>
            <a:r>
              <a:rPr sz="1100" b="1" spc="-11" dirty="0">
                <a:latin typeface="Helvetica Neue"/>
                <a:cs typeface="Helvetica Neue"/>
              </a:rPr>
              <a:t>ni</a:t>
            </a:r>
            <a:r>
              <a:rPr sz="1100" b="1" spc="-52" dirty="0">
                <a:latin typeface="Helvetica Neue"/>
                <a:cs typeface="Helvetica Neue"/>
              </a:rPr>
              <a:t> </a:t>
            </a:r>
            <a:r>
              <a:rPr sz="1100" b="1" spc="-9" dirty="0">
                <a:latin typeface="Helvetica Neue"/>
                <a:cs typeface="Helvetica Neue"/>
              </a:rPr>
              <a:t>ma</a:t>
            </a:r>
            <a:r>
              <a:rPr sz="1100" b="1" spc="-52" dirty="0">
                <a:latin typeface="Helvetica Neue"/>
                <a:cs typeface="Helvetica Neue"/>
              </a:rPr>
              <a:t> </a:t>
            </a:r>
            <a:r>
              <a:rPr sz="1100" b="1" spc="-23" dirty="0">
                <a:latin typeface="Helvetica Neue"/>
                <a:cs typeface="Helvetica Neue"/>
              </a:rPr>
              <a:t>situation</a:t>
            </a:r>
            <a:r>
              <a:rPr sz="1100" b="1" spc="-52" dirty="0">
                <a:latin typeface="Helvetica Neue"/>
                <a:cs typeface="Helvetica Neue"/>
              </a:rPr>
              <a:t> </a:t>
            </a:r>
            <a:r>
              <a:rPr sz="1100" b="1" spc="-11" dirty="0">
                <a:latin typeface="Helvetica Neue"/>
                <a:cs typeface="Helvetica Neue"/>
              </a:rPr>
              <a:t>ni</a:t>
            </a:r>
            <a:r>
              <a:rPr sz="1100" b="1" spc="-52" dirty="0">
                <a:latin typeface="Helvetica Neue"/>
                <a:cs typeface="Helvetica Neue"/>
              </a:rPr>
              <a:t> </a:t>
            </a:r>
            <a:r>
              <a:rPr sz="1100" b="1" spc="-14" dirty="0">
                <a:latin typeface="Helvetica Neue"/>
                <a:cs typeface="Helvetica Neue"/>
              </a:rPr>
              <a:t>mes</a:t>
            </a:r>
            <a:r>
              <a:rPr sz="1100" b="1" spc="-52" dirty="0">
                <a:latin typeface="Helvetica Neue"/>
                <a:cs typeface="Helvetica Neue"/>
              </a:rPr>
              <a:t> </a:t>
            </a:r>
            <a:r>
              <a:rPr sz="1100" b="1" spc="-20" dirty="0">
                <a:latin typeface="Helvetica Neue"/>
                <a:cs typeface="Helvetica Neue"/>
              </a:rPr>
              <a:t>besoins</a:t>
            </a:r>
            <a:r>
              <a:rPr sz="1100" b="1" spc="-52" dirty="0">
                <a:latin typeface="Helvetica Neue"/>
                <a:cs typeface="Helvetica Neue"/>
              </a:rPr>
              <a:t> </a:t>
            </a:r>
            <a:r>
              <a:rPr sz="1100" b="1" spc="5" dirty="0">
                <a:latin typeface="Helvetica Neue"/>
                <a:cs typeface="Helvetica Neue"/>
              </a:rPr>
              <a:t>»</a:t>
            </a:r>
            <a:endParaRPr sz="1100" dirty="0">
              <a:latin typeface="Helvetica Neue"/>
              <a:cs typeface="Helvetica Neue"/>
            </a:endParaRPr>
          </a:p>
          <a:p>
            <a:pPr marL="166925">
              <a:spcBef>
                <a:spcPts val="14"/>
              </a:spcBef>
            </a:pPr>
            <a:r>
              <a:rPr sz="1100" b="1" spc="5" dirty="0">
                <a:latin typeface="Helvetica Neue"/>
                <a:cs typeface="Helvetica Neue"/>
              </a:rPr>
              <a:t>«</a:t>
            </a:r>
            <a:r>
              <a:rPr sz="1100" b="1" spc="-45" dirty="0">
                <a:latin typeface="Helvetica Neue"/>
                <a:cs typeface="Helvetica Neue"/>
              </a:rPr>
              <a:t> </a:t>
            </a:r>
            <a:r>
              <a:rPr sz="1100" b="1" spc="-16" dirty="0">
                <a:latin typeface="Helvetica Neue"/>
                <a:cs typeface="Helvetica Neue"/>
              </a:rPr>
              <a:t>Conseiller</a:t>
            </a:r>
            <a:r>
              <a:rPr sz="1100" b="1" spc="-43" dirty="0">
                <a:latin typeface="Helvetica Neue"/>
                <a:cs typeface="Helvetica Neue"/>
              </a:rPr>
              <a:t> </a:t>
            </a:r>
            <a:r>
              <a:rPr sz="1100" b="1" spc="-9" dirty="0">
                <a:latin typeface="Helvetica Neue"/>
                <a:cs typeface="Helvetica Neue"/>
              </a:rPr>
              <a:t>pas</a:t>
            </a:r>
            <a:r>
              <a:rPr sz="1100" b="1" spc="-43" dirty="0">
                <a:latin typeface="Helvetica Neue"/>
                <a:cs typeface="Helvetica Neue"/>
              </a:rPr>
              <a:t> </a:t>
            </a:r>
            <a:r>
              <a:rPr sz="1100" b="1" spc="-7" dirty="0">
                <a:latin typeface="Helvetica Neue"/>
                <a:cs typeface="Helvetica Neue"/>
              </a:rPr>
              <a:t>du</a:t>
            </a:r>
            <a:r>
              <a:rPr sz="1100" b="1" spc="-43" dirty="0">
                <a:latin typeface="Helvetica Neue"/>
                <a:cs typeface="Helvetica Neue"/>
              </a:rPr>
              <a:t> </a:t>
            </a:r>
            <a:r>
              <a:rPr sz="1100" b="1" spc="-14" dirty="0">
                <a:latin typeface="Helvetica Neue"/>
                <a:cs typeface="Helvetica Neue"/>
              </a:rPr>
              <a:t>tout</a:t>
            </a:r>
            <a:r>
              <a:rPr sz="1100" b="1" spc="-43" dirty="0">
                <a:latin typeface="Helvetica Neue"/>
                <a:cs typeface="Helvetica Neue"/>
              </a:rPr>
              <a:t> </a:t>
            </a:r>
            <a:r>
              <a:rPr sz="1100" b="1" spc="5" dirty="0">
                <a:latin typeface="Helvetica Neue"/>
                <a:cs typeface="Helvetica Neue"/>
              </a:rPr>
              <a:t>à</a:t>
            </a:r>
            <a:r>
              <a:rPr sz="1100" b="1" spc="-43" dirty="0">
                <a:latin typeface="Helvetica Neue"/>
                <a:cs typeface="Helvetica Neue"/>
              </a:rPr>
              <a:t> </a:t>
            </a:r>
            <a:r>
              <a:rPr sz="1100" b="1" spc="-16" dirty="0" err="1">
                <a:latin typeface="Helvetica Neue"/>
                <a:cs typeface="Helvetica Neue"/>
              </a:rPr>
              <a:t>l'écoute</a:t>
            </a:r>
            <a:r>
              <a:rPr sz="1100" b="1" spc="-43" dirty="0">
                <a:latin typeface="Helvetica Neue"/>
                <a:cs typeface="Helvetica Neue"/>
              </a:rPr>
              <a:t> </a:t>
            </a:r>
            <a:r>
              <a:rPr sz="1100" b="1" spc="5" dirty="0">
                <a:latin typeface="Helvetica Neue"/>
                <a:cs typeface="Helvetica Neue"/>
              </a:rPr>
              <a:t>»</a:t>
            </a:r>
            <a:endParaRPr lang="fr-FR" sz="1100" b="1" spc="5" dirty="0">
              <a:latin typeface="Helvetica Neue"/>
              <a:cs typeface="Helvetica Neue"/>
            </a:endParaRPr>
          </a:p>
          <a:p>
            <a:pPr marL="166925">
              <a:spcBef>
                <a:spcPts val="14"/>
              </a:spcBef>
            </a:pPr>
            <a:endParaRPr sz="900" dirty="0">
              <a:latin typeface="Helvetica Neue"/>
              <a:cs typeface="Helvetica Neue"/>
            </a:endParaRPr>
          </a:p>
        </p:txBody>
      </p:sp>
      <p:sp>
        <p:nvSpPr>
          <p:cNvPr id="17" name="object 17"/>
          <p:cNvSpPr txBox="1"/>
          <p:nvPr/>
        </p:nvSpPr>
        <p:spPr>
          <a:xfrm>
            <a:off x="3981635" y="2737236"/>
            <a:ext cx="953391" cy="226592"/>
          </a:xfrm>
          <a:prstGeom prst="rect">
            <a:avLst/>
          </a:prstGeom>
          <a:solidFill>
            <a:srgbClr val="FF7900"/>
          </a:solidFill>
        </p:spPr>
        <p:txBody>
          <a:bodyPr vert="horz" wrap="square" lIns="0" tIns="26281" rIns="0" bIns="0" rtlCol="0">
            <a:spAutoFit/>
          </a:bodyPr>
          <a:lstStyle/>
          <a:p>
            <a:pPr marL="570376">
              <a:spcBef>
                <a:spcPts val="207"/>
              </a:spcBef>
            </a:pPr>
            <a:r>
              <a:rPr sz="1300" b="1" spc="-2" dirty="0">
                <a:solidFill>
                  <a:srgbClr val="FFFFFF"/>
                </a:solidFill>
                <a:latin typeface="Helvetica"/>
                <a:cs typeface="Helvetica"/>
              </a:rPr>
              <a:t>21%</a:t>
            </a:r>
            <a:endParaRPr sz="1300">
              <a:latin typeface="Helvetica"/>
              <a:cs typeface="Helvetica"/>
            </a:endParaRPr>
          </a:p>
        </p:txBody>
      </p:sp>
      <p:sp>
        <p:nvSpPr>
          <p:cNvPr id="18" name="object 18"/>
          <p:cNvSpPr txBox="1"/>
          <p:nvPr/>
        </p:nvSpPr>
        <p:spPr>
          <a:xfrm>
            <a:off x="4762332" y="3951421"/>
            <a:ext cx="502833" cy="226592"/>
          </a:xfrm>
          <a:prstGeom prst="rect">
            <a:avLst/>
          </a:prstGeom>
          <a:solidFill>
            <a:srgbClr val="FF7900"/>
          </a:solidFill>
        </p:spPr>
        <p:txBody>
          <a:bodyPr vert="horz" wrap="square" lIns="0" tIns="26281" rIns="0" bIns="0" rtlCol="0">
            <a:spAutoFit/>
          </a:bodyPr>
          <a:lstStyle/>
          <a:p>
            <a:pPr marL="135735">
              <a:spcBef>
                <a:spcPts val="207"/>
              </a:spcBef>
            </a:pPr>
            <a:r>
              <a:rPr sz="1300" b="1" spc="-2" dirty="0">
                <a:solidFill>
                  <a:srgbClr val="FFFFFF"/>
                </a:solidFill>
                <a:latin typeface="Helvetica"/>
                <a:cs typeface="Helvetica"/>
              </a:rPr>
              <a:t>11%</a:t>
            </a:r>
            <a:endParaRPr sz="1300" dirty="0">
              <a:latin typeface="Helvetica"/>
              <a:cs typeface="Helvetica"/>
            </a:endParaRPr>
          </a:p>
        </p:txBody>
      </p:sp>
      <p:sp>
        <p:nvSpPr>
          <p:cNvPr id="19" name="object 19"/>
          <p:cNvSpPr/>
          <p:nvPr/>
        </p:nvSpPr>
        <p:spPr>
          <a:xfrm>
            <a:off x="0" y="1386272"/>
            <a:ext cx="2113420" cy="3756867"/>
          </a:xfrm>
          <a:prstGeom prst="rect">
            <a:avLst/>
          </a:prstGeom>
          <a:blipFill>
            <a:blip r:embed="rId2" cstate="print"/>
            <a:stretch>
              <a:fillRect/>
            </a:stretch>
          </a:blipFill>
        </p:spPr>
        <p:txBody>
          <a:bodyPr wrap="square" lIns="0" tIns="0" rIns="0" bIns="0" rtlCol="0"/>
          <a:lstStyle/>
          <a:p>
            <a:endParaRPr/>
          </a:p>
        </p:txBody>
      </p:sp>
      <p:sp>
        <p:nvSpPr>
          <p:cNvPr id="23" name="ZoneTexte 22"/>
          <p:cNvSpPr txBox="1"/>
          <p:nvPr/>
        </p:nvSpPr>
        <p:spPr>
          <a:xfrm>
            <a:off x="2423189" y="3920396"/>
            <a:ext cx="2266299" cy="454925"/>
          </a:xfrm>
          <a:prstGeom prst="rect">
            <a:avLst/>
          </a:prstGeom>
          <a:noFill/>
        </p:spPr>
        <p:txBody>
          <a:bodyPr wrap="square" lIns="41587" tIns="20793" rIns="41587" bIns="20793" rtlCol="0">
            <a:spAutoFit/>
          </a:bodyPr>
          <a:lstStyle/>
          <a:p>
            <a:r>
              <a:rPr lang="fr-FR" sz="1300" b="1" spc="2" dirty="0">
                <a:solidFill>
                  <a:srgbClr val="FF7900"/>
                </a:solidFill>
                <a:latin typeface="Helvetica Neue"/>
                <a:cs typeface="Helvetica Neue"/>
              </a:rPr>
              <a:t>Attitude </a:t>
            </a:r>
            <a:r>
              <a:rPr lang="fr-FR" sz="1300" b="1" spc="5" dirty="0">
                <a:solidFill>
                  <a:srgbClr val="FF7900"/>
                </a:solidFill>
                <a:latin typeface="Helvetica Neue"/>
                <a:cs typeface="Helvetica Neue"/>
              </a:rPr>
              <a:t>du</a:t>
            </a:r>
            <a:r>
              <a:rPr lang="fr-FR" sz="1300" b="1" spc="-16" dirty="0">
                <a:solidFill>
                  <a:srgbClr val="FF7900"/>
                </a:solidFill>
                <a:latin typeface="Helvetica Neue"/>
                <a:cs typeface="Helvetica Neue"/>
              </a:rPr>
              <a:t> </a:t>
            </a:r>
            <a:r>
              <a:rPr lang="fr-FR" sz="1300" b="1" spc="2" dirty="0">
                <a:solidFill>
                  <a:srgbClr val="FF7900"/>
                </a:solidFill>
                <a:latin typeface="Helvetica Neue"/>
                <a:cs typeface="Helvetica Neue"/>
              </a:rPr>
              <a:t>conseiller  </a:t>
            </a:r>
            <a:r>
              <a:rPr lang="fr-FR" sz="1300" b="1" spc="5" dirty="0">
                <a:solidFill>
                  <a:srgbClr val="FF7900"/>
                </a:solidFill>
                <a:latin typeface="Helvetica Neue"/>
                <a:cs typeface="Helvetica Neue"/>
              </a:rPr>
              <a:t>image de </a:t>
            </a:r>
            <a:r>
              <a:rPr lang="fr-FR" sz="1300" b="1" spc="2" dirty="0">
                <a:solidFill>
                  <a:srgbClr val="FF7900"/>
                </a:solidFill>
                <a:latin typeface="Helvetica Neue"/>
                <a:cs typeface="Helvetica Neue"/>
              </a:rPr>
              <a:t>la</a:t>
            </a:r>
            <a:r>
              <a:rPr lang="fr-FR" sz="1300" b="1" spc="-23" dirty="0">
                <a:solidFill>
                  <a:srgbClr val="FF7900"/>
                </a:solidFill>
                <a:latin typeface="Helvetica Neue"/>
                <a:cs typeface="Helvetica Neue"/>
              </a:rPr>
              <a:t> </a:t>
            </a:r>
            <a:r>
              <a:rPr lang="fr-FR" sz="1300" b="1" spc="5" dirty="0">
                <a:solidFill>
                  <a:srgbClr val="FF7900"/>
                </a:solidFill>
                <a:latin typeface="Helvetica Neue"/>
                <a:cs typeface="Helvetica Neue"/>
              </a:rPr>
              <a:t>banque</a:t>
            </a:r>
            <a:endParaRPr lang="fr-FR" sz="1300" dirty="0">
              <a:latin typeface="Helvetica Neue"/>
              <a:cs typeface="Helvetica Neue"/>
            </a:endParaRPr>
          </a:p>
        </p:txBody>
      </p:sp>
    </p:spTree>
    <p:extLst>
      <p:ext uri="{BB962C8B-B14F-4D97-AF65-F5344CB8AC3E}">
        <p14:creationId xmlns:p14="http://schemas.microsoft.com/office/powerpoint/2010/main" val="31447752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465661"/>
            <a:ext cx="9144000" cy="3677559"/>
          </a:xfrm>
          <a:custGeom>
            <a:avLst/>
            <a:gdLst/>
            <a:ahLst/>
            <a:cxnLst/>
            <a:rect l="l" t="t" r="r" b="b"/>
            <a:pathLst>
              <a:path w="20104100" h="8086090">
                <a:moveTo>
                  <a:pt x="0" y="8085910"/>
                </a:moveTo>
                <a:lnTo>
                  <a:pt x="20104099" y="8085910"/>
                </a:lnTo>
                <a:lnTo>
                  <a:pt x="20104099" y="0"/>
                </a:lnTo>
                <a:lnTo>
                  <a:pt x="0" y="0"/>
                </a:lnTo>
                <a:lnTo>
                  <a:pt x="0" y="8085910"/>
                </a:lnTo>
                <a:close/>
              </a:path>
            </a:pathLst>
          </a:custGeom>
          <a:solidFill>
            <a:srgbClr val="D5D5D5"/>
          </a:solidFill>
        </p:spPr>
        <p:txBody>
          <a:bodyPr wrap="square" lIns="0" tIns="0" rIns="0" bIns="0" rtlCol="0"/>
          <a:lstStyle/>
          <a:p>
            <a:endParaRPr/>
          </a:p>
        </p:txBody>
      </p:sp>
      <p:sp>
        <p:nvSpPr>
          <p:cNvPr id="3" name="object 3"/>
          <p:cNvSpPr/>
          <p:nvPr/>
        </p:nvSpPr>
        <p:spPr>
          <a:xfrm>
            <a:off x="3352754" y="2053311"/>
            <a:ext cx="1128126" cy="1128047"/>
          </a:xfrm>
          <a:custGeom>
            <a:avLst/>
            <a:gdLst/>
            <a:ahLst/>
            <a:cxnLst/>
            <a:rect l="l" t="t" r="r" b="b"/>
            <a:pathLst>
              <a:path w="2480309" h="2480309">
                <a:moveTo>
                  <a:pt x="1240098" y="0"/>
                </a:moveTo>
                <a:lnTo>
                  <a:pt x="1191403" y="938"/>
                </a:lnTo>
                <a:lnTo>
                  <a:pt x="1143185" y="3730"/>
                </a:lnTo>
                <a:lnTo>
                  <a:pt x="1095476" y="8343"/>
                </a:lnTo>
                <a:lnTo>
                  <a:pt x="1048311" y="14740"/>
                </a:lnTo>
                <a:lnTo>
                  <a:pt x="1001726" y="22887"/>
                </a:lnTo>
                <a:lnTo>
                  <a:pt x="955754" y="32751"/>
                </a:lnTo>
                <a:lnTo>
                  <a:pt x="910430" y="44297"/>
                </a:lnTo>
                <a:lnTo>
                  <a:pt x="865788" y="57490"/>
                </a:lnTo>
                <a:lnTo>
                  <a:pt x="821863" y="72295"/>
                </a:lnTo>
                <a:lnTo>
                  <a:pt x="778689" y="88679"/>
                </a:lnTo>
                <a:lnTo>
                  <a:pt x="736301" y="106607"/>
                </a:lnTo>
                <a:lnTo>
                  <a:pt x="694733" y="126044"/>
                </a:lnTo>
                <a:lnTo>
                  <a:pt x="654019" y="146956"/>
                </a:lnTo>
                <a:lnTo>
                  <a:pt x="614195" y="169309"/>
                </a:lnTo>
                <a:lnTo>
                  <a:pt x="575295" y="193067"/>
                </a:lnTo>
                <a:lnTo>
                  <a:pt x="537352" y="218197"/>
                </a:lnTo>
                <a:lnTo>
                  <a:pt x="500402" y="244665"/>
                </a:lnTo>
                <a:lnTo>
                  <a:pt x="464478" y="272434"/>
                </a:lnTo>
                <a:lnTo>
                  <a:pt x="429617" y="301472"/>
                </a:lnTo>
                <a:lnTo>
                  <a:pt x="395851" y="331744"/>
                </a:lnTo>
                <a:lnTo>
                  <a:pt x="363215" y="363215"/>
                </a:lnTo>
                <a:lnTo>
                  <a:pt x="331744" y="395851"/>
                </a:lnTo>
                <a:lnTo>
                  <a:pt x="301472" y="429617"/>
                </a:lnTo>
                <a:lnTo>
                  <a:pt x="272434" y="464478"/>
                </a:lnTo>
                <a:lnTo>
                  <a:pt x="244665" y="500402"/>
                </a:lnTo>
                <a:lnTo>
                  <a:pt x="218197" y="537352"/>
                </a:lnTo>
                <a:lnTo>
                  <a:pt x="193067" y="575295"/>
                </a:lnTo>
                <a:lnTo>
                  <a:pt x="169309" y="614195"/>
                </a:lnTo>
                <a:lnTo>
                  <a:pt x="146956" y="654019"/>
                </a:lnTo>
                <a:lnTo>
                  <a:pt x="126044" y="694733"/>
                </a:lnTo>
                <a:lnTo>
                  <a:pt x="106607" y="736301"/>
                </a:lnTo>
                <a:lnTo>
                  <a:pt x="88679" y="778689"/>
                </a:lnTo>
                <a:lnTo>
                  <a:pt x="72295" y="821863"/>
                </a:lnTo>
                <a:lnTo>
                  <a:pt x="57490" y="865788"/>
                </a:lnTo>
                <a:lnTo>
                  <a:pt x="44297" y="910430"/>
                </a:lnTo>
                <a:lnTo>
                  <a:pt x="32751" y="955754"/>
                </a:lnTo>
                <a:lnTo>
                  <a:pt x="22887" y="1001726"/>
                </a:lnTo>
                <a:lnTo>
                  <a:pt x="14740" y="1048311"/>
                </a:lnTo>
                <a:lnTo>
                  <a:pt x="8343" y="1095476"/>
                </a:lnTo>
                <a:lnTo>
                  <a:pt x="3730" y="1143185"/>
                </a:lnTo>
                <a:lnTo>
                  <a:pt x="938" y="1191403"/>
                </a:lnTo>
                <a:lnTo>
                  <a:pt x="0" y="1240098"/>
                </a:lnTo>
                <a:lnTo>
                  <a:pt x="938" y="1288792"/>
                </a:lnTo>
                <a:lnTo>
                  <a:pt x="3730" y="1337011"/>
                </a:lnTo>
                <a:lnTo>
                  <a:pt x="8343" y="1384720"/>
                </a:lnTo>
                <a:lnTo>
                  <a:pt x="14740" y="1431884"/>
                </a:lnTo>
                <a:lnTo>
                  <a:pt x="22887" y="1478470"/>
                </a:lnTo>
                <a:lnTo>
                  <a:pt x="32751" y="1524442"/>
                </a:lnTo>
                <a:lnTo>
                  <a:pt x="44297" y="1569766"/>
                </a:lnTo>
                <a:lnTo>
                  <a:pt x="57490" y="1614408"/>
                </a:lnTo>
                <a:lnTo>
                  <a:pt x="72295" y="1658333"/>
                </a:lnTo>
                <a:lnTo>
                  <a:pt x="88679" y="1701507"/>
                </a:lnTo>
                <a:lnTo>
                  <a:pt x="106607" y="1743895"/>
                </a:lnTo>
                <a:lnTo>
                  <a:pt x="126044" y="1785463"/>
                </a:lnTo>
                <a:lnTo>
                  <a:pt x="146956" y="1826176"/>
                </a:lnTo>
                <a:lnTo>
                  <a:pt x="169309" y="1866000"/>
                </a:lnTo>
                <a:lnTo>
                  <a:pt x="193067" y="1904901"/>
                </a:lnTo>
                <a:lnTo>
                  <a:pt x="218197" y="1942844"/>
                </a:lnTo>
                <a:lnTo>
                  <a:pt x="244665" y="1979794"/>
                </a:lnTo>
                <a:lnTo>
                  <a:pt x="272434" y="2015717"/>
                </a:lnTo>
                <a:lnTo>
                  <a:pt x="301472" y="2050579"/>
                </a:lnTo>
                <a:lnTo>
                  <a:pt x="331744" y="2084345"/>
                </a:lnTo>
                <a:lnTo>
                  <a:pt x="363215" y="2116981"/>
                </a:lnTo>
                <a:lnTo>
                  <a:pt x="395851" y="2148452"/>
                </a:lnTo>
                <a:lnTo>
                  <a:pt x="429617" y="2178723"/>
                </a:lnTo>
                <a:lnTo>
                  <a:pt x="464478" y="2207761"/>
                </a:lnTo>
                <a:lnTo>
                  <a:pt x="500402" y="2235531"/>
                </a:lnTo>
                <a:lnTo>
                  <a:pt x="537352" y="2261998"/>
                </a:lnTo>
                <a:lnTo>
                  <a:pt x="575295" y="2287129"/>
                </a:lnTo>
                <a:lnTo>
                  <a:pt x="614195" y="2310887"/>
                </a:lnTo>
                <a:lnTo>
                  <a:pt x="654019" y="2333240"/>
                </a:lnTo>
                <a:lnTo>
                  <a:pt x="694733" y="2354152"/>
                </a:lnTo>
                <a:lnTo>
                  <a:pt x="736301" y="2373589"/>
                </a:lnTo>
                <a:lnTo>
                  <a:pt x="778689" y="2391517"/>
                </a:lnTo>
                <a:lnTo>
                  <a:pt x="821863" y="2407900"/>
                </a:lnTo>
                <a:lnTo>
                  <a:pt x="865788" y="2422706"/>
                </a:lnTo>
                <a:lnTo>
                  <a:pt x="910430" y="2435899"/>
                </a:lnTo>
                <a:lnTo>
                  <a:pt x="955754" y="2447444"/>
                </a:lnTo>
                <a:lnTo>
                  <a:pt x="1001726" y="2457308"/>
                </a:lnTo>
                <a:lnTo>
                  <a:pt x="1048311" y="2465456"/>
                </a:lnTo>
                <a:lnTo>
                  <a:pt x="1095476" y="2471853"/>
                </a:lnTo>
                <a:lnTo>
                  <a:pt x="1143185" y="2476465"/>
                </a:lnTo>
                <a:lnTo>
                  <a:pt x="1191403" y="2479258"/>
                </a:lnTo>
                <a:lnTo>
                  <a:pt x="1240098" y="2480196"/>
                </a:lnTo>
                <a:lnTo>
                  <a:pt x="1288793" y="2479258"/>
                </a:lnTo>
                <a:lnTo>
                  <a:pt x="1337013" y="2476465"/>
                </a:lnTo>
                <a:lnTo>
                  <a:pt x="1384722" y="2471853"/>
                </a:lnTo>
                <a:lnTo>
                  <a:pt x="1431887" y="2465456"/>
                </a:lnTo>
                <a:lnTo>
                  <a:pt x="1478473" y="2457308"/>
                </a:lnTo>
                <a:lnTo>
                  <a:pt x="1524446" y="2447444"/>
                </a:lnTo>
                <a:lnTo>
                  <a:pt x="1569770" y="2435899"/>
                </a:lnTo>
                <a:lnTo>
                  <a:pt x="1614413" y="2422706"/>
                </a:lnTo>
                <a:lnTo>
                  <a:pt x="1658338" y="2407900"/>
                </a:lnTo>
                <a:lnTo>
                  <a:pt x="1701513" y="2391517"/>
                </a:lnTo>
                <a:lnTo>
                  <a:pt x="1743901" y="2373589"/>
                </a:lnTo>
                <a:lnTo>
                  <a:pt x="1785470" y="2354152"/>
                </a:lnTo>
                <a:lnTo>
                  <a:pt x="1826183" y="2333240"/>
                </a:lnTo>
                <a:lnTo>
                  <a:pt x="1866008" y="2310887"/>
                </a:lnTo>
                <a:lnTo>
                  <a:pt x="1904909" y="2287129"/>
                </a:lnTo>
                <a:lnTo>
                  <a:pt x="1942852" y="2261998"/>
                </a:lnTo>
                <a:lnTo>
                  <a:pt x="1979802" y="2235531"/>
                </a:lnTo>
                <a:lnTo>
                  <a:pt x="2015726" y="2207761"/>
                </a:lnTo>
                <a:lnTo>
                  <a:pt x="2050588" y="2178723"/>
                </a:lnTo>
                <a:lnTo>
                  <a:pt x="2084354" y="2148452"/>
                </a:lnTo>
                <a:lnTo>
                  <a:pt x="2116990" y="2116981"/>
                </a:lnTo>
                <a:lnTo>
                  <a:pt x="2148461" y="2084345"/>
                </a:lnTo>
                <a:lnTo>
                  <a:pt x="2178733" y="2050579"/>
                </a:lnTo>
                <a:lnTo>
                  <a:pt x="2207771" y="2015717"/>
                </a:lnTo>
                <a:lnTo>
                  <a:pt x="2235541" y="1979794"/>
                </a:lnTo>
                <a:lnTo>
                  <a:pt x="2262008" y="1942844"/>
                </a:lnTo>
                <a:lnTo>
                  <a:pt x="2287138" y="1904901"/>
                </a:lnTo>
                <a:lnTo>
                  <a:pt x="2310897" y="1866000"/>
                </a:lnTo>
                <a:lnTo>
                  <a:pt x="2333250" y="1826176"/>
                </a:lnTo>
                <a:lnTo>
                  <a:pt x="2354162" y="1785463"/>
                </a:lnTo>
                <a:lnTo>
                  <a:pt x="2373599" y="1743895"/>
                </a:lnTo>
                <a:lnTo>
                  <a:pt x="2391527" y="1701507"/>
                </a:lnTo>
                <a:lnTo>
                  <a:pt x="2407911" y="1658333"/>
                </a:lnTo>
                <a:lnTo>
                  <a:pt x="2422716" y="1614408"/>
                </a:lnTo>
                <a:lnTo>
                  <a:pt x="2435909" y="1569766"/>
                </a:lnTo>
                <a:lnTo>
                  <a:pt x="2447455" y="1524442"/>
                </a:lnTo>
                <a:lnTo>
                  <a:pt x="2457319" y="1478470"/>
                </a:lnTo>
                <a:lnTo>
                  <a:pt x="2465467" y="1431884"/>
                </a:lnTo>
                <a:lnTo>
                  <a:pt x="2471864" y="1384720"/>
                </a:lnTo>
                <a:lnTo>
                  <a:pt x="2476476" y="1337011"/>
                </a:lnTo>
                <a:lnTo>
                  <a:pt x="2479268" y="1288792"/>
                </a:lnTo>
                <a:lnTo>
                  <a:pt x="2480207" y="1240098"/>
                </a:lnTo>
                <a:lnTo>
                  <a:pt x="2479268" y="1191403"/>
                </a:lnTo>
                <a:lnTo>
                  <a:pt x="2476476" y="1143185"/>
                </a:lnTo>
                <a:lnTo>
                  <a:pt x="2471864" y="1095476"/>
                </a:lnTo>
                <a:lnTo>
                  <a:pt x="2465467" y="1048311"/>
                </a:lnTo>
                <a:lnTo>
                  <a:pt x="2457319" y="1001726"/>
                </a:lnTo>
                <a:lnTo>
                  <a:pt x="2447455" y="955754"/>
                </a:lnTo>
                <a:lnTo>
                  <a:pt x="2435909" y="910430"/>
                </a:lnTo>
                <a:lnTo>
                  <a:pt x="2422716" y="865788"/>
                </a:lnTo>
                <a:lnTo>
                  <a:pt x="2407911" y="821863"/>
                </a:lnTo>
                <a:lnTo>
                  <a:pt x="2391527" y="778689"/>
                </a:lnTo>
                <a:lnTo>
                  <a:pt x="2373599" y="736301"/>
                </a:lnTo>
                <a:lnTo>
                  <a:pt x="2354162" y="694733"/>
                </a:lnTo>
                <a:lnTo>
                  <a:pt x="2333250" y="654019"/>
                </a:lnTo>
                <a:lnTo>
                  <a:pt x="2310897" y="614195"/>
                </a:lnTo>
                <a:lnTo>
                  <a:pt x="2287138" y="575295"/>
                </a:lnTo>
                <a:lnTo>
                  <a:pt x="2262008" y="537352"/>
                </a:lnTo>
                <a:lnTo>
                  <a:pt x="2235541" y="500402"/>
                </a:lnTo>
                <a:lnTo>
                  <a:pt x="2207771" y="464478"/>
                </a:lnTo>
                <a:lnTo>
                  <a:pt x="2178733" y="429617"/>
                </a:lnTo>
                <a:lnTo>
                  <a:pt x="2148461" y="395851"/>
                </a:lnTo>
                <a:lnTo>
                  <a:pt x="2116990" y="363215"/>
                </a:lnTo>
                <a:lnTo>
                  <a:pt x="2084354" y="331744"/>
                </a:lnTo>
                <a:lnTo>
                  <a:pt x="2050588" y="301472"/>
                </a:lnTo>
                <a:lnTo>
                  <a:pt x="2015726" y="272434"/>
                </a:lnTo>
                <a:lnTo>
                  <a:pt x="1979802" y="244665"/>
                </a:lnTo>
                <a:lnTo>
                  <a:pt x="1942852" y="218197"/>
                </a:lnTo>
                <a:lnTo>
                  <a:pt x="1904909" y="193067"/>
                </a:lnTo>
                <a:lnTo>
                  <a:pt x="1866008" y="169309"/>
                </a:lnTo>
                <a:lnTo>
                  <a:pt x="1826183" y="146956"/>
                </a:lnTo>
                <a:lnTo>
                  <a:pt x="1785470" y="126044"/>
                </a:lnTo>
                <a:lnTo>
                  <a:pt x="1743901" y="106607"/>
                </a:lnTo>
                <a:lnTo>
                  <a:pt x="1701513" y="88679"/>
                </a:lnTo>
                <a:lnTo>
                  <a:pt x="1658338" y="72295"/>
                </a:lnTo>
                <a:lnTo>
                  <a:pt x="1614413" y="57490"/>
                </a:lnTo>
                <a:lnTo>
                  <a:pt x="1569770" y="44297"/>
                </a:lnTo>
                <a:lnTo>
                  <a:pt x="1524446" y="32751"/>
                </a:lnTo>
                <a:lnTo>
                  <a:pt x="1478473" y="22887"/>
                </a:lnTo>
                <a:lnTo>
                  <a:pt x="1431887" y="14740"/>
                </a:lnTo>
                <a:lnTo>
                  <a:pt x="1384722" y="8343"/>
                </a:lnTo>
                <a:lnTo>
                  <a:pt x="1337013" y="3730"/>
                </a:lnTo>
                <a:lnTo>
                  <a:pt x="1288793" y="938"/>
                </a:lnTo>
                <a:lnTo>
                  <a:pt x="1240098" y="0"/>
                </a:lnTo>
                <a:close/>
              </a:path>
            </a:pathLst>
          </a:custGeom>
          <a:solidFill>
            <a:srgbClr val="FFFFFF"/>
          </a:solidFill>
        </p:spPr>
        <p:txBody>
          <a:bodyPr wrap="square" lIns="0" tIns="0" rIns="0" bIns="0" rtlCol="0"/>
          <a:lstStyle/>
          <a:p>
            <a:endParaRPr/>
          </a:p>
        </p:txBody>
      </p:sp>
      <p:sp>
        <p:nvSpPr>
          <p:cNvPr id="4" name="object 4"/>
          <p:cNvSpPr/>
          <p:nvPr/>
        </p:nvSpPr>
        <p:spPr>
          <a:xfrm>
            <a:off x="3352754" y="3675674"/>
            <a:ext cx="1128126" cy="1128047"/>
          </a:xfrm>
          <a:custGeom>
            <a:avLst/>
            <a:gdLst/>
            <a:ahLst/>
            <a:cxnLst/>
            <a:rect l="l" t="t" r="r" b="b"/>
            <a:pathLst>
              <a:path w="2480309" h="2480309">
                <a:moveTo>
                  <a:pt x="1240098" y="0"/>
                </a:moveTo>
                <a:lnTo>
                  <a:pt x="1191403" y="938"/>
                </a:lnTo>
                <a:lnTo>
                  <a:pt x="1143185" y="3730"/>
                </a:lnTo>
                <a:lnTo>
                  <a:pt x="1095476" y="8343"/>
                </a:lnTo>
                <a:lnTo>
                  <a:pt x="1048311" y="14740"/>
                </a:lnTo>
                <a:lnTo>
                  <a:pt x="1001726" y="22887"/>
                </a:lnTo>
                <a:lnTo>
                  <a:pt x="955754" y="32751"/>
                </a:lnTo>
                <a:lnTo>
                  <a:pt x="910430" y="44297"/>
                </a:lnTo>
                <a:lnTo>
                  <a:pt x="865788" y="57490"/>
                </a:lnTo>
                <a:lnTo>
                  <a:pt x="821863" y="72295"/>
                </a:lnTo>
                <a:lnTo>
                  <a:pt x="778689" y="88679"/>
                </a:lnTo>
                <a:lnTo>
                  <a:pt x="736301" y="106607"/>
                </a:lnTo>
                <a:lnTo>
                  <a:pt x="694733" y="126044"/>
                </a:lnTo>
                <a:lnTo>
                  <a:pt x="654019" y="146956"/>
                </a:lnTo>
                <a:lnTo>
                  <a:pt x="614195" y="169309"/>
                </a:lnTo>
                <a:lnTo>
                  <a:pt x="575295" y="193067"/>
                </a:lnTo>
                <a:lnTo>
                  <a:pt x="537352" y="218197"/>
                </a:lnTo>
                <a:lnTo>
                  <a:pt x="500402" y="244665"/>
                </a:lnTo>
                <a:lnTo>
                  <a:pt x="464478" y="272434"/>
                </a:lnTo>
                <a:lnTo>
                  <a:pt x="429617" y="301472"/>
                </a:lnTo>
                <a:lnTo>
                  <a:pt x="395851" y="331744"/>
                </a:lnTo>
                <a:lnTo>
                  <a:pt x="363215" y="363215"/>
                </a:lnTo>
                <a:lnTo>
                  <a:pt x="331744" y="395851"/>
                </a:lnTo>
                <a:lnTo>
                  <a:pt x="301472" y="429617"/>
                </a:lnTo>
                <a:lnTo>
                  <a:pt x="272434" y="464478"/>
                </a:lnTo>
                <a:lnTo>
                  <a:pt x="244665" y="500402"/>
                </a:lnTo>
                <a:lnTo>
                  <a:pt x="218197" y="537352"/>
                </a:lnTo>
                <a:lnTo>
                  <a:pt x="193067" y="575295"/>
                </a:lnTo>
                <a:lnTo>
                  <a:pt x="169309" y="614195"/>
                </a:lnTo>
                <a:lnTo>
                  <a:pt x="146956" y="654019"/>
                </a:lnTo>
                <a:lnTo>
                  <a:pt x="126044" y="694733"/>
                </a:lnTo>
                <a:lnTo>
                  <a:pt x="106607" y="736301"/>
                </a:lnTo>
                <a:lnTo>
                  <a:pt x="88679" y="778689"/>
                </a:lnTo>
                <a:lnTo>
                  <a:pt x="72295" y="821863"/>
                </a:lnTo>
                <a:lnTo>
                  <a:pt x="57490" y="865788"/>
                </a:lnTo>
                <a:lnTo>
                  <a:pt x="44297" y="910430"/>
                </a:lnTo>
                <a:lnTo>
                  <a:pt x="32751" y="955754"/>
                </a:lnTo>
                <a:lnTo>
                  <a:pt x="22887" y="1001726"/>
                </a:lnTo>
                <a:lnTo>
                  <a:pt x="14740" y="1048311"/>
                </a:lnTo>
                <a:lnTo>
                  <a:pt x="8343" y="1095476"/>
                </a:lnTo>
                <a:lnTo>
                  <a:pt x="3730" y="1143185"/>
                </a:lnTo>
                <a:lnTo>
                  <a:pt x="938" y="1191403"/>
                </a:lnTo>
                <a:lnTo>
                  <a:pt x="0" y="1240098"/>
                </a:lnTo>
                <a:lnTo>
                  <a:pt x="938" y="1288792"/>
                </a:lnTo>
                <a:lnTo>
                  <a:pt x="3730" y="1337011"/>
                </a:lnTo>
                <a:lnTo>
                  <a:pt x="8343" y="1384720"/>
                </a:lnTo>
                <a:lnTo>
                  <a:pt x="14740" y="1431884"/>
                </a:lnTo>
                <a:lnTo>
                  <a:pt x="22887" y="1478470"/>
                </a:lnTo>
                <a:lnTo>
                  <a:pt x="32751" y="1524442"/>
                </a:lnTo>
                <a:lnTo>
                  <a:pt x="44297" y="1569766"/>
                </a:lnTo>
                <a:lnTo>
                  <a:pt x="57490" y="1614408"/>
                </a:lnTo>
                <a:lnTo>
                  <a:pt x="72295" y="1658333"/>
                </a:lnTo>
                <a:lnTo>
                  <a:pt x="88679" y="1701507"/>
                </a:lnTo>
                <a:lnTo>
                  <a:pt x="106607" y="1743895"/>
                </a:lnTo>
                <a:lnTo>
                  <a:pt x="126044" y="1785463"/>
                </a:lnTo>
                <a:lnTo>
                  <a:pt x="146956" y="1826176"/>
                </a:lnTo>
                <a:lnTo>
                  <a:pt x="169309" y="1866000"/>
                </a:lnTo>
                <a:lnTo>
                  <a:pt x="193067" y="1904901"/>
                </a:lnTo>
                <a:lnTo>
                  <a:pt x="218197" y="1942844"/>
                </a:lnTo>
                <a:lnTo>
                  <a:pt x="244665" y="1979794"/>
                </a:lnTo>
                <a:lnTo>
                  <a:pt x="272434" y="2015717"/>
                </a:lnTo>
                <a:lnTo>
                  <a:pt x="301472" y="2050579"/>
                </a:lnTo>
                <a:lnTo>
                  <a:pt x="331744" y="2084345"/>
                </a:lnTo>
                <a:lnTo>
                  <a:pt x="363215" y="2116981"/>
                </a:lnTo>
                <a:lnTo>
                  <a:pt x="395851" y="2148452"/>
                </a:lnTo>
                <a:lnTo>
                  <a:pt x="429617" y="2178723"/>
                </a:lnTo>
                <a:lnTo>
                  <a:pt x="464478" y="2207761"/>
                </a:lnTo>
                <a:lnTo>
                  <a:pt x="500402" y="2235531"/>
                </a:lnTo>
                <a:lnTo>
                  <a:pt x="537352" y="2261998"/>
                </a:lnTo>
                <a:lnTo>
                  <a:pt x="575295" y="2287129"/>
                </a:lnTo>
                <a:lnTo>
                  <a:pt x="614195" y="2310887"/>
                </a:lnTo>
                <a:lnTo>
                  <a:pt x="654019" y="2333240"/>
                </a:lnTo>
                <a:lnTo>
                  <a:pt x="694733" y="2354152"/>
                </a:lnTo>
                <a:lnTo>
                  <a:pt x="736301" y="2373589"/>
                </a:lnTo>
                <a:lnTo>
                  <a:pt x="778689" y="2391517"/>
                </a:lnTo>
                <a:lnTo>
                  <a:pt x="821863" y="2407900"/>
                </a:lnTo>
                <a:lnTo>
                  <a:pt x="865788" y="2422706"/>
                </a:lnTo>
                <a:lnTo>
                  <a:pt x="910430" y="2435899"/>
                </a:lnTo>
                <a:lnTo>
                  <a:pt x="955754" y="2447444"/>
                </a:lnTo>
                <a:lnTo>
                  <a:pt x="1001726" y="2457308"/>
                </a:lnTo>
                <a:lnTo>
                  <a:pt x="1048311" y="2465456"/>
                </a:lnTo>
                <a:lnTo>
                  <a:pt x="1095476" y="2471853"/>
                </a:lnTo>
                <a:lnTo>
                  <a:pt x="1143185" y="2476465"/>
                </a:lnTo>
                <a:lnTo>
                  <a:pt x="1191403" y="2479258"/>
                </a:lnTo>
                <a:lnTo>
                  <a:pt x="1240098" y="2480196"/>
                </a:lnTo>
                <a:lnTo>
                  <a:pt x="1288793" y="2479258"/>
                </a:lnTo>
                <a:lnTo>
                  <a:pt x="1337013" y="2476465"/>
                </a:lnTo>
                <a:lnTo>
                  <a:pt x="1384722" y="2471853"/>
                </a:lnTo>
                <a:lnTo>
                  <a:pt x="1431887" y="2465456"/>
                </a:lnTo>
                <a:lnTo>
                  <a:pt x="1478473" y="2457308"/>
                </a:lnTo>
                <a:lnTo>
                  <a:pt x="1524446" y="2447444"/>
                </a:lnTo>
                <a:lnTo>
                  <a:pt x="1569770" y="2435899"/>
                </a:lnTo>
                <a:lnTo>
                  <a:pt x="1614413" y="2422706"/>
                </a:lnTo>
                <a:lnTo>
                  <a:pt x="1658338" y="2407900"/>
                </a:lnTo>
                <a:lnTo>
                  <a:pt x="1701513" y="2391517"/>
                </a:lnTo>
                <a:lnTo>
                  <a:pt x="1743901" y="2373589"/>
                </a:lnTo>
                <a:lnTo>
                  <a:pt x="1785470" y="2354152"/>
                </a:lnTo>
                <a:lnTo>
                  <a:pt x="1826183" y="2333240"/>
                </a:lnTo>
                <a:lnTo>
                  <a:pt x="1866008" y="2310887"/>
                </a:lnTo>
                <a:lnTo>
                  <a:pt x="1904909" y="2287129"/>
                </a:lnTo>
                <a:lnTo>
                  <a:pt x="1942852" y="2261998"/>
                </a:lnTo>
                <a:lnTo>
                  <a:pt x="1979802" y="2235531"/>
                </a:lnTo>
                <a:lnTo>
                  <a:pt x="2015726" y="2207761"/>
                </a:lnTo>
                <a:lnTo>
                  <a:pt x="2050588" y="2178723"/>
                </a:lnTo>
                <a:lnTo>
                  <a:pt x="2084354" y="2148452"/>
                </a:lnTo>
                <a:lnTo>
                  <a:pt x="2116990" y="2116981"/>
                </a:lnTo>
                <a:lnTo>
                  <a:pt x="2148461" y="2084345"/>
                </a:lnTo>
                <a:lnTo>
                  <a:pt x="2178733" y="2050579"/>
                </a:lnTo>
                <a:lnTo>
                  <a:pt x="2207771" y="2015717"/>
                </a:lnTo>
                <a:lnTo>
                  <a:pt x="2235541" y="1979794"/>
                </a:lnTo>
                <a:lnTo>
                  <a:pt x="2262008" y="1942844"/>
                </a:lnTo>
                <a:lnTo>
                  <a:pt x="2287138" y="1904901"/>
                </a:lnTo>
                <a:lnTo>
                  <a:pt x="2310897" y="1866000"/>
                </a:lnTo>
                <a:lnTo>
                  <a:pt x="2333250" y="1826176"/>
                </a:lnTo>
                <a:lnTo>
                  <a:pt x="2354162" y="1785463"/>
                </a:lnTo>
                <a:lnTo>
                  <a:pt x="2373599" y="1743895"/>
                </a:lnTo>
                <a:lnTo>
                  <a:pt x="2391527" y="1701507"/>
                </a:lnTo>
                <a:lnTo>
                  <a:pt x="2407911" y="1658333"/>
                </a:lnTo>
                <a:lnTo>
                  <a:pt x="2422716" y="1614408"/>
                </a:lnTo>
                <a:lnTo>
                  <a:pt x="2435909" y="1569766"/>
                </a:lnTo>
                <a:lnTo>
                  <a:pt x="2447455" y="1524442"/>
                </a:lnTo>
                <a:lnTo>
                  <a:pt x="2457319" y="1478470"/>
                </a:lnTo>
                <a:lnTo>
                  <a:pt x="2465467" y="1431884"/>
                </a:lnTo>
                <a:lnTo>
                  <a:pt x="2471864" y="1384720"/>
                </a:lnTo>
                <a:lnTo>
                  <a:pt x="2476476" y="1337011"/>
                </a:lnTo>
                <a:lnTo>
                  <a:pt x="2479268" y="1288792"/>
                </a:lnTo>
                <a:lnTo>
                  <a:pt x="2480207" y="1240098"/>
                </a:lnTo>
                <a:lnTo>
                  <a:pt x="2479268" y="1191403"/>
                </a:lnTo>
                <a:lnTo>
                  <a:pt x="2476476" y="1143185"/>
                </a:lnTo>
                <a:lnTo>
                  <a:pt x="2471864" y="1095476"/>
                </a:lnTo>
                <a:lnTo>
                  <a:pt x="2465467" y="1048311"/>
                </a:lnTo>
                <a:lnTo>
                  <a:pt x="2457319" y="1001726"/>
                </a:lnTo>
                <a:lnTo>
                  <a:pt x="2447455" y="955754"/>
                </a:lnTo>
                <a:lnTo>
                  <a:pt x="2435909" y="910430"/>
                </a:lnTo>
                <a:lnTo>
                  <a:pt x="2422716" y="865788"/>
                </a:lnTo>
                <a:lnTo>
                  <a:pt x="2407911" y="821863"/>
                </a:lnTo>
                <a:lnTo>
                  <a:pt x="2391527" y="778689"/>
                </a:lnTo>
                <a:lnTo>
                  <a:pt x="2373599" y="736301"/>
                </a:lnTo>
                <a:lnTo>
                  <a:pt x="2354162" y="694733"/>
                </a:lnTo>
                <a:lnTo>
                  <a:pt x="2333250" y="654019"/>
                </a:lnTo>
                <a:lnTo>
                  <a:pt x="2310897" y="614195"/>
                </a:lnTo>
                <a:lnTo>
                  <a:pt x="2287138" y="575295"/>
                </a:lnTo>
                <a:lnTo>
                  <a:pt x="2262008" y="537352"/>
                </a:lnTo>
                <a:lnTo>
                  <a:pt x="2235541" y="500402"/>
                </a:lnTo>
                <a:lnTo>
                  <a:pt x="2207771" y="464478"/>
                </a:lnTo>
                <a:lnTo>
                  <a:pt x="2178733" y="429617"/>
                </a:lnTo>
                <a:lnTo>
                  <a:pt x="2148461" y="395851"/>
                </a:lnTo>
                <a:lnTo>
                  <a:pt x="2116990" y="363215"/>
                </a:lnTo>
                <a:lnTo>
                  <a:pt x="2084354" y="331744"/>
                </a:lnTo>
                <a:lnTo>
                  <a:pt x="2050588" y="301472"/>
                </a:lnTo>
                <a:lnTo>
                  <a:pt x="2015726" y="272434"/>
                </a:lnTo>
                <a:lnTo>
                  <a:pt x="1979802" y="244665"/>
                </a:lnTo>
                <a:lnTo>
                  <a:pt x="1942852" y="218197"/>
                </a:lnTo>
                <a:lnTo>
                  <a:pt x="1904909" y="193067"/>
                </a:lnTo>
                <a:lnTo>
                  <a:pt x="1866008" y="169309"/>
                </a:lnTo>
                <a:lnTo>
                  <a:pt x="1826183" y="146956"/>
                </a:lnTo>
                <a:lnTo>
                  <a:pt x="1785470" y="126044"/>
                </a:lnTo>
                <a:lnTo>
                  <a:pt x="1743901" y="106607"/>
                </a:lnTo>
                <a:lnTo>
                  <a:pt x="1701513" y="88679"/>
                </a:lnTo>
                <a:lnTo>
                  <a:pt x="1658338" y="72295"/>
                </a:lnTo>
                <a:lnTo>
                  <a:pt x="1614413" y="57490"/>
                </a:lnTo>
                <a:lnTo>
                  <a:pt x="1569770" y="44297"/>
                </a:lnTo>
                <a:lnTo>
                  <a:pt x="1524446" y="32751"/>
                </a:lnTo>
                <a:lnTo>
                  <a:pt x="1478473" y="22887"/>
                </a:lnTo>
                <a:lnTo>
                  <a:pt x="1431887" y="14740"/>
                </a:lnTo>
                <a:lnTo>
                  <a:pt x="1384722" y="8343"/>
                </a:lnTo>
                <a:lnTo>
                  <a:pt x="1337013" y="3730"/>
                </a:lnTo>
                <a:lnTo>
                  <a:pt x="1288793" y="938"/>
                </a:lnTo>
                <a:lnTo>
                  <a:pt x="1240098" y="0"/>
                </a:lnTo>
                <a:close/>
              </a:path>
            </a:pathLst>
          </a:custGeom>
          <a:solidFill>
            <a:srgbClr val="FFFFFF"/>
          </a:solidFill>
        </p:spPr>
        <p:txBody>
          <a:bodyPr wrap="square" lIns="0" tIns="0" rIns="0" bIns="0" rtlCol="0"/>
          <a:lstStyle/>
          <a:p>
            <a:endParaRPr/>
          </a:p>
        </p:txBody>
      </p:sp>
      <p:sp>
        <p:nvSpPr>
          <p:cNvPr id="5" name="object 5"/>
          <p:cNvSpPr txBox="1">
            <a:spLocks noGrp="1"/>
          </p:cNvSpPr>
          <p:nvPr>
            <p:ph type="title"/>
          </p:nvPr>
        </p:nvSpPr>
        <p:spPr>
          <a:xfrm>
            <a:off x="628650" y="457451"/>
            <a:ext cx="7886700" cy="626957"/>
          </a:xfrm>
          <a:prstGeom prst="rect">
            <a:avLst/>
          </a:prstGeom>
        </p:spPr>
        <p:txBody>
          <a:bodyPr vert="horz" wrap="square" lIns="0" tIns="5198" rIns="0" bIns="0" rtlCol="0">
            <a:spAutoFit/>
          </a:bodyPr>
          <a:lstStyle/>
          <a:p>
            <a:pPr marL="246056" marR="2310">
              <a:lnSpc>
                <a:spcPct val="100800"/>
              </a:lnSpc>
              <a:spcBef>
                <a:spcPts val="41"/>
              </a:spcBef>
            </a:pPr>
            <a:r>
              <a:rPr spc="-2" dirty="0"/>
              <a:t>La </a:t>
            </a:r>
            <a:r>
              <a:rPr spc="-11" dirty="0"/>
              <a:t>banque </a:t>
            </a:r>
            <a:r>
              <a:rPr spc="-2" dirty="0"/>
              <a:t>en </a:t>
            </a:r>
            <a:r>
              <a:rPr spc="-11" dirty="0"/>
              <a:t>ligne </a:t>
            </a:r>
            <a:r>
              <a:rPr spc="-2" dirty="0"/>
              <a:t>ou </a:t>
            </a:r>
            <a:r>
              <a:rPr spc="-11" dirty="0"/>
              <a:t>mobile </a:t>
            </a:r>
            <a:r>
              <a:rPr spc="-2" dirty="0"/>
              <a:t>en </a:t>
            </a:r>
            <a:r>
              <a:rPr spc="-11" dirty="0"/>
              <a:t>passe </a:t>
            </a:r>
            <a:r>
              <a:rPr spc="-2" dirty="0"/>
              <a:t>de </a:t>
            </a:r>
            <a:r>
              <a:rPr spc="-14" dirty="0"/>
              <a:t>devenir </a:t>
            </a:r>
            <a:r>
              <a:rPr spc="-7" dirty="0"/>
              <a:t>la</a:t>
            </a:r>
            <a:r>
              <a:rPr spc="-350" dirty="0"/>
              <a:t> </a:t>
            </a:r>
            <a:r>
              <a:rPr spc="-14" dirty="0"/>
              <a:t>banque  </a:t>
            </a:r>
            <a:r>
              <a:rPr spc="-16" dirty="0"/>
              <a:t>principale</a:t>
            </a:r>
          </a:p>
        </p:txBody>
      </p:sp>
      <p:sp>
        <p:nvSpPr>
          <p:cNvPr id="6" name="object 6"/>
          <p:cNvSpPr txBox="1"/>
          <p:nvPr/>
        </p:nvSpPr>
        <p:spPr>
          <a:xfrm>
            <a:off x="775669" y="1057734"/>
            <a:ext cx="7989690" cy="317864"/>
          </a:xfrm>
          <a:prstGeom prst="rect">
            <a:avLst/>
          </a:prstGeom>
        </p:spPr>
        <p:txBody>
          <a:bodyPr vert="horz" wrap="square" lIns="0" tIns="6354" rIns="0" bIns="0" rtlCol="0">
            <a:spAutoFit/>
          </a:bodyPr>
          <a:lstStyle/>
          <a:p>
            <a:pPr marL="5776">
              <a:spcBef>
                <a:spcPts val="50"/>
              </a:spcBef>
            </a:pPr>
            <a:r>
              <a:rPr lang="fr-FR" sz="900" b="1" spc="2" dirty="0">
                <a:latin typeface="Helvetica Neue"/>
                <a:cs typeface="Helvetica Neue"/>
              </a:rPr>
              <a:t>Seriez-vous</a:t>
            </a:r>
            <a:r>
              <a:rPr sz="900" b="1" spc="2" dirty="0">
                <a:latin typeface="Helvetica Neue"/>
                <a:cs typeface="Helvetica Neue"/>
              </a:rPr>
              <a:t> prêt à </a:t>
            </a:r>
            <a:r>
              <a:rPr sz="900" b="1" dirty="0">
                <a:latin typeface="Helvetica Neue"/>
                <a:cs typeface="Helvetica Neue"/>
              </a:rPr>
              <a:t>faire </a:t>
            </a:r>
            <a:r>
              <a:rPr sz="900" b="1" spc="2" dirty="0">
                <a:latin typeface="Helvetica Neue"/>
                <a:cs typeface="Helvetica Neue"/>
              </a:rPr>
              <a:t>d’une banque en ligne ou mobile votre banque principale</a:t>
            </a:r>
            <a:r>
              <a:rPr sz="900" b="1" spc="-32" dirty="0">
                <a:latin typeface="Helvetica Neue"/>
                <a:cs typeface="Helvetica Neue"/>
              </a:rPr>
              <a:t> </a:t>
            </a:r>
            <a:r>
              <a:rPr sz="900" b="1" spc="2" dirty="0">
                <a:latin typeface="Helvetica Neue"/>
                <a:cs typeface="Helvetica Neue"/>
              </a:rPr>
              <a:t>?</a:t>
            </a:r>
            <a:endParaRPr sz="900" dirty="0">
              <a:latin typeface="Helvetica Neue"/>
              <a:cs typeface="Helvetica Neue"/>
            </a:endParaRPr>
          </a:p>
          <a:p>
            <a:r>
              <a:rPr sz="900" spc="2" dirty="0">
                <a:latin typeface="Helvetica Neue"/>
                <a:cs typeface="Helvetica Neue"/>
              </a:rPr>
              <a:t>Base </a:t>
            </a:r>
            <a:r>
              <a:rPr sz="900" dirty="0">
                <a:latin typeface="Helvetica Neue"/>
                <a:cs typeface="Helvetica Neue"/>
              </a:rPr>
              <a:t>: </a:t>
            </a:r>
            <a:r>
              <a:rPr lang="fr-FR" sz="1100" dirty="0"/>
              <a:t>possède un compte secondaire dans une banque en ligne ou mobile ou souhaitent ouvrir un compte</a:t>
            </a:r>
          </a:p>
        </p:txBody>
      </p:sp>
      <p:sp>
        <p:nvSpPr>
          <p:cNvPr id="7" name="object 7"/>
          <p:cNvSpPr/>
          <p:nvPr/>
        </p:nvSpPr>
        <p:spPr>
          <a:xfrm>
            <a:off x="190893" y="214492"/>
            <a:ext cx="422542" cy="422512"/>
          </a:xfrm>
          <a:custGeom>
            <a:avLst/>
            <a:gdLst/>
            <a:ahLst/>
            <a:cxnLst/>
            <a:rect l="l" t="t" r="r" b="b"/>
            <a:pathLst>
              <a:path w="929005" h="929005">
                <a:moveTo>
                  <a:pt x="464352" y="0"/>
                </a:moveTo>
                <a:lnTo>
                  <a:pt x="416875" y="2397"/>
                </a:lnTo>
                <a:lnTo>
                  <a:pt x="370769" y="9434"/>
                </a:lnTo>
                <a:lnTo>
                  <a:pt x="326268" y="20876"/>
                </a:lnTo>
                <a:lnTo>
                  <a:pt x="283606" y="36491"/>
                </a:lnTo>
                <a:lnTo>
                  <a:pt x="243015" y="56045"/>
                </a:lnTo>
                <a:lnTo>
                  <a:pt x="204729" y="79304"/>
                </a:lnTo>
                <a:lnTo>
                  <a:pt x="168981" y="106036"/>
                </a:lnTo>
                <a:lnTo>
                  <a:pt x="136006" y="136006"/>
                </a:lnTo>
                <a:lnTo>
                  <a:pt x="106036" y="168981"/>
                </a:lnTo>
                <a:lnTo>
                  <a:pt x="79304" y="204729"/>
                </a:lnTo>
                <a:lnTo>
                  <a:pt x="56045" y="243015"/>
                </a:lnTo>
                <a:lnTo>
                  <a:pt x="36491" y="283606"/>
                </a:lnTo>
                <a:lnTo>
                  <a:pt x="20876" y="326268"/>
                </a:lnTo>
                <a:lnTo>
                  <a:pt x="9434" y="370769"/>
                </a:lnTo>
                <a:lnTo>
                  <a:pt x="2397" y="416875"/>
                </a:lnTo>
                <a:lnTo>
                  <a:pt x="0" y="464352"/>
                </a:lnTo>
                <a:lnTo>
                  <a:pt x="2397" y="511829"/>
                </a:lnTo>
                <a:lnTo>
                  <a:pt x="9434" y="557934"/>
                </a:lnTo>
                <a:lnTo>
                  <a:pt x="20876" y="602434"/>
                </a:lnTo>
                <a:lnTo>
                  <a:pt x="36491" y="645096"/>
                </a:lnTo>
                <a:lnTo>
                  <a:pt x="56045" y="685687"/>
                </a:lnTo>
                <a:lnTo>
                  <a:pt x="79304" y="723972"/>
                </a:lnTo>
                <a:lnTo>
                  <a:pt x="106036" y="759718"/>
                </a:lnTo>
                <a:lnTo>
                  <a:pt x="136006" y="792693"/>
                </a:lnTo>
                <a:lnTo>
                  <a:pt x="168981" y="822662"/>
                </a:lnTo>
                <a:lnTo>
                  <a:pt x="204729" y="849392"/>
                </a:lnTo>
                <a:lnTo>
                  <a:pt x="243015" y="872651"/>
                </a:lnTo>
                <a:lnTo>
                  <a:pt x="283606" y="892204"/>
                </a:lnTo>
                <a:lnTo>
                  <a:pt x="326268" y="907818"/>
                </a:lnTo>
                <a:lnTo>
                  <a:pt x="370769" y="919260"/>
                </a:lnTo>
                <a:lnTo>
                  <a:pt x="416875" y="926296"/>
                </a:lnTo>
                <a:lnTo>
                  <a:pt x="464352" y="928694"/>
                </a:lnTo>
                <a:lnTo>
                  <a:pt x="511829" y="926296"/>
                </a:lnTo>
                <a:lnTo>
                  <a:pt x="557934" y="919260"/>
                </a:lnTo>
                <a:lnTo>
                  <a:pt x="602434" y="907818"/>
                </a:lnTo>
                <a:lnTo>
                  <a:pt x="645096" y="892204"/>
                </a:lnTo>
                <a:lnTo>
                  <a:pt x="685687" y="872651"/>
                </a:lnTo>
                <a:lnTo>
                  <a:pt x="723972" y="849392"/>
                </a:lnTo>
                <a:lnTo>
                  <a:pt x="759718" y="822662"/>
                </a:lnTo>
                <a:lnTo>
                  <a:pt x="792693" y="792693"/>
                </a:lnTo>
                <a:lnTo>
                  <a:pt x="822662" y="759718"/>
                </a:lnTo>
                <a:lnTo>
                  <a:pt x="849392" y="723972"/>
                </a:lnTo>
                <a:lnTo>
                  <a:pt x="872651" y="685687"/>
                </a:lnTo>
                <a:lnTo>
                  <a:pt x="892204" y="645096"/>
                </a:lnTo>
                <a:lnTo>
                  <a:pt x="907818" y="602434"/>
                </a:lnTo>
                <a:lnTo>
                  <a:pt x="919260" y="557934"/>
                </a:lnTo>
                <a:lnTo>
                  <a:pt x="926296" y="511829"/>
                </a:lnTo>
                <a:lnTo>
                  <a:pt x="928694" y="464352"/>
                </a:lnTo>
                <a:lnTo>
                  <a:pt x="926296" y="416875"/>
                </a:lnTo>
                <a:lnTo>
                  <a:pt x="919260" y="370769"/>
                </a:lnTo>
                <a:lnTo>
                  <a:pt x="907818" y="326268"/>
                </a:lnTo>
                <a:lnTo>
                  <a:pt x="892204" y="283606"/>
                </a:lnTo>
                <a:lnTo>
                  <a:pt x="872651" y="243015"/>
                </a:lnTo>
                <a:lnTo>
                  <a:pt x="849392" y="204729"/>
                </a:lnTo>
                <a:lnTo>
                  <a:pt x="822662" y="168981"/>
                </a:lnTo>
                <a:lnTo>
                  <a:pt x="792693" y="136006"/>
                </a:lnTo>
                <a:lnTo>
                  <a:pt x="759718" y="106036"/>
                </a:lnTo>
                <a:lnTo>
                  <a:pt x="723972" y="79304"/>
                </a:lnTo>
                <a:lnTo>
                  <a:pt x="685687" y="56045"/>
                </a:lnTo>
                <a:lnTo>
                  <a:pt x="645096" y="36491"/>
                </a:lnTo>
                <a:lnTo>
                  <a:pt x="602434" y="20876"/>
                </a:lnTo>
                <a:lnTo>
                  <a:pt x="557934" y="9434"/>
                </a:lnTo>
                <a:lnTo>
                  <a:pt x="511829" y="2397"/>
                </a:lnTo>
                <a:lnTo>
                  <a:pt x="464352" y="0"/>
                </a:lnTo>
                <a:close/>
              </a:path>
            </a:pathLst>
          </a:custGeom>
          <a:solidFill>
            <a:srgbClr val="4AB4E6"/>
          </a:solidFill>
        </p:spPr>
        <p:txBody>
          <a:bodyPr wrap="square" lIns="0" tIns="0" rIns="0" bIns="0" rtlCol="0"/>
          <a:lstStyle/>
          <a:p>
            <a:endParaRPr/>
          </a:p>
        </p:txBody>
      </p:sp>
      <p:sp>
        <p:nvSpPr>
          <p:cNvPr id="8" name="object 8"/>
          <p:cNvSpPr/>
          <p:nvPr/>
        </p:nvSpPr>
        <p:spPr>
          <a:xfrm>
            <a:off x="302456" y="262105"/>
            <a:ext cx="258493" cy="341937"/>
          </a:xfrm>
          <a:custGeom>
            <a:avLst/>
            <a:gdLst/>
            <a:ahLst/>
            <a:cxnLst/>
            <a:rect l="l" t="t" r="r" b="b"/>
            <a:pathLst>
              <a:path w="568325" h="751840">
                <a:moveTo>
                  <a:pt x="245217" y="0"/>
                </a:moveTo>
                <a:lnTo>
                  <a:pt x="0" y="624871"/>
                </a:lnTo>
                <a:lnTo>
                  <a:pt x="323047" y="751642"/>
                </a:lnTo>
                <a:lnTo>
                  <a:pt x="568254" y="126771"/>
                </a:lnTo>
                <a:lnTo>
                  <a:pt x="245217" y="0"/>
                </a:lnTo>
                <a:close/>
              </a:path>
            </a:pathLst>
          </a:custGeom>
          <a:solidFill>
            <a:srgbClr val="FFFFFF"/>
          </a:solidFill>
        </p:spPr>
        <p:txBody>
          <a:bodyPr wrap="square" lIns="0" tIns="0" rIns="0" bIns="0" rtlCol="0"/>
          <a:lstStyle/>
          <a:p>
            <a:endParaRPr/>
          </a:p>
        </p:txBody>
      </p:sp>
      <p:sp>
        <p:nvSpPr>
          <p:cNvPr id="9" name="object 9"/>
          <p:cNvSpPr/>
          <p:nvPr/>
        </p:nvSpPr>
        <p:spPr>
          <a:xfrm>
            <a:off x="293989" y="259432"/>
            <a:ext cx="274378" cy="349446"/>
          </a:xfrm>
          <a:custGeom>
            <a:avLst/>
            <a:gdLst/>
            <a:ahLst/>
            <a:cxnLst/>
            <a:rect l="l" t="t" r="r" b="b"/>
            <a:pathLst>
              <a:path w="603250" h="768350">
                <a:moveTo>
                  <a:pt x="256296" y="0"/>
                </a:moveTo>
                <a:lnTo>
                  <a:pt x="219754" y="26211"/>
                </a:lnTo>
                <a:lnTo>
                  <a:pt x="2651" y="596790"/>
                </a:lnTo>
                <a:lnTo>
                  <a:pt x="0" y="612731"/>
                </a:lnTo>
                <a:lnTo>
                  <a:pt x="3541" y="627922"/>
                </a:lnTo>
                <a:lnTo>
                  <a:pt x="12516" y="640671"/>
                </a:lnTo>
                <a:lnTo>
                  <a:pt x="26168" y="649291"/>
                </a:lnTo>
                <a:lnTo>
                  <a:pt x="330557" y="765110"/>
                </a:lnTo>
                <a:lnTo>
                  <a:pt x="346489" y="767750"/>
                </a:lnTo>
                <a:lnTo>
                  <a:pt x="361668" y="764192"/>
                </a:lnTo>
                <a:lnTo>
                  <a:pt x="374410" y="755199"/>
                </a:lnTo>
                <a:lnTo>
                  <a:pt x="383026" y="741529"/>
                </a:lnTo>
                <a:lnTo>
                  <a:pt x="403008" y="689018"/>
                </a:lnTo>
                <a:lnTo>
                  <a:pt x="359467" y="689018"/>
                </a:lnTo>
                <a:lnTo>
                  <a:pt x="55162" y="573231"/>
                </a:lnTo>
                <a:lnTo>
                  <a:pt x="250559" y="59707"/>
                </a:lnTo>
                <a:lnTo>
                  <a:pt x="422203" y="59707"/>
                </a:lnTo>
                <a:lnTo>
                  <a:pt x="272224" y="2641"/>
                </a:lnTo>
                <a:lnTo>
                  <a:pt x="256296" y="0"/>
                </a:lnTo>
                <a:close/>
              </a:path>
              <a:path w="603250" h="768350">
                <a:moveTo>
                  <a:pt x="422203" y="59707"/>
                </a:moveTo>
                <a:lnTo>
                  <a:pt x="250559" y="59707"/>
                </a:lnTo>
                <a:lnTo>
                  <a:pt x="554864" y="175505"/>
                </a:lnTo>
                <a:lnTo>
                  <a:pt x="359467" y="689018"/>
                </a:lnTo>
                <a:lnTo>
                  <a:pt x="403008" y="689018"/>
                </a:lnTo>
                <a:lnTo>
                  <a:pt x="600140" y="170950"/>
                </a:lnTo>
                <a:lnTo>
                  <a:pt x="602791" y="155009"/>
                </a:lnTo>
                <a:lnTo>
                  <a:pt x="599249" y="139820"/>
                </a:lnTo>
                <a:lnTo>
                  <a:pt x="590270" y="127073"/>
                </a:lnTo>
                <a:lnTo>
                  <a:pt x="576612" y="118459"/>
                </a:lnTo>
                <a:lnTo>
                  <a:pt x="558147" y="111433"/>
                </a:lnTo>
                <a:lnTo>
                  <a:pt x="443705" y="111433"/>
                </a:lnTo>
                <a:lnTo>
                  <a:pt x="376189" y="85738"/>
                </a:lnTo>
                <a:lnTo>
                  <a:pt x="373540" y="79832"/>
                </a:lnTo>
                <a:lnTo>
                  <a:pt x="377519" y="69372"/>
                </a:lnTo>
                <a:lnTo>
                  <a:pt x="383424" y="66723"/>
                </a:lnTo>
                <a:lnTo>
                  <a:pt x="440640" y="66723"/>
                </a:lnTo>
                <a:lnTo>
                  <a:pt x="422203" y="59707"/>
                </a:lnTo>
                <a:close/>
              </a:path>
              <a:path w="603250" h="768350">
                <a:moveTo>
                  <a:pt x="440640" y="66723"/>
                </a:moveTo>
                <a:lnTo>
                  <a:pt x="383424" y="66723"/>
                </a:lnTo>
                <a:lnTo>
                  <a:pt x="450941" y="92408"/>
                </a:lnTo>
                <a:lnTo>
                  <a:pt x="453600" y="98313"/>
                </a:lnTo>
                <a:lnTo>
                  <a:pt x="449611" y="108774"/>
                </a:lnTo>
                <a:lnTo>
                  <a:pt x="443705" y="111433"/>
                </a:lnTo>
                <a:lnTo>
                  <a:pt x="558147" y="111433"/>
                </a:lnTo>
                <a:lnTo>
                  <a:pt x="440640" y="66723"/>
                </a:lnTo>
                <a:close/>
              </a:path>
            </a:pathLst>
          </a:custGeom>
          <a:solidFill>
            <a:srgbClr val="000000"/>
          </a:solidFill>
        </p:spPr>
        <p:txBody>
          <a:bodyPr wrap="square" lIns="0" tIns="0" rIns="0" bIns="0" rtlCol="0"/>
          <a:lstStyle/>
          <a:p>
            <a:endParaRPr/>
          </a:p>
        </p:txBody>
      </p:sp>
      <p:sp>
        <p:nvSpPr>
          <p:cNvPr id="10" name="object 10"/>
          <p:cNvSpPr/>
          <p:nvPr/>
        </p:nvSpPr>
        <p:spPr>
          <a:xfrm>
            <a:off x="246885" y="298292"/>
            <a:ext cx="94444" cy="144399"/>
          </a:xfrm>
          <a:custGeom>
            <a:avLst/>
            <a:gdLst/>
            <a:ahLst/>
            <a:cxnLst/>
            <a:rect l="l" t="t" r="r" b="b"/>
            <a:pathLst>
              <a:path w="207645" h="317500">
                <a:moveTo>
                  <a:pt x="139782" y="0"/>
                </a:moveTo>
                <a:lnTo>
                  <a:pt x="97716" y="24434"/>
                </a:lnTo>
                <a:lnTo>
                  <a:pt x="62527" y="55767"/>
                </a:lnTo>
                <a:lnTo>
                  <a:pt x="34688" y="92723"/>
                </a:lnTo>
                <a:lnTo>
                  <a:pt x="14672" y="134028"/>
                </a:lnTo>
                <a:lnTo>
                  <a:pt x="2952" y="178406"/>
                </a:lnTo>
                <a:lnTo>
                  <a:pt x="0" y="224582"/>
                </a:lnTo>
                <a:lnTo>
                  <a:pt x="6288" y="271280"/>
                </a:lnTo>
                <a:lnTo>
                  <a:pt x="22289" y="317225"/>
                </a:lnTo>
                <a:lnTo>
                  <a:pt x="51481" y="303980"/>
                </a:lnTo>
                <a:lnTo>
                  <a:pt x="36331" y="258397"/>
                </a:lnTo>
                <a:lnTo>
                  <a:pt x="32098" y="212166"/>
                </a:lnTo>
                <a:lnTo>
                  <a:pt x="38172" y="166939"/>
                </a:lnTo>
                <a:lnTo>
                  <a:pt x="53942" y="124363"/>
                </a:lnTo>
                <a:lnTo>
                  <a:pt x="78796" y="86091"/>
                </a:lnTo>
                <a:lnTo>
                  <a:pt x="112122" y="53772"/>
                </a:lnTo>
                <a:lnTo>
                  <a:pt x="153311" y="29056"/>
                </a:lnTo>
                <a:lnTo>
                  <a:pt x="139782" y="0"/>
                </a:lnTo>
                <a:close/>
              </a:path>
              <a:path w="207645" h="317500">
                <a:moveTo>
                  <a:pt x="166839" y="58113"/>
                </a:moveTo>
                <a:lnTo>
                  <a:pt x="126812" y="83176"/>
                </a:lnTo>
                <a:lnTo>
                  <a:pt x="95957" y="116680"/>
                </a:lnTo>
                <a:lnTo>
                  <a:pt x="75095" y="156406"/>
                </a:lnTo>
                <a:lnTo>
                  <a:pt x="65046" y="200137"/>
                </a:lnTo>
                <a:lnTo>
                  <a:pt x="66632" y="245656"/>
                </a:lnTo>
                <a:lnTo>
                  <a:pt x="80674" y="290745"/>
                </a:lnTo>
                <a:lnTo>
                  <a:pt x="109878" y="277509"/>
                </a:lnTo>
                <a:lnTo>
                  <a:pt x="97333" y="233141"/>
                </a:lnTo>
                <a:lnTo>
                  <a:pt x="99270" y="188787"/>
                </a:lnTo>
                <a:lnTo>
                  <a:pt x="114529" y="147585"/>
                </a:lnTo>
                <a:lnTo>
                  <a:pt x="141949" y="112671"/>
                </a:lnTo>
                <a:lnTo>
                  <a:pt x="180368" y="87180"/>
                </a:lnTo>
                <a:lnTo>
                  <a:pt x="166839" y="58113"/>
                </a:lnTo>
                <a:close/>
              </a:path>
              <a:path w="207645" h="317500">
                <a:moveTo>
                  <a:pt x="193896" y="116237"/>
                </a:moveTo>
                <a:lnTo>
                  <a:pt x="157847" y="142264"/>
                </a:lnTo>
                <a:lnTo>
                  <a:pt x="135518" y="178786"/>
                </a:lnTo>
                <a:lnTo>
                  <a:pt x="128671" y="221043"/>
                </a:lnTo>
                <a:lnTo>
                  <a:pt x="139070" y="264274"/>
                </a:lnTo>
                <a:lnTo>
                  <a:pt x="168274" y="251039"/>
                </a:lnTo>
                <a:lnTo>
                  <a:pt x="160843" y="220160"/>
                </a:lnTo>
                <a:lnTo>
                  <a:pt x="165732" y="189977"/>
                </a:lnTo>
                <a:lnTo>
                  <a:pt x="181682" y="163891"/>
                </a:lnTo>
                <a:lnTo>
                  <a:pt x="207435" y="145304"/>
                </a:lnTo>
                <a:lnTo>
                  <a:pt x="193896" y="116237"/>
                </a:lnTo>
                <a:close/>
              </a:path>
            </a:pathLst>
          </a:custGeom>
          <a:solidFill>
            <a:srgbClr val="000000"/>
          </a:solidFill>
        </p:spPr>
        <p:txBody>
          <a:bodyPr wrap="square" lIns="0" tIns="0" rIns="0" bIns="0" rtlCol="0"/>
          <a:lstStyle/>
          <a:p>
            <a:endParaRPr/>
          </a:p>
        </p:txBody>
      </p:sp>
      <p:sp>
        <p:nvSpPr>
          <p:cNvPr id="11" name="object 11"/>
          <p:cNvSpPr/>
          <p:nvPr/>
        </p:nvSpPr>
        <p:spPr>
          <a:xfrm>
            <a:off x="371464" y="378511"/>
            <a:ext cx="114372" cy="194650"/>
          </a:xfrm>
          <a:custGeom>
            <a:avLst/>
            <a:gdLst/>
            <a:ahLst/>
            <a:cxnLst/>
            <a:rect l="l" t="t" r="r" b="b"/>
            <a:pathLst>
              <a:path w="251459" h="427990">
                <a:moveTo>
                  <a:pt x="124492" y="0"/>
                </a:moveTo>
                <a:lnTo>
                  <a:pt x="78912" y="10651"/>
                </a:lnTo>
                <a:lnTo>
                  <a:pt x="40652" y="37616"/>
                </a:lnTo>
                <a:lnTo>
                  <a:pt x="14778" y="78622"/>
                </a:lnTo>
                <a:lnTo>
                  <a:pt x="6846" y="126453"/>
                </a:lnTo>
                <a:lnTo>
                  <a:pt x="17502" y="172031"/>
                </a:lnTo>
                <a:lnTo>
                  <a:pt x="44470" y="210289"/>
                </a:lnTo>
                <a:lnTo>
                  <a:pt x="85478" y="236156"/>
                </a:lnTo>
                <a:lnTo>
                  <a:pt x="133309" y="244094"/>
                </a:lnTo>
                <a:lnTo>
                  <a:pt x="178887" y="233442"/>
                </a:lnTo>
                <a:lnTo>
                  <a:pt x="192629" y="223755"/>
                </a:lnTo>
                <a:lnTo>
                  <a:pt x="132573" y="223755"/>
                </a:lnTo>
                <a:lnTo>
                  <a:pt x="92713" y="217141"/>
                </a:lnTo>
                <a:lnTo>
                  <a:pt x="58540" y="195586"/>
                </a:lnTo>
                <a:lnTo>
                  <a:pt x="36067" y="163703"/>
                </a:lnTo>
                <a:lnTo>
                  <a:pt x="27190" y="125719"/>
                </a:lnTo>
                <a:lnTo>
                  <a:pt x="33804" y="85857"/>
                </a:lnTo>
                <a:lnTo>
                  <a:pt x="55359" y="51690"/>
                </a:lnTo>
                <a:lnTo>
                  <a:pt x="87241" y="29219"/>
                </a:lnTo>
                <a:lnTo>
                  <a:pt x="125222" y="20340"/>
                </a:lnTo>
                <a:lnTo>
                  <a:pt x="191990" y="20340"/>
                </a:lnTo>
                <a:lnTo>
                  <a:pt x="172323" y="7933"/>
                </a:lnTo>
                <a:lnTo>
                  <a:pt x="124492" y="0"/>
                </a:lnTo>
                <a:close/>
              </a:path>
              <a:path w="251459" h="427990">
                <a:moveTo>
                  <a:pt x="191990" y="20340"/>
                </a:moveTo>
                <a:lnTo>
                  <a:pt x="125222" y="20340"/>
                </a:lnTo>
                <a:lnTo>
                  <a:pt x="165077" y="26948"/>
                </a:lnTo>
                <a:lnTo>
                  <a:pt x="199251" y="48508"/>
                </a:lnTo>
                <a:lnTo>
                  <a:pt x="221725" y="80390"/>
                </a:lnTo>
                <a:lnTo>
                  <a:pt x="230605" y="118372"/>
                </a:lnTo>
                <a:lnTo>
                  <a:pt x="223997" y="158232"/>
                </a:lnTo>
                <a:lnTo>
                  <a:pt x="202437" y="192405"/>
                </a:lnTo>
                <a:lnTo>
                  <a:pt x="170555" y="214878"/>
                </a:lnTo>
                <a:lnTo>
                  <a:pt x="132573" y="223755"/>
                </a:lnTo>
                <a:lnTo>
                  <a:pt x="192629" y="223755"/>
                </a:lnTo>
                <a:lnTo>
                  <a:pt x="217144" y="206474"/>
                </a:lnTo>
                <a:lnTo>
                  <a:pt x="243012" y="165467"/>
                </a:lnTo>
                <a:lnTo>
                  <a:pt x="250823" y="118372"/>
                </a:lnTo>
                <a:lnTo>
                  <a:pt x="250931" y="117574"/>
                </a:lnTo>
                <a:lnTo>
                  <a:pt x="240294" y="72058"/>
                </a:lnTo>
                <a:lnTo>
                  <a:pt x="213329" y="33801"/>
                </a:lnTo>
                <a:lnTo>
                  <a:pt x="191990" y="20340"/>
                </a:lnTo>
                <a:close/>
              </a:path>
              <a:path w="251459" h="427990">
                <a:moveTo>
                  <a:pt x="63457" y="104977"/>
                </a:moveTo>
                <a:lnTo>
                  <a:pt x="58149" y="108045"/>
                </a:lnTo>
                <a:lnTo>
                  <a:pt x="53897" y="119228"/>
                </a:lnTo>
                <a:lnTo>
                  <a:pt x="56149" y="124443"/>
                </a:lnTo>
                <a:lnTo>
                  <a:pt x="69719" y="129605"/>
                </a:lnTo>
                <a:lnTo>
                  <a:pt x="68641" y="139878"/>
                </a:lnTo>
                <a:lnTo>
                  <a:pt x="79438" y="177151"/>
                </a:lnTo>
                <a:lnTo>
                  <a:pt x="122768" y="200144"/>
                </a:lnTo>
                <a:lnTo>
                  <a:pt x="137578" y="199884"/>
                </a:lnTo>
                <a:lnTo>
                  <a:pt x="167034" y="177454"/>
                </a:lnTo>
                <a:lnTo>
                  <a:pt x="123514" y="177454"/>
                </a:lnTo>
                <a:lnTo>
                  <a:pt x="113990" y="174828"/>
                </a:lnTo>
                <a:lnTo>
                  <a:pt x="103244" y="169080"/>
                </a:lnTo>
                <a:lnTo>
                  <a:pt x="95715" y="161101"/>
                </a:lnTo>
                <a:lnTo>
                  <a:pt x="91647" y="150727"/>
                </a:lnTo>
                <a:lnTo>
                  <a:pt x="91310" y="137824"/>
                </a:lnTo>
                <a:lnTo>
                  <a:pt x="145967" y="137824"/>
                </a:lnTo>
                <a:lnTo>
                  <a:pt x="145549" y="136222"/>
                </a:lnTo>
                <a:lnTo>
                  <a:pt x="96545" y="117574"/>
                </a:lnTo>
                <a:lnTo>
                  <a:pt x="97341" y="115406"/>
                </a:lnTo>
                <a:lnTo>
                  <a:pt x="99372" y="110139"/>
                </a:lnTo>
                <a:lnTo>
                  <a:pt x="99477" y="109626"/>
                </a:lnTo>
                <a:lnTo>
                  <a:pt x="75677" y="109626"/>
                </a:lnTo>
                <a:lnTo>
                  <a:pt x="63457" y="104977"/>
                </a:lnTo>
                <a:close/>
              </a:path>
              <a:path w="251459" h="427990">
                <a:moveTo>
                  <a:pt x="152764" y="163886"/>
                </a:moveTo>
                <a:lnTo>
                  <a:pt x="148146" y="165091"/>
                </a:lnTo>
                <a:lnTo>
                  <a:pt x="144252" y="169088"/>
                </a:lnTo>
                <a:lnTo>
                  <a:pt x="138035" y="174506"/>
                </a:lnTo>
                <a:lnTo>
                  <a:pt x="131324" y="177322"/>
                </a:lnTo>
                <a:lnTo>
                  <a:pt x="123514" y="177454"/>
                </a:lnTo>
                <a:lnTo>
                  <a:pt x="167034" y="177454"/>
                </a:lnTo>
                <a:lnTo>
                  <a:pt x="167339" y="176650"/>
                </a:lnTo>
                <a:lnTo>
                  <a:pt x="165391" y="170965"/>
                </a:lnTo>
                <a:lnTo>
                  <a:pt x="160941" y="167729"/>
                </a:lnTo>
                <a:lnTo>
                  <a:pt x="159779" y="166808"/>
                </a:lnTo>
                <a:lnTo>
                  <a:pt x="158543" y="166085"/>
                </a:lnTo>
                <a:lnTo>
                  <a:pt x="152764" y="163886"/>
                </a:lnTo>
                <a:close/>
              </a:path>
              <a:path w="251459" h="427990">
                <a:moveTo>
                  <a:pt x="145967" y="137824"/>
                </a:moveTo>
                <a:lnTo>
                  <a:pt x="91310" y="137824"/>
                </a:lnTo>
                <a:lnTo>
                  <a:pt x="137905" y="155552"/>
                </a:lnTo>
                <a:lnTo>
                  <a:pt x="142743" y="152934"/>
                </a:lnTo>
                <a:lnTo>
                  <a:pt x="146994" y="141761"/>
                </a:lnTo>
                <a:lnTo>
                  <a:pt x="145967" y="137824"/>
                </a:lnTo>
                <a:close/>
              </a:path>
              <a:path w="251459" h="427990">
                <a:moveTo>
                  <a:pt x="163459" y="106778"/>
                </a:moveTo>
                <a:lnTo>
                  <a:pt x="100650" y="106778"/>
                </a:lnTo>
                <a:lnTo>
                  <a:pt x="158135" y="128641"/>
                </a:lnTo>
                <a:lnTo>
                  <a:pt x="163350" y="125364"/>
                </a:lnTo>
                <a:lnTo>
                  <a:pt x="167590" y="114202"/>
                </a:lnTo>
                <a:lnTo>
                  <a:pt x="166156" y="107804"/>
                </a:lnTo>
                <a:lnTo>
                  <a:pt x="163459" y="106778"/>
                </a:lnTo>
                <a:close/>
              </a:path>
              <a:path w="251459" h="427990">
                <a:moveTo>
                  <a:pt x="186842" y="70092"/>
                </a:moveTo>
                <a:lnTo>
                  <a:pt x="141574" y="70092"/>
                </a:lnTo>
                <a:lnTo>
                  <a:pt x="152900" y="72580"/>
                </a:lnTo>
                <a:lnTo>
                  <a:pt x="161357" y="76813"/>
                </a:lnTo>
                <a:lnTo>
                  <a:pt x="166997" y="82202"/>
                </a:lnTo>
                <a:lnTo>
                  <a:pt x="170217" y="89206"/>
                </a:lnTo>
                <a:lnTo>
                  <a:pt x="171412" y="98286"/>
                </a:lnTo>
                <a:lnTo>
                  <a:pt x="171569" y="103249"/>
                </a:lnTo>
                <a:lnTo>
                  <a:pt x="173988" y="107574"/>
                </a:lnTo>
                <a:lnTo>
                  <a:pt x="180072" y="109888"/>
                </a:lnTo>
                <a:lnTo>
                  <a:pt x="181684" y="110830"/>
                </a:lnTo>
                <a:lnTo>
                  <a:pt x="183265" y="110610"/>
                </a:lnTo>
                <a:lnTo>
                  <a:pt x="183504" y="110610"/>
                </a:lnTo>
                <a:lnTo>
                  <a:pt x="183768" y="110338"/>
                </a:lnTo>
                <a:lnTo>
                  <a:pt x="189056" y="110181"/>
                </a:lnTo>
                <a:lnTo>
                  <a:pt x="193108" y="107406"/>
                </a:lnTo>
                <a:lnTo>
                  <a:pt x="195282" y="101679"/>
                </a:lnTo>
                <a:lnTo>
                  <a:pt x="195841" y="99867"/>
                </a:lnTo>
                <a:lnTo>
                  <a:pt x="195631" y="97354"/>
                </a:lnTo>
                <a:lnTo>
                  <a:pt x="193192" y="82239"/>
                </a:lnTo>
                <a:lnTo>
                  <a:pt x="186842" y="70092"/>
                </a:lnTo>
                <a:close/>
              </a:path>
              <a:path w="251459" h="427990">
                <a:moveTo>
                  <a:pt x="183504" y="110610"/>
                </a:moveTo>
                <a:lnTo>
                  <a:pt x="183265" y="110610"/>
                </a:lnTo>
                <a:lnTo>
                  <a:pt x="183443" y="110673"/>
                </a:lnTo>
                <a:close/>
              </a:path>
              <a:path w="251459" h="427990">
                <a:moveTo>
                  <a:pt x="75593" y="73345"/>
                </a:moveTo>
                <a:lnTo>
                  <a:pt x="69886" y="77187"/>
                </a:lnTo>
                <a:lnTo>
                  <a:pt x="65677" y="88276"/>
                </a:lnTo>
                <a:lnTo>
                  <a:pt x="67646" y="94213"/>
                </a:lnTo>
                <a:lnTo>
                  <a:pt x="79781" y="98831"/>
                </a:lnTo>
                <a:lnTo>
                  <a:pt x="78609" y="101679"/>
                </a:lnTo>
                <a:lnTo>
                  <a:pt x="78462" y="102307"/>
                </a:lnTo>
                <a:lnTo>
                  <a:pt x="76257" y="108045"/>
                </a:lnTo>
                <a:lnTo>
                  <a:pt x="75677" y="109626"/>
                </a:lnTo>
                <a:lnTo>
                  <a:pt x="99477" y="109626"/>
                </a:lnTo>
                <a:lnTo>
                  <a:pt x="100650" y="106778"/>
                </a:lnTo>
                <a:lnTo>
                  <a:pt x="163459" y="106778"/>
                </a:lnTo>
                <a:lnTo>
                  <a:pt x="111477" y="86999"/>
                </a:lnTo>
                <a:lnTo>
                  <a:pt x="119184" y="78779"/>
                </a:lnTo>
                <a:lnTo>
                  <a:pt x="89886" y="78779"/>
                </a:lnTo>
                <a:lnTo>
                  <a:pt x="75593" y="73345"/>
                </a:lnTo>
                <a:close/>
              </a:path>
              <a:path w="251459" h="427990">
                <a:moveTo>
                  <a:pt x="139986" y="47560"/>
                </a:moveTo>
                <a:lnTo>
                  <a:pt x="103597" y="62238"/>
                </a:lnTo>
                <a:lnTo>
                  <a:pt x="89886" y="78779"/>
                </a:lnTo>
                <a:lnTo>
                  <a:pt x="119184" y="78779"/>
                </a:lnTo>
                <a:lnTo>
                  <a:pt x="120741" y="77118"/>
                </a:lnTo>
                <a:lnTo>
                  <a:pt x="130814" y="71544"/>
                </a:lnTo>
                <a:lnTo>
                  <a:pt x="141574" y="70092"/>
                </a:lnTo>
                <a:lnTo>
                  <a:pt x="186842" y="70092"/>
                </a:lnTo>
                <a:lnTo>
                  <a:pt x="186616" y="69659"/>
                </a:lnTo>
                <a:lnTo>
                  <a:pt x="175838" y="59544"/>
                </a:lnTo>
                <a:lnTo>
                  <a:pt x="160795" y="51827"/>
                </a:lnTo>
                <a:lnTo>
                  <a:pt x="150326" y="48743"/>
                </a:lnTo>
                <a:lnTo>
                  <a:pt x="139986" y="47560"/>
                </a:lnTo>
                <a:close/>
              </a:path>
              <a:path w="251459" h="427990">
                <a:moveTo>
                  <a:pt x="19604" y="386996"/>
                </a:moveTo>
                <a:lnTo>
                  <a:pt x="12010" y="388771"/>
                </a:lnTo>
                <a:lnTo>
                  <a:pt x="5635" y="393265"/>
                </a:lnTo>
                <a:lnTo>
                  <a:pt x="1323" y="400099"/>
                </a:lnTo>
                <a:lnTo>
                  <a:pt x="0" y="408071"/>
                </a:lnTo>
                <a:lnTo>
                  <a:pt x="1776" y="415668"/>
                </a:lnTo>
                <a:lnTo>
                  <a:pt x="6274" y="422046"/>
                </a:lnTo>
                <a:lnTo>
                  <a:pt x="13113" y="426360"/>
                </a:lnTo>
                <a:lnTo>
                  <a:pt x="21079" y="427678"/>
                </a:lnTo>
                <a:lnTo>
                  <a:pt x="28673" y="425899"/>
                </a:lnTo>
                <a:lnTo>
                  <a:pt x="35050" y="421404"/>
                </a:lnTo>
                <a:lnTo>
                  <a:pt x="39364" y="414570"/>
                </a:lnTo>
                <a:lnTo>
                  <a:pt x="40687" y="406599"/>
                </a:lnTo>
                <a:lnTo>
                  <a:pt x="38911" y="399002"/>
                </a:lnTo>
                <a:lnTo>
                  <a:pt x="34413" y="392627"/>
                </a:lnTo>
                <a:lnTo>
                  <a:pt x="27574" y="388319"/>
                </a:lnTo>
                <a:lnTo>
                  <a:pt x="19604" y="386996"/>
                </a:lnTo>
                <a:close/>
              </a:path>
            </a:pathLst>
          </a:custGeom>
          <a:solidFill>
            <a:srgbClr val="D9771B"/>
          </a:solidFill>
        </p:spPr>
        <p:txBody>
          <a:bodyPr wrap="square" lIns="0" tIns="0" rIns="0" bIns="0" rtlCol="0"/>
          <a:lstStyle/>
          <a:p>
            <a:endParaRPr/>
          </a:p>
        </p:txBody>
      </p:sp>
      <p:sp>
        <p:nvSpPr>
          <p:cNvPr id="12" name="object 12"/>
          <p:cNvSpPr/>
          <p:nvPr/>
        </p:nvSpPr>
        <p:spPr>
          <a:xfrm>
            <a:off x="7245998" y="2201368"/>
            <a:ext cx="483194" cy="510596"/>
          </a:xfrm>
          <a:custGeom>
            <a:avLst/>
            <a:gdLst/>
            <a:ahLst/>
            <a:cxnLst/>
            <a:rect l="l" t="t" r="r" b="b"/>
            <a:pathLst>
              <a:path w="1062355" h="1122679">
                <a:moveTo>
                  <a:pt x="185013" y="0"/>
                </a:moveTo>
                <a:lnTo>
                  <a:pt x="143250" y="8135"/>
                </a:lnTo>
                <a:lnTo>
                  <a:pt x="101834" y="27376"/>
                </a:lnTo>
                <a:lnTo>
                  <a:pt x="61125" y="58437"/>
                </a:lnTo>
                <a:lnTo>
                  <a:pt x="27904" y="96469"/>
                </a:lnTo>
                <a:lnTo>
                  <a:pt x="7924" y="135916"/>
                </a:lnTo>
                <a:lnTo>
                  <a:pt x="0" y="176433"/>
                </a:lnTo>
                <a:lnTo>
                  <a:pt x="2948" y="217671"/>
                </a:lnTo>
                <a:lnTo>
                  <a:pt x="15584" y="259284"/>
                </a:lnTo>
                <a:lnTo>
                  <a:pt x="36725" y="300924"/>
                </a:lnTo>
                <a:lnTo>
                  <a:pt x="65186" y="342244"/>
                </a:lnTo>
                <a:lnTo>
                  <a:pt x="99784" y="382898"/>
                </a:lnTo>
                <a:lnTo>
                  <a:pt x="608480" y="1038093"/>
                </a:lnTo>
                <a:lnTo>
                  <a:pt x="643959" y="1070095"/>
                </a:lnTo>
                <a:lnTo>
                  <a:pt x="683429" y="1094595"/>
                </a:lnTo>
                <a:lnTo>
                  <a:pt x="725835" y="1111550"/>
                </a:lnTo>
                <a:lnTo>
                  <a:pt x="770119" y="1120920"/>
                </a:lnTo>
                <a:lnTo>
                  <a:pt x="815225" y="1122665"/>
                </a:lnTo>
                <a:lnTo>
                  <a:pt x="860095" y="1116742"/>
                </a:lnTo>
                <a:lnTo>
                  <a:pt x="903672" y="1103112"/>
                </a:lnTo>
                <a:lnTo>
                  <a:pt x="944899" y="1081732"/>
                </a:lnTo>
                <a:lnTo>
                  <a:pt x="982720" y="1052563"/>
                </a:lnTo>
                <a:lnTo>
                  <a:pt x="1022083" y="1011559"/>
                </a:lnTo>
                <a:lnTo>
                  <a:pt x="1048329" y="972851"/>
                </a:lnTo>
                <a:lnTo>
                  <a:pt x="1061643" y="935326"/>
                </a:lnTo>
                <a:lnTo>
                  <a:pt x="1062210" y="897868"/>
                </a:lnTo>
                <a:lnTo>
                  <a:pt x="1050214" y="859364"/>
                </a:lnTo>
                <a:lnTo>
                  <a:pt x="1025840" y="818699"/>
                </a:lnTo>
                <a:lnTo>
                  <a:pt x="989275" y="774760"/>
                </a:lnTo>
                <a:lnTo>
                  <a:pt x="386477" y="100907"/>
                </a:lnTo>
                <a:lnTo>
                  <a:pt x="348362" y="64228"/>
                </a:lnTo>
                <a:lnTo>
                  <a:pt x="308799" y="35083"/>
                </a:lnTo>
                <a:lnTo>
                  <a:pt x="268147" y="14188"/>
                </a:lnTo>
                <a:lnTo>
                  <a:pt x="226765" y="2255"/>
                </a:lnTo>
                <a:lnTo>
                  <a:pt x="185013" y="0"/>
                </a:lnTo>
                <a:close/>
              </a:path>
            </a:pathLst>
          </a:custGeom>
          <a:solidFill>
            <a:srgbClr val="F4CFB1"/>
          </a:solidFill>
        </p:spPr>
        <p:txBody>
          <a:bodyPr wrap="square" lIns="0" tIns="0" rIns="0" bIns="0" rtlCol="0"/>
          <a:lstStyle/>
          <a:p>
            <a:endParaRPr/>
          </a:p>
        </p:txBody>
      </p:sp>
      <p:sp>
        <p:nvSpPr>
          <p:cNvPr id="13" name="object 13"/>
          <p:cNvSpPr/>
          <p:nvPr/>
        </p:nvSpPr>
        <p:spPr>
          <a:xfrm>
            <a:off x="7582358" y="2706590"/>
            <a:ext cx="1183001" cy="1633155"/>
          </a:xfrm>
          <a:custGeom>
            <a:avLst/>
            <a:gdLst/>
            <a:ahLst/>
            <a:cxnLst/>
            <a:rect l="l" t="t" r="r" b="b"/>
            <a:pathLst>
              <a:path w="2600959" h="3590925">
                <a:moveTo>
                  <a:pt x="2018263" y="0"/>
                </a:moveTo>
                <a:lnTo>
                  <a:pt x="1929820" y="43160"/>
                </a:lnTo>
                <a:lnTo>
                  <a:pt x="1896043" y="176039"/>
                </a:lnTo>
                <a:lnTo>
                  <a:pt x="1888727" y="439260"/>
                </a:lnTo>
                <a:lnTo>
                  <a:pt x="2012671" y="1560200"/>
                </a:lnTo>
                <a:lnTo>
                  <a:pt x="0" y="2193364"/>
                </a:lnTo>
                <a:lnTo>
                  <a:pt x="26455" y="2239103"/>
                </a:lnTo>
                <a:lnTo>
                  <a:pt x="52492" y="2290455"/>
                </a:lnTo>
                <a:lnTo>
                  <a:pt x="78852" y="2347210"/>
                </a:lnTo>
                <a:lnTo>
                  <a:pt x="106278" y="2409155"/>
                </a:lnTo>
                <a:lnTo>
                  <a:pt x="135513" y="2476080"/>
                </a:lnTo>
                <a:lnTo>
                  <a:pt x="151041" y="2511344"/>
                </a:lnTo>
                <a:lnTo>
                  <a:pt x="167300" y="2547773"/>
                </a:lnTo>
                <a:lnTo>
                  <a:pt x="184382" y="2585342"/>
                </a:lnTo>
                <a:lnTo>
                  <a:pt x="202381" y="2624023"/>
                </a:lnTo>
                <a:lnTo>
                  <a:pt x="221389" y="2663791"/>
                </a:lnTo>
                <a:lnTo>
                  <a:pt x="241499" y="2704618"/>
                </a:lnTo>
                <a:lnTo>
                  <a:pt x="262804" y="2746479"/>
                </a:lnTo>
                <a:lnTo>
                  <a:pt x="285397" y="2789347"/>
                </a:lnTo>
                <a:lnTo>
                  <a:pt x="309371" y="2833196"/>
                </a:lnTo>
                <a:lnTo>
                  <a:pt x="334818" y="2877999"/>
                </a:lnTo>
                <a:lnTo>
                  <a:pt x="361832" y="2923730"/>
                </a:lnTo>
                <a:lnTo>
                  <a:pt x="390505" y="2970362"/>
                </a:lnTo>
                <a:lnTo>
                  <a:pt x="420930" y="3017869"/>
                </a:lnTo>
                <a:lnTo>
                  <a:pt x="453200" y="3066225"/>
                </a:lnTo>
                <a:lnTo>
                  <a:pt x="487407" y="3115403"/>
                </a:lnTo>
                <a:lnTo>
                  <a:pt x="523645" y="3165377"/>
                </a:lnTo>
                <a:lnTo>
                  <a:pt x="562007" y="3216120"/>
                </a:lnTo>
                <a:lnTo>
                  <a:pt x="602585" y="3267605"/>
                </a:lnTo>
                <a:lnTo>
                  <a:pt x="645472" y="3319808"/>
                </a:lnTo>
                <a:lnTo>
                  <a:pt x="690761" y="3372700"/>
                </a:lnTo>
                <a:lnTo>
                  <a:pt x="738545" y="3426256"/>
                </a:lnTo>
                <a:lnTo>
                  <a:pt x="788917" y="3480449"/>
                </a:lnTo>
                <a:lnTo>
                  <a:pt x="841969" y="3535253"/>
                </a:lnTo>
                <a:lnTo>
                  <a:pt x="897794" y="3590641"/>
                </a:lnTo>
                <a:lnTo>
                  <a:pt x="2547817" y="3590641"/>
                </a:lnTo>
                <a:lnTo>
                  <a:pt x="2416271" y="3245646"/>
                </a:lnTo>
                <a:lnTo>
                  <a:pt x="2568560" y="2081755"/>
                </a:lnTo>
                <a:lnTo>
                  <a:pt x="2578802" y="2036520"/>
                </a:lnTo>
                <a:lnTo>
                  <a:pt x="2587065" y="1986556"/>
                </a:lnTo>
                <a:lnTo>
                  <a:pt x="2593358" y="1933102"/>
                </a:lnTo>
                <a:lnTo>
                  <a:pt x="2597692" y="1877400"/>
                </a:lnTo>
                <a:lnTo>
                  <a:pt x="2600076" y="1820690"/>
                </a:lnTo>
                <a:lnTo>
                  <a:pt x="2600521" y="1764212"/>
                </a:lnTo>
                <a:lnTo>
                  <a:pt x="2599036" y="1709209"/>
                </a:lnTo>
                <a:lnTo>
                  <a:pt x="2595632" y="1656920"/>
                </a:lnTo>
                <a:lnTo>
                  <a:pt x="2590319" y="1608586"/>
                </a:lnTo>
                <a:lnTo>
                  <a:pt x="2189577" y="5933"/>
                </a:lnTo>
                <a:lnTo>
                  <a:pt x="2018263" y="0"/>
                </a:lnTo>
                <a:close/>
              </a:path>
            </a:pathLst>
          </a:custGeom>
          <a:solidFill>
            <a:srgbClr val="F4CFB1"/>
          </a:solidFill>
        </p:spPr>
        <p:txBody>
          <a:bodyPr wrap="square" lIns="0" tIns="0" rIns="0" bIns="0" rtlCol="0"/>
          <a:lstStyle/>
          <a:p>
            <a:endParaRPr/>
          </a:p>
        </p:txBody>
      </p:sp>
      <p:sp>
        <p:nvSpPr>
          <p:cNvPr id="14" name="object 14"/>
          <p:cNvSpPr/>
          <p:nvPr/>
        </p:nvSpPr>
        <p:spPr>
          <a:xfrm>
            <a:off x="8551046" y="2711289"/>
            <a:ext cx="75670" cy="184831"/>
          </a:xfrm>
          <a:custGeom>
            <a:avLst/>
            <a:gdLst/>
            <a:ahLst/>
            <a:cxnLst/>
            <a:rect l="l" t="t" r="r" b="b"/>
            <a:pathLst>
              <a:path w="166369" h="406400">
                <a:moveTo>
                  <a:pt x="59071" y="0"/>
                </a:moveTo>
                <a:lnTo>
                  <a:pt x="30031" y="15284"/>
                </a:lnTo>
                <a:lnTo>
                  <a:pt x="11367" y="49692"/>
                </a:lnTo>
                <a:lnTo>
                  <a:pt x="1787" y="96101"/>
                </a:lnTo>
                <a:lnTo>
                  <a:pt x="0" y="147394"/>
                </a:lnTo>
                <a:lnTo>
                  <a:pt x="4712" y="196450"/>
                </a:lnTo>
                <a:lnTo>
                  <a:pt x="14632" y="236149"/>
                </a:lnTo>
                <a:lnTo>
                  <a:pt x="66348" y="384773"/>
                </a:lnTo>
                <a:lnTo>
                  <a:pt x="121551" y="403345"/>
                </a:lnTo>
                <a:lnTo>
                  <a:pt x="166136" y="406207"/>
                </a:lnTo>
                <a:lnTo>
                  <a:pt x="72823" y="50744"/>
                </a:lnTo>
                <a:lnTo>
                  <a:pt x="61021" y="6323"/>
                </a:lnTo>
                <a:lnTo>
                  <a:pt x="59071" y="0"/>
                </a:lnTo>
                <a:close/>
              </a:path>
            </a:pathLst>
          </a:custGeom>
          <a:solidFill>
            <a:srgbClr val="E7C3A8"/>
          </a:solidFill>
        </p:spPr>
        <p:txBody>
          <a:bodyPr wrap="square" lIns="0" tIns="0" rIns="0" bIns="0" rtlCol="0"/>
          <a:lstStyle/>
          <a:p>
            <a:endParaRPr/>
          </a:p>
        </p:txBody>
      </p:sp>
      <p:sp>
        <p:nvSpPr>
          <p:cNvPr id="15" name="object 15"/>
          <p:cNvSpPr/>
          <p:nvPr/>
        </p:nvSpPr>
        <p:spPr>
          <a:xfrm>
            <a:off x="7402786" y="1684634"/>
            <a:ext cx="1041769" cy="2109961"/>
          </a:xfrm>
          <a:custGeom>
            <a:avLst/>
            <a:gdLst/>
            <a:ahLst/>
            <a:cxnLst/>
            <a:rect l="l" t="t" r="r" b="b"/>
            <a:pathLst>
              <a:path w="2290444" h="4639309">
                <a:moveTo>
                  <a:pt x="2148751" y="0"/>
                </a:moveTo>
                <a:lnTo>
                  <a:pt x="141398" y="0"/>
                </a:lnTo>
                <a:lnTo>
                  <a:pt x="96706" y="7679"/>
                </a:lnTo>
                <a:lnTo>
                  <a:pt x="57890" y="29064"/>
                </a:lnTo>
                <a:lnTo>
                  <a:pt x="27281" y="61672"/>
                </a:lnTo>
                <a:lnTo>
                  <a:pt x="7208" y="103022"/>
                </a:lnTo>
                <a:lnTo>
                  <a:pt x="0" y="150634"/>
                </a:lnTo>
                <a:lnTo>
                  <a:pt x="0" y="4488051"/>
                </a:lnTo>
                <a:lnTo>
                  <a:pt x="7208" y="4535663"/>
                </a:lnTo>
                <a:lnTo>
                  <a:pt x="27281" y="4577013"/>
                </a:lnTo>
                <a:lnTo>
                  <a:pt x="57890" y="4609621"/>
                </a:lnTo>
                <a:lnTo>
                  <a:pt x="96706" y="4631006"/>
                </a:lnTo>
                <a:lnTo>
                  <a:pt x="141398" y="4638685"/>
                </a:lnTo>
                <a:lnTo>
                  <a:pt x="2148751" y="4638685"/>
                </a:lnTo>
                <a:lnTo>
                  <a:pt x="2193444" y="4631006"/>
                </a:lnTo>
                <a:lnTo>
                  <a:pt x="2232259" y="4609621"/>
                </a:lnTo>
                <a:lnTo>
                  <a:pt x="2262868" y="4577013"/>
                </a:lnTo>
                <a:lnTo>
                  <a:pt x="2282941" y="4535663"/>
                </a:lnTo>
                <a:lnTo>
                  <a:pt x="2290150" y="4488051"/>
                </a:lnTo>
                <a:lnTo>
                  <a:pt x="2290150" y="150634"/>
                </a:lnTo>
                <a:lnTo>
                  <a:pt x="2282941" y="103022"/>
                </a:lnTo>
                <a:lnTo>
                  <a:pt x="2262868" y="61672"/>
                </a:lnTo>
                <a:lnTo>
                  <a:pt x="2232259" y="29064"/>
                </a:lnTo>
                <a:lnTo>
                  <a:pt x="2193444" y="7679"/>
                </a:lnTo>
                <a:lnTo>
                  <a:pt x="2148751" y="0"/>
                </a:lnTo>
                <a:close/>
              </a:path>
            </a:pathLst>
          </a:custGeom>
          <a:solidFill>
            <a:srgbClr val="3A3139"/>
          </a:solidFill>
        </p:spPr>
        <p:txBody>
          <a:bodyPr wrap="square" lIns="0" tIns="0" rIns="0" bIns="0" rtlCol="0"/>
          <a:lstStyle/>
          <a:p>
            <a:endParaRPr/>
          </a:p>
        </p:txBody>
      </p:sp>
      <p:sp>
        <p:nvSpPr>
          <p:cNvPr id="16" name="object 16"/>
          <p:cNvSpPr/>
          <p:nvPr/>
        </p:nvSpPr>
        <p:spPr>
          <a:xfrm>
            <a:off x="7433254" y="1802061"/>
            <a:ext cx="980828" cy="1899427"/>
          </a:xfrm>
          <a:custGeom>
            <a:avLst/>
            <a:gdLst/>
            <a:ahLst/>
            <a:cxnLst/>
            <a:rect l="l" t="t" r="r" b="b"/>
            <a:pathLst>
              <a:path w="2156459" h="4176395">
                <a:moveTo>
                  <a:pt x="2023048" y="0"/>
                </a:moveTo>
                <a:lnTo>
                  <a:pt x="133126" y="0"/>
                </a:lnTo>
                <a:lnTo>
                  <a:pt x="91047" y="7061"/>
                </a:lnTo>
                <a:lnTo>
                  <a:pt x="54502" y="26726"/>
                </a:lnTo>
                <a:lnTo>
                  <a:pt x="25684" y="56712"/>
                </a:lnTo>
                <a:lnTo>
                  <a:pt x="6786" y="94737"/>
                </a:lnTo>
                <a:lnTo>
                  <a:pt x="0" y="138519"/>
                </a:lnTo>
                <a:lnTo>
                  <a:pt x="0" y="4037374"/>
                </a:lnTo>
                <a:lnTo>
                  <a:pt x="6786" y="4081156"/>
                </a:lnTo>
                <a:lnTo>
                  <a:pt x="25684" y="4119181"/>
                </a:lnTo>
                <a:lnTo>
                  <a:pt x="54502" y="4149167"/>
                </a:lnTo>
                <a:lnTo>
                  <a:pt x="91047" y="4168831"/>
                </a:lnTo>
                <a:lnTo>
                  <a:pt x="133126" y="4175893"/>
                </a:lnTo>
                <a:lnTo>
                  <a:pt x="2023048" y="4175893"/>
                </a:lnTo>
                <a:lnTo>
                  <a:pt x="2065123" y="4168831"/>
                </a:lnTo>
                <a:lnTo>
                  <a:pt x="2101667" y="4149167"/>
                </a:lnTo>
                <a:lnTo>
                  <a:pt x="2130487" y="4119181"/>
                </a:lnTo>
                <a:lnTo>
                  <a:pt x="2149387" y="4081156"/>
                </a:lnTo>
                <a:lnTo>
                  <a:pt x="2156175" y="4037374"/>
                </a:lnTo>
                <a:lnTo>
                  <a:pt x="2156175" y="138519"/>
                </a:lnTo>
                <a:lnTo>
                  <a:pt x="2149387" y="94737"/>
                </a:lnTo>
                <a:lnTo>
                  <a:pt x="2130487" y="56712"/>
                </a:lnTo>
                <a:lnTo>
                  <a:pt x="2101667" y="26726"/>
                </a:lnTo>
                <a:lnTo>
                  <a:pt x="2065123" y="7061"/>
                </a:lnTo>
                <a:lnTo>
                  <a:pt x="2023048" y="0"/>
                </a:lnTo>
                <a:close/>
              </a:path>
            </a:pathLst>
          </a:custGeom>
          <a:solidFill>
            <a:srgbClr val="4AB4E6"/>
          </a:solidFill>
        </p:spPr>
        <p:txBody>
          <a:bodyPr wrap="square" lIns="0" tIns="0" rIns="0" bIns="0" rtlCol="0"/>
          <a:lstStyle/>
          <a:p>
            <a:endParaRPr/>
          </a:p>
        </p:txBody>
      </p:sp>
      <p:sp>
        <p:nvSpPr>
          <p:cNvPr id="17" name="object 17"/>
          <p:cNvSpPr/>
          <p:nvPr/>
        </p:nvSpPr>
        <p:spPr>
          <a:xfrm>
            <a:off x="7433254" y="2796654"/>
            <a:ext cx="980828" cy="904805"/>
          </a:xfrm>
          <a:custGeom>
            <a:avLst/>
            <a:gdLst/>
            <a:ahLst/>
            <a:cxnLst/>
            <a:rect l="l" t="t" r="r" b="b"/>
            <a:pathLst>
              <a:path w="2156459" h="1989454">
                <a:moveTo>
                  <a:pt x="2156175" y="0"/>
                </a:moveTo>
                <a:lnTo>
                  <a:pt x="0" y="0"/>
                </a:lnTo>
                <a:lnTo>
                  <a:pt x="0" y="1850498"/>
                </a:lnTo>
                <a:lnTo>
                  <a:pt x="6786" y="1894280"/>
                </a:lnTo>
                <a:lnTo>
                  <a:pt x="25684" y="1932305"/>
                </a:lnTo>
                <a:lnTo>
                  <a:pt x="54502" y="1962291"/>
                </a:lnTo>
                <a:lnTo>
                  <a:pt x="91047" y="1981955"/>
                </a:lnTo>
                <a:lnTo>
                  <a:pt x="133126" y="1989017"/>
                </a:lnTo>
                <a:lnTo>
                  <a:pt x="2023048" y="1989017"/>
                </a:lnTo>
                <a:lnTo>
                  <a:pt x="2065127" y="1981955"/>
                </a:lnTo>
                <a:lnTo>
                  <a:pt x="2101672" y="1962291"/>
                </a:lnTo>
                <a:lnTo>
                  <a:pt x="2130490" y="1932305"/>
                </a:lnTo>
                <a:lnTo>
                  <a:pt x="2149388" y="1894280"/>
                </a:lnTo>
                <a:lnTo>
                  <a:pt x="2156175" y="1850498"/>
                </a:lnTo>
                <a:lnTo>
                  <a:pt x="2156175" y="0"/>
                </a:lnTo>
                <a:close/>
              </a:path>
            </a:pathLst>
          </a:custGeom>
          <a:solidFill>
            <a:srgbClr val="FFFFFF"/>
          </a:solidFill>
        </p:spPr>
        <p:txBody>
          <a:bodyPr wrap="square" lIns="0" tIns="0" rIns="0" bIns="0" rtlCol="0"/>
          <a:lstStyle/>
          <a:p>
            <a:endParaRPr/>
          </a:p>
        </p:txBody>
      </p:sp>
      <p:sp>
        <p:nvSpPr>
          <p:cNvPr id="18" name="object 18"/>
          <p:cNvSpPr/>
          <p:nvPr/>
        </p:nvSpPr>
        <p:spPr>
          <a:xfrm>
            <a:off x="7433254" y="3590907"/>
            <a:ext cx="980828" cy="110609"/>
          </a:xfrm>
          <a:custGeom>
            <a:avLst/>
            <a:gdLst/>
            <a:ahLst/>
            <a:cxnLst/>
            <a:rect l="l" t="t" r="r" b="b"/>
            <a:pathLst>
              <a:path w="2156459" h="243204">
                <a:moveTo>
                  <a:pt x="2156175" y="0"/>
                </a:moveTo>
                <a:lnTo>
                  <a:pt x="0" y="0"/>
                </a:lnTo>
                <a:lnTo>
                  <a:pt x="0" y="104122"/>
                </a:lnTo>
                <a:lnTo>
                  <a:pt x="6786" y="147904"/>
                </a:lnTo>
                <a:lnTo>
                  <a:pt x="25684" y="185929"/>
                </a:lnTo>
                <a:lnTo>
                  <a:pt x="54502" y="215915"/>
                </a:lnTo>
                <a:lnTo>
                  <a:pt x="91047" y="235579"/>
                </a:lnTo>
                <a:lnTo>
                  <a:pt x="133126" y="242641"/>
                </a:lnTo>
                <a:lnTo>
                  <a:pt x="2023048" y="242641"/>
                </a:lnTo>
                <a:lnTo>
                  <a:pt x="2065127" y="235579"/>
                </a:lnTo>
                <a:lnTo>
                  <a:pt x="2101672" y="215915"/>
                </a:lnTo>
                <a:lnTo>
                  <a:pt x="2130490" y="185929"/>
                </a:lnTo>
                <a:lnTo>
                  <a:pt x="2149388" y="147904"/>
                </a:lnTo>
                <a:lnTo>
                  <a:pt x="2156175" y="104122"/>
                </a:lnTo>
                <a:lnTo>
                  <a:pt x="2156175" y="0"/>
                </a:lnTo>
                <a:close/>
              </a:path>
            </a:pathLst>
          </a:custGeom>
          <a:solidFill>
            <a:srgbClr val="215E99"/>
          </a:solidFill>
        </p:spPr>
        <p:txBody>
          <a:bodyPr wrap="square" lIns="0" tIns="0" rIns="0" bIns="0" rtlCol="0"/>
          <a:lstStyle/>
          <a:p>
            <a:endParaRPr/>
          </a:p>
        </p:txBody>
      </p:sp>
      <p:sp>
        <p:nvSpPr>
          <p:cNvPr id="19" name="object 19"/>
          <p:cNvSpPr/>
          <p:nvPr/>
        </p:nvSpPr>
        <p:spPr>
          <a:xfrm>
            <a:off x="7433254" y="1802060"/>
            <a:ext cx="980828" cy="223530"/>
          </a:xfrm>
          <a:custGeom>
            <a:avLst/>
            <a:gdLst/>
            <a:ahLst/>
            <a:cxnLst/>
            <a:rect l="l" t="t" r="r" b="b"/>
            <a:pathLst>
              <a:path w="2156459" h="491489">
                <a:moveTo>
                  <a:pt x="2023048" y="0"/>
                </a:moveTo>
                <a:lnTo>
                  <a:pt x="133126" y="0"/>
                </a:lnTo>
                <a:lnTo>
                  <a:pt x="91047" y="7061"/>
                </a:lnTo>
                <a:lnTo>
                  <a:pt x="54502" y="26726"/>
                </a:lnTo>
                <a:lnTo>
                  <a:pt x="25684" y="56712"/>
                </a:lnTo>
                <a:lnTo>
                  <a:pt x="6786" y="94737"/>
                </a:lnTo>
                <a:lnTo>
                  <a:pt x="0" y="138519"/>
                </a:lnTo>
                <a:lnTo>
                  <a:pt x="0" y="491199"/>
                </a:lnTo>
                <a:lnTo>
                  <a:pt x="2156175" y="491199"/>
                </a:lnTo>
                <a:lnTo>
                  <a:pt x="2156175" y="138519"/>
                </a:lnTo>
                <a:lnTo>
                  <a:pt x="2149387" y="94737"/>
                </a:lnTo>
                <a:lnTo>
                  <a:pt x="2130487" y="56712"/>
                </a:lnTo>
                <a:lnTo>
                  <a:pt x="2101667" y="26726"/>
                </a:lnTo>
                <a:lnTo>
                  <a:pt x="2065123" y="7061"/>
                </a:lnTo>
                <a:lnTo>
                  <a:pt x="2023048" y="0"/>
                </a:lnTo>
                <a:close/>
              </a:path>
            </a:pathLst>
          </a:custGeom>
          <a:solidFill>
            <a:srgbClr val="215E99"/>
          </a:solidFill>
        </p:spPr>
        <p:txBody>
          <a:bodyPr wrap="square" lIns="0" tIns="0" rIns="0" bIns="0" rtlCol="0"/>
          <a:lstStyle/>
          <a:p>
            <a:endParaRPr/>
          </a:p>
        </p:txBody>
      </p:sp>
      <p:sp>
        <p:nvSpPr>
          <p:cNvPr id="20" name="object 20"/>
          <p:cNvSpPr/>
          <p:nvPr/>
        </p:nvSpPr>
        <p:spPr>
          <a:xfrm>
            <a:off x="7754554" y="1731975"/>
            <a:ext cx="263980" cy="30324"/>
          </a:xfrm>
          <a:custGeom>
            <a:avLst/>
            <a:gdLst/>
            <a:ahLst/>
            <a:cxnLst/>
            <a:rect l="l" t="t" r="r" b="b"/>
            <a:pathLst>
              <a:path w="580390" h="66675">
                <a:moveTo>
                  <a:pt x="547627" y="0"/>
                </a:moveTo>
                <a:lnTo>
                  <a:pt x="32156" y="0"/>
                </a:lnTo>
                <a:lnTo>
                  <a:pt x="19639" y="2526"/>
                </a:lnTo>
                <a:lnTo>
                  <a:pt x="9418" y="9417"/>
                </a:lnTo>
                <a:lnTo>
                  <a:pt x="2527" y="19635"/>
                </a:lnTo>
                <a:lnTo>
                  <a:pt x="0" y="32145"/>
                </a:lnTo>
                <a:lnTo>
                  <a:pt x="0" y="34218"/>
                </a:lnTo>
                <a:lnTo>
                  <a:pt x="2527" y="46729"/>
                </a:lnTo>
                <a:lnTo>
                  <a:pt x="9418" y="56947"/>
                </a:lnTo>
                <a:lnTo>
                  <a:pt x="19639" y="63837"/>
                </a:lnTo>
                <a:lnTo>
                  <a:pt x="32156" y="66364"/>
                </a:lnTo>
                <a:lnTo>
                  <a:pt x="547627" y="66364"/>
                </a:lnTo>
                <a:lnTo>
                  <a:pt x="560137" y="63837"/>
                </a:lnTo>
                <a:lnTo>
                  <a:pt x="570355" y="56947"/>
                </a:lnTo>
                <a:lnTo>
                  <a:pt x="577246" y="46729"/>
                </a:lnTo>
                <a:lnTo>
                  <a:pt x="579772" y="34218"/>
                </a:lnTo>
                <a:lnTo>
                  <a:pt x="579772" y="32145"/>
                </a:lnTo>
                <a:lnTo>
                  <a:pt x="577246" y="19635"/>
                </a:lnTo>
                <a:lnTo>
                  <a:pt x="570355" y="9417"/>
                </a:lnTo>
                <a:lnTo>
                  <a:pt x="560137" y="2526"/>
                </a:lnTo>
                <a:lnTo>
                  <a:pt x="547627" y="0"/>
                </a:lnTo>
                <a:close/>
              </a:path>
            </a:pathLst>
          </a:custGeom>
          <a:solidFill>
            <a:srgbClr val="625C61"/>
          </a:solidFill>
        </p:spPr>
        <p:txBody>
          <a:bodyPr wrap="square" lIns="0" tIns="0" rIns="0" bIns="0" rtlCol="0"/>
          <a:lstStyle/>
          <a:p>
            <a:endParaRPr/>
          </a:p>
        </p:txBody>
      </p:sp>
      <p:sp>
        <p:nvSpPr>
          <p:cNvPr id="21" name="object 21"/>
          <p:cNvSpPr/>
          <p:nvPr/>
        </p:nvSpPr>
        <p:spPr>
          <a:xfrm>
            <a:off x="8061539" y="1730494"/>
            <a:ext cx="31113" cy="33140"/>
          </a:xfrm>
          <a:prstGeom prst="rect">
            <a:avLst/>
          </a:prstGeom>
          <a:blipFill>
            <a:blip r:embed="rId2" cstate="print"/>
            <a:stretch>
              <a:fillRect/>
            </a:stretch>
          </a:blipFill>
        </p:spPr>
        <p:txBody>
          <a:bodyPr wrap="square" lIns="0" tIns="0" rIns="0" bIns="0" rtlCol="0"/>
          <a:lstStyle/>
          <a:p>
            <a:endParaRPr/>
          </a:p>
        </p:txBody>
      </p:sp>
      <p:sp>
        <p:nvSpPr>
          <p:cNvPr id="22" name="object 22"/>
          <p:cNvSpPr/>
          <p:nvPr/>
        </p:nvSpPr>
        <p:spPr>
          <a:xfrm>
            <a:off x="7586712" y="2172688"/>
            <a:ext cx="673814" cy="455146"/>
          </a:xfrm>
          <a:custGeom>
            <a:avLst/>
            <a:gdLst/>
            <a:ahLst/>
            <a:cxnLst/>
            <a:rect l="l" t="t" r="r" b="b"/>
            <a:pathLst>
              <a:path w="1481455" h="1000760">
                <a:moveTo>
                  <a:pt x="1380649" y="0"/>
                </a:moveTo>
                <a:lnTo>
                  <a:pt x="100740" y="0"/>
                </a:lnTo>
                <a:lnTo>
                  <a:pt x="61525" y="7917"/>
                </a:lnTo>
                <a:lnTo>
                  <a:pt x="29504" y="29509"/>
                </a:lnTo>
                <a:lnTo>
                  <a:pt x="7915" y="61534"/>
                </a:lnTo>
                <a:lnTo>
                  <a:pt x="0" y="100750"/>
                </a:lnTo>
                <a:lnTo>
                  <a:pt x="0" y="899679"/>
                </a:lnTo>
                <a:lnTo>
                  <a:pt x="7915" y="938895"/>
                </a:lnTo>
                <a:lnTo>
                  <a:pt x="29504" y="970920"/>
                </a:lnTo>
                <a:lnTo>
                  <a:pt x="61525" y="992512"/>
                </a:lnTo>
                <a:lnTo>
                  <a:pt x="100740" y="1000430"/>
                </a:lnTo>
                <a:lnTo>
                  <a:pt x="1380649" y="1000430"/>
                </a:lnTo>
                <a:lnTo>
                  <a:pt x="1419861" y="992512"/>
                </a:lnTo>
                <a:lnTo>
                  <a:pt x="1451886" y="970920"/>
                </a:lnTo>
                <a:lnTo>
                  <a:pt x="1473480" y="938895"/>
                </a:lnTo>
                <a:lnTo>
                  <a:pt x="1481399" y="899679"/>
                </a:lnTo>
                <a:lnTo>
                  <a:pt x="1481399" y="100750"/>
                </a:lnTo>
                <a:lnTo>
                  <a:pt x="1473480" y="61534"/>
                </a:lnTo>
                <a:lnTo>
                  <a:pt x="1451886" y="29509"/>
                </a:lnTo>
                <a:lnTo>
                  <a:pt x="1419861" y="7917"/>
                </a:lnTo>
                <a:lnTo>
                  <a:pt x="1380649" y="0"/>
                </a:lnTo>
                <a:close/>
              </a:path>
            </a:pathLst>
          </a:custGeom>
          <a:solidFill>
            <a:srgbClr val="FF7900"/>
          </a:solidFill>
        </p:spPr>
        <p:txBody>
          <a:bodyPr wrap="square" lIns="0" tIns="0" rIns="0" bIns="0" rtlCol="0"/>
          <a:lstStyle/>
          <a:p>
            <a:endParaRPr/>
          </a:p>
        </p:txBody>
      </p:sp>
      <p:sp>
        <p:nvSpPr>
          <p:cNvPr id="23" name="object 23"/>
          <p:cNvSpPr/>
          <p:nvPr/>
        </p:nvSpPr>
        <p:spPr>
          <a:xfrm>
            <a:off x="7645776" y="2323531"/>
            <a:ext cx="123037" cy="83463"/>
          </a:xfrm>
          <a:custGeom>
            <a:avLst/>
            <a:gdLst/>
            <a:ahLst/>
            <a:cxnLst/>
            <a:rect l="l" t="t" r="r" b="b"/>
            <a:pathLst>
              <a:path w="270509" h="183514">
                <a:moveTo>
                  <a:pt x="218946" y="0"/>
                </a:moveTo>
                <a:lnTo>
                  <a:pt x="51328" y="0"/>
                </a:lnTo>
                <a:lnTo>
                  <a:pt x="31345" y="3800"/>
                </a:lnTo>
                <a:lnTo>
                  <a:pt x="15030" y="14164"/>
                </a:lnTo>
                <a:lnTo>
                  <a:pt x="4032" y="29534"/>
                </a:lnTo>
                <a:lnTo>
                  <a:pt x="0" y="48354"/>
                </a:lnTo>
                <a:lnTo>
                  <a:pt x="0" y="134624"/>
                </a:lnTo>
                <a:lnTo>
                  <a:pt x="4032" y="153443"/>
                </a:lnTo>
                <a:lnTo>
                  <a:pt x="15030" y="168814"/>
                </a:lnTo>
                <a:lnTo>
                  <a:pt x="31345" y="179178"/>
                </a:lnTo>
                <a:lnTo>
                  <a:pt x="51328" y="182978"/>
                </a:lnTo>
                <a:lnTo>
                  <a:pt x="218946" y="182978"/>
                </a:lnTo>
                <a:lnTo>
                  <a:pt x="238930" y="179178"/>
                </a:lnTo>
                <a:lnTo>
                  <a:pt x="255248" y="168814"/>
                </a:lnTo>
                <a:lnTo>
                  <a:pt x="266250" y="153443"/>
                </a:lnTo>
                <a:lnTo>
                  <a:pt x="270284" y="134624"/>
                </a:lnTo>
                <a:lnTo>
                  <a:pt x="270284" y="48354"/>
                </a:lnTo>
                <a:lnTo>
                  <a:pt x="266250" y="29534"/>
                </a:lnTo>
                <a:lnTo>
                  <a:pt x="255248" y="14164"/>
                </a:lnTo>
                <a:lnTo>
                  <a:pt x="238930" y="3800"/>
                </a:lnTo>
                <a:lnTo>
                  <a:pt x="218946" y="0"/>
                </a:lnTo>
                <a:close/>
              </a:path>
            </a:pathLst>
          </a:custGeom>
          <a:solidFill>
            <a:srgbClr val="FFFFFF"/>
          </a:solidFill>
        </p:spPr>
        <p:txBody>
          <a:bodyPr wrap="square" lIns="0" tIns="0" rIns="0" bIns="0" rtlCol="0"/>
          <a:lstStyle/>
          <a:p>
            <a:endParaRPr/>
          </a:p>
        </p:txBody>
      </p:sp>
      <p:sp>
        <p:nvSpPr>
          <p:cNvPr id="24" name="object 24"/>
          <p:cNvSpPr/>
          <p:nvPr/>
        </p:nvSpPr>
        <p:spPr>
          <a:xfrm>
            <a:off x="7645774" y="2450955"/>
            <a:ext cx="123037" cy="0"/>
          </a:xfrm>
          <a:custGeom>
            <a:avLst/>
            <a:gdLst/>
            <a:ahLst/>
            <a:cxnLst/>
            <a:rect l="l" t="t" r="r" b="b"/>
            <a:pathLst>
              <a:path w="270509">
                <a:moveTo>
                  <a:pt x="0" y="0"/>
                </a:moveTo>
                <a:lnTo>
                  <a:pt x="270284" y="0"/>
                </a:lnTo>
              </a:path>
            </a:pathLst>
          </a:custGeom>
          <a:ln w="61516">
            <a:solidFill>
              <a:srgbClr val="FFFFFF"/>
            </a:solidFill>
          </a:ln>
        </p:spPr>
        <p:txBody>
          <a:bodyPr wrap="square" lIns="0" tIns="0" rIns="0" bIns="0" rtlCol="0"/>
          <a:lstStyle/>
          <a:p>
            <a:endParaRPr/>
          </a:p>
        </p:txBody>
      </p:sp>
      <p:sp>
        <p:nvSpPr>
          <p:cNvPr id="25" name="object 25"/>
          <p:cNvSpPr/>
          <p:nvPr/>
        </p:nvSpPr>
        <p:spPr>
          <a:xfrm>
            <a:off x="7792931" y="2450955"/>
            <a:ext cx="123037" cy="0"/>
          </a:xfrm>
          <a:custGeom>
            <a:avLst/>
            <a:gdLst/>
            <a:ahLst/>
            <a:cxnLst/>
            <a:rect l="l" t="t" r="r" b="b"/>
            <a:pathLst>
              <a:path w="270509">
                <a:moveTo>
                  <a:pt x="0" y="0"/>
                </a:moveTo>
                <a:lnTo>
                  <a:pt x="270284" y="0"/>
                </a:lnTo>
              </a:path>
            </a:pathLst>
          </a:custGeom>
          <a:ln w="61516">
            <a:solidFill>
              <a:srgbClr val="FFFFFF"/>
            </a:solidFill>
          </a:ln>
        </p:spPr>
        <p:txBody>
          <a:bodyPr wrap="square" lIns="0" tIns="0" rIns="0" bIns="0" rtlCol="0"/>
          <a:lstStyle/>
          <a:p>
            <a:endParaRPr/>
          </a:p>
        </p:txBody>
      </p:sp>
      <p:sp>
        <p:nvSpPr>
          <p:cNvPr id="26" name="object 26"/>
          <p:cNvSpPr/>
          <p:nvPr/>
        </p:nvSpPr>
        <p:spPr>
          <a:xfrm>
            <a:off x="7940088" y="2450955"/>
            <a:ext cx="123037" cy="0"/>
          </a:xfrm>
          <a:custGeom>
            <a:avLst/>
            <a:gdLst/>
            <a:ahLst/>
            <a:cxnLst/>
            <a:rect l="l" t="t" r="r" b="b"/>
            <a:pathLst>
              <a:path w="270509">
                <a:moveTo>
                  <a:pt x="0" y="0"/>
                </a:moveTo>
                <a:lnTo>
                  <a:pt x="270284" y="0"/>
                </a:lnTo>
              </a:path>
            </a:pathLst>
          </a:custGeom>
          <a:ln w="61516">
            <a:solidFill>
              <a:srgbClr val="FFFFFF"/>
            </a:solidFill>
          </a:ln>
        </p:spPr>
        <p:txBody>
          <a:bodyPr wrap="square" lIns="0" tIns="0" rIns="0" bIns="0" rtlCol="0"/>
          <a:lstStyle/>
          <a:p>
            <a:endParaRPr/>
          </a:p>
        </p:txBody>
      </p:sp>
      <p:sp>
        <p:nvSpPr>
          <p:cNvPr id="27" name="object 27"/>
          <p:cNvSpPr/>
          <p:nvPr/>
        </p:nvSpPr>
        <p:spPr>
          <a:xfrm>
            <a:off x="8087244" y="2450955"/>
            <a:ext cx="114372" cy="0"/>
          </a:xfrm>
          <a:custGeom>
            <a:avLst/>
            <a:gdLst/>
            <a:ahLst/>
            <a:cxnLst/>
            <a:rect l="l" t="t" r="r" b="b"/>
            <a:pathLst>
              <a:path w="251459">
                <a:moveTo>
                  <a:pt x="0" y="0"/>
                </a:moveTo>
                <a:lnTo>
                  <a:pt x="251060" y="0"/>
                </a:lnTo>
              </a:path>
            </a:pathLst>
          </a:custGeom>
          <a:ln w="61516">
            <a:solidFill>
              <a:srgbClr val="FFFFFF"/>
            </a:solidFill>
          </a:ln>
        </p:spPr>
        <p:txBody>
          <a:bodyPr wrap="square" lIns="0" tIns="0" rIns="0" bIns="0" rtlCol="0"/>
          <a:lstStyle/>
          <a:p>
            <a:endParaRPr/>
          </a:p>
        </p:txBody>
      </p:sp>
      <p:sp>
        <p:nvSpPr>
          <p:cNvPr id="28" name="object 28"/>
          <p:cNvSpPr/>
          <p:nvPr/>
        </p:nvSpPr>
        <p:spPr>
          <a:xfrm>
            <a:off x="8087244" y="2516852"/>
            <a:ext cx="114372" cy="52561"/>
          </a:xfrm>
          <a:custGeom>
            <a:avLst/>
            <a:gdLst/>
            <a:ahLst/>
            <a:cxnLst/>
            <a:rect l="l" t="t" r="r" b="b"/>
            <a:pathLst>
              <a:path w="251459" h="115570">
                <a:moveTo>
                  <a:pt x="0" y="115431"/>
                </a:moveTo>
                <a:lnTo>
                  <a:pt x="251060" y="115431"/>
                </a:lnTo>
                <a:lnTo>
                  <a:pt x="251060" y="0"/>
                </a:lnTo>
                <a:lnTo>
                  <a:pt x="0" y="0"/>
                </a:lnTo>
                <a:lnTo>
                  <a:pt x="0" y="115431"/>
                </a:lnTo>
                <a:close/>
              </a:path>
            </a:pathLst>
          </a:custGeom>
          <a:solidFill>
            <a:srgbClr val="FFFFFF"/>
          </a:solidFill>
        </p:spPr>
        <p:txBody>
          <a:bodyPr wrap="square" lIns="0" tIns="0" rIns="0" bIns="0" rtlCol="0"/>
          <a:lstStyle/>
          <a:p>
            <a:endParaRPr/>
          </a:p>
        </p:txBody>
      </p:sp>
      <p:sp>
        <p:nvSpPr>
          <p:cNvPr id="29" name="object 29"/>
          <p:cNvSpPr/>
          <p:nvPr/>
        </p:nvSpPr>
        <p:spPr>
          <a:xfrm>
            <a:off x="8045434" y="1873474"/>
            <a:ext cx="298639" cy="101368"/>
          </a:xfrm>
          <a:custGeom>
            <a:avLst/>
            <a:gdLst/>
            <a:ahLst/>
            <a:cxnLst/>
            <a:rect l="l" t="t" r="r" b="b"/>
            <a:pathLst>
              <a:path w="656590" h="222885">
                <a:moveTo>
                  <a:pt x="0" y="222789"/>
                </a:moveTo>
                <a:lnTo>
                  <a:pt x="655980" y="222789"/>
                </a:lnTo>
                <a:lnTo>
                  <a:pt x="655980" y="0"/>
                </a:lnTo>
                <a:lnTo>
                  <a:pt x="0" y="0"/>
                </a:lnTo>
                <a:lnTo>
                  <a:pt x="0" y="222789"/>
                </a:lnTo>
                <a:close/>
              </a:path>
            </a:pathLst>
          </a:custGeom>
          <a:solidFill>
            <a:srgbClr val="5A5A5A"/>
          </a:solidFill>
        </p:spPr>
        <p:txBody>
          <a:bodyPr wrap="square" lIns="0" tIns="0" rIns="0" bIns="0" rtlCol="0"/>
          <a:lstStyle/>
          <a:p>
            <a:endParaRPr/>
          </a:p>
        </p:txBody>
      </p:sp>
      <p:sp>
        <p:nvSpPr>
          <p:cNvPr id="30" name="object 30"/>
          <p:cNvSpPr/>
          <p:nvPr/>
        </p:nvSpPr>
        <p:spPr>
          <a:xfrm>
            <a:off x="7482478" y="2926708"/>
            <a:ext cx="269179" cy="269160"/>
          </a:xfrm>
          <a:custGeom>
            <a:avLst/>
            <a:gdLst/>
            <a:ahLst/>
            <a:cxnLst/>
            <a:rect l="l" t="t" r="r" b="b"/>
            <a:pathLst>
              <a:path w="591819" h="591820">
                <a:moveTo>
                  <a:pt x="0" y="591531"/>
                </a:moveTo>
                <a:lnTo>
                  <a:pt x="591531" y="591531"/>
                </a:lnTo>
                <a:lnTo>
                  <a:pt x="591531" y="0"/>
                </a:lnTo>
                <a:lnTo>
                  <a:pt x="0" y="0"/>
                </a:lnTo>
                <a:lnTo>
                  <a:pt x="0" y="591531"/>
                </a:lnTo>
                <a:close/>
              </a:path>
            </a:pathLst>
          </a:custGeom>
          <a:solidFill>
            <a:srgbClr val="215E99"/>
          </a:solidFill>
        </p:spPr>
        <p:txBody>
          <a:bodyPr wrap="square" lIns="0" tIns="0" rIns="0" bIns="0" rtlCol="0"/>
          <a:lstStyle/>
          <a:p>
            <a:endParaRPr/>
          </a:p>
        </p:txBody>
      </p:sp>
      <p:sp>
        <p:nvSpPr>
          <p:cNvPr id="31" name="object 31"/>
          <p:cNvSpPr/>
          <p:nvPr/>
        </p:nvSpPr>
        <p:spPr>
          <a:xfrm>
            <a:off x="7787059" y="2926708"/>
            <a:ext cx="269179" cy="269160"/>
          </a:xfrm>
          <a:custGeom>
            <a:avLst/>
            <a:gdLst/>
            <a:ahLst/>
            <a:cxnLst/>
            <a:rect l="l" t="t" r="r" b="b"/>
            <a:pathLst>
              <a:path w="591819" h="591820">
                <a:moveTo>
                  <a:pt x="0" y="591531"/>
                </a:moveTo>
                <a:lnTo>
                  <a:pt x="591531" y="591531"/>
                </a:lnTo>
                <a:lnTo>
                  <a:pt x="591531" y="0"/>
                </a:lnTo>
                <a:lnTo>
                  <a:pt x="0" y="0"/>
                </a:lnTo>
                <a:lnTo>
                  <a:pt x="0" y="591531"/>
                </a:lnTo>
                <a:close/>
              </a:path>
            </a:pathLst>
          </a:custGeom>
          <a:solidFill>
            <a:srgbClr val="809EB4"/>
          </a:solidFill>
        </p:spPr>
        <p:txBody>
          <a:bodyPr wrap="square" lIns="0" tIns="0" rIns="0" bIns="0" rtlCol="0"/>
          <a:lstStyle/>
          <a:p>
            <a:endParaRPr/>
          </a:p>
        </p:txBody>
      </p:sp>
      <p:sp>
        <p:nvSpPr>
          <p:cNvPr id="32" name="object 32"/>
          <p:cNvSpPr/>
          <p:nvPr/>
        </p:nvSpPr>
        <p:spPr>
          <a:xfrm>
            <a:off x="8091640" y="2926708"/>
            <a:ext cx="269179" cy="269160"/>
          </a:xfrm>
          <a:custGeom>
            <a:avLst/>
            <a:gdLst/>
            <a:ahLst/>
            <a:cxnLst/>
            <a:rect l="l" t="t" r="r" b="b"/>
            <a:pathLst>
              <a:path w="591819" h="591820">
                <a:moveTo>
                  <a:pt x="0" y="591531"/>
                </a:moveTo>
                <a:lnTo>
                  <a:pt x="591521" y="591531"/>
                </a:lnTo>
                <a:lnTo>
                  <a:pt x="591521" y="0"/>
                </a:lnTo>
                <a:lnTo>
                  <a:pt x="0" y="0"/>
                </a:lnTo>
                <a:lnTo>
                  <a:pt x="0" y="591531"/>
                </a:lnTo>
                <a:close/>
              </a:path>
            </a:pathLst>
          </a:custGeom>
          <a:solidFill>
            <a:srgbClr val="FF7900"/>
          </a:solidFill>
        </p:spPr>
        <p:txBody>
          <a:bodyPr wrap="square" lIns="0" tIns="0" rIns="0" bIns="0" rtlCol="0"/>
          <a:lstStyle/>
          <a:p>
            <a:endParaRPr/>
          </a:p>
        </p:txBody>
      </p:sp>
      <p:sp>
        <p:nvSpPr>
          <p:cNvPr id="33" name="object 33"/>
          <p:cNvSpPr/>
          <p:nvPr/>
        </p:nvSpPr>
        <p:spPr>
          <a:xfrm>
            <a:off x="7482478" y="3236311"/>
            <a:ext cx="269179" cy="269160"/>
          </a:xfrm>
          <a:custGeom>
            <a:avLst/>
            <a:gdLst/>
            <a:ahLst/>
            <a:cxnLst/>
            <a:rect l="l" t="t" r="r" b="b"/>
            <a:pathLst>
              <a:path w="591819" h="591820">
                <a:moveTo>
                  <a:pt x="0" y="591531"/>
                </a:moveTo>
                <a:lnTo>
                  <a:pt x="591531" y="591531"/>
                </a:lnTo>
                <a:lnTo>
                  <a:pt x="591531" y="0"/>
                </a:lnTo>
                <a:lnTo>
                  <a:pt x="0" y="0"/>
                </a:lnTo>
                <a:lnTo>
                  <a:pt x="0" y="591531"/>
                </a:lnTo>
                <a:close/>
              </a:path>
            </a:pathLst>
          </a:custGeom>
          <a:solidFill>
            <a:srgbClr val="809EB4"/>
          </a:solidFill>
        </p:spPr>
        <p:txBody>
          <a:bodyPr wrap="square" lIns="0" tIns="0" rIns="0" bIns="0" rtlCol="0"/>
          <a:lstStyle/>
          <a:p>
            <a:endParaRPr/>
          </a:p>
        </p:txBody>
      </p:sp>
      <p:sp>
        <p:nvSpPr>
          <p:cNvPr id="34" name="object 34"/>
          <p:cNvSpPr/>
          <p:nvPr/>
        </p:nvSpPr>
        <p:spPr>
          <a:xfrm>
            <a:off x="7787059" y="3236311"/>
            <a:ext cx="269179" cy="269160"/>
          </a:xfrm>
          <a:custGeom>
            <a:avLst/>
            <a:gdLst/>
            <a:ahLst/>
            <a:cxnLst/>
            <a:rect l="l" t="t" r="r" b="b"/>
            <a:pathLst>
              <a:path w="591819" h="591820">
                <a:moveTo>
                  <a:pt x="0" y="591531"/>
                </a:moveTo>
                <a:lnTo>
                  <a:pt x="591531" y="591531"/>
                </a:lnTo>
                <a:lnTo>
                  <a:pt x="591531" y="0"/>
                </a:lnTo>
                <a:lnTo>
                  <a:pt x="0" y="0"/>
                </a:lnTo>
                <a:lnTo>
                  <a:pt x="0" y="591531"/>
                </a:lnTo>
                <a:close/>
              </a:path>
            </a:pathLst>
          </a:custGeom>
          <a:solidFill>
            <a:srgbClr val="FF7900"/>
          </a:solidFill>
        </p:spPr>
        <p:txBody>
          <a:bodyPr wrap="square" lIns="0" tIns="0" rIns="0" bIns="0" rtlCol="0"/>
          <a:lstStyle/>
          <a:p>
            <a:endParaRPr/>
          </a:p>
        </p:txBody>
      </p:sp>
      <p:sp>
        <p:nvSpPr>
          <p:cNvPr id="35" name="object 35"/>
          <p:cNvSpPr/>
          <p:nvPr/>
        </p:nvSpPr>
        <p:spPr>
          <a:xfrm>
            <a:off x="8091640" y="3236311"/>
            <a:ext cx="269179" cy="269160"/>
          </a:xfrm>
          <a:custGeom>
            <a:avLst/>
            <a:gdLst/>
            <a:ahLst/>
            <a:cxnLst/>
            <a:rect l="l" t="t" r="r" b="b"/>
            <a:pathLst>
              <a:path w="591819" h="591820">
                <a:moveTo>
                  <a:pt x="0" y="591531"/>
                </a:moveTo>
                <a:lnTo>
                  <a:pt x="591521" y="591531"/>
                </a:lnTo>
                <a:lnTo>
                  <a:pt x="591521" y="0"/>
                </a:lnTo>
                <a:lnTo>
                  <a:pt x="0" y="0"/>
                </a:lnTo>
                <a:lnTo>
                  <a:pt x="0" y="591531"/>
                </a:lnTo>
                <a:close/>
              </a:path>
            </a:pathLst>
          </a:custGeom>
          <a:solidFill>
            <a:srgbClr val="215E99"/>
          </a:solidFill>
        </p:spPr>
        <p:txBody>
          <a:bodyPr wrap="square" lIns="0" tIns="0" rIns="0" bIns="0" rtlCol="0"/>
          <a:lstStyle/>
          <a:p>
            <a:endParaRPr/>
          </a:p>
        </p:txBody>
      </p:sp>
      <p:sp>
        <p:nvSpPr>
          <p:cNvPr id="36" name="object 36"/>
          <p:cNvSpPr/>
          <p:nvPr/>
        </p:nvSpPr>
        <p:spPr>
          <a:xfrm>
            <a:off x="7525529" y="2993676"/>
            <a:ext cx="188599" cy="135158"/>
          </a:xfrm>
          <a:custGeom>
            <a:avLst/>
            <a:gdLst/>
            <a:ahLst/>
            <a:cxnLst/>
            <a:rect l="l" t="t" r="r" b="b"/>
            <a:pathLst>
              <a:path w="414655" h="297179">
                <a:moveTo>
                  <a:pt x="376574" y="0"/>
                </a:moveTo>
                <a:lnTo>
                  <a:pt x="38019" y="0"/>
                </a:lnTo>
                <a:lnTo>
                  <a:pt x="23235" y="2992"/>
                </a:lnTo>
                <a:lnTo>
                  <a:pt x="11148" y="11150"/>
                </a:lnTo>
                <a:lnTo>
                  <a:pt x="2992" y="23239"/>
                </a:lnTo>
                <a:lnTo>
                  <a:pt x="0" y="38030"/>
                </a:lnTo>
                <a:lnTo>
                  <a:pt x="0" y="259007"/>
                </a:lnTo>
                <a:lnTo>
                  <a:pt x="2992" y="273798"/>
                </a:lnTo>
                <a:lnTo>
                  <a:pt x="11148" y="285887"/>
                </a:lnTo>
                <a:lnTo>
                  <a:pt x="23235" y="294045"/>
                </a:lnTo>
                <a:lnTo>
                  <a:pt x="38019" y="297038"/>
                </a:lnTo>
                <a:lnTo>
                  <a:pt x="376574" y="297038"/>
                </a:lnTo>
                <a:lnTo>
                  <a:pt x="391366" y="294045"/>
                </a:lnTo>
                <a:lnTo>
                  <a:pt x="403460" y="285887"/>
                </a:lnTo>
                <a:lnTo>
                  <a:pt x="411621" y="273798"/>
                </a:lnTo>
                <a:lnTo>
                  <a:pt x="411925" y="272295"/>
                </a:lnTo>
                <a:lnTo>
                  <a:pt x="30700" y="272295"/>
                </a:lnTo>
                <a:lnTo>
                  <a:pt x="24742" y="266326"/>
                </a:lnTo>
                <a:lnTo>
                  <a:pt x="24742" y="30711"/>
                </a:lnTo>
                <a:lnTo>
                  <a:pt x="30700" y="24742"/>
                </a:lnTo>
                <a:lnTo>
                  <a:pt x="411925" y="24742"/>
                </a:lnTo>
                <a:lnTo>
                  <a:pt x="411621" y="23239"/>
                </a:lnTo>
                <a:lnTo>
                  <a:pt x="403460" y="11150"/>
                </a:lnTo>
                <a:lnTo>
                  <a:pt x="391366" y="2992"/>
                </a:lnTo>
                <a:lnTo>
                  <a:pt x="376574" y="0"/>
                </a:lnTo>
                <a:close/>
              </a:path>
              <a:path w="414655" h="297179">
                <a:moveTo>
                  <a:pt x="411925" y="24742"/>
                </a:moveTo>
                <a:lnTo>
                  <a:pt x="383904" y="24742"/>
                </a:lnTo>
                <a:lnTo>
                  <a:pt x="389862" y="30711"/>
                </a:lnTo>
                <a:lnTo>
                  <a:pt x="389862" y="266326"/>
                </a:lnTo>
                <a:lnTo>
                  <a:pt x="383904" y="272295"/>
                </a:lnTo>
                <a:lnTo>
                  <a:pt x="411925" y="272295"/>
                </a:lnTo>
                <a:lnTo>
                  <a:pt x="414615" y="259007"/>
                </a:lnTo>
                <a:lnTo>
                  <a:pt x="414615" y="38030"/>
                </a:lnTo>
                <a:lnTo>
                  <a:pt x="411925" y="24742"/>
                </a:lnTo>
                <a:close/>
              </a:path>
            </a:pathLst>
          </a:custGeom>
          <a:solidFill>
            <a:srgbClr val="FFFFFF"/>
          </a:solidFill>
        </p:spPr>
        <p:txBody>
          <a:bodyPr wrap="square" lIns="0" tIns="0" rIns="0" bIns="0" rtlCol="0"/>
          <a:lstStyle/>
          <a:p>
            <a:endParaRPr/>
          </a:p>
        </p:txBody>
      </p:sp>
      <p:sp>
        <p:nvSpPr>
          <p:cNvPr id="37" name="object 37"/>
          <p:cNvSpPr/>
          <p:nvPr/>
        </p:nvSpPr>
        <p:spPr>
          <a:xfrm>
            <a:off x="7525521" y="3080973"/>
            <a:ext cx="183111" cy="0"/>
          </a:xfrm>
          <a:custGeom>
            <a:avLst/>
            <a:gdLst/>
            <a:ahLst/>
            <a:cxnLst/>
            <a:rect l="l" t="t" r="r" b="b"/>
            <a:pathLst>
              <a:path w="402590">
                <a:moveTo>
                  <a:pt x="0" y="0"/>
                </a:moveTo>
                <a:lnTo>
                  <a:pt x="402260" y="0"/>
                </a:lnTo>
              </a:path>
            </a:pathLst>
          </a:custGeom>
          <a:ln w="62092">
            <a:solidFill>
              <a:srgbClr val="FFFFFF"/>
            </a:solidFill>
          </a:ln>
        </p:spPr>
        <p:txBody>
          <a:bodyPr wrap="square" lIns="0" tIns="0" rIns="0" bIns="0" rtlCol="0"/>
          <a:lstStyle/>
          <a:p>
            <a:endParaRPr/>
          </a:p>
        </p:txBody>
      </p:sp>
      <p:sp>
        <p:nvSpPr>
          <p:cNvPr id="38" name="object 38"/>
          <p:cNvSpPr/>
          <p:nvPr/>
        </p:nvSpPr>
        <p:spPr>
          <a:xfrm>
            <a:off x="7846523" y="3128305"/>
            <a:ext cx="150186" cy="0"/>
          </a:xfrm>
          <a:custGeom>
            <a:avLst/>
            <a:gdLst/>
            <a:ahLst/>
            <a:cxnLst/>
            <a:rect l="l" t="t" r="r" b="b"/>
            <a:pathLst>
              <a:path w="330200">
                <a:moveTo>
                  <a:pt x="0" y="0"/>
                </a:moveTo>
                <a:lnTo>
                  <a:pt x="330052" y="0"/>
                </a:lnTo>
              </a:path>
            </a:pathLst>
          </a:custGeom>
          <a:ln w="45380">
            <a:solidFill>
              <a:srgbClr val="FFFFFF"/>
            </a:solidFill>
          </a:ln>
        </p:spPr>
        <p:txBody>
          <a:bodyPr wrap="square" lIns="0" tIns="0" rIns="0" bIns="0" rtlCol="0"/>
          <a:lstStyle/>
          <a:p>
            <a:endParaRPr/>
          </a:p>
        </p:txBody>
      </p:sp>
      <p:sp>
        <p:nvSpPr>
          <p:cNvPr id="39" name="object 39"/>
          <p:cNvSpPr/>
          <p:nvPr/>
        </p:nvSpPr>
        <p:spPr>
          <a:xfrm>
            <a:off x="7882702" y="3055496"/>
            <a:ext cx="0" cy="49385"/>
          </a:xfrm>
          <a:custGeom>
            <a:avLst/>
            <a:gdLst/>
            <a:ahLst/>
            <a:cxnLst/>
            <a:rect l="l" t="t" r="r" b="b"/>
            <a:pathLst>
              <a:path h="108584">
                <a:moveTo>
                  <a:pt x="0" y="0"/>
                </a:moveTo>
                <a:lnTo>
                  <a:pt x="0" y="108509"/>
                </a:lnTo>
              </a:path>
            </a:pathLst>
          </a:custGeom>
          <a:ln w="57998">
            <a:solidFill>
              <a:srgbClr val="FFFFFF"/>
            </a:solidFill>
          </a:ln>
        </p:spPr>
        <p:txBody>
          <a:bodyPr wrap="square" lIns="0" tIns="0" rIns="0" bIns="0" rtlCol="0"/>
          <a:lstStyle/>
          <a:p>
            <a:endParaRPr/>
          </a:p>
        </p:txBody>
      </p:sp>
      <p:sp>
        <p:nvSpPr>
          <p:cNvPr id="40" name="object 40"/>
          <p:cNvSpPr/>
          <p:nvPr/>
        </p:nvSpPr>
        <p:spPr>
          <a:xfrm>
            <a:off x="7921582" y="3014508"/>
            <a:ext cx="0" cy="90394"/>
          </a:xfrm>
          <a:custGeom>
            <a:avLst/>
            <a:gdLst/>
            <a:ahLst/>
            <a:cxnLst/>
            <a:rect l="l" t="t" r="r" b="b"/>
            <a:pathLst>
              <a:path h="198754">
                <a:moveTo>
                  <a:pt x="0" y="0"/>
                </a:moveTo>
                <a:lnTo>
                  <a:pt x="0" y="198632"/>
                </a:lnTo>
              </a:path>
            </a:pathLst>
          </a:custGeom>
          <a:ln w="57998">
            <a:solidFill>
              <a:srgbClr val="FFFFFF"/>
            </a:solidFill>
          </a:ln>
        </p:spPr>
        <p:txBody>
          <a:bodyPr wrap="square" lIns="0" tIns="0" rIns="0" bIns="0" rtlCol="0"/>
          <a:lstStyle/>
          <a:p>
            <a:endParaRPr/>
          </a:p>
        </p:txBody>
      </p:sp>
      <p:sp>
        <p:nvSpPr>
          <p:cNvPr id="41" name="object 41"/>
          <p:cNvSpPr/>
          <p:nvPr/>
        </p:nvSpPr>
        <p:spPr>
          <a:xfrm>
            <a:off x="7960469" y="2983821"/>
            <a:ext cx="0" cy="121295"/>
          </a:xfrm>
          <a:custGeom>
            <a:avLst/>
            <a:gdLst/>
            <a:ahLst/>
            <a:cxnLst/>
            <a:rect l="l" t="t" r="r" b="b"/>
            <a:pathLst>
              <a:path h="266700">
                <a:moveTo>
                  <a:pt x="0" y="0"/>
                </a:moveTo>
                <a:lnTo>
                  <a:pt x="0" y="266107"/>
                </a:lnTo>
              </a:path>
            </a:pathLst>
          </a:custGeom>
          <a:ln w="57998">
            <a:solidFill>
              <a:srgbClr val="FFFFFF"/>
            </a:solidFill>
          </a:ln>
        </p:spPr>
        <p:txBody>
          <a:bodyPr wrap="square" lIns="0" tIns="0" rIns="0" bIns="0" rtlCol="0"/>
          <a:lstStyle/>
          <a:p>
            <a:endParaRPr/>
          </a:p>
        </p:txBody>
      </p:sp>
      <p:sp>
        <p:nvSpPr>
          <p:cNvPr id="42" name="object 42"/>
          <p:cNvSpPr/>
          <p:nvPr/>
        </p:nvSpPr>
        <p:spPr>
          <a:xfrm>
            <a:off x="8149686" y="2996486"/>
            <a:ext cx="65560" cy="63746"/>
          </a:xfrm>
          <a:prstGeom prst="rect">
            <a:avLst/>
          </a:prstGeom>
          <a:blipFill>
            <a:blip r:embed="rId3" cstate="print"/>
            <a:stretch>
              <a:fillRect/>
            </a:stretch>
          </a:blipFill>
        </p:spPr>
        <p:txBody>
          <a:bodyPr wrap="square" lIns="0" tIns="0" rIns="0" bIns="0" rtlCol="0"/>
          <a:lstStyle/>
          <a:p>
            <a:endParaRPr/>
          </a:p>
        </p:txBody>
      </p:sp>
      <p:sp>
        <p:nvSpPr>
          <p:cNvPr id="43" name="object 43"/>
          <p:cNvSpPr/>
          <p:nvPr/>
        </p:nvSpPr>
        <p:spPr>
          <a:xfrm>
            <a:off x="8237081" y="3061965"/>
            <a:ext cx="65560" cy="63827"/>
          </a:xfrm>
          <a:prstGeom prst="rect">
            <a:avLst/>
          </a:prstGeom>
          <a:blipFill>
            <a:blip r:embed="rId4" cstate="print"/>
            <a:stretch>
              <a:fillRect/>
            </a:stretch>
          </a:blipFill>
        </p:spPr>
        <p:txBody>
          <a:bodyPr wrap="square" lIns="0" tIns="0" rIns="0" bIns="0" rtlCol="0"/>
          <a:lstStyle/>
          <a:p>
            <a:endParaRPr/>
          </a:p>
        </p:txBody>
      </p:sp>
      <p:sp>
        <p:nvSpPr>
          <p:cNvPr id="44" name="object 44"/>
          <p:cNvSpPr/>
          <p:nvPr/>
        </p:nvSpPr>
        <p:spPr>
          <a:xfrm>
            <a:off x="8182758" y="2996487"/>
            <a:ext cx="87512" cy="129670"/>
          </a:xfrm>
          <a:custGeom>
            <a:avLst/>
            <a:gdLst/>
            <a:ahLst/>
            <a:cxnLst/>
            <a:rect l="l" t="t" r="r" b="b"/>
            <a:pathLst>
              <a:path w="192405" h="285115">
                <a:moveTo>
                  <a:pt x="191952" y="0"/>
                </a:moveTo>
                <a:lnTo>
                  <a:pt x="153534" y="0"/>
                </a:lnTo>
                <a:lnTo>
                  <a:pt x="0" y="284671"/>
                </a:lnTo>
                <a:lnTo>
                  <a:pt x="37998" y="284671"/>
                </a:lnTo>
                <a:lnTo>
                  <a:pt x="191952" y="0"/>
                </a:lnTo>
                <a:close/>
              </a:path>
            </a:pathLst>
          </a:custGeom>
          <a:solidFill>
            <a:srgbClr val="FFFFFF"/>
          </a:solidFill>
        </p:spPr>
        <p:txBody>
          <a:bodyPr wrap="square" lIns="0" tIns="0" rIns="0" bIns="0" rtlCol="0"/>
          <a:lstStyle/>
          <a:p>
            <a:endParaRPr/>
          </a:p>
        </p:txBody>
      </p:sp>
      <p:sp>
        <p:nvSpPr>
          <p:cNvPr id="45" name="object 45"/>
          <p:cNvSpPr/>
          <p:nvPr/>
        </p:nvSpPr>
        <p:spPr>
          <a:xfrm>
            <a:off x="7278920" y="2786532"/>
            <a:ext cx="275822" cy="248078"/>
          </a:xfrm>
          <a:custGeom>
            <a:avLst/>
            <a:gdLst/>
            <a:ahLst/>
            <a:cxnLst/>
            <a:rect l="l" t="t" r="r" b="b"/>
            <a:pathLst>
              <a:path w="606425" h="545465">
                <a:moveTo>
                  <a:pt x="231859" y="0"/>
                </a:moveTo>
                <a:lnTo>
                  <a:pt x="186473" y="5634"/>
                </a:lnTo>
                <a:lnTo>
                  <a:pt x="142986" y="19776"/>
                </a:lnTo>
                <a:lnTo>
                  <a:pt x="102719" y="42130"/>
                </a:lnTo>
                <a:lnTo>
                  <a:pt x="66996" y="72403"/>
                </a:lnTo>
                <a:lnTo>
                  <a:pt x="37140" y="110300"/>
                </a:lnTo>
                <a:lnTo>
                  <a:pt x="15455" y="153385"/>
                </a:lnTo>
                <a:lnTo>
                  <a:pt x="3173" y="198539"/>
                </a:lnTo>
                <a:lnTo>
                  <a:pt x="0" y="244441"/>
                </a:lnTo>
                <a:lnTo>
                  <a:pt x="5640" y="289769"/>
                </a:lnTo>
                <a:lnTo>
                  <a:pt x="19799" y="333203"/>
                </a:lnTo>
                <a:lnTo>
                  <a:pt x="42183" y="373419"/>
                </a:lnTo>
                <a:lnTo>
                  <a:pt x="72497" y="409098"/>
                </a:lnTo>
                <a:lnTo>
                  <a:pt x="110447" y="438918"/>
                </a:lnTo>
                <a:lnTo>
                  <a:pt x="239783" y="508109"/>
                </a:lnTo>
                <a:lnTo>
                  <a:pt x="282922" y="529765"/>
                </a:lnTo>
                <a:lnTo>
                  <a:pt x="328134" y="542029"/>
                </a:lnTo>
                <a:lnTo>
                  <a:pt x="374095" y="545197"/>
                </a:lnTo>
                <a:lnTo>
                  <a:pt x="419482" y="539563"/>
                </a:lnTo>
                <a:lnTo>
                  <a:pt x="462972" y="525421"/>
                </a:lnTo>
                <a:lnTo>
                  <a:pt x="503240" y="503066"/>
                </a:lnTo>
                <a:lnTo>
                  <a:pt x="538964" y="472793"/>
                </a:lnTo>
                <a:lnTo>
                  <a:pt x="568820" y="434897"/>
                </a:lnTo>
                <a:lnTo>
                  <a:pt x="590501" y="391812"/>
                </a:lnTo>
                <a:lnTo>
                  <a:pt x="602780" y="346658"/>
                </a:lnTo>
                <a:lnTo>
                  <a:pt x="605951" y="300756"/>
                </a:lnTo>
                <a:lnTo>
                  <a:pt x="600309" y="255427"/>
                </a:lnTo>
                <a:lnTo>
                  <a:pt x="586149" y="211994"/>
                </a:lnTo>
                <a:lnTo>
                  <a:pt x="563767" y="171777"/>
                </a:lnTo>
                <a:lnTo>
                  <a:pt x="533457" y="136098"/>
                </a:lnTo>
                <a:lnTo>
                  <a:pt x="495514" y="106279"/>
                </a:lnTo>
                <a:lnTo>
                  <a:pt x="366167" y="37087"/>
                </a:lnTo>
                <a:lnTo>
                  <a:pt x="323029" y="15431"/>
                </a:lnTo>
                <a:lnTo>
                  <a:pt x="277818" y="3167"/>
                </a:lnTo>
                <a:lnTo>
                  <a:pt x="231859" y="0"/>
                </a:lnTo>
                <a:close/>
              </a:path>
            </a:pathLst>
          </a:custGeom>
          <a:solidFill>
            <a:srgbClr val="F4CFB1"/>
          </a:solidFill>
        </p:spPr>
        <p:txBody>
          <a:bodyPr wrap="square" lIns="0" tIns="0" rIns="0" bIns="0" rtlCol="0"/>
          <a:lstStyle/>
          <a:p>
            <a:endParaRPr/>
          </a:p>
        </p:txBody>
      </p:sp>
      <p:sp>
        <p:nvSpPr>
          <p:cNvPr id="46" name="object 46"/>
          <p:cNvSpPr/>
          <p:nvPr/>
        </p:nvSpPr>
        <p:spPr>
          <a:xfrm>
            <a:off x="7253273" y="3010741"/>
            <a:ext cx="275822" cy="248078"/>
          </a:xfrm>
          <a:custGeom>
            <a:avLst/>
            <a:gdLst/>
            <a:ahLst/>
            <a:cxnLst/>
            <a:rect l="l" t="t" r="r" b="b"/>
            <a:pathLst>
              <a:path w="606425" h="545465">
                <a:moveTo>
                  <a:pt x="231851" y="0"/>
                </a:moveTo>
                <a:lnTo>
                  <a:pt x="186466" y="5633"/>
                </a:lnTo>
                <a:lnTo>
                  <a:pt x="142978" y="19774"/>
                </a:lnTo>
                <a:lnTo>
                  <a:pt x="102711" y="42127"/>
                </a:lnTo>
                <a:lnTo>
                  <a:pt x="66988" y="72399"/>
                </a:lnTo>
                <a:lnTo>
                  <a:pt x="37133" y="110295"/>
                </a:lnTo>
                <a:lnTo>
                  <a:pt x="15451" y="153383"/>
                </a:lnTo>
                <a:lnTo>
                  <a:pt x="3172" y="198540"/>
                </a:lnTo>
                <a:lnTo>
                  <a:pt x="0" y="244444"/>
                </a:lnTo>
                <a:lnTo>
                  <a:pt x="5640" y="289772"/>
                </a:lnTo>
                <a:lnTo>
                  <a:pt x="19799" y="333205"/>
                </a:lnTo>
                <a:lnTo>
                  <a:pt x="42182" y="373421"/>
                </a:lnTo>
                <a:lnTo>
                  <a:pt x="72493" y="409097"/>
                </a:lnTo>
                <a:lnTo>
                  <a:pt x="110439" y="438913"/>
                </a:lnTo>
                <a:lnTo>
                  <a:pt x="239776" y="508105"/>
                </a:lnTo>
                <a:lnTo>
                  <a:pt x="282918" y="529760"/>
                </a:lnTo>
                <a:lnTo>
                  <a:pt x="328131" y="542025"/>
                </a:lnTo>
                <a:lnTo>
                  <a:pt x="374092" y="545192"/>
                </a:lnTo>
                <a:lnTo>
                  <a:pt x="419478" y="539558"/>
                </a:lnTo>
                <a:lnTo>
                  <a:pt x="462967" y="525416"/>
                </a:lnTo>
                <a:lnTo>
                  <a:pt x="503234" y="503062"/>
                </a:lnTo>
                <a:lnTo>
                  <a:pt x="538957" y="472789"/>
                </a:lnTo>
                <a:lnTo>
                  <a:pt x="568813" y="434892"/>
                </a:lnTo>
                <a:lnTo>
                  <a:pt x="590495" y="391807"/>
                </a:lnTo>
                <a:lnTo>
                  <a:pt x="602774" y="346653"/>
                </a:lnTo>
                <a:lnTo>
                  <a:pt x="605947" y="300751"/>
                </a:lnTo>
                <a:lnTo>
                  <a:pt x="600307" y="255423"/>
                </a:lnTo>
                <a:lnTo>
                  <a:pt x="586149" y="211989"/>
                </a:lnTo>
                <a:lnTo>
                  <a:pt x="563768" y="171773"/>
                </a:lnTo>
                <a:lnTo>
                  <a:pt x="533459" y="136094"/>
                </a:lnTo>
                <a:lnTo>
                  <a:pt x="495517" y="106274"/>
                </a:lnTo>
                <a:lnTo>
                  <a:pt x="366159" y="37083"/>
                </a:lnTo>
                <a:lnTo>
                  <a:pt x="323021" y="15430"/>
                </a:lnTo>
                <a:lnTo>
                  <a:pt x="277811" y="3167"/>
                </a:lnTo>
                <a:lnTo>
                  <a:pt x="231851" y="0"/>
                </a:lnTo>
                <a:close/>
              </a:path>
            </a:pathLst>
          </a:custGeom>
          <a:solidFill>
            <a:srgbClr val="F4CFB1"/>
          </a:solidFill>
        </p:spPr>
        <p:txBody>
          <a:bodyPr wrap="square" lIns="0" tIns="0" rIns="0" bIns="0" rtlCol="0"/>
          <a:lstStyle/>
          <a:p>
            <a:endParaRPr/>
          </a:p>
        </p:txBody>
      </p:sp>
      <p:sp>
        <p:nvSpPr>
          <p:cNvPr id="47" name="object 47"/>
          <p:cNvSpPr/>
          <p:nvPr/>
        </p:nvSpPr>
        <p:spPr>
          <a:xfrm>
            <a:off x="7253274" y="3263959"/>
            <a:ext cx="232787" cy="223819"/>
          </a:xfrm>
          <a:custGeom>
            <a:avLst/>
            <a:gdLst/>
            <a:ahLst/>
            <a:cxnLst/>
            <a:rect l="l" t="t" r="r" b="b"/>
            <a:pathLst>
              <a:path w="511809" h="492125">
                <a:moveTo>
                  <a:pt x="231854" y="0"/>
                </a:moveTo>
                <a:lnTo>
                  <a:pt x="186467" y="5633"/>
                </a:lnTo>
                <a:lnTo>
                  <a:pt x="142979" y="19774"/>
                </a:lnTo>
                <a:lnTo>
                  <a:pt x="102711" y="42127"/>
                </a:lnTo>
                <a:lnTo>
                  <a:pt x="66988" y="72399"/>
                </a:lnTo>
                <a:lnTo>
                  <a:pt x="37133" y="110295"/>
                </a:lnTo>
                <a:lnTo>
                  <a:pt x="15451" y="153383"/>
                </a:lnTo>
                <a:lnTo>
                  <a:pt x="3172" y="198540"/>
                </a:lnTo>
                <a:lnTo>
                  <a:pt x="0" y="244444"/>
                </a:lnTo>
                <a:lnTo>
                  <a:pt x="5640" y="289774"/>
                </a:lnTo>
                <a:lnTo>
                  <a:pt x="19799" y="333208"/>
                </a:lnTo>
                <a:lnTo>
                  <a:pt x="42182" y="373425"/>
                </a:lnTo>
                <a:lnTo>
                  <a:pt x="72493" y="409104"/>
                </a:lnTo>
                <a:lnTo>
                  <a:pt x="110439" y="438924"/>
                </a:lnTo>
                <a:lnTo>
                  <a:pt x="145622" y="454923"/>
                </a:lnTo>
                <a:lnTo>
                  <a:pt x="188760" y="476579"/>
                </a:lnTo>
                <a:lnTo>
                  <a:pt x="233972" y="488843"/>
                </a:lnTo>
                <a:lnTo>
                  <a:pt x="279933" y="492011"/>
                </a:lnTo>
                <a:lnTo>
                  <a:pt x="325320" y="486376"/>
                </a:lnTo>
                <a:lnTo>
                  <a:pt x="368810" y="472235"/>
                </a:lnTo>
                <a:lnTo>
                  <a:pt x="409079" y="449880"/>
                </a:lnTo>
                <a:lnTo>
                  <a:pt x="444803" y="419607"/>
                </a:lnTo>
                <a:lnTo>
                  <a:pt x="474659" y="381711"/>
                </a:lnTo>
                <a:lnTo>
                  <a:pt x="496340" y="338626"/>
                </a:lnTo>
                <a:lnTo>
                  <a:pt x="508620" y="293471"/>
                </a:lnTo>
                <a:lnTo>
                  <a:pt x="511792" y="247569"/>
                </a:lnTo>
                <a:lnTo>
                  <a:pt x="506151" y="202241"/>
                </a:lnTo>
                <a:lnTo>
                  <a:pt x="491992" y="158808"/>
                </a:lnTo>
                <a:lnTo>
                  <a:pt x="469610" y="118591"/>
                </a:lnTo>
                <a:lnTo>
                  <a:pt x="439298" y="82912"/>
                </a:lnTo>
                <a:lnTo>
                  <a:pt x="401352" y="53092"/>
                </a:lnTo>
                <a:lnTo>
                  <a:pt x="366170" y="37083"/>
                </a:lnTo>
                <a:lnTo>
                  <a:pt x="323028" y="15430"/>
                </a:lnTo>
                <a:lnTo>
                  <a:pt x="277815" y="3167"/>
                </a:lnTo>
                <a:lnTo>
                  <a:pt x="231854" y="0"/>
                </a:lnTo>
                <a:close/>
              </a:path>
            </a:pathLst>
          </a:custGeom>
          <a:solidFill>
            <a:srgbClr val="F4CFB1"/>
          </a:solidFill>
        </p:spPr>
        <p:txBody>
          <a:bodyPr wrap="square" lIns="0" tIns="0" rIns="0" bIns="0" rtlCol="0"/>
          <a:lstStyle/>
          <a:p>
            <a:endParaRPr/>
          </a:p>
        </p:txBody>
      </p:sp>
      <p:sp>
        <p:nvSpPr>
          <p:cNvPr id="48" name="object 48"/>
          <p:cNvSpPr/>
          <p:nvPr/>
        </p:nvSpPr>
        <p:spPr>
          <a:xfrm>
            <a:off x="7306322" y="3294309"/>
            <a:ext cx="98776" cy="116675"/>
          </a:xfrm>
          <a:custGeom>
            <a:avLst/>
            <a:gdLst/>
            <a:ahLst/>
            <a:cxnLst/>
            <a:rect l="l" t="t" r="r" b="b"/>
            <a:pathLst>
              <a:path w="217169" h="256540">
                <a:moveTo>
                  <a:pt x="216736" y="0"/>
                </a:moveTo>
                <a:lnTo>
                  <a:pt x="133870" y="6376"/>
                </a:lnTo>
                <a:lnTo>
                  <a:pt x="67237" y="23009"/>
                </a:lnTo>
                <a:lnTo>
                  <a:pt x="31081" y="43825"/>
                </a:lnTo>
                <a:lnTo>
                  <a:pt x="12852" y="82571"/>
                </a:lnTo>
                <a:lnTo>
                  <a:pt x="0" y="152990"/>
                </a:lnTo>
                <a:lnTo>
                  <a:pt x="897" y="220021"/>
                </a:lnTo>
                <a:lnTo>
                  <a:pt x="21515" y="249402"/>
                </a:lnTo>
                <a:lnTo>
                  <a:pt x="45717" y="256073"/>
                </a:lnTo>
                <a:lnTo>
                  <a:pt x="57369" y="254976"/>
                </a:lnTo>
                <a:lnTo>
                  <a:pt x="49105" y="161354"/>
                </a:lnTo>
                <a:lnTo>
                  <a:pt x="62950" y="103587"/>
                </a:lnTo>
                <a:lnTo>
                  <a:pt x="113847" y="57770"/>
                </a:lnTo>
                <a:lnTo>
                  <a:pt x="216736" y="0"/>
                </a:lnTo>
                <a:close/>
              </a:path>
            </a:pathLst>
          </a:custGeom>
          <a:solidFill>
            <a:srgbClr val="ECD2C1"/>
          </a:solidFill>
        </p:spPr>
        <p:txBody>
          <a:bodyPr wrap="square" lIns="0" tIns="0" rIns="0" bIns="0" rtlCol="0"/>
          <a:lstStyle/>
          <a:p>
            <a:endParaRPr/>
          </a:p>
        </p:txBody>
      </p:sp>
      <p:sp>
        <p:nvSpPr>
          <p:cNvPr id="49" name="object 49"/>
          <p:cNvSpPr/>
          <p:nvPr/>
        </p:nvSpPr>
        <p:spPr>
          <a:xfrm>
            <a:off x="7335316" y="3049676"/>
            <a:ext cx="113217" cy="124761"/>
          </a:xfrm>
          <a:custGeom>
            <a:avLst/>
            <a:gdLst/>
            <a:ahLst/>
            <a:cxnLst/>
            <a:rect l="l" t="t" r="r" b="b"/>
            <a:pathLst>
              <a:path w="248919" h="274320">
                <a:moveTo>
                  <a:pt x="133870" y="0"/>
                </a:moveTo>
                <a:lnTo>
                  <a:pt x="67237" y="16632"/>
                </a:lnTo>
                <a:lnTo>
                  <a:pt x="31081" y="37449"/>
                </a:lnTo>
                <a:lnTo>
                  <a:pt x="12852" y="76194"/>
                </a:lnTo>
                <a:lnTo>
                  <a:pt x="0" y="146613"/>
                </a:lnTo>
                <a:lnTo>
                  <a:pt x="5878" y="217630"/>
                </a:lnTo>
                <a:lnTo>
                  <a:pt x="37451" y="255778"/>
                </a:lnTo>
                <a:lnTo>
                  <a:pt x="72610" y="271218"/>
                </a:lnTo>
                <a:lnTo>
                  <a:pt x="89243" y="274106"/>
                </a:lnTo>
                <a:lnTo>
                  <a:pt x="80978" y="180478"/>
                </a:lnTo>
                <a:lnTo>
                  <a:pt x="94824" y="122708"/>
                </a:lnTo>
                <a:lnTo>
                  <a:pt x="145721" y="76890"/>
                </a:lnTo>
                <a:lnTo>
                  <a:pt x="248610" y="19119"/>
                </a:lnTo>
                <a:lnTo>
                  <a:pt x="133870" y="0"/>
                </a:lnTo>
                <a:close/>
              </a:path>
            </a:pathLst>
          </a:custGeom>
          <a:solidFill>
            <a:srgbClr val="ECD2C1"/>
          </a:solidFill>
        </p:spPr>
        <p:txBody>
          <a:bodyPr wrap="square" lIns="0" tIns="0" rIns="0" bIns="0" rtlCol="0"/>
          <a:lstStyle/>
          <a:p>
            <a:endParaRPr/>
          </a:p>
        </p:txBody>
      </p:sp>
      <p:sp>
        <p:nvSpPr>
          <p:cNvPr id="50" name="object 50"/>
          <p:cNvSpPr/>
          <p:nvPr/>
        </p:nvSpPr>
        <p:spPr>
          <a:xfrm>
            <a:off x="7370741" y="2834698"/>
            <a:ext cx="124770" cy="137468"/>
          </a:xfrm>
          <a:custGeom>
            <a:avLst/>
            <a:gdLst/>
            <a:ahLst/>
            <a:cxnLst/>
            <a:rect l="l" t="t" r="r" b="b"/>
            <a:pathLst>
              <a:path w="274319" h="302259">
                <a:moveTo>
                  <a:pt x="133870" y="0"/>
                </a:moveTo>
                <a:lnTo>
                  <a:pt x="67231" y="10494"/>
                </a:lnTo>
                <a:lnTo>
                  <a:pt x="31073" y="28158"/>
                </a:lnTo>
                <a:lnTo>
                  <a:pt x="12846" y="65742"/>
                </a:lnTo>
                <a:lnTo>
                  <a:pt x="0" y="135995"/>
                </a:lnTo>
                <a:lnTo>
                  <a:pt x="9861" y="212987"/>
                </a:lnTo>
                <a:lnTo>
                  <a:pt x="50200" y="264281"/>
                </a:lnTo>
                <a:lnTo>
                  <a:pt x="94123" y="292865"/>
                </a:lnTo>
                <a:lnTo>
                  <a:pt x="114739" y="301729"/>
                </a:lnTo>
                <a:lnTo>
                  <a:pt x="106475" y="208107"/>
                </a:lnTo>
                <a:lnTo>
                  <a:pt x="120320" y="150339"/>
                </a:lnTo>
                <a:lnTo>
                  <a:pt x="171217" y="104522"/>
                </a:lnTo>
                <a:lnTo>
                  <a:pt x="274106" y="46752"/>
                </a:lnTo>
                <a:lnTo>
                  <a:pt x="133870" y="0"/>
                </a:lnTo>
                <a:close/>
              </a:path>
            </a:pathLst>
          </a:custGeom>
          <a:solidFill>
            <a:srgbClr val="ECD2C1"/>
          </a:solidFill>
        </p:spPr>
        <p:txBody>
          <a:bodyPr wrap="square" lIns="0" tIns="0" rIns="0" bIns="0" rtlCol="0"/>
          <a:lstStyle/>
          <a:p>
            <a:endParaRPr/>
          </a:p>
        </p:txBody>
      </p:sp>
      <p:sp>
        <p:nvSpPr>
          <p:cNvPr id="51" name="object 51"/>
          <p:cNvSpPr/>
          <p:nvPr/>
        </p:nvSpPr>
        <p:spPr>
          <a:xfrm>
            <a:off x="7590157" y="3318315"/>
            <a:ext cx="53688" cy="98210"/>
          </a:xfrm>
          <a:prstGeom prst="rect">
            <a:avLst/>
          </a:prstGeom>
          <a:blipFill>
            <a:blip r:embed="rId5" cstate="print"/>
            <a:stretch>
              <a:fillRect/>
            </a:stretch>
          </a:blipFill>
        </p:spPr>
        <p:txBody>
          <a:bodyPr wrap="square" lIns="0" tIns="0" rIns="0" bIns="0" rtlCol="0"/>
          <a:lstStyle/>
          <a:p>
            <a:endParaRPr/>
          </a:p>
        </p:txBody>
      </p:sp>
      <p:sp>
        <p:nvSpPr>
          <p:cNvPr id="52" name="object 52"/>
          <p:cNvSpPr/>
          <p:nvPr/>
        </p:nvSpPr>
        <p:spPr>
          <a:xfrm>
            <a:off x="7549662" y="3370232"/>
            <a:ext cx="126214" cy="76532"/>
          </a:xfrm>
          <a:custGeom>
            <a:avLst/>
            <a:gdLst/>
            <a:ahLst/>
            <a:cxnLst/>
            <a:rect l="l" t="t" r="r" b="b"/>
            <a:pathLst>
              <a:path w="277494" h="168275">
                <a:moveTo>
                  <a:pt x="26910" y="0"/>
                </a:moveTo>
                <a:lnTo>
                  <a:pt x="0" y="0"/>
                </a:lnTo>
                <a:lnTo>
                  <a:pt x="0" y="48825"/>
                </a:lnTo>
                <a:lnTo>
                  <a:pt x="9393" y="95237"/>
                </a:lnTo>
                <a:lnTo>
                  <a:pt x="34995" y="133177"/>
                </a:lnTo>
                <a:lnTo>
                  <a:pt x="72935" y="158779"/>
                </a:lnTo>
                <a:lnTo>
                  <a:pt x="119347" y="168172"/>
                </a:lnTo>
                <a:lnTo>
                  <a:pt x="277352" y="168172"/>
                </a:lnTo>
                <a:lnTo>
                  <a:pt x="277352" y="141262"/>
                </a:lnTo>
                <a:lnTo>
                  <a:pt x="119347" y="141262"/>
                </a:lnTo>
                <a:lnTo>
                  <a:pt x="83399" y="133987"/>
                </a:lnTo>
                <a:lnTo>
                  <a:pt x="54014" y="114158"/>
                </a:lnTo>
                <a:lnTo>
                  <a:pt x="34185" y="84772"/>
                </a:lnTo>
                <a:lnTo>
                  <a:pt x="26910" y="48825"/>
                </a:lnTo>
                <a:lnTo>
                  <a:pt x="26910" y="0"/>
                </a:lnTo>
                <a:close/>
              </a:path>
            </a:pathLst>
          </a:custGeom>
          <a:solidFill>
            <a:srgbClr val="FFFFFF"/>
          </a:solidFill>
        </p:spPr>
        <p:txBody>
          <a:bodyPr wrap="square" lIns="0" tIns="0" rIns="0" bIns="0" rtlCol="0"/>
          <a:lstStyle/>
          <a:p>
            <a:endParaRPr/>
          </a:p>
        </p:txBody>
      </p:sp>
      <p:sp>
        <p:nvSpPr>
          <p:cNvPr id="53" name="object 53"/>
          <p:cNvSpPr/>
          <p:nvPr/>
        </p:nvSpPr>
        <p:spPr>
          <a:xfrm>
            <a:off x="7672820" y="3418299"/>
            <a:ext cx="22528" cy="44764"/>
          </a:xfrm>
          <a:custGeom>
            <a:avLst/>
            <a:gdLst/>
            <a:ahLst/>
            <a:cxnLst/>
            <a:rect l="l" t="t" r="r" b="b"/>
            <a:pathLst>
              <a:path w="49530" h="98425">
                <a:moveTo>
                  <a:pt x="0" y="0"/>
                </a:moveTo>
                <a:lnTo>
                  <a:pt x="0" y="98070"/>
                </a:lnTo>
                <a:lnTo>
                  <a:pt x="49014" y="49035"/>
                </a:lnTo>
                <a:lnTo>
                  <a:pt x="0" y="0"/>
                </a:lnTo>
                <a:close/>
              </a:path>
            </a:pathLst>
          </a:custGeom>
          <a:solidFill>
            <a:srgbClr val="FFFFFF"/>
          </a:solidFill>
        </p:spPr>
        <p:txBody>
          <a:bodyPr wrap="square" lIns="0" tIns="0" rIns="0" bIns="0" rtlCol="0"/>
          <a:lstStyle/>
          <a:p>
            <a:endParaRPr/>
          </a:p>
        </p:txBody>
      </p:sp>
      <p:sp>
        <p:nvSpPr>
          <p:cNvPr id="54" name="object 54"/>
          <p:cNvSpPr/>
          <p:nvPr/>
        </p:nvSpPr>
        <p:spPr>
          <a:xfrm>
            <a:off x="7558194" y="3288122"/>
            <a:ext cx="126214" cy="76532"/>
          </a:xfrm>
          <a:custGeom>
            <a:avLst/>
            <a:gdLst/>
            <a:ahLst/>
            <a:cxnLst/>
            <a:rect l="l" t="t" r="r" b="b"/>
            <a:pathLst>
              <a:path w="277494" h="168275">
                <a:moveTo>
                  <a:pt x="158005" y="0"/>
                </a:moveTo>
                <a:lnTo>
                  <a:pt x="0" y="0"/>
                </a:lnTo>
                <a:lnTo>
                  <a:pt x="0" y="26910"/>
                </a:lnTo>
                <a:lnTo>
                  <a:pt x="158005" y="26910"/>
                </a:lnTo>
                <a:lnTo>
                  <a:pt x="193952" y="34185"/>
                </a:lnTo>
                <a:lnTo>
                  <a:pt x="223338" y="54014"/>
                </a:lnTo>
                <a:lnTo>
                  <a:pt x="243167" y="83399"/>
                </a:lnTo>
                <a:lnTo>
                  <a:pt x="250442" y="119347"/>
                </a:lnTo>
                <a:lnTo>
                  <a:pt x="250442" y="168172"/>
                </a:lnTo>
                <a:lnTo>
                  <a:pt x="277352" y="168172"/>
                </a:lnTo>
                <a:lnTo>
                  <a:pt x="277352" y="119347"/>
                </a:lnTo>
                <a:lnTo>
                  <a:pt x="267959" y="72940"/>
                </a:lnTo>
                <a:lnTo>
                  <a:pt x="242357" y="34998"/>
                </a:lnTo>
                <a:lnTo>
                  <a:pt x="204417" y="9395"/>
                </a:lnTo>
                <a:lnTo>
                  <a:pt x="158005" y="0"/>
                </a:lnTo>
                <a:close/>
              </a:path>
            </a:pathLst>
          </a:custGeom>
          <a:solidFill>
            <a:srgbClr val="FFFFFF"/>
          </a:solidFill>
        </p:spPr>
        <p:txBody>
          <a:bodyPr wrap="square" lIns="0" tIns="0" rIns="0" bIns="0" rtlCol="0"/>
          <a:lstStyle/>
          <a:p>
            <a:endParaRPr/>
          </a:p>
        </p:txBody>
      </p:sp>
      <p:sp>
        <p:nvSpPr>
          <p:cNvPr id="55" name="object 55"/>
          <p:cNvSpPr/>
          <p:nvPr/>
        </p:nvSpPr>
        <p:spPr>
          <a:xfrm>
            <a:off x="7538887" y="3271941"/>
            <a:ext cx="22528" cy="44764"/>
          </a:xfrm>
          <a:custGeom>
            <a:avLst/>
            <a:gdLst/>
            <a:ahLst/>
            <a:cxnLst/>
            <a:rect l="l" t="t" r="r" b="b"/>
            <a:pathLst>
              <a:path w="49530" h="98425">
                <a:moveTo>
                  <a:pt x="49024" y="0"/>
                </a:moveTo>
                <a:lnTo>
                  <a:pt x="0" y="49035"/>
                </a:lnTo>
                <a:lnTo>
                  <a:pt x="49024" y="98070"/>
                </a:lnTo>
                <a:lnTo>
                  <a:pt x="49024" y="0"/>
                </a:lnTo>
                <a:close/>
              </a:path>
            </a:pathLst>
          </a:custGeom>
          <a:solidFill>
            <a:srgbClr val="FFFFFF"/>
          </a:solidFill>
        </p:spPr>
        <p:txBody>
          <a:bodyPr wrap="square" lIns="0" tIns="0" rIns="0" bIns="0" rtlCol="0"/>
          <a:lstStyle/>
          <a:p>
            <a:endParaRPr/>
          </a:p>
        </p:txBody>
      </p:sp>
      <p:sp>
        <p:nvSpPr>
          <p:cNvPr id="56" name="object 56"/>
          <p:cNvSpPr/>
          <p:nvPr/>
        </p:nvSpPr>
        <p:spPr>
          <a:xfrm>
            <a:off x="7827760" y="3427965"/>
            <a:ext cx="187732" cy="0"/>
          </a:xfrm>
          <a:custGeom>
            <a:avLst/>
            <a:gdLst/>
            <a:ahLst/>
            <a:cxnLst/>
            <a:rect l="l" t="t" r="r" b="b"/>
            <a:pathLst>
              <a:path w="412750">
                <a:moveTo>
                  <a:pt x="0" y="0"/>
                </a:moveTo>
                <a:lnTo>
                  <a:pt x="412563" y="0"/>
                </a:lnTo>
              </a:path>
            </a:pathLst>
          </a:custGeom>
          <a:ln w="24129">
            <a:solidFill>
              <a:srgbClr val="FFFFFF"/>
            </a:solidFill>
          </a:ln>
        </p:spPr>
        <p:txBody>
          <a:bodyPr wrap="square" lIns="0" tIns="0" rIns="0" bIns="0" rtlCol="0"/>
          <a:lstStyle/>
          <a:p>
            <a:endParaRPr/>
          </a:p>
        </p:txBody>
      </p:sp>
      <p:sp>
        <p:nvSpPr>
          <p:cNvPr id="57" name="object 57"/>
          <p:cNvSpPr/>
          <p:nvPr/>
        </p:nvSpPr>
        <p:spPr>
          <a:xfrm>
            <a:off x="7833386" y="3319088"/>
            <a:ext cx="0" cy="103389"/>
          </a:xfrm>
          <a:custGeom>
            <a:avLst/>
            <a:gdLst/>
            <a:ahLst/>
            <a:cxnLst/>
            <a:rect l="l" t="t" r="r" b="b"/>
            <a:pathLst>
              <a:path h="227329">
                <a:moveTo>
                  <a:pt x="0" y="0"/>
                </a:moveTo>
                <a:lnTo>
                  <a:pt x="0" y="227329"/>
                </a:lnTo>
              </a:path>
            </a:pathLst>
          </a:custGeom>
          <a:ln w="24742">
            <a:solidFill>
              <a:srgbClr val="FFFFFF"/>
            </a:solidFill>
          </a:ln>
        </p:spPr>
        <p:txBody>
          <a:bodyPr wrap="square" lIns="0" tIns="0" rIns="0" bIns="0" rtlCol="0"/>
          <a:lstStyle/>
          <a:p>
            <a:endParaRPr/>
          </a:p>
        </p:txBody>
      </p:sp>
      <p:sp>
        <p:nvSpPr>
          <p:cNvPr id="58" name="object 58"/>
          <p:cNvSpPr/>
          <p:nvPr/>
        </p:nvSpPr>
        <p:spPr>
          <a:xfrm>
            <a:off x="7827760" y="3313601"/>
            <a:ext cx="187732" cy="0"/>
          </a:xfrm>
          <a:custGeom>
            <a:avLst/>
            <a:gdLst/>
            <a:ahLst/>
            <a:cxnLst/>
            <a:rect l="l" t="t" r="r" b="b"/>
            <a:pathLst>
              <a:path w="412750">
                <a:moveTo>
                  <a:pt x="0" y="0"/>
                </a:moveTo>
                <a:lnTo>
                  <a:pt x="412563" y="0"/>
                </a:lnTo>
              </a:path>
            </a:pathLst>
          </a:custGeom>
          <a:ln w="24130">
            <a:solidFill>
              <a:srgbClr val="FFFFFF"/>
            </a:solidFill>
          </a:ln>
        </p:spPr>
        <p:txBody>
          <a:bodyPr wrap="square" lIns="0" tIns="0" rIns="0" bIns="0" rtlCol="0"/>
          <a:lstStyle/>
          <a:p>
            <a:endParaRPr/>
          </a:p>
        </p:txBody>
      </p:sp>
      <p:sp>
        <p:nvSpPr>
          <p:cNvPr id="59" name="object 59"/>
          <p:cNvSpPr/>
          <p:nvPr/>
        </p:nvSpPr>
        <p:spPr>
          <a:xfrm>
            <a:off x="8009779" y="3319220"/>
            <a:ext cx="0" cy="103389"/>
          </a:xfrm>
          <a:custGeom>
            <a:avLst/>
            <a:gdLst/>
            <a:ahLst/>
            <a:cxnLst/>
            <a:rect l="l" t="t" r="r" b="b"/>
            <a:pathLst>
              <a:path h="227329">
                <a:moveTo>
                  <a:pt x="0" y="0"/>
                </a:moveTo>
                <a:lnTo>
                  <a:pt x="0" y="226935"/>
                </a:lnTo>
              </a:path>
            </a:pathLst>
          </a:custGeom>
          <a:ln w="24742">
            <a:solidFill>
              <a:srgbClr val="FFFFFF"/>
            </a:solidFill>
          </a:ln>
        </p:spPr>
        <p:txBody>
          <a:bodyPr wrap="square" lIns="0" tIns="0" rIns="0" bIns="0" rtlCol="0"/>
          <a:lstStyle/>
          <a:p>
            <a:endParaRPr/>
          </a:p>
        </p:txBody>
      </p:sp>
      <p:sp>
        <p:nvSpPr>
          <p:cNvPr id="60" name="object 60"/>
          <p:cNvSpPr/>
          <p:nvPr/>
        </p:nvSpPr>
        <p:spPr>
          <a:xfrm>
            <a:off x="7829842" y="3309216"/>
            <a:ext cx="183689" cy="83174"/>
          </a:xfrm>
          <a:custGeom>
            <a:avLst/>
            <a:gdLst/>
            <a:ahLst/>
            <a:cxnLst/>
            <a:rect l="l" t="t" r="r" b="b"/>
            <a:pathLst>
              <a:path w="403859" h="182879">
                <a:moveTo>
                  <a:pt x="15580" y="0"/>
                </a:moveTo>
                <a:lnTo>
                  <a:pt x="0" y="19245"/>
                </a:lnTo>
                <a:lnTo>
                  <a:pt x="201711" y="182319"/>
                </a:lnTo>
                <a:lnTo>
                  <a:pt x="241080" y="150487"/>
                </a:lnTo>
                <a:lnTo>
                  <a:pt x="201711" y="150487"/>
                </a:lnTo>
                <a:lnTo>
                  <a:pt x="15580" y="0"/>
                </a:lnTo>
                <a:close/>
              </a:path>
              <a:path w="403859" h="182879">
                <a:moveTo>
                  <a:pt x="387820" y="0"/>
                </a:moveTo>
                <a:lnTo>
                  <a:pt x="201711" y="150487"/>
                </a:lnTo>
                <a:lnTo>
                  <a:pt x="241080" y="150487"/>
                </a:lnTo>
                <a:lnTo>
                  <a:pt x="403401" y="19245"/>
                </a:lnTo>
                <a:lnTo>
                  <a:pt x="387820" y="0"/>
                </a:lnTo>
                <a:close/>
              </a:path>
            </a:pathLst>
          </a:custGeom>
          <a:solidFill>
            <a:srgbClr val="FFFFFF"/>
          </a:solidFill>
        </p:spPr>
        <p:txBody>
          <a:bodyPr wrap="square" lIns="0" tIns="0" rIns="0" bIns="0" rtlCol="0"/>
          <a:lstStyle/>
          <a:p>
            <a:endParaRPr/>
          </a:p>
        </p:txBody>
      </p:sp>
      <p:sp>
        <p:nvSpPr>
          <p:cNvPr id="61" name="object 61"/>
          <p:cNvSpPr/>
          <p:nvPr/>
        </p:nvSpPr>
        <p:spPr>
          <a:xfrm>
            <a:off x="8161373" y="3279764"/>
            <a:ext cx="129680" cy="182232"/>
          </a:xfrm>
          <a:custGeom>
            <a:avLst/>
            <a:gdLst/>
            <a:ahLst/>
            <a:cxnLst/>
            <a:rect l="l" t="t" r="r" b="b"/>
            <a:pathLst>
              <a:path w="285115" h="400684">
                <a:moveTo>
                  <a:pt x="193271" y="0"/>
                </a:moveTo>
                <a:lnTo>
                  <a:pt x="0" y="0"/>
                </a:lnTo>
                <a:lnTo>
                  <a:pt x="0" y="400438"/>
                </a:lnTo>
                <a:lnTo>
                  <a:pt x="284912" y="400438"/>
                </a:lnTo>
                <a:lnTo>
                  <a:pt x="284912" y="375444"/>
                </a:lnTo>
                <a:lnTo>
                  <a:pt x="24983" y="375444"/>
                </a:lnTo>
                <a:lnTo>
                  <a:pt x="24983" y="24994"/>
                </a:lnTo>
                <a:lnTo>
                  <a:pt x="218265" y="24994"/>
                </a:lnTo>
                <a:lnTo>
                  <a:pt x="193271" y="0"/>
                </a:lnTo>
                <a:close/>
              </a:path>
              <a:path w="285115" h="400684">
                <a:moveTo>
                  <a:pt x="218265" y="24994"/>
                </a:moveTo>
                <a:lnTo>
                  <a:pt x="182915" y="24994"/>
                </a:lnTo>
                <a:lnTo>
                  <a:pt x="259918" y="101996"/>
                </a:lnTo>
                <a:lnTo>
                  <a:pt x="259918" y="375444"/>
                </a:lnTo>
                <a:lnTo>
                  <a:pt x="284912" y="375444"/>
                </a:lnTo>
                <a:lnTo>
                  <a:pt x="284912" y="91641"/>
                </a:lnTo>
                <a:lnTo>
                  <a:pt x="218265" y="24994"/>
                </a:lnTo>
                <a:close/>
              </a:path>
            </a:pathLst>
          </a:custGeom>
          <a:solidFill>
            <a:srgbClr val="FFFFFF"/>
          </a:solidFill>
        </p:spPr>
        <p:txBody>
          <a:bodyPr wrap="square" lIns="0" tIns="0" rIns="0" bIns="0" rtlCol="0"/>
          <a:lstStyle/>
          <a:p>
            <a:endParaRPr/>
          </a:p>
        </p:txBody>
      </p:sp>
      <p:sp>
        <p:nvSpPr>
          <p:cNvPr id="62" name="object 62"/>
          <p:cNvSpPr/>
          <p:nvPr/>
        </p:nvSpPr>
        <p:spPr>
          <a:xfrm>
            <a:off x="8243858" y="3323858"/>
            <a:ext cx="41590" cy="0"/>
          </a:xfrm>
          <a:custGeom>
            <a:avLst/>
            <a:gdLst/>
            <a:ahLst/>
            <a:cxnLst/>
            <a:rect l="l" t="t" r="r" b="b"/>
            <a:pathLst>
              <a:path w="91440">
                <a:moveTo>
                  <a:pt x="0" y="0"/>
                </a:moveTo>
                <a:lnTo>
                  <a:pt x="91065" y="0"/>
                </a:lnTo>
              </a:path>
            </a:pathLst>
          </a:custGeom>
          <a:ln w="24130">
            <a:solidFill>
              <a:srgbClr val="FFFFFF"/>
            </a:solidFill>
          </a:ln>
        </p:spPr>
        <p:txBody>
          <a:bodyPr wrap="square" lIns="0" tIns="0" rIns="0" bIns="0" rtlCol="0"/>
          <a:lstStyle/>
          <a:p>
            <a:endParaRPr/>
          </a:p>
        </p:txBody>
      </p:sp>
      <p:sp>
        <p:nvSpPr>
          <p:cNvPr id="63" name="object 63"/>
          <p:cNvSpPr/>
          <p:nvPr/>
        </p:nvSpPr>
        <p:spPr>
          <a:xfrm>
            <a:off x="8243858" y="3285447"/>
            <a:ext cx="11553" cy="32923"/>
          </a:xfrm>
          <a:custGeom>
            <a:avLst/>
            <a:gdLst/>
            <a:ahLst/>
            <a:cxnLst/>
            <a:rect l="l" t="t" r="r" b="b"/>
            <a:pathLst>
              <a:path w="25400" h="72390">
                <a:moveTo>
                  <a:pt x="0" y="72390"/>
                </a:moveTo>
                <a:lnTo>
                  <a:pt x="24994" y="72390"/>
                </a:lnTo>
                <a:lnTo>
                  <a:pt x="24994" y="0"/>
                </a:lnTo>
                <a:lnTo>
                  <a:pt x="0" y="0"/>
                </a:lnTo>
                <a:lnTo>
                  <a:pt x="0" y="72390"/>
                </a:lnTo>
                <a:close/>
              </a:path>
            </a:pathLst>
          </a:custGeom>
          <a:solidFill>
            <a:srgbClr val="FFFFFF"/>
          </a:solidFill>
        </p:spPr>
        <p:txBody>
          <a:bodyPr wrap="square" lIns="0" tIns="0" rIns="0" bIns="0" rtlCol="0"/>
          <a:lstStyle/>
          <a:p>
            <a:endParaRPr/>
          </a:p>
        </p:txBody>
      </p:sp>
      <p:sp>
        <p:nvSpPr>
          <p:cNvPr id="64" name="object 64"/>
          <p:cNvSpPr/>
          <p:nvPr/>
        </p:nvSpPr>
        <p:spPr>
          <a:xfrm>
            <a:off x="8184039" y="3378078"/>
            <a:ext cx="58678" cy="58674"/>
          </a:xfrm>
          <a:prstGeom prst="rect">
            <a:avLst/>
          </a:prstGeom>
          <a:blipFill>
            <a:blip r:embed="rId6" cstate="print"/>
            <a:stretch>
              <a:fillRect/>
            </a:stretch>
          </a:blipFill>
        </p:spPr>
        <p:txBody>
          <a:bodyPr wrap="square" lIns="0" tIns="0" rIns="0" bIns="0" rtlCol="0"/>
          <a:lstStyle/>
          <a:p>
            <a:endParaRPr/>
          </a:p>
        </p:txBody>
      </p:sp>
      <p:sp>
        <p:nvSpPr>
          <p:cNvPr id="65" name="object 65"/>
          <p:cNvSpPr/>
          <p:nvPr/>
        </p:nvSpPr>
        <p:spPr>
          <a:xfrm>
            <a:off x="6368833" y="4658279"/>
            <a:ext cx="1198598" cy="67579"/>
          </a:xfrm>
          <a:custGeom>
            <a:avLst/>
            <a:gdLst/>
            <a:ahLst/>
            <a:cxnLst/>
            <a:rect l="l" t="t" r="r" b="b"/>
            <a:pathLst>
              <a:path w="2635250" h="148590">
                <a:moveTo>
                  <a:pt x="0" y="148257"/>
                </a:moveTo>
                <a:lnTo>
                  <a:pt x="2634673" y="148257"/>
                </a:lnTo>
                <a:lnTo>
                  <a:pt x="2634673" y="0"/>
                </a:lnTo>
                <a:lnTo>
                  <a:pt x="0" y="0"/>
                </a:lnTo>
                <a:lnTo>
                  <a:pt x="0" y="148257"/>
                </a:lnTo>
                <a:close/>
              </a:path>
            </a:pathLst>
          </a:custGeom>
          <a:solidFill>
            <a:srgbClr val="FFFFFF"/>
          </a:solidFill>
        </p:spPr>
        <p:txBody>
          <a:bodyPr wrap="square" lIns="0" tIns="0" rIns="0" bIns="0" rtlCol="0"/>
          <a:lstStyle/>
          <a:p>
            <a:endParaRPr/>
          </a:p>
        </p:txBody>
      </p:sp>
      <p:sp>
        <p:nvSpPr>
          <p:cNvPr id="66" name="object 66"/>
          <p:cNvSpPr/>
          <p:nvPr/>
        </p:nvSpPr>
        <p:spPr>
          <a:xfrm>
            <a:off x="6403367" y="4720592"/>
            <a:ext cx="1163939" cy="412115"/>
          </a:xfrm>
          <a:custGeom>
            <a:avLst/>
            <a:gdLst/>
            <a:ahLst/>
            <a:cxnLst/>
            <a:rect l="l" t="t" r="r" b="b"/>
            <a:pathLst>
              <a:path w="2559050" h="906145">
                <a:moveTo>
                  <a:pt x="0" y="905752"/>
                </a:moveTo>
                <a:lnTo>
                  <a:pt x="2558749" y="905752"/>
                </a:lnTo>
                <a:lnTo>
                  <a:pt x="2558749" y="0"/>
                </a:lnTo>
                <a:lnTo>
                  <a:pt x="0" y="0"/>
                </a:lnTo>
                <a:lnTo>
                  <a:pt x="0" y="905752"/>
                </a:lnTo>
                <a:close/>
              </a:path>
            </a:pathLst>
          </a:custGeom>
          <a:solidFill>
            <a:srgbClr val="FFFFFF"/>
          </a:solidFill>
        </p:spPr>
        <p:txBody>
          <a:bodyPr wrap="square" lIns="0" tIns="0" rIns="0" bIns="0" rtlCol="0"/>
          <a:lstStyle/>
          <a:p>
            <a:endParaRPr/>
          </a:p>
        </p:txBody>
      </p:sp>
      <p:sp>
        <p:nvSpPr>
          <p:cNvPr id="67" name="object 67"/>
          <p:cNvSpPr/>
          <p:nvPr/>
        </p:nvSpPr>
        <p:spPr>
          <a:xfrm>
            <a:off x="6403367" y="4725706"/>
            <a:ext cx="1163939" cy="17328"/>
          </a:xfrm>
          <a:custGeom>
            <a:avLst/>
            <a:gdLst/>
            <a:ahLst/>
            <a:cxnLst/>
            <a:rect l="l" t="t" r="r" b="b"/>
            <a:pathLst>
              <a:path w="2559050" h="38100">
                <a:moveTo>
                  <a:pt x="0" y="37956"/>
                </a:moveTo>
                <a:lnTo>
                  <a:pt x="2558749" y="37956"/>
                </a:lnTo>
                <a:lnTo>
                  <a:pt x="2558749" y="0"/>
                </a:lnTo>
                <a:lnTo>
                  <a:pt x="0" y="0"/>
                </a:lnTo>
                <a:lnTo>
                  <a:pt x="0" y="37956"/>
                </a:lnTo>
                <a:close/>
              </a:path>
            </a:pathLst>
          </a:custGeom>
          <a:solidFill>
            <a:srgbClr val="888888"/>
          </a:solidFill>
        </p:spPr>
        <p:txBody>
          <a:bodyPr wrap="square" lIns="0" tIns="0" rIns="0" bIns="0" rtlCol="0"/>
          <a:lstStyle/>
          <a:p>
            <a:endParaRPr/>
          </a:p>
        </p:txBody>
      </p:sp>
      <p:sp>
        <p:nvSpPr>
          <p:cNvPr id="68" name="object 68"/>
          <p:cNvSpPr/>
          <p:nvPr/>
        </p:nvSpPr>
        <p:spPr>
          <a:xfrm>
            <a:off x="8962339" y="4680814"/>
            <a:ext cx="179356" cy="39854"/>
          </a:xfrm>
          <a:custGeom>
            <a:avLst/>
            <a:gdLst/>
            <a:ahLst/>
            <a:cxnLst/>
            <a:rect l="l" t="t" r="r" b="b"/>
            <a:pathLst>
              <a:path w="394334" h="87629">
                <a:moveTo>
                  <a:pt x="0" y="87463"/>
                </a:moveTo>
                <a:lnTo>
                  <a:pt x="394113" y="87463"/>
                </a:lnTo>
                <a:lnTo>
                  <a:pt x="394113" y="0"/>
                </a:lnTo>
                <a:lnTo>
                  <a:pt x="0" y="0"/>
                </a:lnTo>
                <a:lnTo>
                  <a:pt x="0" y="87463"/>
                </a:lnTo>
                <a:close/>
              </a:path>
            </a:pathLst>
          </a:custGeom>
          <a:solidFill>
            <a:srgbClr val="FFFFFF"/>
          </a:solidFill>
        </p:spPr>
        <p:txBody>
          <a:bodyPr wrap="square" lIns="0" tIns="0" rIns="0" bIns="0" rtlCol="0"/>
          <a:lstStyle/>
          <a:p>
            <a:endParaRPr/>
          </a:p>
        </p:txBody>
      </p:sp>
      <p:sp>
        <p:nvSpPr>
          <p:cNvPr id="69" name="object 69"/>
          <p:cNvSpPr/>
          <p:nvPr/>
        </p:nvSpPr>
        <p:spPr>
          <a:xfrm>
            <a:off x="8962339" y="4720592"/>
            <a:ext cx="182822" cy="412115"/>
          </a:xfrm>
          <a:custGeom>
            <a:avLst/>
            <a:gdLst/>
            <a:ahLst/>
            <a:cxnLst/>
            <a:rect l="l" t="t" r="r" b="b"/>
            <a:pathLst>
              <a:path w="401955" h="906145">
                <a:moveTo>
                  <a:pt x="0" y="905752"/>
                </a:moveTo>
                <a:lnTo>
                  <a:pt x="401568" y="905752"/>
                </a:lnTo>
                <a:lnTo>
                  <a:pt x="401568" y="0"/>
                </a:lnTo>
                <a:lnTo>
                  <a:pt x="0" y="0"/>
                </a:lnTo>
                <a:lnTo>
                  <a:pt x="0" y="905752"/>
                </a:lnTo>
                <a:close/>
              </a:path>
            </a:pathLst>
          </a:custGeom>
          <a:solidFill>
            <a:srgbClr val="FFFFFF"/>
          </a:solidFill>
        </p:spPr>
        <p:txBody>
          <a:bodyPr wrap="square" lIns="0" tIns="0" rIns="0" bIns="0" rtlCol="0"/>
          <a:lstStyle/>
          <a:p>
            <a:endParaRPr/>
          </a:p>
        </p:txBody>
      </p:sp>
      <p:sp>
        <p:nvSpPr>
          <p:cNvPr id="70" name="object 70"/>
          <p:cNvSpPr/>
          <p:nvPr/>
        </p:nvSpPr>
        <p:spPr>
          <a:xfrm>
            <a:off x="8962339" y="4734338"/>
            <a:ext cx="162027" cy="0"/>
          </a:xfrm>
          <a:custGeom>
            <a:avLst/>
            <a:gdLst/>
            <a:ahLst/>
            <a:cxnLst/>
            <a:rect l="l" t="t" r="r" b="b"/>
            <a:pathLst>
              <a:path w="356234">
                <a:moveTo>
                  <a:pt x="0" y="0"/>
                </a:moveTo>
                <a:lnTo>
                  <a:pt x="356020" y="0"/>
                </a:lnTo>
              </a:path>
            </a:pathLst>
          </a:custGeom>
          <a:ln w="37956">
            <a:solidFill>
              <a:srgbClr val="888888"/>
            </a:solidFill>
          </a:ln>
        </p:spPr>
        <p:txBody>
          <a:bodyPr wrap="square" lIns="0" tIns="0" rIns="0" bIns="0" rtlCol="0"/>
          <a:lstStyle/>
          <a:p>
            <a:endParaRPr/>
          </a:p>
        </p:txBody>
      </p:sp>
      <p:sp>
        <p:nvSpPr>
          <p:cNvPr id="71" name="object 71"/>
          <p:cNvSpPr/>
          <p:nvPr/>
        </p:nvSpPr>
        <p:spPr>
          <a:xfrm>
            <a:off x="7567170" y="4363125"/>
            <a:ext cx="1395283" cy="769648"/>
          </a:xfrm>
          <a:custGeom>
            <a:avLst/>
            <a:gdLst/>
            <a:ahLst/>
            <a:cxnLst/>
            <a:rect l="l" t="t" r="r" b="b"/>
            <a:pathLst>
              <a:path w="3067684" h="1692275">
                <a:moveTo>
                  <a:pt x="3067435" y="0"/>
                </a:moveTo>
                <a:lnTo>
                  <a:pt x="0" y="0"/>
                </a:lnTo>
                <a:lnTo>
                  <a:pt x="0" y="1691728"/>
                </a:lnTo>
                <a:lnTo>
                  <a:pt x="3067435" y="1691728"/>
                </a:lnTo>
                <a:lnTo>
                  <a:pt x="3067435" y="0"/>
                </a:lnTo>
                <a:close/>
              </a:path>
            </a:pathLst>
          </a:custGeom>
          <a:solidFill>
            <a:srgbClr val="FFFFFF"/>
          </a:solidFill>
        </p:spPr>
        <p:txBody>
          <a:bodyPr wrap="square" lIns="0" tIns="0" rIns="0" bIns="0" rtlCol="0"/>
          <a:lstStyle/>
          <a:p>
            <a:endParaRPr/>
          </a:p>
        </p:txBody>
      </p:sp>
      <p:sp>
        <p:nvSpPr>
          <p:cNvPr id="72" name="object 72"/>
          <p:cNvSpPr/>
          <p:nvPr/>
        </p:nvSpPr>
        <p:spPr>
          <a:xfrm>
            <a:off x="7567170" y="4366577"/>
            <a:ext cx="1395283" cy="13862"/>
          </a:xfrm>
          <a:custGeom>
            <a:avLst/>
            <a:gdLst/>
            <a:ahLst/>
            <a:cxnLst/>
            <a:rect l="l" t="t" r="r" b="b"/>
            <a:pathLst>
              <a:path w="3067684" h="30479">
                <a:moveTo>
                  <a:pt x="0" y="30376"/>
                </a:moveTo>
                <a:lnTo>
                  <a:pt x="3067435" y="30376"/>
                </a:lnTo>
                <a:lnTo>
                  <a:pt x="3067435" y="0"/>
                </a:lnTo>
                <a:lnTo>
                  <a:pt x="0" y="0"/>
                </a:lnTo>
                <a:lnTo>
                  <a:pt x="0" y="30376"/>
                </a:lnTo>
                <a:close/>
              </a:path>
            </a:pathLst>
          </a:custGeom>
          <a:solidFill>
            <a:srgbClr val="888888"/>
          </a:solidFill>
        </p:spPr>
        <p:txBody>
          <a:bodyPr wrap="square" lIns="0" tIns="0" rIns="0" bIns="0" rtlCol="0"/>
          <a:lstStyle/>
          <a:p>
            <a:endParaRPr/>
          </a:p>
        </p:txBody>
      </p:sp>
      <p:sp>
        <p:nvSpPr>
          <p:cNvPr id="73" name="object 73"/>
          <p:cNvSpPr/>
          <p:nvPr/>
        </p:nvSpPr>
        <p:spPr>
          <a:xfrm>
            <a:off x="7477374" y="4720590"/>
            <a:ext cx="89823" cy="412115"/>
          </a:xfrm>
          <a:custGeom>
            <a:avLst/>
            <a:gdLst/>
            <a:ahLst/>
            <a:cxnLst/>
            <a:rect l="l" t="t" r="r" b="b"/>
            <a:pathLst>
              <a:path w="197484" h="906145">
                <a:moveTo>
                  <a:pt x="197418" y="0"/>
                </a:moveTo>
                <a:lnTo>
                  <a:pt x="0" y="905752"/>
                </a:lnTo>
                <a:lnTo>
                  <a:pt x="197418" y="905752"/>
                </a:lnTo>
                <a:lnTo>
                  <a:pt x="197418" y="0"/>
                </a:lnTo>
                <a:close/>
              </a:path>
            </a:pathLst>
          </a:custGeom>
          <a:solidFill>
            <a:srgbClr val="888888"/>
          </a:solidFill>
        </p:spPr>
        <p:txBody>
          <a:bodyPr wrap="square" lIns="0" tIns="0" rIns="0" bIns="0" rtlCol="0"/>
          <a:lstStyle/>
          <a:p>
            <a:endParaRPr/>
          </a:p>
        </p:txBody>
      </p:sp>
      <p:sp>
        <p:nvSpPr>
          <p:cNvPr id="74" name="object 74"/>
          <p:cNvSpPr/>
          <p:nvPr/>
        </p:nvSpPr>
        <p:spPr>
          <a:xfrm>
            <a:off x="7532632" y="4307874"/>
            <a:ext cx="1464311" cy="58914"/>
          </a:xfrm>
          <a:custGeom>
            <a:avLst/>
            <a:gdLst/>
            <a:ahLst/>
            <a:cxnLst/>
            <a:rect l="l" t="t" r="r" b="b"/>
            <a:pathLst>
              <a:path w="3219450" h="129540">
                <a:moveTo>
                  <a:pt x="3219294" y="129074"/>
                </a:moveTo>
                <a:lnTo>
                  <a:pt x="0" y="129074"/>
                </a:lnTo>
                <a:lnTo>
                  <a:pt x="0" y="0"/>
                </a:lnTo>
                <a:lnTo>
                  <a:pt x="3219294" y="0"/>
                </a:lnTo>
                <a:lnTo>
                  <a:pt x="3219294" y="129074"/>
                </a:lnTo>
                <a:close/>
              </a:path>
            </a:pathLst>
          </a:custGeom>
          <a:solidFill>
            <a:srgbClr val="FFFFFF"/>
          </a:solidFill>
        </p:spPr>
        <p:txBody>
          <a:bodyPr wrap="square" lIns="0" tIns="0" rIns="0" bIns="0" rtlCol="0"/>
          <a:lstStyle/>
          <a:p>
            <a:endParaRPr/>
          </a:p>
        </p:txBody>
      </p:sp>
      <p:sp>
        <p:nvSpPr>
          <p:cNvPr id="75" name="object 75"/>
          <p:cNvSpPr/>
          <p:nvPr/>
        </p:nvSpPr>
        <p:spPr>
          <a:xfrm>
            <a:off x="8189368" y="4658281"/>
            <a:ext cx="150763" cy="332118"/>
          </a:xfrm>
          <a:custGeom>
            <a:avLst/>
            <a:gdLst/>
            <a:ahLst/>
            <a:cxnLst/>
            <a:rect l="l" t="t" r="r" b="b"/>
            <a:pathLst>
              <a:path w="331469" h="730250">
                <a:moveTo>
                  <a:pt x="0" y="144896"/>
                </a:moveTo>
                <a:lnTo>
                  <a:pt x="0" y="256431"/>
                </a:lnTo>
                <a:lnTo>
                  <a:pt x="183460" y="256431"/>
                </a:lnTo>
                <a:lnTo>
                  <a:pt x="183460" y="729674"/>
                </a:lnTo>
                <a:lnTo>
                  <a:pt x="331466" y="729674"/>
                </a:lnTo>
                <a:lnTo>
                  <a:pt x="331466" y="144930"/>
                </a:lnTo>
                <a:lnTo>
                  <a:pt x="19118" y="144930"/>
                </a:lnTo>
                <a:lnTo>
                  <a:pt x="0" y="144896"/>
                </a:lnTo>
                <a:close/>
              </a:path>
              <a:path w="331469" h="730250">
                <a:moveTo>
                  <a:pt x="331466" y="0"/>
                </a:moveTo>
                <a:lnTo>
                  <a:pt x="213689" y="0"/>
                </a:lnTo>
                <a:lnTo>
                  <a:pt x="209714" y="20005"/>
                </a:lnTo>
                <a:lnTo>
                  <a:pt x="204043" y="38318"/>
                </a:lnTo>
                <a:lnTo>
                  <a:pt x="177172" y="83243"/>
                </a:lnTo>
                <a:lnTo>
                  <a:pt x="139168" y="115179"/>
                </a:lnTo>
                <a:lnTo>
                  <a:pt x="92056" y="135121"/>
                </a:lnTo>
                <a:lnTo>
                  <a:pt x="37913" y="143990"/>
                </a:lnTo>
                <a:lnTo>
                  <a:pt x="19118" y="144930"/>
                </a:lnTo>
                <a:lnTo>
                  <a:pt x="331466" y="144930"/>
                </a:lnTo>
                <a:lnTo>
                  <a:pt x="331466" y="0"/>
                </a:lnTo>
                <a:close/>
              </a:path>
            </a:pathLst>
          </a:custGeom>
          <a:solidFill>
            <a:srgbClr val="000000"/>
          </a:solidFill>
        </p:spPr>
        <p:txBody>
          <a:bodyPr wrap="square" lIns="0" tIns="0" rIns="0" bIns="0" rtlCol="0"/>
          <a:lstStyle/>
          <a:p>
            <a:endParaRPr/>
          </a:p>
        </p:txBody>
      </p:sp>
      <p:sp>
        <p:nvSpPr>
          <p:cNvPr id="76" name="object 76"/>
          <p:cNvSpPr/>
          <p:nvPr/>
        </p:nvSpPr>
        <p:spPr>
          <a:xfrm>
            <a:off x="6904624" y="4849441"/>
            <a:ext cx="136900" cy="194361"/>
          </a:xfrm>
          <a:custGeom>
            <a:avLst/>
            <a:gdLst/>
            <a:ahLst/>
            <a:cxnLst/>
            <a:rect l="l" t="t" r="r" b="b"/>
            <a:pathLst>
              <a:path w="300990" h="427354">
                <a:moveTo>
                  <a:pt x="285616" y="72950"/>
                </a:moveTo>
                <a:lnTo>
                  <a:pt x="153963" y="72950"/>
                </a:lnTo>
                <a:lnTo>
                  <a:pt x="166830" y="74013"/>
                </a:lnTo>
                <a:lnTo>
                  <a:pt x="178489" y="77207"/>
                </a:lnTo>
                <a:lnTo>
                  <a:pt x="211129" y="110403"/>
                </a:lnTo>
                <a:lnTo>
                  <a:pt x="215427" y="137545"/>
                </a:lnTo>
                <a:lnTo>
                  <a:pt x="214902" y="146842"/>
                </a:lnTo>
                <a:lnTo>
                  <a:pt x="197450" y="185835"/>
                </a:lnTo>
                <a:lnTo>
                  <a:pt x="165519" y="215294"/>
                </a:lnTo>
                <a:lnTo>
                  <a:pt x="150573" y="225296"/>
                </a:lnTo>
                <a:lnTo>
                  <a:pt x="143287" y="230178"/>
                </a:lnTo>
                <a:lnTo>
                  <a:pt x="103710" y="258222"/>
                </a:lnTo>
                <a:lnTo>
                  <a:pt x="67870" y="285471"/>
                </a:lnTo>
                <a:lnTo>
                  <a:pt x="38082" y="315456"/>
                </a:lnTo>
                <a:lnTo>
                  <a:pt x="15836" y="350520"/>
                </a:lnTo>
                <a:lnTo>
                  <a:pt x="2567" y="392936"/>
                </a:lnTo>
                <a:lnTo>
                  <a:pt x="0" y="427013"/>
                </a:lnTo>
                <a:lnTo>
                  <a:pt x="300912" y="427013"/>
                </a:lnTo>
                <a:lnTo>
                  <a:pt x="300912" y="354062"/>
                </a:lnTo>
                <a:lnTo>
                  <a:pt x="107148" y="354062"/>
                </a:lnTo>
                <a:lnTo>
                  <a:pt x="115035" y="343621"/>
                </a:lnTo>
                <a:lnTo>
                  <a:pt x="142246" y="316388"/>
                </a:lnTo>
                <a:lnTo>
                  <a:pt x="172768" y="293307"/>
                </a:lnTo>
                <a:lnTo>
                  <a:pt x="204256" y="272025"/>
                </a:lnTo>
                <a:lnTo>
                  <a:pt x="225092" y="257751"/>
                </a:lnTo>
                <a:lnTo>
                  <a:pt x="262316" y="225741"/>
                </a:lnTo>
                <a:lnTo>
                  <a:pt x="288619" y="185376"/>
                </a:lnTo>
                <a:lnTo>
                  <a:pt x="297944" y="146245"/>
                </a:lnTo>
                <a:lnTo>
                  <a:pt x="298566" y="130948"/>
                </a:lnTo>
                <a:lnTo>
                  <a:pt x="297858" y="116077"/>
                </a:lnTo>
                <a:lnTo>
                  <a:pt x="295730" y="101948"/>
                </a:lnTo>
                <a:lnTo>
                  <a:pt x="292174" y="88563"/>
                </a:lnTo>
                <a:lnTo>
                  <a:pt x="287184" y="75924"/>
                </a:lnTo>
                <a:lnTo>
                  <a:pt x="285616" y="72950"/>
                </a:lnTo>
                <a:close/>
              </a:path>
              <a:path w="300990" h="427354">
                <a:moveTo>
                  <a:pt x="158089" y="0"/>
                </a:moveTo>
                <a:lnTo>
                  <a:pt x="107529" y="7218"/>
                </a:lnTo>
                <a:lnTo>
                  <a:pt x="66822" y="28238"/>
                </a:lnTo>
                <a:lnTo>
                  <a:pt x="36887" y="60713"/>
                </a:lnTo>
                <a:lnTo>
                  <a:pt x="17559" y="102562"/>
                </a:lnTo>
                <a:lnTo>
                  <a:pt x="9446" y="151620"/>
                </a:lnTo>
                <a:lnTo>
                  <a:pt x="9381" y="169261"/>
                </a:lnTo>
                <a:lnTo>
                  <a:pt x="89023" y="169261"/>
                </a:lnTo>
                <a:lnTo>
                  <a:pt x="89147" y="163905"/>
                </a:lnTo>
                <a:lnTo>
                  <a:pt x="89249" y="160420"/>
                </a:lnTo>
                <a:lnTo>
                  <a:pt x="96515" y="119141"/>
                </a:lnTo>
                <a:lnTo>
                  <a:pt x="117278" y="86274"/>
                </a:lnTo>
                <a:lnTo>
                  <a:pt x="153963" y="72950"/>
                </a:lnTo>
                <a:lnTo>
                  <a:pt x="285616" y="72950"/>
                </a:lnTo>
                <a:lnTo>
                  <a:pt x="280976" y="64155"/>
                </a:lnTo>
                <a:lnTo>
                  <a:pt x="256421" y="34690"/>
                </a:lnTo>
                <a:lnTo>
                  <a:pt x="224009" y="13928"/>
                </a:lnTo>
                <a:lnTo>
                  <a:pt x="185537" y="2235"/>
                </a:lnTo>
                <a:lnTo>
                  <a:pt x="171982" y="559"/>
                </a:lnTo>
                <a:lnTo>
                  <a:pt x="158089" y="0"/>
                </a:lnTo>
                <a:close/>
              </a:path>
            </a:pathLst>
          </a:custGeom>
          <a:solidFill>
            <a:srgbClr val="5A5A5A"/>
          </a:solidFill>
        </p:spPr>
        <p:txBody>
          <a:bodyPr wrap="square" lIns="0" tIns="0" rIns="0" bIns="0" rtlCol="0"/>
          <a:lstStyle/>
          <a:p>
            <a:endParaRPr/>
          </a:p>
        </p:txBody>
      </p:sp>
      <p:sp>
        <p:nvSpPr>
          <p:cNvPr id="77" name="object 77"/>
          <p:cNvSpPr/>
          <p:nvPr/>
        </p:nvSpPr>
        <p:spPr>
          <a:xfrm>
            <a:off x="3490736" y="2213166"/>
            <a:ext cx="852304" cy="835205"/>
          </a:xfrm>
          <a:custGeom>
            <a:avLst/>
            <a:gdLst/>
            <a:ahLst/>
            <a:cxnLst/>
            <a:rect l="l" t="t" r="r" b="b"/>
            <a:pathLst>
              <a:path w="1873884" h="1836420">
                <a:moveTo>
                  <a:pt x="1873471" y="917930"/>
                </a:moveTo>
                <a:lnTo>
                  <a:pt x="1872252" y="965166"/>
                </a:lnTo>
                <a:lnTo>
                  <a:pt x="1868635" y="1011783"/>
                </a:lnTo>
                <a:lnTo>
                  <a:pt x="1862678" y="1057721"/>
                </a:lnTo>
                <a:lnTo>
                  <a:pt x="1854440" y="1102924"/>
                </a:lnTo>
                <a:lnTo>
                  <a:pt x="1843980" y="1147335"/>
                </a:lnTo>
                <a:lnTo>
                  <a:pt x="1831358" y="1190894"/>
                </a:lnTo>
                <a:lnTo>
                  <a:pt x="1816630" y="1233545"/>
                </a:lnTo>
                <a:lnTo>
                  <a:pt x="1799858" y="1275229"/>
                </a:lnTo>
                <a:lnTo>
                  <a:pt x="1781099" y="1315890"/>
                </a:lnTo>
                <a:lnTo>
                  <a:pt x="1760412" y="1355469"/>
                </a:lnTo>
                <a:lnTo>
                  <a:pt x="1737857" y="1393910"/>
                </a:lnTo>
                <a:lnTo>
                  <a:pt x="1713492" y="1431153"/>
                </a:lnTo>
                <a:lnTo>
                  <a:pt x="1687375" y="1467142"/>
                </a:lnTo>
                <a:lnTo>
                  <a:pt x="1659566" y="1501818"/>
                </a:lnTo>
                <a:lnTo>
                  <a:pt x="1630124" y="1535125"/>
                </a:lnTo>
                <a:lnTo>
                  <a:pt x="1599108" y="1567004"/>
                </a:lnTo>
                <a:lnTo>
                  <a:pt x="1566576" y="1597398"/>
                </a:lnTo>
                <a:lnTo>
                  <a:pt x="1532587" y="1626249"/>
                </a:lnTo>
                <a:lnTo>
                  <a:pt x="1497200" y="1653499"/>
                </a:lnTo>
                <a:lnTo>
                  <a:pt x="1460474" y="1679092"/>
                </a:lnTo>
                <a:lnTo>
                  <a:pt x="1422467" y="1702968"/>
                </a:lnTo>
                <a:lnTo>
                  <a:pt x="1383240" y="1725071"/>
                </a:lnTo>
                <a:lnTo>
                  <a:pt x="1342849" y="1745342"/>
                </a:lnTo>
                <a:lnTo>
                  <a:pt x="1301355" y="1763724"/>
                </a:lnTo>
                <a:lnTo>
                  <a:pt x="1258817" y="1780160"/>
                </a:lnTo>
                <a:lnTo>
                  <a:pt x="1215292" y="1794591"/>
                </a:lnTo>
                <a:lnTo>
                  <a:pt x="1170840" y="1806961"/>
                </a:lnTo>
                <a:lnTo>
                  <a:pt x="1125520" y="1817211"/>
                </a:lnTo>
                <a:lnTo>
                  <a:pt x="1079391" y="1825283"/>
                </a:lnTo>
                <a:lnTo>
                  <a:pt x="1032511" y="1831121"/>
                </a:lnTo>
                <a:lnTo>
                  <a:pt x="984940" y="1834665"/>
                </a:lnTo>
                <a:lnTo>
                  <a:pt x="936735" y="1835860"/>
                </a:lnTo>
                <a:lnTo>
                  <a:pt x="888531" y="1834665"/>
                </a:lnTo>
                <a:lnTo>
                  <a:pt x="840959" y="1831121"/>
                </a:lnTo>
                <a:lnTo>
                  <a:pt x="794080" y="1825283"/>
                </a:lnTo>
                <a:lnTo>
                  <a:pt x="747950" y="1817211"/>
                </a:lnTo>
                <a:lnTo>
                  <a:pt x="702630" y="1806961"/>
                </a:lnTo>
                <a:lnTo>
                  <a:pt x="658179" y="1794591"/>
                </a:lnTo>
                <a:lnTo>
                  <a:pt x="614654" y="1780160"/>
                </a:lnTo>
                <a:lnTo>
                  <a:pt x="572115" y="1763724"/>
                </a:lnTo>
                <a:lnTo>
                  <a:pt x="530621" y="1745342"/>
                </a:lnTo>
                <a:lnTo>
                  <a:pt x="490231" y="1725071"/>
                </a:lnTo>
                <a:lnTo>
                  <a:pt x="451003" y="1702968"/>
                </a:lnTo>
                <a:lnTo>
                  <a:pt x="412997" y="1679092"/>
                </a:lnTo>
                <a:lnTo>
                  <a:pt x="376271" y="1653499"/>
                </a:lnTo>
                <a:lnTo>
                  <a:pt x="340884" y="1626249"/>
                </a:lnTo>
                <a:lnTo>
                  <a:pt x="306895" y="1597398"/>
                </a:lnTo>
                <a:lnTo>
                  <a:pt x="274363" y="1567004"/>
                </a:lnTo>
                <a:lnTo>
                  <a:pt x="243346" y="1535125"/>
                </a:lnTo>
                <a:lnTo>
                  <a:pt x="213904" y="1501818"/>
                </a:lnTo>
                <a:lnTo>
                  <a:pt x="186096" y="1467142"/>
                </a:lnTo>
                <a:lnTo>
                  <a:pt x="159979" y="1431153"/>
                </a:lnTo>
                <a:lnTo>
                  <a:pt x="135614" y="1393910"/>
                </a:lnTo>
                <a:lnTo>
                  <a:pt x="113058" y="1355469"/>
                </a:lnTo>
                <a:lnTo>
                  <a:pt x="92372" y="1315890"/>
                </a:lnTo>
                <a:lnTo>
                  <a:pt x="73613" y="1275229"/>
                </a:lnTo>
                <a:lnTo>
                  <a:pt x="56840" y="1233545"/>
                </a:lnTo>
                <a:lnTo>
                  <a:pt x="42113" y="1190894"/>
                </a:lnTo>
                <a:lnTo>
                  <a:pt x="29490" y="1147335"/>
                </a:lnTo>
                <a:lnTo>
                  <a:pt x="19031" y="1102924"/>
                </a:lnTo>
                <a:lnTo>
                  <a:pt x="10793" y="1057721"/>
                </a:lnTo>
                <a:lnTo>
                  <a:pt x="4836" y="1011783"/>
                </a:lnTo>
                <a:lnTo>
                  <a:pt x="1218" y="965166"/>
                </a:lnTo>
                <a:lnTo>
                  <a:pt x="0" y="917930"/>
                </a:lnTo>
                <a:lnTo>
                  <a:pt x="1218" y="870693"/>
                </a:lnTo>
                <a:lnTo>
                  <a:pt x="4836" y="824077"/>
                </a:lnTo>
                <a:lnTo>
                  <a:pt x="10793" y="778138"/>
                </a:lnTo>
                <a:lnTo>
                  <a:pt x="19031" y="732935"/>
                </a:lnTo>
                <a:lnTo>
                  <a:pt x="29490" y="688525"/>
                </a:lnTo>
                <a:lnTo>
                  <a:pt x="42113" y="644965"/>
                </a:lnTo>
                <a:lnTo>
                  <a:pt x="56840" y="602315"/>
                </a:lnTo>
                <a:lnTo>
                  <a:pt x="73613" y="560630"/>
                </a:lnTo>
                <a:lnTo>
                  <a:pt x="92372" y="519969"/>
                </a:lnTo>
                <a:lnTo>
                  <a:pt x="113058" y="480390"/>
                </a:lnTo>
                <a:lnTo>
                  <a:pt x="135614" y="441950"/>
                </a:lnTo>
                <a:lnTo>
                  <a:pt x="159979" y="404706"/>
                </a:lnTo>
                <a:lnTo>
                  <a:pt x="186096" y="368718"/>
                </a:lnTo>
                <a:lnTo>
                  <a:pt x="213904" y="334041"/>
                </a:lnTo>
                <a:lnTo>
                  <a:pt x="243346" y="300734"/>
                </a:lnTo>
                <a:lnTo>
                  <a:pt x="274363" y="268855"/>
                </a:lnTo>
                <a:lnTo>
                  <a:pt x="306895" y="238461"/>
                </a:lnTo>
                <a:lnTo>
                  <a:pt x="340884" y="209610"/>
                </a:lnTo>
                <a:lnTo>
                  <a:pt x="376271" y="182360"/>
                </a:lnTo>
                <a:lnTo>
                  <a:pt x="412997" y="156768"/>
                </a:lnTo>
                <a:lnTo>
                  <a:pt x="451003" y="132891"/>
                </a:lnTo>
                <a:lnTo>
                  <a:pt x="490231" y="110789"/>
                </a:lnTo>
                <a:lnTo>
                  <a:pt x="530621" y="90517"/>
                </a:lnTo>
                <a:lnTo>
                  <a:pt x="572115" y="72135"/>
                </a:lnTo>
                <a:lnTo>
                  <a:pt x="614654" y="55699"/>
                </a:lnTo>
                <a:lnTo>
                  <a:pt x="658179" y="41268"/>
                </a:lnTo>
                <a:lnTo>
                  <a:pt x="702630" y="28898"/>
                </a:lnTo>
                <a:lnTo>
                  <a:pt x="747950" y="18649"/>
                </a:lnTo>
                <a:lnTo>
                  <a:pt x="794080" y="10576"/>
                </a:lnTo>
                <a:lnTo>
                  <a:pt x="840959" y="4739"/>
                </a:lnTo>
                <a:lnTo>
                  <a:pt x="888531" y="1194"/>
                </a:lnTo>
                <a:lnTo>
                  <a:pt x="936735" y="0"/>
                </a:lnTo>
                <a:lnTo>
                  <a:pt x="984940" y="1194"/>
                </a:lnTo>
                <a:lnTo>
                  <a:pt x="1032511" y="4739"/>
                </a:lnTo>
                <a:lnTo>
                  <a:pt x="1079391" y="10576"/>
                </a:lnTo>
                <a:lnTo>
                  <a:pt x="1125520" y="18649"/>
                </a:lnTo>
                <a:lnTo>
                  <a:pt x="1170840" y="28898"/>
                </a:lnTo>
                <a:lnTo>
                  <a:pt x="1215292" y="41268"/>
                </a:lnTo>
                <a:lnTo>
                  <a:pt x="1258817" y="55699"/>
                </a:lnTo>
                <a:lnTo>
                  <a:pt x="1301355" y="72135"/>
                </a:lnTo>
                <a:lnTo>
                  <a:pt x="1342849" y="90517"/>
                </a:lnTo>
                <a:lnTo>
                  <a:pt x="1383240" y="110789"/>
                </a:lnTo>
                <a:lnTo>
                  <a:pt x="1422467" y="132891"/>
                </a:lnTo>
                <a:lnTo>
                  <a:pt x="1460474" y="156768"/>
                </a:lnTo>
                <a:lnTo>
                  <a:pt x="1497200" y="182360"/>
                </a:lnTo>
                <a:lnTo>
                  <a:pt x="1532587" y="209610"/>
                </a:lnTo>
                <a:lnTo>
                  <a:pt x="1566576" y="238461"/>
                </a:lnTo>
                <a:lnTo>
                  <a:pt x="1599108" y="268855"/>
                </a:lnTo>
                <a:lnTo>
                  <a:pt x="1630124" y="300734"/>
                </a:lnTo>
                <a:lnTo>
                  <a:pt x="1659566" y="334041"/>
                </a:lnTo>
                <a:lnTo>
                  <a:pt x="1687375" y="368718"/>
                </a:lnTo>
                <a:lnTo>
                  <a:pt x="1713492" y="404706"/>
                </a:lnTo>
                <a:lnTo>
                  <a:pt x="1737857" y="441950"/>
                </a:lnTo>
                <a:lnTo>
                  <a:pt x="1760412" y="480390"/>
                </a:lnTo>
                <a:lnTo>
                  <a:pt x="1781099" y="519969"/>
                </a:lnTo>
                <a:lnTo>
                  <a:pt x="1799858" y="560630"/>
                </a:lnTo>
                <a:lnTo>
                  <a:pt x="1816630" y="602315"/>
                </a:lnTo>
                <a:lnTo>
                  <a:pt x="1831358" y="644965"/>
                </a:lnTo>
                <a:lnTo>
                  <a:pt x="1843980" y="688525"/>
                </a:lnTo>
                <a:lnTo>
                  <a:pt x="1854440" y="732935"/>
                </a:lnTo>
                <a:lnTo>
                  <a:pt x="1862678" y="778138"/>
                </a:lnTo>
                <a:lnTo>
                  <a:pt x="1868635" y="824077"/>
                </a:lnTo>
                <a:lnTo>
                  <a:pt x="1872252" y="870693"/>
                </a:lnTo>
                <a:lnTo>
                  <a:pt x="1873471" y="917930"/>
                </a:lnTo>
                <a:close/>
              </a:path>
            </a:pathLst>
          </a:custGeom>
          <a:ln w="18638">
            <a:solidFill>
              <a:srgbClr val="808080"/>
            </a:solidFill>
          </a:ln>
        </p:spPr>
        <p:txBody>
          <a:bodyPr wrap="square" lIns="0" tIns="0" rIns="0" bIns="0" rtlCol="0"/>
          <a:lstStyle/>
          <a:p>
            <a:endParaRPr/>
          </a:p>
        </p:txBody>
      </p:sp>
      <p:sp>
        <p:nvSpPr>
          <p:cNvPr id="78" name="object 78"/>
          <p:cNvSpPr/>
          <p:nvPr/>
        </p:nvSpPr>
        <p:spPr>
          <a:xfrm>
            <a:off x="3574614" y="2088415"/>
            <a:ext cx="866167" cy="1057869"/>
          </a:xfrm>
          <a:custGeom>
            <a:avLst/>
            <a:gdLst/>
            <a:ahLst/>
            <a:cxnLst/>
            <a:rect l="l" t="t" r="r" b="b"/>
            <a:pathLst>
              <a:path w="1904365" h="2326004">
                <a:moveTo>
                  <a:pt x="348387" y="1637814"/>
                </a:moveTo>
                <a:lnTo>
                  <a:pt x="0" y="2058953"/>
                </a:lnTo>
                <a:lnTo>
                  <a:pt x="39712" y="2090376"/>
                </a:lnTo>
                <a:lnTo>
                  <a:pt x="80615" y="2119945"/>
                </a:lnTo>
                <a:lnTo>
                  <a:pt x="122643" y="2147636"/>
                </a:lnTo>
                <a:lnTo>
                  <a:pt x="165730" y="2173424"/>
                </a:lnTo>
                <a:lnTo>
                  <a:pt x="209809" y="2197285"/>
                </a:lnTo>
                <a:lnTo>
                  <a:pt x="254815" y="2219197"/>
                </a:lnTo>
                <a:lnTo>
                  <a:pt x="300680" y="2239135"/>
                </a:lnTo>
                <a:lnTo>
                  <a:pt x="347340" y="2257075"/>
                </a:lnTo>
                <a:lnTo>
                  <a:pt x="394727" y="2272993"/>
                </a:lnTo>
                <a:lnTo>
                  <a:pt x="442776" y="2286867"/>
                </a:lnTo>
                <a:lnTo>
                  <a:pt x="491421" y="2298671"/>
                </a:lnTo>
                <a:lnTo>
                  <a:pt x="540596" y="2308383"/>
                </a:lnTo>
                <a:lnTo>
                  <a:pt x="590233" y="2315978"/>
                </a:lnTo>
                <a:lnTo>
                  <a:pt x="640268" y="2321432"/>
                </a:lnTo>
                <a:lnTo>
                  <a:pt x="690634" y="2324722"/>
                </a:lnTo>
                <a:lnTo>
                  <a:pt x="741265" y="2325824"/>
                </a:lnTo>
                <a:lnTo>
                  <a:pt x="789200" y="2324854"/>
                </a:lnTo>
                <a:lnTo>
                  <a:pt x="836642" y="2321969"/>
                </a:lnTo>
                <a:lnTo>
                  <a:pt x="883554" y="2317206"/>
                </a:lnTo>
                <a:lnTo>
                  <a:pt x="929897" y="2310603"/>
                </a:lnTo>
                <a:lnTo>
                  <a:pt x="975634" y="2302198"/>
                </a:lnTo>
                <a:lnTo>
                  <a:pt x="1020728" y="2292027"/>
                </a:lnTo>
                <a:lnTo>
                  <a:pt x="1065142" y="2280128"/>
                </a:lnTo>
                <a:lnTo>
                  <a:pt x="1108837" y="2266538"/>
                </a:lnTo>
                <a:lnTo>
                  <a:pt x="1151778" y="2251295"/>
                </a:lnTo>
                <a:lnTo>
                  <a:pt x="1193926" y="2234437"/>
                </a:lnTo>
                <a:lnTo>
                  <a:pt x="1235243" y="2216000"/>
                </a:lnTo>
                <a:lnTo>
                  <a:pt x="1275693" y="2196022"/>
                </a:lnTo>
                <a:lnTo>
                  <a:pt x="1315238" y="2174540"/>
                </a:lnTo>
                <a:lnTo>
                  <a:pt x="1353841" y="2151593"/>
                </a:lnTo>
                <a:lnTo>
                  <a:pt x="1391464" y="2127217"/>
                </a:lnTo>
                <a:lnTo>
                  <a:pt x="1428070" y="2101449"/>
                </a:lnTo>
                <a:lnTo>
                  <a:pt x="1463621" y="2074328"/>
                </a:lnTo>
                <a:lnTo>
                  <a:pt x="1498080" y="2045890"/>
                </a:lnTo>
                <a:lnTo>
                  <a:pt x="1531409" y="2016174"/>
                </a:lnTo>
                <a:lnTo>
                  <a:pt x="1563572" y="1985215"/>
                </a:lnTo>
                <a:lnTo>
                  <a:pt x="1594531" y="1953053"/>
                </a:lnTo>
                <a:lnTo>
                  <a:pt x="1624248" y="1919723"/>
                </a:lnTo>
                <a:lnTo>
                  <a:pt x="1652686" y="1885264"/>
                </a:lnTo>
                <a:lnTo>
                  <a:pt x="1679807" y="1849713"/>
                </a:lnTo>
                <a:lnTo>
                  <a:pt x="1705575" y="1813108"/>
                </a:lnTo>
                <a:lnTo>
                  <a:pt x="1727540" y="1779206"/>
                </a:lnTo>
                <a:lnTo>
                  <a:pt x="731725" y="1779206"/>
                </a:lnTo>
                <a:lnTo>
                  <a:pt x="686635" y="1776889"/>
                </a:lnTo>
                <a:lnTo>
                  <a:pt x="641719" y="1771267"/>
                </a:lnTo>
                <a:lnTo>
                  <a:pt x="597170" y="1762320"/>
                </a:lnTo>
                <a:lnTo>
                  <a:pt x="553181" y="1750031"/>
                </a:lnTo>
                <a:lnTo>
                  <a:pt x="509945" y="1734382"/>
                </a:lnTo>
                <a:lnTo>
                  <a:pt x="467655" y="1715353"/>
                </a:lnTo>
                <a:lnTo>
                  <a:pt x="426503" y="1692928"/>
                </a:lnTo>
                <a:lnTo>
                  <a:pt x="386683" y="1667088"/>
                </a:lnTo>
                <a:lnTo>
                  <a:pt x="348387" y="1637814"/>
                </a:lnTo>
                <a:close/>
              </a:path>
              <a:path w="1904365" h="2326004">
                <a:moveTo>
                  <a:pt x="741265" y="0"/>
                </a:moveTo>
                <a:lnTo>
                  <a:pt x="741265" y="546569"/>
                </a:lnTo>
                <a:lnTo>
                  <a:pt x="788873" y="548410"/>
                </a:lnTo>
                <a:lnTo>
                  <a:pt x="835951" y="553885"/>
                </a:lnTo>
                <a:lnTo>
                  <a:pt x="882304" y="562923"/>
                </a:lnTo>
                <a:lnTo>
                  <a:pt x="927734" y="575454"/>
                </a:lnTo>
                <a:lnTo>
                  <a:pt x="972044" y="591406"/>
                </a:lnTo>
                <a:lnTo>
                  <a:pt x="1015037" y="610708"/>
                </a:lnTo>
                <a:lnTo>
                  <a:pt x="1056515" y="633291"/>
                </a:lnTo>
                <a:lnTo>
                  <a:pt x="1096283" y="659081"/>
                </a:lnTo>
                <a:lnTo>
                  <a:pt x="1134143" y="688010"/>
                </a:lnTo>
                <a:lnTo>
                  <a:pt x="1170073" y="720142"/>
                </a:lnTo>
                <a:lnTo>
                  <a:pt x="1202917" y="754414"/>
                </a:lnTo>
                <a:lnTo>
                  <a:pt x="1232655" y="790634"/>
                </a:lnTo>
                <a:lnTo>
                  <a:pt x="1259270" y="828610"/>
                </a:lnTo>
                <a:lnTo>
                  <a:pt x="1282743" y="868147"/>
                </a:lnTo>
                <a:lnTo>
                  <a:pt x="1303056" y="909054"/>
                </a:lnTo>
                <a:lnTo>
                  <a:pt x="1320191" y="951137"/>
                </a:lnTo>
                <a:lnTo>
                  <a:pt x="1334129" y="994204"/>
                </a:lnTo>
                <a:lnTo>
                  <a:pt x="1344853" y="1038061"/>
                </a:lnTo>
                <a:lnTo>
                  <a:pt x="1352344" y="1082516"/>
                </a:lnTo>
                <a:lnTo>
                  <a:pt x="1356584" y="1127375"/>
                </a:lnTo>
                <a:lnTo>
                  <a:pt x="1357555" y="1172446"/>
                </a:lnTo>
                <a:lnTo>
                  <a:pt x="1355238" y="1217536"/>
                </a:lnTo>
                <a:lnTo>
                  <a:pt x="1349615" y="1262452"/>
                </a:lnTo>
                <a:lnTo>
                  <a:pt x="1340668" y="1307001"/>
                </a:lnTo>
                <a:lnTo>
                  <a:pt x="1328379" y="1350990"/>
                </a:lnTo>
                <a:lnTo>
                  <a:pt x="1312730" y="1394226"/>
                </a:lnTo>
                <a:lnTo>
                  <a:pt x="1293701" y="1436517"/>
                </a:lnTo>
                <a:lnTo>
                  <a:pt x="1271276" y="1477668"/>
                </a:lnTo>
                <a:lnTo>
                  <a:pt x="1245435" y="1517489"/>
                </a:lnTo>
                <a:lnTo>
                  <a:pt x="1216161" y="1555785"/>
                </a:lnTo>
                <a:lnTo>
                  <a:pt x="1184030" y="1591716"/>
                </a:lnTo>
                <a:lnTo>
                  <a:pt x="1149757" y="1624561"/>
                </a:lnTo>
                <a:lnTo>
                  <a:pt x="1113537" y="1654300"/>
                </a:lnTo>
                <a:lnTo>
                  <a:pt x="1075562" y="1680916"/>
                </a:lnTo>
                <a:lnTo>
                  <a:pt x="1036024" y="1704390"/>
                </a:lnTo>
                <a:lnTo>
                  <a:pt x="995117" y="1724704"/>
                </a:lnTo>
                <a:lnTo>
                  <a:pt x="953034" y="1741840"/>
                </a:lnTo>
                <a:lnTo>
                  <a:pt x="909967" y="1755779"/>
                </a:lnTo>
                <a:lnTo>
                  <a:pt x="866110" y="1766503"/>
                </a:lnTo>
                <a:lnTo>
                  <a:pt x="821656" y="1773995"/>
                </a:lnTo>
                <a:lnTo>
                  <a:pt x="776796" y="1778235"/>
                </a:lnTo>
                <a:lnTo>
                  <a:pt x="731725" y="1779206"/>
                </a:lnTo>
                <a:lnTo>
                  <a:pt x="1727540" y="1779206"/>
                </a:lnTo>
                <a:lnTo>
                  <a:pt x="1752899" y="1736883"/>
                </a:lnTo>
                <a:lnTo>
                  <a:pt x="1774380" y="1697338"/>
                </a:lnTo>
                <a:lnTo>
                  <a:pt x="1794358" y="1656889"/>
                </a:lnTo>
                <a:lnTo>
                  <a:pt x="1812795" y="1615572"/>
                </a:lnTo>
                <a:lnTo>
                  <a:pt x="1829653" y="1573424"/>
                </a:lnTo>
                <a:lnTo>
                  <a:pt x="1844896" y="1530484"/>
                </a:lnTo>
                <a:lnTo>
                  <a:pt x="1858486" y="1486789"/>
                </a:lnTo>
                <a:lnTo>
                  <a:pt x="1870385" y="1442376"/>
                </a:lnTo>
                <a:lnTo>
                  <a:pt x="1880556" y="1397282"/>
                </a:lnTo>
                <a:lnTo>
                  <a:pt x="1888962" y="1351546"/>
                </a:lnTo>
                <a:lnTo>
                  <a:pt x="1895565" y="1305204"/>
                </a:lnTo>
                <a:lnTo>
                  <a:pt x="1900327" y="1258293"/>
                </a:lnTo>
                <a:lnTo>
                  <a:pt x="1903212" y="1210852"/>
                </a:lnTo>
                <a:lnTo>
                  <a:pt x="1904182" y="1162917"/>
                </a:lnTo>
                <a:lnTo>
                  <a:pt x="1903212" y="1114981"/>
                </a:lnTo>
                <a:lnTo>
                  <a:pt x="1900327" y="1067539"/>
                </a:lnTo>
                <a:lnTo>
                  <a:pt x="1895565" y="1020628"/>
                </a:lnTo>
                <a:lnTo>
                  <a:pt x="1888962" y="974285"/>
                </a:lnTo>
                <a:lnTo>
                  <a:pt x="1880556" y="928548"/>
                </a:lnTo>
                <a:lnTo>
                  <a:pt x="1870385" y="883454"/>
                </a:lnTo>
                <a:lnTo>
                  <a:pt x="1858486" y="839040"/>
                </a:lnTo>
                <a:lnTo>
                  <a:pt x="1844896" y="795344"/>
                </a:lnTo>
                <a:lnTo>
                  <a:pt x="1829653" y="752404"/>
                </a:lnTo>
                <a:lnTo>
                  <a:pt x="1812795" y="710256"/>
                </a:lnTo>
                <a:lnTo>
                  <a:pt x="1794358" y="668939"/>
                </a:lnTo>
                <a:lnTo>
                  <a:pt x="1774380" y="628489"/>
                </a:lnTo>
                <a:lnTo>
                  <a:pt x="1752899" y="588944"/>
                </a:lnTo>
                <a:lnTo>
                  <a:pt x="1729951" y="550341"/>
                </a:lnTo>
                <a:lnTo>
                  <a:pt x="1705575" y="512718"/>
                </a:lnTo>
                <a:lnTo>
                  <a:pt x="1679807" y="476112"/>
                </a:lnTo>
                <a:lnTo>
                  <a:pt x="1652686" y="440561"/>
                </a:lnTo>
                <a:lnTo>
                  <a:pt x="1624248" y="406102"/>
                </a:lnTo>
                <a:lnTo>
                  <a:pt x="1594531" y="372772"/>
                </a:lnTo>
                <a:lnTo>
                  <a:pt x="1563572" y="340610"/>
                </a:lnTo>
                <a:lnTo>
                  <a:pt x="1531409" y="309651"/>
                </a:lnTo>
                <a:lnTo>
                  <a:pt x="1498080" y="279934"/>
                </a:lnTo>
                <a:lnTo>
                  <a:pt x="1463621" y="251496"/>
                </a:lnTo>
                <a:lnTo>
                  <a:pt x="1428070" y="224375"/>
                </a:lnTo>
                <a:lnTo>
                  <a:pt x="1391464" y="198607"/>
                </a:lnTo>
                <a:lnTo>
                  <a:pt x="1353841" y="174231"/>
                </a:lnTo>
                <a:lnTo>
                  <a:pt x="1315238" y="151283"/>
                </a:lnTo>
                <a:lnTo>
                  <a:pt x="1275693" y="129802"/>
                </a:lnTo>
                <a:lnTo>
                  <a:pt x="1235243" y="109824"/>
                </a:lnTo>
                <a:lnTo>
                  <a:pt x="1193926" y="91387"/>
                </a:lnTo>
                <a:lnTo>
                  <a:pt x="1151778" y="74528"/>
                </a:lnTo>
                <a:lnTo>
                  <a:pt x="1108837" y="59286"/>
                </a:lnTo>
                <a:lnTo>
                  <a:pt x="1065142" y="45696"/>
                </a:lnTo>
                <a:lnTo>
                  <a:pt x="1020728" y="33797"/>
                </a:lnTo>
                <a:lnTo>
                  <a:pt x="975634" y="23626"/>
                </a:lnTo>
                <a:lnTo>
                  <a:pt x="929897" y="15220"/>
                </a:lnTo>
                <a:lnTo>
                  <a:pt x="883554" y="8617"/>
                </a:lnTo>
                <a:lnTo>
                  <a:pt x="836642" y="3855"/>
                </a:lnTo>
                <a:lnTo>
                  <a:pt x="789200" y="969"/>
                </a:lnTo>
                <a:lnTo>
                  <a:pt x="741265" y="0"/>
                </a:lnTo>
                <a:close/>
              </a:path>
            </a:pathLst>
          </a:custGeom>
          <a:solidFill>
            <a:srgbClr val="FF7900"/>
          </a:solidFill>
        </p:spPr>
        <p:txBody>
          <a:bodyPr wrap="square" lIns="0" tIns="0" rIns="0" bIns="0" rtlCol="0"/>
          <a:lstStyle/>
          <a:p>
            <a:endParaRPr dirty="0"/>
          </a:p>
        </p:txBody>
      </p:sp>
      <p:sp>
        <p:nvSpPr>
          <p:cNvPr id="79" name="object 79"/>
          <p:cNvSpPr txBox="1"/>
          <p:nvPr/>
        </p:nvSpPr>
        <p:spPr>
          <a:xfrm>
            <a:off x="3617067" y="4046756"/>
            <a:ext cx="514675" cy="297462"/>
          </a:xfrm>
          <a:prstGeom prst="rect">
            <a:avLst/>
          </a:prstGeom>
        </p:spPr>
        <p:txBody>
          <a:bodyPr vert="horz" wrap="square" lIns="0" tIns="6931" rIns="0" bIns="0" rtlCol="0">
            <a:spAutoFit/>
          </a:bodyPr>
          <a:lstStyle/>
          <a:p>
            <a:pPr marL="5776">
              <a:spcBef>
                <a:spcPts val="55"/>
              </a:spcBef>
            </a:pPr>
            <a:r>
              <a:rPr sz="1900" b="1" spc="7" dirty="0">
                <a:solidFill>
                  <a:srgbClr val="FF7900"/>
                </a:solidFill>
                <a:latin typeface="Helvetica Neue"/>
                <a:cs typeface="Helvetica Neue"/>
              </a:rPr>
              <a:t>70%</a:t>
            </a:r>
            <a:endParaRPr sz="1900">
              <a:latin typeface="Helvetica Neue"/>
              <a:cs typeface="Helvetica Neue"/>
            </a:endParaRPr>
          </a:p>
        </p:txBody>
      </p:sp>
      <p:sp>
        <p:nvSpPr>
          <p:cNvPr id="80" name="object 80"/>
          <p:cNvSpPr/>
          <p:nvPr/>
        </p:nvSpPr>
        <p:spPr>
          <a:xfrm>
            <a:off x="3505809" y="3831427"/>
            <a:ext cx="852304" cy="835205"/>
          </a:xfrm>
          <a:custGeom>
            <a:avLst/>
            <a:gdLst/>
            <a:ahLst/>
            <a:cxnLst/>
            <a:rect l="l" t="t" r="r" b="b"/>
            <a:pathLst>
              <a:path w="1873884" h="1836420">
                <a:moveTo>
                  <a:pt x="1873482" y="917930"/>
                </a:moveTo>
                <a:lnTo>
                  <a:pt x="1872263" y="965166"/>
                </a:lnTo>
                <a:lnTo>
                  <a:pt x="1868645" y="1011783"/>
                </a:lnTo>
                <a:lnTo>
                  <a:pt x="1862688" y="1057721"/>
                </a:lnTo>
                <a:lnTo>
                  <a:pt x="1854450" y="1102924"/>
                </a:lnTo>
                <a:lnTo>
                  <a:pt x="1843990" y="1147335"/>
                </a:lnTo>
                <a:lnTo>
                  <a:pt x="1831367" y="1190894"/>
                </a:lnTo>
                <a:lnTo>
                  <a:pt x="1816640" y="1233545"/>
                </a:lnTo>
                <a:lnTo>
                  <a:pt x="1799867" y="1275229"/>
                </a:lnTo>
                <a:lnTo>
                  <a:pt x="1781107" y="1315890"/>
                </a:lnTo>
                <a:lnTo>
                  <a:pt x="1760420" y="1355469"/>
                </a:lnTo>
                <a:lnTo>
                  <a:pt x="1737865" y="1393910"/>
                </a:lnTo>
                <a:lnTo>
                  <a:pt x="1713499" y="1431153"/>
                </a:lnTo>
                <a:lnTo>
                  <a:pt x="1687382" y="1467142"/>
                </a:lnTo>
                <a:lnTo>
                  <a:pt x="1659573" y="1501818"/>
                </a:lnTo>
                <a:lnTo>
                  <a:pt x="1630130" y="1535125"/>
                </a:lnTo>
                <a:lnTo>
                  <a:pt x="1599113" y="1567004"/>
                </a:lnTo>
                <a:lnTo>
                  <a:pt x="1566580" y="1597398"/>
                </a:lnTo>
                <a:lnTo>
                  <a:pt x="1532591" y="1626249"/>
                </a:lnTo>
                <a:lnTo>
                  <a:pt x="1497203" y="1653499"/>
                </a:lnTo>
                <a:lnTo>
                  <a:pt x="1460477" y="1679092"/>
                </a:lnTo>
                <a:lnTo>
                  <a:pt x="1422470" y="1702968"/>
                </a:lnTo>
                <a:lnTo>
                  <a:pt x="1383242" y="1725071"/>
                </a:lnTo>
                <a:lnTo>
                  <a:pt x="1342851" y="1745342"/>
                </a:lnTo>
                <a:lnTo>
                  <a:pt x="1301357" y="1763724"/>
                </a:lnTo>
                <a:lnTo>
                  <a:pt x="1258818" y="1780160"/>
                </a:lnTo>
                <a:lnTo>
                  <a:pt x="1215293" y="1794591"/>
                </a:lnTo>
                <a:lnTo>
                  <a:pt x="1170841" y="1806961"/>
                </a:lnTo>
                <a:lnTo>
                  <a:pt x="1125521" y="1817211"/>
                </a:lnTo>
                <a:lnTo>
                  <a:pt x="1079391" y="1825283"/>
                </a:lnTo>
                <a:lnTo>
                  <a:pt x="1032511" y="1831121"/>
                </a:lnTo>
                <a:lnTo>
                  <a:pt x="984940" y="1834665"/>
                </a:lnTo>
                <a:lnTo>
                  <a:pt x="936735" y="1835860"/>
                </a:lnTo>
                <a:lnTo>
                  <a:pt x="888532" y="1834665"/>
                </a:lnTo>
                <a:lnTo>
                  <a:pt x="840961" y="1831121"/>
                </a:lnTo>
                <a:lnTo>
                  <a:pt x="794082" y="1825283"/>
                </a:lnTo>
                <a:lnTo>
                  <a:pt x="747953" y="1817211"/>
                </a:lnTo>
                <a:lnTo>
                  <a:pt x="702634" y="1806961"/>
                </a:lnTo>
                <a:lnTo>
                  <a:pt x="658182" y="1794591"/>
                </a:lnTo>
                <a:lnTo>
                  <a:pt x="614658" y="1780160"/>
                </a:lnTo>
                <a:lnTo>
                  <a:pt x="572120" y="1763724"/>
                </a:lnTo>
                <a:lnTo>
                  <a:pt x="530626" y="1745342"/>
                </a:lnTo>
                <a:lnTo>
                  <a:pt x="490236" y="1725071"/>
                </a:lnTo>
                <a:lnTo>
                  <a:pt x="451008" y="1702968"/>
                </a:lnTo>
                <a:lnTo>
                  <a:pt x="413002" y="1679092"/>
                </a:lnTo>
                <a:lnTo>
                  <a:pt x="376276" y="1653499"/>
                </a:lnTo>
                <a:lnTo>
                  <a:pt x="340888" y="1626249"/>
                </a:lnTo>
                <a:lnTo>
                  <a:pt x="306899" y="1597398"/>
                </a:lnTo>
                <a:lnTo>
                  <a:pt x="274367" y="1567004"/>
                </a:lnTo>
                <a:lnTo>
                  <a:pt x="243350" y="1535125"/>
                </a:lnTo>
                <a:lnTo>
                  <a:pt x="213908" y="1501818"/>
                </a:lnTo>
                <a:lnTo>
                  <a:pt x="186099" y="1467142"/>
                </a:lnTo>
                <a:lnTo>
                  <a:pt x="159982" y="1431153"/>
                </a:lnTo>
                <a:lnTo>
                  <a:pt x="135616" y="1393910"/>
                </a:lnTo>
                <a:lnTo>
                  <a:pt x="113060" y="1355469"/>
                </a:lnTo>
                <a:lnTo>
                  <a:pt x="92374" y="1315890"/>
                </a:lnTo>
                <a:lnTo>
                  <a:pt x="73614" y="1275229"/>
                </a:lnTo>
                <a:lnTo>
                  <a:pt x="56841" y="1233545"/>
                </a:lnTo>
                <a:lnTo>
                  <a:pt x="42114" y="1190894"/>
                </a:lnTo>
                <a:lnTo>
                  <a:pt x="29491" y="1147335"/>
                </a:lnTo>
                <a:lnTo>
                  <a:pt x="19031" y="1102924"/>
                </a:lnTo>
                <a:lnTo>
                  <a:pt x="10793" y="1057721"/>
                </a:lnTo>
                <a:lnTo>
                  <a:pt x="4836" y="1011783"/>
                </a:lnTo>
                <a:lnTo>
                  <a:pt x="1218" y="965166"/>
                </a:lnTo>
                <a:lnTo>
                  <a:pt x="0" y="917930"/>
                </a:lnTo>
                <a:lnTo>
                  <a:pt x="1218" y="870693"/>
                </a:lnTo>
                <a:lnTo>
                  <a:pt x="4836" y="824077"/>
                </a:lnTo>
                <a:lnTo>
                  <a:pt x="10793" y="778138"/>
                </a:lnTo>
                <a:lnTo>
                  <a:pt x="19031" y="732935"/>
                </a:lnTo>
                <a:lnTo>
                  <a:pt x="29491" y="688525"/>
                </a:lnTo>
                <a:lnTo>
                  <a:pt x="42114" y="644965"/>
                </a:lnTo>
                <a:lnTo>
                  <a:pt x="56841" y="602315"/>
                </a:lnTo>
                <a:lnTo>
                  <a:pt x="73614" y="560630"/>
                </a:lnTo>
                <a:lnTo>
                  <a:pt x="92374" y="519969"/>
                </a:lnTo>
                <a:lnTo>
                  <a:pt x="113060" y="480390"/>
                </a:lnTo>
                <a:lnTo>
                  <a:pt x="135616" y="441950"/>
                </a:lnTo>
                <a:lnTo>
                  <a:pt x="159982" y="404706"/>
                </a:lnTo>
                <a:lnTo>
                  <a:pt x="186099" y="368718"/>
                </a:lnTo>
                <a:lnTo>
                  <a:pt x="213908" y="334041"/>
                </a:lnTo>
                <a:lnTo>
                  <a:pt x="243350" y="300734"/>
                </a:lnTo>
                <a:lnTo>
                  <a:pt x="274367" y="268855"/>
                </a:lnTo>
                <a:lnTo>
                  <a:pt x="306899" y="238461"/>
                </a:lnTo>
                <a:lnTo>
                  <a:pt x="340888" y="209610"/>
                </a:lnTo>
                <a:lnTo>
                  <a:pt x="376276" y="182360"/>
                </a:lnTo>
                <a:lnTo>
                  <a:pt x="413002" y="156768"/>
                </a:lnTo>
                <a:lnTo>
                  <a:pt x="451008" y="132891"/>
                </a:lnTo>
                <a:lnTo>
                  <a:pt x="490236" y="110789"/>
                </a:lnTo>
                <a:lnTo>
                  <a:pt x="530626" y="90517"/>
                </a:lnTo>
                <a:lnTo>
                  <a:pt x="572120" y="72135"/>
                </a:lnTo>
                <a:lnTo>
                  <a:pt x="614658" y="55699"/>
                </a:lnTo>
                <a:lnTo>
                  <a:pt x="658182" y="41268"/>
                </a:lnTo>
                <a:lnTo>
                  <a:pt x="702634" y="28898"/>
                </a:lnTo>
                <a:lnTo>
                  <a:pt x="747953" y="18649"/>
                </a:lnTo>
                <a:lnTo>
                  <a:pt x="794082" y="10576"/>
                </a:lnTo>
                <a:lnTo>
                  <a:pt x="840961" y="4739"/>
                </a:lnTo>
                <a:lnTo>
                  <a:pt x="888532" y="1194"/>
                </a:lnTo>
                <a:lnTo>
                  <a:pt x="936735" y="0"/>
                </a:lnTo>
                <a:lnTo>
                  <a:pt x="984940" y="1194"/>
                </a:lnTo>
                <a:lnTo>
                  <a:pt x="1032511" y="4739"/>
                </a:lnTo>
                <a:lnTo>
                  <a:pt x="1079391" y="10576"/>
                </a:lnTo>
                <a:lnTo>
                  <a:pt x="1125521" y="18649"/>
                </a:lnTo>
                <a:lnTo>
                  <a:pt x="1170841" y="28898"/>
                </a:lnTo>
                <a:lnTo>
                  <a:pt x="1215293" y="41268"/>
                </a:lnTo>
                <a:lnTo>
                  <a:pt x="1258818" y="55699"/>
                </a:lnTo>
                <a:lnTo>
                  <a:pt x="1301357" y="72135"/>
                </a:lnTo>
                <a:lnTo>
                  <a:pt x="1342851" y="90517"/>
                </a:lnTo>
                <a:lnTo>
                  <a:pt x="1383242" y="110789"/>
                </a:lnTo>
                <a:lnTo>
                  <a:pt x="1422470" y="132891"/>
                </a:lnTo>
                <a:lnTo>
                  <a:pt x="1460477" y="156768"/>
                </a:lnTo>
                <a:lnTo>
                  <a:pt x="1497203" y="182360"/>
                </a:lnTo>
                <a:lnTo>
                  <a:pt x="1532591" y="209610"/>
                </a:lnTo>
                <a:lnTo>
                  <a:pt x="1566580" y="238461"/>
                </a:lnTo>
                <a:lnTo>
                  <a:pt x="1599113" y="268855"/>
                </a:lnTo>
                <a:lnTo>
                  <a:pt x="1630130" y="300734"/>
                </a:lnTo>
                <a:lnTo>
                  <a:pt x="1659573" y="334041"/>
                </a:lnTo>
                <a:lnTo>
                  <a:pt x="1687382" y="368718"/>
                </a:lnTo>
                <a:lnTo>
                  <a:pt x="1713499" y="404706"/>
                </a:lnTo>
                <a:lnTo>
                  <a:pt x="1737865" y="441950"/>
                </a:lnTo>
                <a:lnTo>
                  <a:pt x="1760420" y="480390"/>
                </a:lnTo>
                <a:lnTo>
                  <a:pt x="1781107" y="519969"/>
                </a:lnTo>
                <a:lnTo>
                  <a:pt x="1799867" y="560630"/>
                </a:lnTo>
                <a:lnTo>
                  <a:pt x="1816640" y="602315"/>
                </a:lnTo>
                <a:lnTo>
                  <a:pt x="1831367" y="644965"/>
                </a:lnTo>
                <a:lnTo>
                  <a:pt x="1843990" y="688525"/>
                </a:lnTo>
                <a:lnTo>
                  <a:pt x="1854450" y="732935"/>
                </a:lnTo>
                <a:lnTo>
                  <a:pt x="1862688" y="778138"/>
                </a:lnTo>
                <a:lnTo>
                  <a:pt x="1868645" y="824077"/>
                </a:lnTo>
                <a:lnTo>
                  <a:pt x="1872263" y="870693"/>
                </a:lnTo>
                <a:lnTo>
                  <a:pt x="1873482" y="917930"/>
                </a:lnTo>
                <a:close/>
              </a:path>
            </a:pathLst>
          </a:custGeom>
          <a:ln w="18638">
            <a:solidFill>
              <a:srgbClr val="808080"/>
            </a:solidFill>
          </a:ln>
        </p:spPr>
        <p:txBody>
          <a:bodyPr wrap="square" lIns="0" tIns="0" rIns="0" bIns="0" rtlCol="0"/>
          <a:lstStyle/>
          <a:p>
            <a:endParaRPr/>
          </a:p>
        </p:txBody>
      </p:sp>
      <p:sp>
        <p:nvSpPr>
          <p:cNvPr id="81" name="object 81"/>
          <p:cNvSpPr/>
          <p:nvPr/>
        </p:nvSpPr>
        <p:spPr>
          <a:xfrm>
            <a:off x="3411759" y="3712241"/>
            <a:ext cx="1029350" cy="1054981"/>
          </a:xfrm>
          <a:custGeom>
            <a:avLst/>
            <a:gdLst/>
            <a:ahLst/>
            <a:cxnLst/>
            <a:rect l="l" t="t" r="r" b="b"/>
            <a:pathLst>
              <a:path w="2263140" h="2319654">
                <a:moveTo>
                  <a:pt x="518382" y="1349634"/>
                </a:moveTo>
                <a:lnTo>
                  <a:pt x="0" y="1518058"/>
                </a:lnTo>
                <a:lnTo>
                  <a:pt x="15921" y="1563812"/>
                </a:lnTo>
                <a:lnTo>
                  <a:pt x="33607" y="1608568"/>
                </a:lnTo>
                <a:lnTo>
                  <a:pt x="53015" y="1652303"/>
                </a:lnTo>
                <a:lnTo>
                  <a:pt x="74083" y="1694952"/>
                </a:lnTo>
                <a:lnTo>
                  <a:pt x="96779" y="1736512"/>
                </a:lnTo>
                <a:lnTo>
                  <a:pt x="121051" y="1776937"/>
                </a:lnTo>
                <a:lnTo>
                  <a:pt x="146852" y="1816195"/>
                </a:lnTo>
                <a:lnTo>
                  <a:pt x="174136" y="1854250"/>
                </a:lnTo>
                <a:lnTo>
                  <a:pt x="202856" y="1891069"/>
                </a:lnTo>
                <a:lnTo>
                  <a:pt x="232964" y="1926619"/>
                </a:lnTo>
                <a:lnTo>
                  <a:pt x="264414" y="1960864"/>
                </a:lnTo>
                <a:lnTo>
                  <a:pt x="297158" y="1993770"/>
                </a:lnTo>
                <a:lnTo>
                  <a:pt x="331151" y="2025304"/>
                </a:lnTo>
                <a:lnTo>
                  <a:pt x="366344" y="2055432"/>
                </a:lnTo>
                <a:lnTo>
                  <a:pt x="402692" y="2084119"/>
                </a:lnTo>
                <a:lnTo>
                  <a:pt x="440147" y="2111332"/>
                </a:lnTo>
                <a:lnTo>
                  <a:pt x="478662" y="2137036"/>
                </a:lnTo>
                <a:lnTo>
                  <a:pt x="518190" y="2161197"/>
                </a:lnTo>
                <a:lnTo>
                  <a:pt x="558685" y="2183781"/>
                </a:lnTo>
                <a:lnTo>
                  <a:pt x="600100" y="2204754"/>
                </a:lnTo>
                <a:lnTo>
                  <a:pt x="642387" y="2224083"/>
                </a:lnTo>
                <a:lnTo>
                  <a:pt x="685501" y="2241732"/>
                </a:lnTo>
                <a:lnTo>
                  <a:pt x="729392" y="2257668"/>
                </a:lnTo>
                <a:lnTo>
                  <a:pt x="774016" y="2271857"/>
                </a:lnTo>
                <a:lnTo>
                  <a:pt x="819326" y="2284265"/>
                </a:lnTo>
                <a:lnTo>
                  <a:pt x="865273" y="2294857"/>
                </a:lnTo>
                <a:lnTo>
                  <a:pt x="911811" y="2303600"/>
                </a:lnTo>
                <a:lnTo>
                  <a:pt x="958894" y="2310459"/>
                </a:lnTo>
                <a:lnTo>
                  <a:pt x="1006474" y="2315401"/>
                </a:lnTo>
                <a:lnTo>
                  <a:pt x="1054505" y="2318391"/>
                </a:lnTo>
                <a:lnTo>
                  <a:pt x="1102940" y="2319395"/>
                </a:lnTo>
                <a:lnTo>
                  <a:pt x="1150742" y="2318428"/>
                </a:lnTo>
                <a:lnTo>
                  <a:pt x="1198053" y="2315550"/>
                </a:lnTo>
                <a:lnTo>
                  <a:pt x="1244834" y="2310801"/>
                </a:lnTo>
                <a:lnTo>
                  <a:pt x="1291049" y="2304216"/>
                </a:lnTo>
                <a:lnTo>
                  <a:pt x="1336659" y="2295834"/>
                </a:lnTo>
                <a:lnTo>
                  <a:pt x="1381628" y="2285691"/>
                </a:lnTo>
                <a:lnTo>
                  <a:pt x="1425919" y="2273824"/>
                </a:lnTo>
                <a:lnTo>
                  <a:pt x="1469493" y="2260272"/>
                </a:lnTo>
                <a:lnTo>
                  <a:pt x="1512315" y="2245071"/>
                </a:lnTo>
                <a:lnTo>
                  <a:pt x="1554345" y="2228259"/>
                </a:lnTo>
                <a:lnTo>
                  <a:pt x="1595549" y="2209873"/>
                </a:lnTo>
                <a:lnTo>
                  <a:pt x="1635886" y="2189950"/>
                </a:lnTo>
                <a:lnTo>
                  <a:pt x="1675322" y="2168528"/>
                </a:lnTo>
                <a:lnTo>
                  <a:pt x="1713817" y="2145644"/>
                </a:lnTo>
                <a:lnTo>
                  <a:pt x="1751336" y="2121335"/>
                </a:lnTo>
                <a:lnTo>
                  <a:pt x="1787840" y="2095639"/>
                </a:lnTo>
                <a:lnTo>
                  <a:pt x="1823293" y="2068592"/>
                </a:lnTo>
                <a:lnTo>
                  <a:pt x="1857656" y="2040233"/>
                </a:lnTo>
                <a:lnTo>
                  <a:pt x="1890893" y="2010598"/>
                </a:lnTo>
                <a:lnTo>
                  <a:pt x="1922967" y="1979725"/>
                </a:lnTo>
                <a:lnTo>
                  <a:pt x="1953840" y="1947651"/>
                </a:lnTo>
                <a:lnTo>
                  <a:pt x="1983474" y="1914413"/>
                </a:lnTo>
                <a:lnTo>
                  <a:pt x="2011833" y="1880049"/>
                </a:lnTo>
                <a:lnTo>
                  <a:pt x="2038880" y="1844596"/>
                </a:lnTo>
                <a:lnTo>
                  <a:pt x="2064576" y="1808091"/>
                </a:lnTo>
                <a:lnTo>
                  <a:pt x="2086353" y="1774480"/>
                </a:lnTo>
                <a:lnTo>
                  <a:pt x="1107626" y="1774480"/>
                </a:lnTo>
                <a:lnTo>
                  <a:pt x="1061792" y="1773118"/>
                </a:lnTo>
                <a:lnTo>
                  <a:pt x="1016494" y="1768364"/>
                </a:lnTo>
                <a:lnTo>
                  <a:pt x="971904" y="1760305"/>
                </a:lnTo>
                <a:lnTo>
                  <a:pt x="928194" y="1749029"/>
                </a:lnTo>
                <a:lnTo>
                  <a:pt x="885536" y="1734625"/>
                </a:lnTo>
                <a:lnTo>
                  <a:pt x="844102" y="1717179"/>
                </a:lnTo>
                <a:lnTo>
                  <a:pt x="804065" y="1696779"/>
                </a:lnTo>
                <a:lnTo>
                  <a:pt x="765597" y="1673514"/>
                </a:lnTo>
                <a:lnTo>
                  <a:pt x="728869" y="1647470"/>
                </a:lnTo>
                <a:lnTo>
                  <a:pt x="694054" y="1618736"/>
                </a:lnTo>
                <a:lnTo>
                  <a:pt x="661325" y="1587399"/>
                </a:lnTo>
                <a:lnTo>
                  <a:pt x="630853" y="1553547"/>
                </a:lnTo>
                <a:lnTo>
                  <a:pt x="602811" y="1517268"/>
                </a:lnTo>
                <a:lnTo>
                  <a:pt x="577370" y="1478650"/>
                </a:lnTo>
                <a:lnTo>
                  <a:pt x="554704" y="1437779"/>
                </a:lnTo>
                <a:lnTo>
                  <a:pt x="534984" y="1394745"/>
                </a:lnTo>
                <a:lnTo>
                  <a:pt x="518382" y="1349634"/>
                </a:lnTo>
                <a:close/>
              </a:path>
              <a:path w="2263140" h="2319654">
                <a:moveTo>
                  <a:pt x="1102940" y="0"/>
                </a:moveTo>
                <a:lnTo>
                  <a:pt x="1102940" y="545061"/>
                </a:lnTo>
                <a:lnTo>
                  <a:pt x="1152481" y="547049"/>
                </a:lnTo>
                <a:lnTo>
                  <a:pt x="1201132" y="552923"/>
                </a:lnTo>
                <a:lnTo>
                  <a:pt x="1248712" y="562554"/>
                </a:lnTo>
                <a:lnTo>
                  <a:pt x="1295039" y="575809"/>
                </a:lnTo>
                <a:lnTo>
                  <a:pt x="1339934" y="592557"/>
                </a:lnTo>
                <a:lnTo>
                  <a:pt x="1383215" y="612667"/>
                </a:lnTo>
                <a:lnTo>
                  <a:pt x="1424701" y="636007"/>
                </a:lnTo>
                <a:lnTo>
                  <a:pt x="1464211" y="662447"/>
                </a:lnTo>
                <a:lnTo>
                  <a:pt x="1501566" y="691854"/>
                </a:lnTo>
                <a:lnTo>
                  <a:pt x="1536584" y="724097"/>
                </a:lnTo>
                <a:lnTo>
                  <a:pt x="1569084" y="759045"/>
                </a:lnTo>
                <a:lnTo>
                  <a:pt x="1598885" y="796566"/>
                </a:lnTo>
                <a:lnTo>
                  <a:pt x="1625807" y="836530"/>
                </a:lnTo>
                <a:lnTo>
                  <a:pt x="1649668" y="878805"/>
                </a:lnTo>
                <a:lnTo>
                  <a:pt x="1670289" y="923259"/>
                </a:lnTo>
                <a:lnTo>
                  <a:pt x="1687487" y="969761"/>
                </a:lnTo>
                <a:lnTo>
                  <a:pt x="1700573" y="1016016"/>
                </a:lnTo>
                <a:lnTo>
                  <a:pt x="1709916" y="1062424"/>
                </a:lnTo>
                <a:lnTo>
                  <a:pt x="1715603" y="1108813"/>
                </a:lnTo>
                <a:lnTo>
                  <a:pt x="1717722" y="1155010"/>
                </a:lnTo>
                <a:lnTo>
                  <a:pt x="1716361" y="1200844"/>
                </a:lnTo>
                <a:lnTo>
                  <a:pt x="1711607" y="1246142"/>
                </a:lnTo>
                <a:lnTo>
                  <a:pt x="1703549" y="1290732"/>
                </a:lnTo>
                <a:lnTo>
                  <a:pt x="1692274" y="1334442"/>
                </a:lnTo>
                <a:lnTo>
                  <a:pt x="1677870" y="1377100"/>
                </a:lnTo>
                <a:lnTo>
                  <a:pt x="1660424" y="1418533"/>
                </a:lnTo>
                <a:lnTo>
                  <a:pt x="1640024" y="1458570"/>
                </a:lnTo>
                <a:lnTo>
                  <a:pt x="1616759" y="1497038"/>
                </a:lnTo>
                <a:lnTo>
                  <a:pt x="1590715" y="1533766"/>
                </a:lnTo>
                <a:lnTo>
                  <a:pt x="1561980" y="1568580"/>
                </a:lnTo>
                <a:lnTo>
                  <a:pt x="1530643" y="1601308"/>
                </a:lnTo>
                <a:lnTo>
                  <a:pt x="1496790" y="1631780"/>
                </a:lnTo>
                <a:lnTo>
                  <a:pt x="1460510" y="1659822"/>
                </a:lnTo>
                <a:lnTo>
                  <a:pt x="1421891" y="1685262"/>
                </a:lnTo>
                <a:lnTo>
                  <a:pt x="1381019" y="1707928"/>
                </a:lnTo>
                <a:lnTo>
                  <a:pt x="1337983" y="1727648"/>
                </a:lnTo>
                <a:lnTo>
                  <a:pt x="1292871" y="1744250"/>
                </a:lnTo>
                <a:lnTo>
                  <a:pt x="1246617" y="1757335"/>
                </a:lnTo>
                <a:lnTo>
                  <a:pt x="1200210" y="1766676"/>
                </a:lnTo>
                <a:lnTo>
                  <a:pt x="1153822" y="1772362"/>
                </a:lnTo>
                <a:lnTo>
                  <a:pt x="1107626" y="1774480"/>
                </a:lnTo>
                <a:lnTo>
                  <a:pt x="2086353" y="1774480"/>
                </a:lnTo>
                <a:lnTo>
                  <a:pt x="2111768" y="1732077"/>
                </a:lnTo>
                <a:lnTo>
                  <a:pt x="2133190" y="1692641"/>
                </a:lnTo>
                <a:lnTo>
                  <a:pt x="2153117" y="1652293"/>
                </a:lnTo>
                <a:lnTo>
                  <a:pt x="2171498" y="1611099"/>
                </a:lnTo>
                <a:lnTo>
                  <a:pt x="2188310" y="1569068"/>
                </a:lnTo>
                <a:lnTo>
                  <a:pt x="2203511" y="1526247"/>
                </a:lnTo>
                <a:lnTo>
                  <a:pt x="2217063" y="1482672"/>
                </a:lnTo>
                <a:lnTo>
                  <a:pt x="2228929" y="1438381"/>
                </a:lnTo>
                <a:lnTo>
                  <a:pt x="2239071" y="1393412"/>
                </a:lnTo>
                <a:lnTo>
                  <a:pt x="2247454" y="1347801"/>
                </a:lnTo>
                <a:lnTo>
                  <a:pt x="2254038" y="1301586"/>
                </a:lnTo>
                <a:lnTo>
                  <a:pt x="2258788" y="1254805"/>
                </a:lnTo>
                <a:lnTo>
                  <a:pt x="2261665" y="1207495"/>
                </a:lnTo>
                <a:lnTo>
                  <a:pt x="2262632" y="1159692"/>
                </a:lnTo>
                <a:lnTo>
                  <a:pt x="2261665" y="1111889"/>
                </a:lnTo>
                <a:lnTo>
                  <a:pt x="2258788" y="1064579"/>
                </a:lnTo>
                <a:lnTo>
                  <a:pt x="2254038" y="1017798"/>
                </a:lnTo>
                <a:lnTo>
                  <a:pt x="2247454" y="971583"/>
                </a:lnTo>
                <a:lnTo>
                  <a:pt x="2239071" y="925973"/>
                </a:lnTo>
                <a:lnTo>
                  <a:pt x="2228929" y="881004"/>
                </a:lnTo>
                <a:lnTo>
                  <a:pt x="2217006" y="836530"/>
                </a:lnTo>
                <a:lnTo>
                  <a:pt x="2203511" y="793138"/>
                </a:lnTo>
                <a:lnTo>
                  <a:pt x="2188310" y="750317"/>
                </a:lnTo>
                <a:lnTo>
                  <a:pt x="2171498" y="708286"/>
                </a:lnTo>
                <a:lnTo>
                  <a:pt x="2153112" y="667083"/>
                </a:lnTo>
                <a:lnTo>
                  <a:pt x="2133190" y="626745"/>
                </a:lnTo>
                <a:lnTo>
                  <a:pt x="2111768" y="587310"/>
                </a:lnTo>
                <a:lnTo>
                  <a:pt x="2088884" y="548814"/>
                </a:lnTo>
                <a:lnTo>
                  <a:pt x="2064576" y="511296"/>
                </a:lnTo>
                <a:lnTo>
                  <a:pt x="2038880" y="474791"/>
                </a:lnTo>
                <a:lnTo>
                  <a:pt x="2011833" y="439339"/>
                </a:lnTo>
                <a:lnTo>
                  <a:pt x="1983474" y="404975"/>
                </a:lnTo>
                <a:lnTo>
                  <a:pt x="1953840" y="371738"/>
                </a:lnTo>
                <a:lnTo>
                  <a:pt x="1922967" y="339665"/>
                </a:lnTo>
                <a:lnTo>
                  <a:pt x="1890893" y="308792"/>
                </a:lnTo>
                <a:lnTo>
                  <a:pt x="1857656" y="279157"/>
                </a:lnTo>
                <a:lnTo>
                  <a:pt x="1823293" y="250798"/>
                </a:lnTo>
                <a:lnTo>
                  <a:pt x="1787840" y="223752"/>
                </a:lnTo>
                <a:lnTo>
                  <a:pt x="1751336" y="198056"/>
                </a:lnTo>
                <a:lnTo>
                  <a:pt x="1713817" y="173747"/>
                </a:lnTo>
                <a:lnTo>
                  <a:pt x="1675322" y="150864"/>
                </a:lnTo>
                <a:lnTo>
                  <a:pt x="1635886" y="129442"/>
                </a:lnTo>
                <a:lnTo>
                  <a:pt x="1595549" y="109519"/>
                </a:lnTo>
                <a:lnTo>
                  <a:pt x="1554345" y="91134"/>
                </a:lnTo>
                <a:lnTo>
                  <a:pt x="1512315" y="74322"/>
                </a:lnTo>
                <a:lnTo>
                  <a:pt x="1469493" y="59121"/>
                </a:lnTo>
                <a:lnTo>
                  <a:pt x="1425919" y="45569"/>
                </a:lnTo>
                <a:lnTo>
                  <a:pt x="1381628" y="33703"/>
                </a:lnTo>
                <a:lnTo>
                  <a:pt x="1336659" y="23560"/>
                </a:lnTo>
                <a:lnTo>
                  <a:pt x="1291049" y="15178"/>
                </a:lnTo>
                <a:lnTo>
                  <a:pt x="1244834" y="8593"/>
                </a:lnTo>
                <a:lnTo>
                  <a:pt x="1198053" y="3844"/>
                </a:lnTo>
                <a:lnTo>
                  <a:pt x="1150742" y="967"/>
                </a:lnTo>
                <a:lnTo>
                  <a:pt x="1102940" y="0"/>
                </a:lnTo>
                <a:close/>
              </a:path>
            </a:pathLst>
          </a:custGeom>
          <a:solidFill>
            <a:srgbClr val="FF7900"/>
          </a:solidFill>
        </p:spPr>
        <p:txBody>
          <a:bodyPr wrap="square" lIns="0" tIns="0" rIns="0" bIns="0" rtlCol="0"/>
          <a:lstStyle/>
          <a:p>
            <a:endParaRPr/>
          </a:p>
        </p:txBody>
      </p:sp>
      <p:sp>
        <p:nvSpPr>
          <p:cNvPr id="82" name="object 82"/>
          <p:cNvSpPr txBox="1"/>
          <p:nvPr/>
        </p:nvSpPr>
        <p:spPr>
          <a:xfrm>
            <a:off x="3581824" y="1654196"/>
            <a:ext cx="990176" cy="1069949"/>
          </a:xfrm>
          <a:prstGeom prst="rect">
            <a:avLst/>
          </a:prstGeom>
        </p:spPr>
        <p:txBody>
          <a:bodyPr vert="horz" wrap="square" lIns="0" tIns="6065" rIns="0" bIns="0" rtlCol="0">
            <a:spAutoFit/>
          </a:bodyPr>
          <a:lstStyle/>
          <a:p>
            <a:pPr marL="142377">
              <a:spcBef>
                <a:spcPts val="48"/>
              </a:spcBef>
            </a:pPr>
            <a:r>
              <a:rPr sz="2000" b="1" dirty="0">
                <a:solidFill>
                  <a:srgbClr val="FF7900"/>
                </a:solidFill>
                <a:latin typeface="Helvetica Neue"/>
                <a:cs typeface="Helvetica Neue"/>
              </a:rPr>
              <a:t>Oui</a:t>
            </a:r>
            <a:endParaRPr sz="2000" dirty="0">
              <a:latin typeface="Helvetica Neue"/>
              <a:cs typeface="Helvetica Neue"/>
            </a:endParaRPr>
          </a:p>
          <a:p>
            <a:pPr>
              <a:spcBef>
                <a:spcPts val="14"/>
              </a:spcBef>
            </a:pPr>
            <a:endParaRPr sz="3000" dirty="0">
              <a:latin typeface="Times New Roman"/>
              <a:cs typeface="Times New Roman"/>
            </a:endParaRPr>
          </a:p>
          <a:p>
            <a:pPr marL="5776"/>
            <a:r>
              <a:rPr sz="1900" b="1" spc="7" dirty="0">
                <a:solidFill>
                  <a:srgbClr val="FF7900"/>
                </a:solidFill>
                <a:latin typeface="Helvetica Neue"/>
                <a:cs typeface="Helvetica Neue"/>
              </a:rPr>
              <a:t>61%</a:t>
            </a:r>
            <a:endParaRPr sz="1900" dirty="0">
              <a:latin typeface="Helvetica Neue"/>
              <a:cs typeface="Helvetica Neue"/>
            </a:endParaRPr>
          </a:p>
        </p:txBody>
      </p:sp>
      <p:sp>
        <p:nvSpPr>
          <p:cNvPr id="83" name="object 83"/>
          <p:cNvSpPr txBox="1"/>
          <p:nvPr/>
        </p:nvSpPr>
        <p:spPr>
          <a:xfrm>
            <a:off x="2859439" y="2720722"/>
            <a:ext cx="333586" cy="328766"/>
          </a:xfrm>
          <a:prstGeom prst="rect">
            <a:avLst/>
          </a:prstGeom>
        </p:spPr>
        <p:txBody>
          <a:bodyPr vert="horz" wrap="square" lIns="0" tIns="8086" rIns="0" bIns="0" rtlCol="0">
            <a:spAutoFit/>
          </a:bodyPr>
          <a:lstStyle/>
          <a:p>
            <a:pPr marL="5776">
              <a:lnSpc>
                <a:spcPts val="889"/>
              </a:lnSpc>
              <a:spcBef>
                <a:spcPts val="64"/>
              </a:spcBef>
            </a:pPr>
            <a:r>
              <a:rPr sz="800" b="1" spc="9" dirty="0">
                <a:latin typeface="Helvetica Neue"/>
                <a:cs typeface="Helvetica Neue"/>
              </a:rPr>
              <a:t>France</a:t>
            </a:r>
            <a:endParaRPr sz="800">
              <a:latin typeface="Helvetica Neue"/>
              <a:cs typeface="Helvetica Neue"/>
            </a:endParaRPr>
          </a:p>
          <a:p>
            <a:pPr marL="5776">
              <a:lnSpc>
                <a:spcPts val="698"/>
              </a:lnSpc>
            </a:pPr>
            <a:r>
              <a:rPr sz="600" spc="5" dirty="0">
                <a:latin typeface="Helvetica Neue"/>
                <a:cs typeface="Helvetica Neue"/>
              </a:rPr>
              <a:t>N </a:t>
            </a:r>
            <a:r>
              <a:rPr sz="600" spc="2" dirty="0">
                <a:latin typeface="Helvetica Neue"/>
                <a:cs typeface="Helvetica Neue"/>
              </a:rPr>
              <a:t>=</a:t>
            </a:r>
            <a:r>
              <a:rPr sz="600" spc="-23" dirty="0">
                <a:latin typeface="Helvetica Neue"/>
                <a:cs typeface="Helvetica Neue"/>
              </a:rPr>
              <a:t> </a:t>
            </a:r>
            <a:r>
              <a:rPr sz="600" spc="2" dirty="0">
                <a:latin typeface="Helvetica Neue"/>
                <a:cs typeface="Helvetica Neue"/>
              </a:rPr>
              <a:t>674</a:t>
            </a:r>
            <a:endParaRPr sz="600">
              <a:latin typeface="Helvetica Neue"/>
              <a:cs typeface="Helvetica Neue"/>
            </a:endParaRPr>
          </a:p>
        </p:txBody>
      </p:sp>
      <p:sp>
        <p:nvSpPr>
          <p:cNvPr id="84" name="object 84"/>
          <p:cNvSpPr/>
          <p:nvPr/>
        </p:nvSpPr>
        <p:spPr>
          <a:xfrm>
            <a:off x="3071259" y="2398852"/>
            <a:ext cx="101375" cy="288510"/>
          </a:xfrm>
          <a:custGeom>
            <a:avLst/>
            <a:gdLst/>
            <a:ahLst/>
            <a:cxnLst/>
            <a:rect l="l" t="t" r="r" b="b"/>
            <a:pathLst>
              <a:path w="222884" h="634364">
                <a:moveTo>
                  <a:pt x="0" y="0"/>
                </a:moveTo>
                <a:lnTo>
                  <a:pt x="0" y="634347"/>
                </a:lnTo>
                <a:lnTo>
                  <a:pt x="41794" y="615855"/>
                </a:lnTo>
                <a:lnTo>
                  <a:pt x="80396" y="592123"/>
                </a:lnTo>
                <a:lnTo>
                  <a:pt x="115345" y="563602"/>
                </a:lnTo>
                <a:lnTo>
                  <a:pt x="146180" y="530742"/>
                </a:lnTo>
                <a:lnTo>
                  <a:pt x="172441" y="493996"/>
                </a:lnTo>
                <a:lnTo>
                  <a:pt x="193667" y="453815"/>
                </a:lnTo>
                <a:lnTo>
                  <a:pt x="209399" y="410649"/>
                </a:lnTo>
                <a:lnTo>
                  <a:pt x="219176" y="364952"/>
                </a:lnTo>
                <a:lnTo>
                  <a:pt x="222537" y="317173"/>
                </a:lnTo>
                <a:lnTo>
                  <a:pt x="219176" y="269394"/>
                </a:lnTo>
                <a:lnTo>
                  <a:pt x="209399" y="223697"/>
                </a:lnTo>
                <a:lnTo>
                  <a:pt x="193667" y="180532"/>
                </a:lnTo>
                <a:lnTo>
                  <a:pt x="172441" y="140350"/>
                </a:lnTo>
                <a:lnTo>
                  <a:pt x="146180" y="103604"/>
                </a:lnTo>
                <a:lnTo>
                  <a:pt x="115345" y="70744"/>
                </a:lnTo>
                <a:lnTo>
                  <a:pt x="80396" y="42223"/>
                </a:lnTo>
                <a:lnTo>
                  <a:pt x="41794" y="18491"/>
                </a:lnTo>
                <a:lnTo>
                  <a:pt x="0" y="0"/>
                </a:lnTo>
                <a:close/>
              </a:path>
            </a:pathLst>
          </a:custGeom>
          <a:solidFill>
            <a:srgbClr val="C60E33"/>
          </a:solidFill>
        </p:spPr>
        <p:txBody>
          <a:bodyPr wrap="square" lIns="0" tIns="0" rIns="0" bIns="0" rtlCol="0"/>
          <a:lstStyle/>
          <a:p>
            <a:endParaRPr/>
          </a:p>
        </p:txBody>
      </p:sp>
      <p:sp>
        <p:nvSpPr>
          <p:cNvPr id="85" name="object 85"/>
          <p:cNvSpPr/>
          <p:nvPr/>
        </p:nvSpPr>
        <p:spPr>
          <a:xfrm>
            <a:off x="2865217" y="2398852"/>
            <a:ext cx="101375" cy="288510"/>
          </a:xfrm>
          <a:custGeom>
            <a:avLst/>
            <a:gdLst/>
            <a:ahLst/>
            <a:cxnLst/>
            <a:rect l="l" t="t" r="r" b="b"/>
            <a:pathLst>
              <a:path w="222884" h="634364">
                <a:moveTo>
                  <a:pt x="222527" y="0"/>
                </a:moveTo>
                <a:lnTo>
                  <a:pt x="180732" y="18491"/>
                </a:lnTo>
                <a:lnTo>
                  <a:pt x="142131" y="42223"/>
                </a:lnTo>
                <a:lnTo>
                  <a:pt x="107184" y="70744"/>
                </a:lnTo>
                <a:lnTo>
                  <a:pt x="76351" y="103604"/>
                </a:lnTo>
                <a:lnTo>
                  <a:pt x="50092" y="140350"/>
                </a:lnTo>
                <a:lnTo>
                  <a:pt x="28867" y="180532"/>
                </a:lnTo>
                <a:lnTo>
                  <a:pt x="13136" y="223697"/>
                </a:lnTo>
                <a:lnTo>
                  <a:pt x="3360" y="269394"/>
                </a:lnTo>
                <a:lnTo>
                  <a:pt x="0" y="317173"/>
                </a:lnTo>
                <a:lnTo>
                  <a:pt x="3360" y="364952"/>
                </a:lnTo>
                <a:lnTo>
                  <a:pt x="13136" y="410649"/>
                </a:lnTo>
                <a:lnTo>
                  <a:pt x="28867" y="453815"/>
                </a:lnTo>
                <a:lnTo>
                  <a:pt x="50092" y="493996"/>
                </a:lnTo>
                <a:lnTo>
                  <a:pt x="76351" y="530742"/>
                </a:lnTo>
                <a:lnTo>
                  <a:pt x="107184" y="563602"/>
                </a:lnTo>
                <a:lnTo>
                  <a:pt x="142131" y="592123"/>
                </a:lnTo>
                <a:lnTo>
                  <a:pt x="180732" y="615855"/>
                </a:lnTo>
                <a:lnTo>
                  <a:pt x="222527" y="634347"/>
                </a:lnTo>
                <a:lnTo>
                  <a:pt x="222527" y="0"/>
                </a:lnTo>
                <a:close/>
              </a:path>
            </a:pathLst>
          </a:custGeom>
          <a:solidFill>
            <a:srgbClr val="354083"/>
          </a:solidFill>
        </p:spPr>
        <p:txBody>
          <a:bodyPr wrap="square" lIns="0" tIns="0" rIns="0" bIns="0" rtlCol="0"/>
          <a:lstStyle/>
          <a:p>
            <a:endParaRPr/>
          </a:p>
        </p:txBody>
      </p:sp>
      <p:sp>
        <p:nvSpPr>
          <p:cNvPr id="86" name="object 86"/>
          <p:cNvSpPr/>
          <p:nvPr/>
        </p:nvSpPr>
        <p:spPr>
          <a:xfrm>
            <a:off x="2966428" y="2389484"/>
            <a:ext cx="104841" cy="307282"/>
          </a:xfrm>
          <a:custGeom>
            <a:avLst/>
            <a:gdLst/>
            <a:ahLst/>
            <a:cxnLst/>
            <a:rect l="l" t="t" r="r" b="b"/>
            <a:pathLst>
              <a:path w="230504" h="675639">
                <a:moveTo>
                  <a:pt x="115242" y="0"/>
                </a:moveTo>
                <a:lnTo>
                  <a:pt x="85201" y="1377"/>
                </a:lnTo>
                <a:lnTo>
                  <a:pt x="55928" y="5391"/>
                </a:lnTo>
                <a:lnTo>
                  <a:pt x="27502" y="11860"/>
                </a:lnTo>
                <a:lnTo>
                  <a:pt x="0" y="20606"/>
                </a:lnTo>
                <a:lnTo>
                  <a:pt x="0" y="654943"/>
                </a:lnTo>
                <a:lnTo>
                  <a:pt x="27502" y="663683"/>
                </a:lnTo>
                <a:lnTo>
                  <a:pt x="55928" y="670149"/>
                </a:lnTo>
                <a:lnTo>
                  <a:pt x="85201" y="674162"/>
                </a:lnTo>
                <a:lnTo>
                  <a:pt x="115242" y="675539"/>
                </a:lnTo>
                <a:lnTo>
                  <a:pt x="145288" y="674162"/>
                </a:lnTo>
                <a:lnTo>
                  <a:pt x="174560" y="670149"/>
                </a:lnTo>
                <a:lnTo>
                  <a:pt x="202984" y="663683"/>
                </a:lnTo>
                <a:lnTo>
                  <a:pt x="230485" y="654943"/>
                </a:lnTo>
                <a:lnTo>
                  <a:pt x="230485" y="20606"/>
                </a:lnTo>
                <a:lnTo>
                  <a:pt x="202984" y="11860"/>
                </a:lnTo>
                <a:lnTo>
                  <a:pt x="174560" y="5391"/>
                </a:lnTo>
                <a:lnTo>
                  <a:pt x="145288" y="1377"/>
                </a:lnTo>
                <a:lnTo>
                  <a:pt x="115242" y="0"/>
                </a:lnTo>
                <a:close/>
              </a:path>
            </a:pathLst>
          </a:custGeom>
          <a:solidFill>
            <a:srgbClr val="FFFFFF"/>
          </a:solidFill>
        </p:spPr>
        <p:txBody>
          <a:bodyPr wrap="square" lIns="0" tIns="0" rIns="0" bIns="0" rtlCol="0"/>
          <a:lstStyle/>
          <a:p>
            <a:endParaRPr/>
          </a:p>
        </p:txBody>
      </p:sp>
      <p:sp>
        <p:nvSpPr>
          <p:cNvPr id="87" name="object 87"/>
          <p:cNvSpPr txBox="1"/>
          <p:nvPr/>
        </p:nvSpPr>
        <p:spPr>
          <a:xfrm>
            <a:off x="2812819" y="4283176"/>
            <a:ext cx="416476" cy="328766"/>
          </a:xfrm>
          <a:prstGeom prst="rect">
            <a:avLst/>
          </a:prstGeom>
        </p:spPr>
        <p:txBody>
          <a:bodyPr vert="horz" wrap="square" lIns="0" tIns="8086" rIns="0" bIns="0" rtlCol="0">
            <a:spAutoFit/>
          </a:bodyPr>
          <a:lstStyle/>
          <a:p>
            <a:pPr marL="5776">
              <a:lnSpc>
                <a:spcPts val="889"/>
              </a:lnSpc>
              <a:spcBef>
                <a:spcPts val="64"/>
              </a:spcBef>
            </a:pPr>
            <a:r>
              <a:rPr sz="800" b="1" spc="9" dirty="0">
                <a:latin typeface="Helvetica Neue"/>
                <a:cs typeface="Helvetica Neue"/>
              </a:rPr>
              <a:t>Espagne</a:t>
            </a:r>
            <a:endParaRPr sz="800">
              <a:latin typeface="Helvetica Neue"/>
              <a:cs typeface="Helvetica Neue"/>
            </a:endParaRPr>
          </a:p>
          <a:p>
            <a:pPr marL="5776">
              <a:lnSpc>
                <a:spcPts val="698"/>
              </a:lnSpc>
            </a:pPr>
            <a:r>
              <a:rPr sz="600" spc="5" dirty="0">
                <a:latin typeface="Helvetica Neue"/>
                <a:cs typeface="Helvetica Neue"/>
              </a:rPr>
              <a:t>N </a:t>
            </a:r>
            <a:r>
              <a:rPr sz="600" spc="2" dirty="0">
                <a:latin typeface="Helvetica Neue"/>
                <a:cs typeface="Helvetica Neue"/>
              </a:rPr>
              <a:t>=</a:t>
            </a:r>
            <a:r>
              <a:rPr sz="600" spc="-16" dirty="0">
                <a:latin typeface="Helvetica Neue"/>
                <a:cs typeface="Helvetica Neue"/>
              </a:rPr>
              <a:t> </a:t>
            </a:r>
            <a:r>
              <a:rPr sz="600" spc="2" dirty="0">
                <a:latin typeface="Helvetica Neue"/>
                <a:cs typeface="Helvetica Neue"/>
              </a:rPr>
              <a:t>1115</a:t>
            </a:r>
            <a:endParaRPr sz="600">
              <a:latin typeface="Helvetica Neue"/>
              <a:cs typeface="Helvetica Neue"/>
            </a:endParaRPr>
          </a:p>
        </p:txBody>
      </p:sp>
      <p:sp>
        <p:nvSpPr>
          <p:cNvPr id="88" name="object 88"/>
          <p:cNvSpPr/>
          <p:nvPr/>
        </p:nvSpPr>
        <p:spPr>
          <a:xfrm>
            <a:off x="2865062" y="3952864"/>
            <a:ext cx="306357" cy="306331"/>
          </a:xfrm>
          <a:prstGeom prst="rect">
            <a:avLst/>
          </a:prstGeom>
          <a:blipFill>
            <a:blip r:embed="rId7"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80511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0" y="866176"/>
            <a:ext cx="9144000" cy="4277105"/>
          </a:xfrm>
          <a:custGeom>
            <a:avLst/>
            <a:gdLst/>
            <a:ahLst/>
            <a:cxnLst/>
            <a:rect l="l" t="t" r="r" b="b"/>
            <a:pathLst>
              <a:path w="20104100" h="9404350">
                <a:moveTo>
                  <a:pt x="0" y="9404038"/>
                </a:moveTo>
                <a:lnTo>
                  <a:pt x="20104099" y="9404038"/>
                </a:lnTo>
                <a:lnTo>
                  <a:pt x="20104099" y="0"/>
                </a:lnTo>
                <a:lnTo>
                  <a:pt x="0" y="0"/>
                </a:lnTo>
                <a:lnTo>
                  <a:pt x="0" y="9404038"/>
                </a:lnTo>
                <a:close/>
              </a:path>
            </a:pathLst>
          </a:custGeom>
          <a:solidFill>
            <a:srgbClr val="D5D5D5"/>
          </a:solidFill>
        </p:spPr>
        <p:txBody>
          <a:bodyPr wrap="square" lIns="0" tIns="0" rIns="0" bIns="0" rtlCol="0"/>
          <a:lstStyle/>
          <a:p>
            <a:endParaRPr/>
          </a:p>
        </p:txBody>
      </p:sp>
      <p:pic>
        <p:nvPicPr>
          <p:cNvPr id="465" name="Image 464">
            <a:extLst>
              <a:ext uri="{FF2B5EF4-FFF2-40B4-BE49-F238E27FC236}">
                <a16:creationId xmlns:a16="http://schemas.microsoft.com/office/drawing/2014/main" id="{A798093A-CE25-8D4E-A2E7-FBA7688355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0452" y="1046895"/>
            <a:ext cx="4609546" cy="4441527"/>
          </a:xfrm>
          <a:prstGeom prst="rect">
            <a:avLst/>
          </a:prstGeom>
        </p:spPr>
      </p:pic>
      <p:sp>
        <p:nvSpPr>
          <p:cNvPr id="2" name="object 2"/>
          <p:cNvSpPr txBox="1">
            <a:spLocks noGrp="1"/>
          </p:cNvSpPr>
          <p:nvPr>
            <p:ph type="title"/>
          </p:nvPr>
        </p:nvSpPr>
        <p:spPr>
          <a:xfrm>
            <a:off x="775669" y="235660"/>
            <a:ext cx="6361041" cy="326053"/>
          </a:xfrm>
          <a:prstGeom prst="rect">
            <a:avLst/>
          </a:prstGeom>
        </p:spPr>
        <p:txBody>
          <a:bodyPr vert="horz" wrap="square" lIns="0" tIns="7798" rIns="0" bIns="0" rtlCol="0">
            <a:spAutoFit/>
          </a:bodyPr>
          <a:lstStyle/>
          <a:p>
            <a:pPr marL="5776">
              <a:lnSpc>
                <a:spcPct val="100000"/>
              </a:lnSpc>
              <a:spcBef>
                <a:spcPts val="61"/>
              </a:spcBef>
            </a:pPr>
            <a:r>
              <a:rPr spc="-2" dirty="0"/>
              <a:t>En </a:t>
            </a:r>
            <a:r>
              <a:rPr spc="-14" dirty="0"/>
              <a:t>France, </a:t>
            </a:r>
            <a:r>
              <a:rPr spc="-11" dirty="0"/>
              <a:t>quatre </a:t>
            </a:r>
            <a:r>
              <a:rPr spc="-14" dirty="0"/>
              <a:t>profils </a:t>
            </a:r>
            <a:r>
              <a:rPr spc="-5" dirty="0"/>
              <a:t>se</a:t>
            </a:r>
            <a:r>
              <a:rPr spc="-159" dirty="0"/>
              <a:t> </a:t>
            </a:r>
            <a:r>
              <a:rPr spc="-16" dirty="0"/>
              <a:t>distinguent</a:t>
            </a:r>
          </a:p>
        </p:txBody>
      </p:sp>
      <p:sp>
        <p:nvSpPr>
          <p:cNvPr id="4" name="object 4"/>
          <p:cNvSpPr/>
          <p:nvPr/>
        </p:nvSpPr>
        <p:spPr>
          <a:xfrm>
            <a:off x="190893" y="214492"/>
            <a:ext cx="422542" cy="422512"/>
          </a:xfrm>
          <a:custGeom>
            <a:avLst/>
            <a:gdLst/>
            <a:ahLst/>
            <a:cxnLst/>
            <a:rect l="l" t="t" r="r" b="b"/>
            <a:pathLst>
              <a:path w="929005" h="929005">
                <a:moveTo>
                  <a:pt x="464352" y="0"/>
                </a:moveTo>
                <a:lnTo>
                  <a:pt x="416875" y="2397"/>
                </a:lnTo>
                <a:lnTo>
                  <a:pt x="370769" y="9434"/>
                </a:lnTo>
                <a:lnTo>
                  <a:pt x="326268" y="20876"/>
                </a:lnTo>
                <a:lnTo>
                  <a:pt x="283606" y="36491"/>
                </a:lnTo>
                <a:lnTo>
                  <a:pt x="243015" y="56045"/>
                </a:lnTo>
                <a:lnTo>
                  <a:pt x="204729" y="79304"/>
                </a:lnTo>
                <a:lnTo>
                  <a:pt x="168981" y="106036"/>
                </a:lnTo>
                <a:lnTo>
                  <a:pt x="136006" y="136006"/>
                </a:lnTo>
                <a:lnTo>
                  <a:pt x="106036" y="168981"/>
                </a:lnTo>
                <a:lnTo>
                  <a:pt x="79304" y="204729"/>
                </a:lnTo>
                <a:lnTo>
                  <a:pt x="56045" y="243015"/>
                </a:lnTo>
                <a:lnTo>
                  <a:pt x="36491" y="283606"/>
                </a:lnTo>
                <a:lnTo>
                  <a:pt x="20876" y="326268"/>
                </a:lnTo>
                <a:lnTo>
                  <a:pt x="9434" y="370769"/>
                </a:lnTo>
                <a:lnTo>
                  <a:pt x="2397" y="416875"/>
                </a:lnTo>
                <a:lnTo>
                  <a:pt x="0" y="464352"/>
                </a:lnTo>
                <a:lnTo>
                  <a:pt x="2397" y="511829"/>
                </a:lnTo>
                <a:lnTo>
                  <a:pt x="9434" y="557935"/>
                </a:lnTo>
                <a:lnTo>
                  <a:pt x="20876" y="602435"/>
                </a:lnTo>
                <a:lnTo>
                  <a:pt x="36491" y="645098"/>
                </a:lnTo>
                <a:lnTo>
                  <a:pt x="56045" y="685689"/>
                </a:lnTo>
                <a:lnTo>
                  <a:pt x="79304" y="723975"/>
                </a:lnTo>
                <a:lnTo>
                  <a:pt x="106036" y="759722"/>
                </a:lnTo>
                <a:lnTo>
                  <a:pt x="136006" y="792698"/>
                </a:lnTo>
                <a:lnTo>
                  <a:pt x="168981" y="822668"/>
                </a:lnTo>
                <a:lnTo>
                  <a:pt x="204729" y="849400"/>
                </a:lnTo>
                <a:lnTo>
                  <a:pt x="243015" y="872659"/>
                </a:lnTo>
                <a:lnTo>
                  <a:pt x="283606" y="892213"/>
                </a:lnTo>
                <a:lnTo>
                  <a:pt x="326268" y="907828"/>
                </a:lnTo>
                <a:lnTo>
                  <a:pt x="370769" y="919270"/>
                </a:lnTo>
                <a:lnTo>
                  <a:pt x="416875" y="926307"/>
                </a:lnTo>
                <a:lnTo>
                  <a:pt x="464352" y="928704"/>
                </a:lnTo>
                <a:lnTo>
                  <a:pt x="511829" y="926307"/>
                </a:lnTo>
                <a:lnTo>
                  <a:pt x="557934" y="919270"/>
                </a:lnTo>
                <a:lnTo>
                  <a:pt x="602434" y="907828"/>
                </a:lnTo>
                <a:lnTo>
                  <a:pt x="645096" y="892213"/>
                </a:lnTo>
                <a:lnTo>
                  <a:pt x="685687" y="872659"/>
                </a:lnTo>
                <a:lnTo>
                  <a:pt x="723972" y="849400"/>
                </a:lnTo>
                <a:lnTo>
                  <a:pt x="759718" y="822668"/>
                </a:lnTo>
                <a:lnTo>
                  <a:pt x="792693" y="792698"/>
                </a:lnTo>
                <a:lnTo>
                  <a:pt x="822662" y="759722"/>
                </a:lnTo>
                <a:lnTo>
                  <a:pt x="849392" y="723975"/>
                </a:lnTo>
                <a:lnTo>
                  <a:pt x="872651" y="685689"/>
                </a:lnTo>
                <a:lnTo>
                  <a:pt x="892204" y="645098"/>
                </a:lnTo>
                <a:lnTo>
                  <a:pt x="907818" y="602435"/>
                </a:lnTo>
                <a:lnTo>
                  <a:pt x="919260" y="557935"/>
                </a:lnTo>
                <a:lnTo>
                  <a:pt x="926296" y="511829"/>
                </a:lnTo>
                <a:lnTo>
                  <a:pt x="928694" y="464352"/>
                </a:lnTo>
                <a:lnTo>
                  <a:pt x="926296" y="416875"/>
                </a:lnTo>
                <a:lnTo>
                  <a:pt x="919260" y="370769"/>
                </a:lnTo>
                <a:lnTo>
                  <a:pt x="907818" y="326268"/>
                </a:lnTo>
                <a:lnTo>
                  <a:pt x="892204" y="283606"/>
                </a:lnTo>
                <a:lnTo>
                  <a:pt x="872651" y="243015"/>
                </a:lnTo>
                <a:lnTo>
                  <a:pt x="849392" y="204729"/>
                </a:lnTo>
                <a:lnTo>
                  <a:pt x="822662" y="168981"/>
                </a:lnTo>
                <a:lnTo>
                  <a:pt x="792693" y="136006"/>
                </a:lnTo>
                <a:lnTo>
                  <a:pt x="759718" y="106036"/>
                </a:lnTo>
                <a:lnTo>
                  <a:pt x="723972" y="79304"/>
                </a:lnTo>
                <a:lnTo>
                  <a:pt x="685687" y="56045"/>
                </a:lnTo>
                <a:lnTo>
                  <a:pt x="645096" y="36491"/>
                </a:lnTo>
                <a:lnTo>
                  <a:pt x="602434" y="20876"/>
                </a:lnTo>
                <a:lnTo>
                  <a:pt x="557934" y="9434"/>
                </a:lnTo>
                <a:lnTo>
                  <a:pt x="511829" y="2397"/>
                </a:lnTo>
                <a:lnTo>
                  <a:pt x="464352" y="0"/>
                </a:lnTo>
                <a:close/>
              </a:path>
            </a:pathLst>
          </a:custGeom>
          <a:solidFill>
            <a:srgbClr val="50BD86"/>
          </a:solidFill>
        </p:spPr>
        <p:txBody>
          <a:bodyPr wrap="square" lIns="0" tIns="0" rIns="0" bIns="0" rtlCol="0"/>
          <a:lstStyle/>
          <a:p>
            <a:endParaRPr/>
          </a:p>
        </p:txBody>
      </p:sp>
      <p:sp>
        <p:nvSpPr>
          <p:cNvPr id="5" name="object 5"/>
          <p:cNvSpPr/>
          <p:nvPr/>
        </p:nvSpPr>
        <p:spPr>
          <a:xfrm>
            <a:off x="373609" y="400469"/>
            <a:ext cx="78848" cy="107433"/>
          </a:xfrm>
          <a:custGeom>
            <a:avLst/>
            <a:gdLst/>
            <a:ahLst/>
            <a:cxnLst/>
            <a:rect l="l" t="t" r="r" b="b"/>
            <a:pathLst>
              <a:path w="173355" h="236219">
                <a:moveTo>
                  <a:pt x="172780" y="236139"/>
                </a:moveTo>
                <a:lnTo>
                  <a:pt x="0" y="236139"/>
                </a:lnTo>
                <a:lnTo>
                  <a:pt x="0" y="0"/>
                </a:lnTo>
                <a:lnTo>
                  <a:pt x="172780" y="0"/>
                </a:lnTo>
                <a:lnTo>
                  <a:pt x="172780" y="236139"/>
                </a:lnTo>
                <a:close/>
              </a:path>
            </a:pathLst>
          </a:custGeom>
          <a:solidFill>
            <a:srgbClr val="FFFFFF"/>
          </a:solidFill>
        </p:spPr>
        <p:txBody>
          <a:bodyPr wrap="square" lIns="0" tIns="0" rIns="0" bIns="0" rtlCol="0"/>
          <a:lstStyle/>
          <a:p>
            <a:endParaRPr/>
          </a:p>
        </p:txBody>
      </p:sp>
      <p:sp>
        <p:nvSpPr>
          <p:cNvPr id="6" name="object 6"/>
          <p:cNvSpPr/>
          <p:nvPr/>
        </p:nvSpPr>
        <p:spPr>
          <a:xfrm>
            <a:off x="317942" y="269502"/>
            <a:ext cx="163760" cy="261940"/>
          </a:xfrm>
          <a:custGeom>
            <a:avLst/>
            <a:gdLst/>
            <a:ahLst/>
            <a:cxnLst/>
            <a:rect l="l" t="t" r="r" b="b"/>
            <a:pathLst>
              <a:path w="360044" h="575944">
                <a:moveTo>
                  <a:pt x="76615" y="232694"/>
                </a:moveTo>
                <a:lnTo>
                  <a:pt x="45419" y="255020"/>
                </a:lnTo>
                <a:lnTo>
                  <a:pt x="21219" y="284704"/>
                </a:lnTo>
                <a:lnTo>
                  <a:pt x="5562" y="320201"/>
                </a:lnTo>
                <a:lnTo>
                  <a:pt x="0" y="359968"/>
                </a:lnTo>
                <a:lnTo>
                  <a:pt x="0" y="511146"/>
                </a:lnTo>
                <a:lnTo>
                  <a:pt x="5333" y="536397"/>
                </a:lnTo>
                <a:lnTo>
                  <a:pt x="19392" y="556993"/>
                </a:lnTo>
                <a:lnTo>
                  <a:pt x="40117" y="570867"/>
                </a:lnTo>
                <a:lnTo>
                  <a:pt x="65443" y="575951"/>
                </a:lnTo>
                <a:lnTo>
                  <a:pt x="359968" y="575951"/>
                </a:lnTo>
                <a:lnTo>
                  <a:pt x="359968" y="359968"/>
                </a:lnTo>
                <a:lnTo>
                  <a:pt x="354406" y="320201"/>
                </a:lnTo>
                <a:lnTo>
                  <a:pt x="338754" y="284704"/>
                </a:lnTo>
                <a:lnTo>
                  <a:pt x="329679" y="273572"/>
                </a:lnTo>
                <a:lnTo>
                  <a:pt x="179984" y="273572"/>
                </a:lnTo>
                <a:lnTo>
                  <a:pt x="150768" y="270750"/>
                </a:lnTo>
                <a:lnTo>
                  <a:pt x="123446" y="262639"/>
                </a:lnTo>
                <a:lnTo>
                  <a:pt x="98550" y="249776"/>
                </a:lnTo>
                <a:lnTo>
                  <a:pt x="76615" y="232694"/>
                </a:lnTo>
                <a:close/>
              </a:path>
              <a:path w="360044" h="575944">
                <a:moveTo>
                  <a:pt x="283363" y="232694"/>
                </a:moveTo>
                <a:lnTo>
                  <a:pt x="261427" y="249776"/>
                </a:lnTo>
                <a:lnTo>
                  <a:pt x="236530" y="262639"/>
                </a:lnTo>
                <a:lnTo>
                  <a:pt x="209205" y="270750"/>
                </a:lnTo>
                <a:lnTo>
                  <a:pt x="179984" y="273572"/>
                </a:lnTo>
                <a:lnTo>
                  <a:pt x="329679" y="273572"/>
                </a:lnTo>
                <a:lnTo>
                  <a:pt x="314557" y="255020"/>
                </a:lnTo>
                <a:lnTo>
                  <a:pt x="283363" y="232694"/>
                </a:lnTo>
                <a:close/>
              </a:path>
              <a:path w="360044" h="575944">
                <a:moveTo>
                  <a:pt x="179984" y="0"/>
                </a:moveTo>
                <a:lnTo>
                  <a:pt x="132345" y="9617"/>
                </a:lnTo>
                <a:lnTo>
                  <a:pt x="93440" y="35845"/>
                </a:lnTo>
                <a:lnTo>
                  <a:pt x="67209" y="74746"/>
                </a:lnTo>
                <a:lnTo>
                  <a:pt x="57589" y="122383"/>
                </a:lnTo>
                <a:lnTo>
                  <a:pt x="67209" y="170022"/>
                </a:lnTo>
                <a:lnTo>
                  <a:pt x="93440" y="208926"/>
                </a:lnTo>
                <a:lnTo>
                  <a:pt x="132345" y="235158"/>
                </a:lnTo>
                <a:lnTo>
                  <a:pt x="179984" y="244777"/>
                </a:lnTo>
                <a:lnTo>
                  <a:pt x="227625" y="235158"/>
                </a:lnTo>
                <a:lnTo>
                  <a:pt x="266525" y="208926"/>
                </a:lnTo>
                <a:lnTo>
                  <a:pt x="292751" y="170022"/>
                </a:lnTo>
                <a:lnTo>
                  <a:pt x="302367" y="122383"/>
                </a:lnTo>
                <a:lnTo>
                  <a:pt x="292751" y="74746"/>
                </a:lnTo>
                <a:lnTo>
                  <a:pt x="266525" y="35845"/>
                </a:lnTo>
                <a:lnTo>
                  <a:pt x="227625" y="9617"/>
                </a:lnTo>
                <a:lnTo>
                  <a:pt x="179984" y="0"/>
                </a:lnTo>
                <a:close/>
              </a:path>
            </a:pathLst>
          </a:custGeom>
          <a:solidFill>
            <a:srgbClr val="FFFFFF"/>
          </a:solidFill>
        </p:spPr>
        <p:txBody>
          <a:bodyPr wrap="square" lIns="0" tIns="0" rIns="0" bIns="0" rtlCol="0"/>
          <a:lstStyle/>
          <a:p>
            <a:endParaRPr/>
          </a:p>
        </p:txBody>
      </p:sp>
      <p:sp>
        <p:nvSpPr>
          <p:cNvPr id="451" name="object 451"/>
          <p:cNvSpPr/>
          <p:nvPr/>
        </p:nvSpPr>
        <p:spPr>
          <a:xfrm>
            <a:off x="3446869" y="2007798"/>
            <a:ext cx="860680" cy="860619"/>
          </a:xfrm>
          <a:custGeom>
            <a:avLst/>
            <a:gdLst/>
            <a:ahLst/>
            <a:cxnLst/>
            <a:rect l="l" t="t" r="r" b="b"/>
            <a:pathLst>
              <a:path w="1892300" h="1892300">
                <a:moveTo>
                  <a:pt x="945929" y="0"/>
                </a:moveTo>
                <a:lnTo>
                  <a:pt x="897251" y="1230"/>
                </a:lnTo>
                <a:lnTo>
                  <a:pt x="849213" y="4883"/>
                </a:lnTo>
                <a:lnTo>
                  <a:pt x="801873" y="10899"/>
                </a:lnTo>
                <a:lnTo>
                  <a:pt x="755291" y="19217"/>
                </a:lnTo>
                <a:lnTo>
                  <a:pt x="709526" y="29780"/>
                </a:lnTo>
                <a:lnTo>
                  <a:pt x="664638" y="42526"/>
                </a:lnTo>
                <a:lnTo>
                  <a:pt x="620686" y="57398"/>
                </a:lnTo>
                <a:lnTo>
                  <a:pt x="577730" y="74335"/>
                </a:lnTo>
                <a:lnTo>
                  <a:pt x="535829" y="93278"/>
                </a:lnTo>
                <a:lnTo>
                  <a:pt x="495042" y="114168"/>
                </a:lnTo>
                <a:lnTo>
                  <a:pt x="455429" y="136945"/>
                </a:lnTo>
                <a:lnTo>
                  <a:pt x="417050" y="161549"/>
                </a:lnTo>
                <a:lnTo>
                  <a:pt x="379964" y="187922"/>
                </a:lnTo>
                <a:lnTo>
                  <a:pt x="344229" y="216003"/>
                </a:lnTo>
                <a:lnTo>
                  <a:pt x="309907" y="245734"/>
                </a:lnTo>
                <a:lnTo>
                  <a:pt x="277055" y="277055"/>
                </a:lnTo>
                <a:lnTo>
                  <a:pt x="245734" y="309907"/>
                </a:lnTo>
                <a:lnTo>
                  <a:pt x="216003" y="344229"/>
                </a:lnTo>
                <a:lnTo>
                  <a:pt x="187922" y="379964"/>
                </a:lnTo>
                <a:lnTo>
                  <a:pt x="161549" y="417050"/>
                </a:lnTo>
                <a:lnTo>
                  <a:pt x="136945" y="455429"/>
                </a:lnTo>
                <a:lnTo>
                  <a:pt x="114168" y="495042"/>
                </a:lnTo>
                <a:lnTo>
                  <a:pt x="93278" y="535829"/>
                </a:lnTo>
                <a:lnTo>
                  <a:pt x="74335" y="577730"/>
                </a:lnTo>
                <a:lnTo>
                  <a:pt x="57398" y="620686"/>
                </a:lnTo>
                <a:lnTo>
                  <a:pt x="42526" y="664638"/>
                </a:lnTo>
                <a:lnTo>
                  <a:pt x="29780" y="709526"/>
                </a:lnTo>
                <a:lnTo>
                  <a:pt x="19217" y="755291"/>
                </a:lnTo>
                <a:lnTo>
                  <a:pt x="10899" y="801873"/>
                </a:lnTo>
                <a:lnTo>
                  <a:pt x="4883" y="849213"/>
                </a:lnTo>
                <a:lnTo>
                  <a:pt x="1230" y="897251"/>
                </a:lnTo>
                <a:lnTo>
                  <a:pt x="0" y="945929"/>
                </a:lnTo>
                <a:lnTo>
                  <a:pt x="1230" y="994606"/>
                </a:lnTo>
                <a:lnTo>
                  <a:pt x="4883" y="1042645"/>
                </a:lnTo>
                <a:lnTo>
                  <a:pt x="10899" y="1089985"/>
                </a:lnTo>
                <a:lnTo>
                  <a:pt x="19217" y="1136567"/>
                </a:lnTo>
                <a:lnTo>
                  <a:pt x="29780" y="1182332"/>
                </a:lnTo>
                <a:lnTo>
                  <a:pt x="42526" y="1227220"/>
                </a:lnTo>
                <a:lnTo>
                  <a:pt x="57398" y="1271172"/>
                </a:lnTo>
                <a:lnTo>
                  <a:pt x="74335" y="1314128"/>
                </a:lnTo>
                <a:lnTo>
                  <a:pt x="93278" y="1356029"/>
                </a:lnTo>
                <a:lnTo>
                  <a:pt x="114168" y="1396816"/>
                </a:lnTo>
                <a:lnTo>
                  <a:pt x="136945" y="1436428"/>
                </a:lnTo>
                <a:lnTo>
                  <a:pt x="161549" y="1474808"/>
                </a:lnTo>
                <a:lnTo>
                  <a:pt x="187922" y="1511894"/>
                </a:lnTo>
                <a:lnTo>
                  <a:pt x="216003" y="1547628"/>
                </a:lnTo>
                <a:lnTo>
                  <a:pt x="245734" y="1581951"/>
                </a:lnTo>
                <a:lnTo>
                  <a:pt x="277055" y="1614802"/>
                </a:lnTo>
                <a:lnTo>
                  <a:pt x="309907" y="1646123"/>
                </a:lnTo>
                <a:lnTo>
                  <a:pt x="344229" y="1675854"/>
                </a:lnTo>
                <a:lnTo>
                  <a:pt x="379964" y="1703936"/>
                </a:lnTo>
                <a:lnTo>
                  <a:pt x="417050" y="1730309"/>
                </a:lnTo>
                <a:lnTo>
                  <a:pt x="455429" y="1754913"/>
                </a:lnTo>
                <a:lnTo>
                  <a:pt x="495042" y="1777690"/>
                </a:lnTo>
                <a:lnTo>
                  <a:pt x="535829" y="1798579"/>
                </a:lnTo>
                <a:lnTo>
                  <a:pt x="577730" y="1817523"/>
                </a:lnTo>
                <a:lnTo>
                  <a:pt x="620686" y="1834460"/>
                </a:lnTo>
                <a:lnTo>
                  <a:pt x="664638" y="1849331"/>
                </a:lnTo>
                <a:lnTo>
                  <a:pt x="709526" y="1862078"/>
                </a:lnTo>
                <a:lnTo>
                  <a:pt x="755291" y="1872640"/>
                </a:lnTo>
                <a:lnTo>
                  <a:pt x="801873" y="1880959"/>
                </a:lnTo>
                <a:lnTo>
                  <a:pt x="849213" y="1886974"/>
                </a:lnTo>
                <a:lnTo>
                  <a:pt x="897251" y="1890627"/>
                </a:lnTo>
                <a:lnTo>
                  <a:pt x="945929" y="1891858"/>
                </a:lnTo>
                <a:lnTo>
                  <a:pt x="994605" y="1890627"/>
                </a:lnTo>
                <a:lnTo>
                  <a:pt x="1042643" y="1886974"/>
                </a:lnTo>
                <a:lnTo>
                  <a:pt x="1089982" y="1880959"/>
                </a:lnTo>
                <a:lnTo>
                  <a:pt x="1136564" y="1872640"/>
                </a:lnTo>
                <a:lnTo>
                  <a:pt x="1182328" y="1862078"/>
                </a:lnTo>
                <a:lnTo>
                  <a:pt x="1227216" y="1849331"/>
                </a:lnTo>
                <a:lnTo>
                  <a:pt x="1271167" y="1834460"/>
                </a:lnTo>
                <a:lnTo>
                  <a:pt x="1314123" y="1817523"/>
                </a:lnTo>
                <a:lnTo>
                  <a:pt x="1356024" y="1798579"/>
                </a:lnTo>
                <a:lnTo>
                  <a:pt x="1396811" y="1777690"/>
                </a:lnTo>
                <a:lnTo>
                  <a:pt x="1436424" y="1754913"/>
                </a:lnTo>
                <a:lnTo>
                  <a:pt x="1474803" y="1730309"/>
                </a:lnTo>
                <a:lnTo>
                  <a:pt x="1511890" y="1703936"/>
                </a:lnTo>
                <a:lnTo>
                  <a:pt x="1547624" y="1675854"/>
                </a:lnTo>
                <a:lnTo>
                  <a:pt x="1581947" y="1646123"/>
                </a:lnTo>
                <a:lnTo>
                  <a:pt x="1614798" y="1614802"/>
                </a:lnTo>
                <a:lnTo>
                  <a:pt x="1646120" y="1581951"/>
                </a:lnTo>
                <a:lnTo>
                  <a:pt x="1675851" y="1547628"/>
                </a:lnTo>
                <a:lnTo>
                  <a:pt x="1703933" y="1511894"/>
                </a:lnTo>
                <a:lnTo>
                  <a:pt x="1730306" y="1474808"/>
                </a:lnTo>
                <a:lnTo>
                  <a:pt x="1754911" y="1436428"/>
                </a:lnTo>
                <a:lnTo>
                  <a:pt x="1777688" y="1396816"/>
                </a:lnTo>
                <a:lnTo>
                  <a:pt x="1798578" y="1356029"/>
                </a:lnTo>
                <a:lnTo>
                  <a:pt x="1817521" y="1314128"/>
                </a:lnTo>
                <a:lnTo>
                  <a:pt x="1834458" y="1271172"/>
                </a:lnTo>
                <a:lnTo>
                  <a:pt x="1849330" y="1227220"/>
                </a:lnTo>
                <a:lnTo>
                  <a:pt x="1862077" y="1182332"/>
                </a:lnTo>
                <a:lnTo>
                  <a:pt x="1872640" y="1136567"/>
                </a:lnTo>
                <a:lnTo>
                  <a:pt x="1880959" y="1089985"/>
                </a:lnTo>
                <a:lnTo>
                  <a:pt x="1886974" y="1042645"/>
                </a:lnTo>
                <a:lnTo>
                  <a:pt x="1890627" y="994606"/>
                </a:lnTo>
                <a:lnTo>
                  <a:pt x="1891858" y="945929"/>
                </a:lnTo>
                <a:lnTo>
                  <a:pt x="1890627" y="897251"/>
                </a:lnTo>
                <a:lnTo>
                  <a:pt x="1886974" y="849213"/>
                </a:lnTo>
                <a:lnTo>
                  <a:pt x="1880959" y="801873"/>
                </a:lnTo>
                <a:lnTo>
                  <a:pt x="1872640" y="755291"/>
                </a:lnTo>
                <a:lnTo>
                  <a:pt x="1862077" y="709526"/>
                </a:lnTo>
                <a:lnTo>
                  <a:pt x="1849330" y="664638"/>
                </a:lnTo>
                <a:lnTo>
                  <a:pt x="1834458" y="620686"/>
                </a:lnTo>
                <a:lnTo>
                  <a:pt x="1817521" y="577730"/>
                </a:lnTo>
                <a:lnTo>
                  <a:pt x="1798578" y="535829"/>
                </a:lnTo>
                <a:lnTo>
                  <a:pt x="1777688" y="495042"/>
                </a:lnTo>
                <a:lnTo>
                  <a:pt x="1754911" y="455429"/>
                </a:lnTo>
                <a:lnTo>
                  <a:pt x="1730306" y="417050"/>
                </a:lnTo>
                <a:lnTo>
                  <a:pt x="1703933" y="379964"/>
                </a:lnTo>
                <a:lnTo>
                  <a:pt x="1675851" y="344229"/>
                </a:lnTo>
                <a:lnTo>
                  <a:pt x="1646120" y="309907"/>
                </a:lnTo>
                <a:lnTo>
                  <a:pt x="1614798" y="277055"/>
                </a:lnTo>
                <a:lnTo>
                  <a:pt x="1581947" y="245734"/>
                </a:lnTo>
                <a:lnTo>
                  <a:pt x="1547624" y="216003"/>
                </a:lnTo>
                <a:lnTo>
                  <a:pt x="1511890" y="187922"/>
                </a:lnTo>
                <a:lnTo>
                  <a:pt x="1474803" y="161549"/>
                </a:lnTo>
                <a:lnTo>
                  <a:pt x="1436424" y="136945"/>
                </a:lnTo>
                <a:lnTo>
                  <a:pt x="1396811" y="114168"/>
                </a:lnTo>
                <a:lnTo>
                  <a:pt x="1356024" y="93278"/>
                </a:lnTo>
                <a:lnTo>
                  <a:pt x="1314123" y="74335"/>
                </a:lnTo>
                <a:lnTo>
                  <a:pt x="1271167" y="57398"/>
                </a:lnTo>
                <a:lnTo>
                  <a:pt x="1227216" y="42526"/>
                </a:lnTo>
                <a:lnTo>
                  <a:pt x="1182328" y="29780"/>
                </a:lnTo>
                <a:lnTo>
                  <a:pt x="1136564" y="19217"/>
                </a:lnTo>
                <a:lnTo>
                  <a:pt x="1089982" y="10899"/>
                </a:lnTo>
                <a:lnTo>
                  <a:pt x="1042643" y="4883"/>
                </a:lnTo>
                <a:lnTo>
                  <a:pt x="994605" y="1230"/>
                </a:lnTo>
                <a:lnTo>
                  <a:pt x="945929" y="0"/>
                </a:lnTo>
                <a:close/>
              </a:path>
            </a:pathLst>
          </a:custGeom>
          <a:solidFill>
            <a:srgbClr val="FF7900"/>
          </a:solidFill>
        </p:spPr>
        <p:txBody>
          <a:bodyPr wrap="square" lIns="0" tIns="0" rIns="0" bIns="0" rtlCol="0"/>
          <a:lstStyle/>
          <a:p>
            <a:endParaRPr/>
          </a:p>
        </p:txBody>
      </p:sp>
      <p:sp>
        <p:nvSpPr>
          <p:cNvPr id="452" name="object 452"/>
          <p:cNvSpPr/>
          <p:nvPr/>
        </p:nvSpPr>
        <p:spPr>
          <a:xfrm>
            <a:off x="3407165" y="2967987"/>
            <a:ext cx="819667" cy="809213"/>
          </a:xfrm>
          <a:custGeom>
            <a:avLst/>
            <a:gdLst/>
            <a:ahLst/>
            <a:cxnLst/>
            <a:rect l="l" t="t" r="r" b="b"/>
            <a:pathLst>
              <a:path w="1802129" h="1779270">
                <a:moveTo>
                  <a:pt x="900883" y="0"/>
                </a:moveTo>
                <a:lnTo>
                  <a:pt x="853039" y="1233"/>
                </a:lnTo>
                <a:lnTo>
                  <a:pt x="805845" y="4891"/>
                </a:lnTo>
                <a:lnTo>
                  <a:pt x="759364" y="10913"/>
                </a:lnTo>
                <a:lnTo>
                  <a:pt x="713658" y="19238"/>
                </a:lnTo>
                <a:lnTo>
                  <a:pt x="668788" y="29803"/>
                </a:lnTo>
                <a:lnTo>
                  <a:pt x="624818" y="42547"/>
                </a:lnTo>
                <a:lnTo>
                  <a:pt x="581810" y="57410"/>
                </a:lnTo>
                <a:lnTo>
                  <a:pt x="539826" y="74329"/>
                </a:lnTo>
                <a:lnTo>
                  <a:pt x="498928" y="93242"/>
                </a:lnTo>
                <a:lnTo>
                  <a:pt x="459178" y="114089"/>
                </a:lnTo>
                <a:lnTo>
                  <a:pt x="420639" y="136808"/>
                </a:lnTo>
                <a:lnTo>
                  <a:pt x="383373" y="161338"/>
                </a:lnTo>
                <a:lnTo>
                  <a:pt x="347442" y="187616"/>
                </a:lnTo>
                <a:lnTo>
                  <a:pt x="312909" y="215582"/>
                </a:lnTo>
                <a:lnTo>
                  <a:pt x="279836" y="245174"/>
                </a:lnTo>
                <a:lnTo>
                  <a:pt x="248284" y="276331"/>
                </a:lnTo>
                <a:lnTo>
                  <a:pt x="218317" y="308990"/>
                </a:lnTo>
                <a:lnTo>
                  <a:pt x="189997" y="343092"/>
                </a:lnTo>
                <a:lnTo>
                  <a:pt x="163385" y="378573"/>
                </a:lnTo>
                <a:lnTo>
                  <a:pt x="138544" y="415373"/>
                </a:lnTo>
                <a:lnTo>
                  <a:pt x="115537" y="453430"/>
                </a:lnTo>
                <a:lnTo>
                  <a:pt x="94426" y="492682"/>
                </a:lnTo>
                <a:lnTo>
                  <a:pt x="75272" y="533069"/>
                </a:lnTo>
                <a:lnTo>
                  <a:pt x="58138" y="574529"/>
                </a:lnTo>
                <a:lnTo>
                  <a:pt x="43087" y="616999"/>
                </a:lnTo>
                <a:lnTo>
                  <a:pt x="30181" y="660420"/>
                </a:lnTo>
                <a:lnTo>
                  <a:pt x="19482" y="704729"/>
                </a:lnTo>
                <a:lnTo>
                  <a:pt x="11052" y="749864"/>
                </a:lnTo>
                <a:lnTo>
                  <a:pt x="4953" y="795765"/>
                </a:lnTo>
                <a:lnTo>
                  <a:pt x="1248" y="842369"/>
                </a:lnTo>
                <a:lnTo>
                  <a:pt x="0" y="889616"/>
                </a:lnTo>
                <a:lnTo>
                  <a:pt x="1248" y="936863"/>
                </a:lnTo>
                <a:lnTo>
                  <a:pt x="4953" y="983468"/>
                </a:lnTo>
                <a:lnTo>
                  <a:pt x="11052" y="1029369"/>
                </a:lnTo>
                <a:lnTo>
                  <a:pt x="19482" y="1074505"/>
                </a:lnTo>
                <a:lnTo>
                  <a:pt x="30181" y="1118814"/>
                </a:lnTo>
                <a:lnTo>
                  <a:pt x="43087" y="1162234"/>
                </a:lnTo>
                <a:lnTo>
                  <a:pt x="58138" y="1204705"/>
                </a:lnTo>
                <a:lnTo>
                  <a:pt x="75272" y="1246165"/>
                </a:lnTo>
                <a:lnTo>
                  <a:pt x="94426" y="1286553"/>
                </a:lnTo>
                <a:lnTo>
                  <a:pt x="115537" y="1325806"/>
                </a:lnTo>
                <a:lnTo>
                  <a:pt x="138544" y="1363863"/>
                </a:lnTo>
                <a:lnTo>
                  <a:pt x="163385" y="1400663"/>
                </a:lnTo>
                <a:lnTo>
                  <a:pt x="189997" y="1436145"/>
                </a:lnTo>
                <a:lnTo>
                  <a:pt x="218317" y="1470247"/>
                </a:lnTo>
                <a:lnTo>
                  <a:pt x="248284" y="1502907"/>
                </a:lnTo>
                <a:lnTo>
                  <a:pt x="279836" y="1534064"/>
                </a:lnTo>
                <a:lnTo>
                  <a:pt x="312909" y="1563656"/>
                </a:lnTo>
                <a:lnTo>
                  <a:pt x="347442" y="1591623"/>
                </a:lnTo>
                <a:lnTo>
                  <a:pt x="383373" y="1617902"/>
                </a:lnTo>
                <a:lnTo>
                  <a:pt x="420639" y="1642432"/>
                </a:lnTo>
                <a:lnTo>
                  <a:pt x="459178" y="1665151"/>
                </a:lnTo>
                <a:lnTo>
                  <a:pt x="498928" y="1685999"/>
                </a:lnTo>
                <a:lnTo>
                  <a:pt x="539826" y="1704913"/>
                </a:lnTo>
                <a:lnTo>
                  <a:pt x="581810" y="1721832"/>
                </a:lnTo>
                <a:lnTo>
                  <a:pt x="624818" y="1736695"/>
                </a:lnTo>
                <a:lnTo>
                  <a:pt x="668788" y="1749440"/>
                </a:lnTo>
                <a:lnTo>
                  <a:pt x="713658" y="1760005"/>
                </a:lnTo>
                <a:lnTo>
                  <a:pt x="759364" y="1768330"/>
                </a:lnTo>
                <a:lnTo>
                  <a:pt x="805845" y="1774352"/>
                </a:lnTo>
                <a:lnTo>
                  <a:pt x="853039" y="1778011"/>
                </a:lnTo>
                <a:lnTo>
                  <a:pt x="900883" y="1779244"/>
                </a:lnTo>
                <a:lnTo>
                  <a:pt x="948728" y="1778011"/>
                </a:lnTo>
                <a:lnTo>
                  <a:pt x="995923" y="1774352"/>
                </a:lnTo>
                <a:lnTo>
                  <a:pt x="1042405" y="1768330"/>
                </a:lnTo>
                <a:lnTo>
                  <a:pt x="1088112" y="1760005"/>
                </a:lnTo>
                <a:lnTo>
                  <a:pt x="1132981" y="1749440"/>
                </a:lnTo>
                <a:lnTo>
                  <a:pt x="1176952" y="1736695"/>
                </a:lnTo>
                <a:lnTo>
                  <a:pt x="1219960" y="1721832"/>
                </a:lnTo>
                <a:lnTo>
                  <a:pt x="1261945" y="1704913"/>
                </a:lnTo>
                <a:lnTo>
                  <a:pt x="1302843" y="1685999"/>
                </a:lnTo>
                <a:lnTo>
                  <a:pt x="1342593" y="1665151"/>
                </a:lnTo>
                <a:lnTo>
                  <a:pt x="1381132" y="1642432"/>
                </a:lnTo>
                <a:lnTo>
                  <a:pt x="1418398" y="1617902"/>
                </a:lnTo>
                <a:lnTo>
                  <a:pt x="1454328" y="1591623"/>
                </a:lnTo>
                <a:lnTo>
                  <a:pt x="1488861" y="1563656"/>
                </a:lnTo>
                <a:lnTo>
                  <a:pt x="1521935" y="1534064"/>
                </a:lnTo>
                <a:lnTo>
                  <a:pt x="1553486" y="1502907"/>
                </a:lnTo>
                <a:lnTo>
                  <a:pt x="1583453" y="1470247"/>
                </a:lnTo>
                <a:lnTo>
                  <a:pt x="1611773" y="1436145"/>
                </a:lnTo>
                <a:lnTo>
                  <a:pt x="1638384" y="1400663"/>
                </a:lnTo>
                <a:lnTo>
                  <a:pt x="1663224" y="1363863"/>
                </a:lnTo>
                <a:lnTo>
                  <a:pt x="1686231" y="1325806"/>
                </a:lnTo>
                <a:lnTo>
                  <a:pt x="1707342" y="1286553"/>
                </a:lnTo>
                <a:lnTo>
                  <a:pt x="1726496" y="1246165"/>
                </a:lnTo>
                <a:lnTo>
                  <a:pt x="1743629" y="1204705"/>
                </a:lnTo>
                <a:lnTo>
                  <a:pt x="1758680" y="1162234"/>
                </a:lnTo>
                <a:lnTo>
                  <a:pt x="1771586" y="1118814"/>
                </a:lnTo>
                <a:lnTo>
                  <a:pt x="1782285" y="1074505"/>
                </a:lnTo>
                <a:lnTo>
                  <a:pt x="1790715" y="1029369"/>
                </a:lnTo>
                <a:lnTo>
                  <a:pt x="1796813" y="983468"/>
                </a:lnTo>
                <a:lnTo>
                  <a:pt x="1800518" y="936863"/>
                </a:lnTo>
                <a:lnTo>
                  <a:pt x="1801767" y="889616"/>
                </a:lnTo>
                <a:lnTo>
                  <a:pt x="1800518" y="842369"/>
                </a:lnTo>
                <a:lnTo>
                  <a:pt x="1796813" y="795765"/>
                </a:lnTo>
                <a:lnTo>
                  <a:pt x="1790715" y="749864"/>
                </a:lnTo>
                <a:lnTo>
                  <a:pt x="1782285" y="704729"/>
                </a:lnTo>
                <a:lnTo>
                  <a:pt x="1771586" y="660420"/>
                </a:lnTo>
                <a:lnTo>
                  <a:pt x="1758680" y="616999"/>
                </a:lnTo>
                <a:lnTo>
                  <a:pt x="1743629" y="574529"/>
                </a:lnTo>
                <a:lnTo>
                  <a:pt x="1726496" y="533069"/>
                </a:lnTo>
                <a:lnTo>
                  <a:pt x="1707342" y="492682"/>
                </a:lnTo>
                <a:lnTo>
                  <a:pt x="1686231" y="453430"/>
                </a:lnTo>
                <a:lnTo>
                  <a:pt x="1663224" y="415373"/>
                </a:lnTo>
                <a:lnTo>
                  <a:pt x="1638384" y="378573"/>
                </a:lnTo>
                <a:lnTo>
                  <a:pt x="1611773" y="343092"/>
                </a:lnTo>
                <a:lnTo>
                  <a:pt x="1583453" y="308990"/>
                </a:lnTo>
                <a:lnTo>
                  <a:pt x="1553486" y="276331"/>
                </a:lnTo>
                <a:lnTo>
                  <a:pt x="1521935" y="245174"/>
                </a:lnTo>
                <a:lnTo>
                  <a:pt x="1488861" y="215582"/>
                </a:lnTo>
                <a:lnTo>
                  <a:pt x="1454328" y="187616"/>
                </a:lnTo>
                <a:lnTo>
                  <a:pt x="1418398" y="161338"/>
                </a:lnTo>
                <a:lnTo>
                  <a:pt x="1381132" y="136808"/>
                </a:lnTo>
                <a:lnTo>
                  <a:pt x="1342593" y="114089"/>
                </a:lnTo>
                <a:lnTo>
                  <a:pt x="1302843" y="93242"/>
                </a:lnTo>
                <a:lnTo>
                  <a:pt x="1261945" y="74329"/>
                </a:lnTo>
                <a:lnTo>
                  <a:pt x="1219960" y="57410"/>
                </a:lnTo>
                <a:lnTo>
                  <a:pt x="1176952" y="42547"/>
                </a:lnTo>
                <a:lnTo>
                  <a:pt x="1132981" y="29803"/>
                </a:lnTo>
                <a:lnTo>
                  <a:pt x="1088112" y="19238"/>
                </a:lnTo>
                <a:lnTo>
                  <a:pt x="1042405" y="10913"/>
                </a:lnTo>
                <a:lnTo>
                  <a:pt x="995923" y="4891"/>
                </a:lnTo>
                <a:lnTo>
                  <a:pt x="948728" y="1233"/>
                </a:lnTo>
                <a:lnTo>
                  <a:pt x="900883" y="0"/>
                </a:lnTo>
                <a:close/>
              </a:path>
            </a:pathLst>
          </a:custGeom>
          <a:solidFill>
            <a:srgbClr val="FF7900"/>
          </a:solidFill>
        </p:spPr>
        <p:txBody>
          <a:bodyPr wrap="square" lIns="0" tIns="0" rIns="0" bIns="0" rtlCol="0"/>
          <a:lstStyle/>
          <a:p>
            <a:endParaRPr/>
          </a:p>
        </p:txBody>
      </p:sp>
      <p:sp>
        <p:nvSpPr>
          <p:cNvPr id="453" name="object 453"/>
          <p:cNvSpPr/>
          <p:nvPr/>
        </p:nvSpPr>
        <p:spPr>
          <a:xfrm>
            <a:off x="4273089" y="2637882"/>
            <a:ext cx="1075850" cy="1085882"/>
          </a:xfrm>
          <a:custGeom>
            <a:avLst/>
            <a:gdLst/>
            <a:ahLst/>
            <a:cxnLst/>
            <a:rect l="l" t="t" r="r" b="b"/>
            <a:pathLst>
              <a:path w="2365375" h="2387600">
                <a:moveTo>
                  <a:pt x="1182403" y="0"/>
                </a:moveTo>
                <a:lnTo>
                  <a:pt x="1134848" y="947"/>
                </a:lnTo>
                <a:lnTo>
                  <a:pt x="1087770" y="3767"/>
                </a:lnTo>
                <a:lnTo>
                  <a:pt x="1041203" y="8423"/>
                </a:lnTo>
                <a:lnTo>
                  <a:pt x="995183" y="14879"/>
                </a:lnTo>
                <a:lnTo>
                  <a:pt x="949747" y="23101"/>
                </a:lnTo>
                <a:lnTo>
                  <a:pt x="904928" y="33051"/>
                </a:lnTo>
                <a:lnTo>
                  <a:pt x="860762" y="44695"/>
                </a:lnTo>
                <a:lnTo>
                  <a:pt x="817285" y="57997"/>
                </a:lnTo>
                <a:lnTo>
                  <a:pt x="774531" y="72922"/>
                </a:lnTo>
                <a:lnTo>
                  <a:pt x="732537" y="89432"/>
                </a:lnTo>
                <a:lnTo>
                  <a:pt x="691337" y="107494"/>
                </a:lnTo>
                <a:lnTo>
                  <a:pt x="650968" y="127071"/>
                </a:lnTo>
                <a:lnTo>
                  <a:pt x="611463" y="148128"/>
                </a:lnTo>
                <a:lnTo>
                  <a:pt x="572859" y="170629"/>
                </a:lnTo>
                <a:lnTo>
                  <a:pt x="535190" y="194538"/>
                </a:lnTo>
                <a:lnTo>
                  <a:pt x="498493" y="219819"/>
                </a:lnTo>
                <a:lnTo>
                  <a:pt x="462802" y="246438"/>
                </a:lnTo>
                <a:lnTo>
                  <a:pt x="428153" y="274358"/>
                </a:lnTo>
                <a:lnTo>
                  <a:pt x="394581" y="303544"/>
                </a:lnTo>
                <a:lnTo>
                  <a:pt x="362122" y="333959"/>
                </a:lnTo>
                <a:lnTo>
                  <a:pt x="330810" y="365569"/>
                </a:lnTo>
                <a:lnTo>
                  <a:pt x="300681" y="398338"/>
                </a:lnTo>
                <a:lnTo>
                  <a:pt x="271771" y="432230"/>
                </a:lnTo>
                <a:lnTo>
                  <a:pt x="244114" y="467209"/>
                </a:lnTo>
                <a:lnTo>
                  <a:pt x="217747" y="503240"/>
                </a:lnTo>
                <a:lnTo>
                  <a:pt x="192704" y="540286"/>
                </a:lnTo>
                <a:lnTo>
                  <a:pt x="169020" y="578314"/>
                </a:lnTo>
                <a:lnTo>
                  <a:pt x="146732" y="617286"/>
                </a:lnTo>
                <a:lnTo>
                  <a:pt x="125873" y="657167"/>
                </a:lnTo>
                <a:lnTo>
                  <a:pt x="106481" y="697921"/>
                </a:lnTo>
                <a:lnTo>
                  <a:pt x="88589" y="739514"/>
                </a:lnTo>
                <a:lnTo>
                  <a:pt x="72234" y="781908"/>
                </a:lnTo>
                <a:lnTo>
                  <a:pt x="57451" y="825069"/>
                </a:lnTo>
                <a:lnTo>
                  <a:pt x="44274" y="868961"/>
                </a:lnTo>
                <a:lnTo>
                  <a:pt x="32740" y="913548"/>
                </a:lnTo>
                <a:lnTo>
                  <a:pt x="22883" y="958794"/>
                </a:lnTo>
                <a:lnTo>
                  <a:pt x="14739" y="1004664"/>
                </a:lnTo>
                <a:lnTo>
                  <a:pt x="8343" y="1051123"/>
                </a:lnTo>
                <a:lnTo>
                  <a:pt x="3731" y="1098133"/>
                </a:lnTo>
                <a:lnTo>
                  <a:pt x="938" y="1145661"/>
                </a:lnTo>
                <a:lnTo>
                  <a:pt x="0" y="1193670"/>
                </a:lnTo>
                <a:lnTo>
                  <a:pt x="938" y="1241679"/>
                </a:lnTo>
                <a:lnTo>
                  <a:pt x="3731" y="1289207"/>
                </a:lnTo>
                <a:lnTo>
                  <a:pt x="8343" y="1336217"/>
                </a:lnTo>
                <a:lnTo>
                  <a:pt x="14739" y="1382676"/>
                </a:lnTo>
                <a:lnTo>
                  <a:pt x="22883" y="1428546"/>
                </a:lnTo>
                <a:lnTo>
                  <a:pt x="32740" y="1473792"/>
                </a:lnTo>
                <a:lnTo>
                  <a:pt x="44274" y="1518379"/>
                </a:lnTo>
                <a:lnTo>
                  <a:pt x="57451" y="1562271"/>
                </a:lnTo>
                <a:lnTo>
                  <a:pt x="72234" y="1605432"/>
                </a:lnTo>
                <a:lnTo>
                  <a:pt x="88589" y="1647826"/>
                </a:lnTo>
                <a:lnTo>
                  <a:pt x="106481" y="1689418"/>
                </a:lnTo>
                <a:lnTo>
                  <a:pt x="125873" y="1730173"/>
                </a:lnTo>
                <a:lnTo>
                  <a:pt x="146732" y="1770054"/>
                </a:lnTo>
                <a:lnTo>
                  <a:pt x="169020" y="1809026"/>
                </a:lnTo>
                <a:lnTo>
                  <a:pt x="192704" y="1847053"/>
                </a:lnTo>
                <a:lnTo>
                  <a:pt x="217747" y="1884100"/>
                </a:lnTo>
                <a:lnTo>
                  <a:pt x="244114" y="1920131"/>
                </a:lnTo>
                <a:lnTo>
                  <a:pt x="271771" y="1955110"/>
                </a:lnTo>
                <a:lnTo>
                  <a:pt x="300681" y="1989002"/>
                </a:lnTo>
                <a:lnTo>
                  <a:pt x="330810" y="2021771"/>
                </a:lnTo>
                <a:lnTo>
                  <a:pt x="362122" y="2053381"/>
                </a:lnTo>
                <a:lnTo>
                  <a:pt x="394581" y="2083796"/>
                </a:lnTo>
                <a:lnTo>
                  <a:pt x="428153" y="2112982"/>
                </a:lnTo>
                <a:lnTo>
                  <a:pt x="462802" y="2140902"/>
                </a:lnTo>
                <a:lnTo>
                  <a:pt x="498493" y="2167521"/>
                </a:lnTo>
                <a:lnTo>
                  <a:pt x="535190" y="2192802"/>
                </a:lnTo>
                <a:lnTo>
                  <a:pt x="572859" y="2216711"/>
                </a:lnTo>
                <a:lnTo>
                  <a:pt x="611463" y="2239212"/>
                </a:lnTo>
                <a:lnTo>
                  <a:pt x="650968" y="2260269"/>
                </a:lnTo>
                <a:lnTo>
                  <a:pt x="691337" y="2279846"/>
                </a:lnTo>
                <a:lnTo>
                  <a:pt x="732537" y="2297907"/>
                </a:lnTo>
                <a:lnTo>
                  <a:pt x="774531" y="2314418"/>
                </a:lnTo>
                <a:lnTo>
                  <a:pt x="817285" y="2329343"/>
                </a:lnTo>
                <a:lnTo>
                  <a:pt x="860762" y="2342645"/>
                </a:lnTo>
                <a:lnTo>
                  <a:pt x="904928" y="2354289"/>
                </a:lnTo>
                <a:lnTo>
                  <a:pt x="949747" y="2364239"/>
                </a:lnTo>
                <a:lnTo>
                  <a:pt x="995183" y="2372461"/>
                </a:lnTo>
                <a:lnTo>
                  <a:pt x="1041203" y="2378917"/>
                </a:lnTo>
                <a:lnTo>
                  <a:pt x="1087770" y="2383573"/>
                </a:lnTo>
                <a:lnTo>
                  <a:pt x="1134848" y="2386393"/>
                </a:lnTo>
                <a:lnTo>
                  <a:pt x="1182403" y="2387340"/>
                </a:lnTo>
                <a:lnTo>
                  <a:pt x="1229959" y="2386393"/>
                </a:lnTo>
                <a:lnTo>
                  <a:pt x="1277039" y="2383573"/>
                </a:lnTo>
                <a:lnTo>
                  <a:pt x="1323606" y="2378917"/>
                </a:lnTo>
                <a:lnTo>
                  <a:pt x="1369626" y="2372461"/>
                </a:lnTo>
                <a:lnTo>
                  <a:pt x="1415063" y="2364239"/>
                </a:lnTo>
                <a:lnTo>
                  <a:pt x="1459883" y="2354289"/>
                </a:lnTo>
                <a:lnTo>
                  <a:pt x="1504049" y="2342645"/>
                </a:lnTo>
                <a:lnTo>
                  <a:pt x="1547527" y="2329343"/>
                </a:lnTo>
                <a:lnTo>
                  <a:pt x="1590281" y="2314418"/>
                </a:lnTo>
                <a:lnTo>
                  <a:pt x="1632275" y="2297907"/>
                </a:lnTo>
                <a:lnTo>
                  <a:pt x="1673476" y="2279846"/>
                </a:lnTo>
                <a:lnTo>
                  <a:pt x="1713846" y="2260269"/>
                </a:lnTo>
                <a:lnTo>
                  <a:pt x="1753351" y="2239212"/>
                </a:lnTo>
                <a:lnTo>
                  <a:pt x="1791955" y="2216711"/>
                </a:lnTo>
                <a:lnTo>
                  <a:pt x="1829624" y="2192802"/>
                </a:lnTo>
                <a:lnTo>
                  <a:pt x="1866322" y="2167521"/>
                </a:lnTo>
                <a:lnTo>
                  <a:pt x="1902013" y="2140902"/>
                </a:lnTo>
                <a:lnTo>
                  <a:pt x="1936662" y="2112982"/>
                </a:lnTo>
                <a:lnTo>
                  <a:pt x="1970234" y="2083796"/>
                </a:lnTo>
                <a:lnTo>
                  <a:pt x="2002694" y="2053381"/>
                </a:lnTo>
                <a:lnTo>
                  <a:pt x="2034006" y="2021771"/>
                </a:lnTo>
                <a:lnTo>
                  <a:pt x="2064135" y="1989002"/>
                </a:lnTo>
                <a:lnTo>
                  <a:pt x="2093045" y="1955110"/>
                </a:lnTo>
                <a:lnTo>
                  <a:pt x="2120702" y="1920131"/>
                </a:lnTo>
                <a:lnTo>
                  <a:pt x="2147070" y="1884100"/>
                </a:lnTo>
                <a:lnTo>
                  <a:pt x="2172113" y="1847053"/>
                </a:lnTo>
                <a:lnTo>
                  <a:pt x="2195797" y="1809026"/>
                </a:lnTo>
                <a:lnTo>
                  <a:pt x="2218085" y="1770054"/>
                </a:lnTo>
                <a:lnTo>
                  <a:pt x="2238943" y="1730173"/>
                </a:lnTo>
                <a:lnTo>
                  <a:pt x="2258336" y="1689418"/>
                </a:lnTo>
                <a:lnTo>
                  <a:pt x="2276228" y="1647826"/>
                </a:lnTo>
                <a:lnTo>
                  <a:pt x="2292583" y="1605432"/>
                </a:lnTo>
                <a:lnTo>
                  <a:pt x="2307366" y="1562271"/>
                </a:lnTo>
                <a:lnTo>
                  <a:pt x="2320543" y="1518379"/>
                </a:lnTo>
                <a:lnTo>
                  <a:pt x="2332077" y="1473792"/>
                </a:lnTo>
                <a:lnTo>
                  <a:pt x="2341934" y="1428546"/>
                </a:lnTo>
                <a:lnTo>
                  <a:pt x="2350078" y="1382676"/>
                </a:lnTo>
                <a:lnTo>
                  <a:pt x="2356474" y="1336217"/>
                </a:lnTo>
                <a:lnTo>
                  <a:pt x="2361086" y="1289207"/>
                </a:lnTo>
                <a:lnTo>
                  <a:pt x="2363879" y="1241679"/>
                </a:lnTo>
                <a:lnTo>
                  <a:pt x="2364818" y="1193670"/>
                </a:lnTo>
                <a:lnTo>
                  <a:pt x="2363879" y="1145661"/>
                </a:lnTo>
                <a:lnTo>
                  <a:pt x="2361086" y="1098133"/>
                </a:lnTo>
                <a:lnTo>
                  <a:pt x="2356474" y="1051123"/>
                </a:lnTo>
                <a:lnTo>
                  <a:pt x="2350078" y="1004664"/>
                </a:lnTo>
                <a:lnTo>
                  <a:pt x="2341934" y="958794"/>
                </a:lnTo>
                <a:lnTo>
                  <a:pt x="2332077" y="913548"/>
                </a:lnTo>
                <a:lnTo>
                  <a:pt x="2320543" y="868961"/>
                </a:lnTo>
                <a:lnTo>
                  <a:pt x="2307366" y="825069"/>
                </a:lnTo>
                <a:lnTo>
                  <a:pt x="2292583" y="781908"/>
                </a:lnTo>
                <a:lnTo>
                  <a:pt x="2276228" y="739514"/>
                </a:lnTo>
                <a:lnTo>
                  <a:pt x="2258336" y="697921"/>
                </a:lnTo>
                <a:lnTo>
                  <a:pt x="2238943" y="657167"/>
                </a:lnTo>
                <a:lnTo>
                  <a:pt x="2218085" y="617286"/>
                </a:lnTo>
                <a:lnTo>
                  <a:pt x="2195797" y="578314"/>
                </a:lnTo>
                <a:lnTo>
                  <a:pt x="2172113" y="540286"/>
                </a:lnTo>
                <a:lnTo>
                  <a:pt x="2147070" y="503240"/>
                </a:lnTo>
                <a:lnTo>
                  <a:pt x="2120702" y="467209"/>
                </a:lnTo>
                <a:lnTo>
                  <a:pt x="2093045" y="432230"/>
                </a:lnTo>
                <a:lnTo>
                  <a:pt x="2064135" y="398338"/>
                </a:lnTo>
                <a:lnTo>
                  <a:pt x="2034006" y="365569"/>
                </a:lnTo>
                <a:lnTo>
                  <a:pt x="2002694" y="333959"/>
                </a:lnTo>
                <a:lnTo>
                  <a:pt x="1970234" y="303544"/>
                </a:lnTo>
                <a:lnTo>
                  <a:pt x="1936662" y="274358"/>
                </a:lnTo>
                <a:lnTo>
                  <a:pt x="1902013" y="246438"/>
                </a:lnTo>
                <a:lnTo>
                  <a:pt x="1866322" y="219819"/>
                </a:lnTo>
                <a:lnTo>
                  <a:pt x="1829624" y="194538"/>
                </a:lnTo>
                <a:lnTo>
                  <a:pt x="1791955" y="170629"/>
                </a:lnTo>
                <a:lnTo>
                  <a:pt x="1753351" y="148128"/>
                </a:lnTo>
                <a:lnTo>
                  <a:pt x="1713846" y="127071"/>
                </a:lnTo>
                <a:lnTo>
                  <a:pt x="1673476" y="107494"/>
                </a:lnTo>
                <a:lnTo>
                  <a:pt x="1632275" y="89432"/>
                </a:lnTo>
                <a:lnTo>
                  <a:pt x="1590281" y="72922"/>
                </a:lnTo>
                <a:lnTo>
                  <a:pt x="1547527" y="57997"/>
                </a:lnTo>
                <a:lnTo>
                  <a:pt x="1504049" y="44695"/>
                </a:lnTo>
                <a:lnTo>
                  <a:pt x="1459883" y="33051"/>
                </a:lnTo>
                <a:lnTo>
                  <a:pt x="1415063" y="23101"/>
                </a:lnTo>
                <a:lnTo>
                  <a:pt x="1369626" y="14879"/>
                </a:lnTo>
                <a:lnTo>
                  <a:pt x="1323606" y="8423"/>
                </a:lnTo>
                <a:lnTo>
                  <a:pt x="1277039" y="3767"/>
                </a:lnTo>
                <a:lnTo>
                  <a:pt x="1229959" y="947"/>
                </a:lnTo>
                <a:lnTo>
                  <a:pt x="1182403" y="0"/>
                </a:lnTo>
                <a:close/>
              </a:path>
            </a:pathLst>
          </a:custGeom>
          <a:solidFill>
            <a:srgbClr val="FF7900"/>
          </a:solidFill>
        </p:spPr>
        <p:txBody>
          <a:bodyPr wrap="square" lIns="0" tIns="0" rIns="0" bIns="0" rtlCol="0"/>
          <a:lstStyle/>
          <a:p>
            <a:endParaRPr/>
          </a:p>
        </p:txBody>
      </p:sp>
      <p:sp>
        <p:nvSpPr>
          <p:cNvPr id="454" name="object 454"/>
          <p:cNvSpPr/>
          <p:nvPr/>
        </p:nvSpPr>
        <p:spPr>
          <a:xfrm>
            <a:off x="4419330" y="1675082"/>
            <a:ext cx="860680" cy="860619"/>
          </a:xfrm>
          <a:custGeom>
            <a:avLst/>
            <a:gdLst/>
            <a:ahLst/>
            <a:cxnLst/>
            <a:rect l="l" t="t" r="r" b="b"/>
            <a:pathLst>
              <a:path w="1892300" h="1892300">
                <a:moveTo>
                  <a:pt x="945929" y="0"/>
                </a:moveTo>
                <a:lnTo>
                  <a:pt x="897251" y="1230"/>
                </a:lnTo>
                <a:lnTo>
                  <a:pt x="849213" y="4883"/>
                </a:lnTo>
                <a:lnTo>
                  <a:pt x="801873" y="10899"/>
                </a:lnTo>
                <a:lnTo>
                  <a:pt x="755291" y="19217"/>
                </a:lnTo>
                <a:lnTo>
                  <a:pt x="709526" y="29780"/>
                </a:lnTo>
                <a:lnTo>
                  <a:pt x="664638" y="42526"/>
                </a:lnTo>
                <a:lnTo>
                  <a:pt x="620686" y="57398"/>
                </a:lnTo>
                <a:lnTo>
                  <a:pt x="577730" y="74335"/>
                </a:lnTo>
                <a:lnTo>
                  <a:pt x="535829" y="93278"/>
                </a:lnTo>
                <a:lnTo>
                  <a:pt x="495042" y="114168"/>
                </a:lnTo>
                <a:lnTo>
                  <a:pt x="455429" y="136945"/>
                </a:lnTo>
                <a:lnTo>
                  <a:pt x="417050" y="161549"/>
                </a:lnTo>
                <a:lnTo>
                  <a:pt x="379964" y="187922"/>
                </a:lnTo>
                <a:lnTo>
                  <a:pt x="344229" y="216003"/>
                </a:lnTo>
                <a:lnTo>
                  <a:pt x="309907" y="245734"/>
                </a:lnTo>
                <a:lnTo>
                  <a:pt x="277055" y="277055"/>
                </a:lnTo>
                <a:lnTo>
                  <a:pt x="245734" y="309907"/>
                </a:lnTo>
                <a:lnTo>
                  <a:pt x="216003" y="344229"/>
                </a:lnTo>
                <a:lnTo>
                  <a:pt x="187922" y="379964"/>
                </a:lnTo>
                <a:lnTo>
                  <a:pt x="161549" y="417050"/>
                </a:lnTo>
                <a:lnTo>
                  <a:pt x="136945" y="455429"/>
                </a:lnTo>
                <a:lnTo>
                  <a:pt x="114168" y="495042"/>
                </a:lnTo>
                <a:lnTo>
                  <a:pt x="93278" y="535829"/>
                </a:lnTo>
                <a:lnTo>
                  <a:pt x="74335" y="577730"/>
                </a:lnTo>
                <a:lnTo>
                  <a:pt x="57398" y="620686"/>
                </a:lnTo>
                <a:lnTo>
                  <a:pt x="42526" y="664638"/>
                </a:lnTo>
                <a:lnTo>
                  <a:pt x="29780" y="709526"/>
                </a:lnTo>
                <a:lnTo>
                  <a:pt x="19217" y="755291"/>
                </a:lnTo>
                <a:lnTo>
                  <a:pt x="10899" y="801873"/>
                </a:lnTo>
                <a:lnTo>
                  <a:pt x="4883" y="849213"/>
                </a:lnTo>
                <a:lnTo>
                  <a:pt x="1230" y="897251"/>
                </a:lnTo>
                <a:lnTo>
                  <a:pt x="0" y="945929"/>
                </a:lnTo>
                <a:lnTo>
                  <a:pt x="1230" y="994606"/>
                </a:lnTo>
                <a:lnTo>
                  <a:pt x="4883" y="1042645"/>
                </a:lnTo>
                <a:lnTo>
                  <a:pt x="10899" y="1089985"/>
                </a:lnTo>
                <a:lnTo>
                  <a:pt x="19217" y="1136567"/>
                </a:lnTo>
                <a:lnTo>
                  <a:pt x="29780" y="1182332"/>
                </a:lnTo>
                <a:lnTo>
                  <a:pt x="42526" y="1227220"/>
                </a:lnTo>
                <a:lnTo>
                  <a:pt x="57398" y="1271172"/>
                </a:lnTo>
                <a:lnTo>
                  <a:pt x="74335" y="1314128"/>
                </a:lnTo>
                <a:lnTo>
                  <a:pt x="93278" y="1356029"/>
                </a:lnTo>
                <a:lnTo>
                  <a:pt x="114168" y="1396816"/>
                </a:lnTo>
                <a:lnTo>
                  <a:pt x="136945" y="1436428"/>
                </a:lnTo>
                <a:lnTo>
                  <a:pt x="161549" y="1474808"/>
                </a:lnTo>
                <a:lnTo>
                  <a:pt x="187922" y="1511894"/>
                </a:lnTo>
                <a:lnTo>
                  <a:pt x="216003" y="1547628"/>
                </a:lnTo>
                <a:lnTo>
                  <a:pt x="245734" y="1581951"/>
                </a:lnTo>
                <a:lnTo>
                  <a:pt x="277055" y="1614802"/>
                </a:lnTo>
                <a:lnTo>
                  <a:pt x="309907" y="1646123"/>
                </a:lnTo>
                <a:lnTo>
                  <a:pt x="344229" y="1675854"/>
                </a:lnTo>
                <a:lnTo>
                  <a:pt x="379964" y="1703936"/>
                </a:lnTo>
                <a:lnTo>
                  <a:pt x="417050" y="1730309"/>
                </a:lnTo>
                <a:lnTo>
                  <a:pt x="455429" y="1754913"/>
                </a:lnTo>
                <a:lnTo>
                  <a:pt x="495042" y="1777690"/>
                </a:lnTo>
                <a:lnTo>
                  <a:pt x="535829" y="1798579"/>
                </a:lnTo>
                <a:lnTo>
                  <a:pt x="577730" y="1817523"/>
                </a:lnTo>
                <a:lnTo>
                  <a:pt x="620686" y="1834460"/>
                </a:lnTo>
                <a:lnTo>
                  <a:pt x="664638" y="1849331"/>
                </a:lnTo>
                <a:lnTo>
                  <a:pt x="709526" y="1862078"/>
                </a:lnTo>
                <a:lnTo>
                  <a:pt x="755291" y="1872640"/>
                </a:lnTo>
                <a:lnTo>
                  <a:pt x="801873" y="1880959"/>
                </a:lnTo>
                <a:lnTo>
                  <a:pt x="849213" y="1886974"/>
                </a:lnTo>
                <a:lnTo>
                  <a:pt x="897251" y="1890627"/>
                </a:lnTo>
                <a:lnTo>
                  <a:pt x="945929" y="1891858"/>
                </a:lnTo>
                <a:lnTo>
                  <a:pt x="994605" y="1890627"/>
                </a:lnTo>
                <a:lnTo>
                  <a:pt x="1042643" y="1886974"/>
                </a:lnTo>
                <a:lnTo>
                  <a:pt x="1089982" y="1880959"/>
                </a:lnTo>
                <a:lnTo>
                  <a:pt x="1136564" y="1872640"/>
                </a:lnTo>
                <a:lnTo>
                  <a:pt x="1182328" y="1862078"/>
                </a:lnTo>
                <a:lnTo>
                  <a:pt x="1227216" y="1849331"/>
                </a:lnTo>
                <a:lnTo>
                  <a:pt x="1271167" y="1834460"/>
                </a:lnTo>
                <a:lnTo>
                  <a:pt x="1314123" y="1817523"/>
                </a:lnTo>
                <a:lnTo>
                  <a:pt x="1356024" y="1798579"/>
                </a:lnTo>
                <a:lnTo>
                  <a:pt x="1396811" y="1777690"/>
                </a:lnTo>
                <a:lnTo>
                  <a:pt x="1436424" y="1754913"/>
                </a:lnTo>
                <a:lnTo>
                  <a:pt x="1474803" y="1730309"/>
                </a:lnTo>
                <a:lnTo>
                  <a:pt x="1511890" y="1703936"/>
                </a:lnTo>
                <a:lnTo>
                  <a:pt x="1547624" y="1675854"/>
                </a:lnTo>
                <a:lnTo>
                  <a:pt x="1581947" y="1646123"/>
                </a:lnTo>
                <a:lnTo>
                  <a:pt x="1614798" y="1614802"/>
                </a:lnTo>
                <a:lnTo>
                  <a:pt x="1646120" y="1581951"/>
                </a:lnTo>
                <a:lnTo>
                  <a:pt x="1675851" y="1547628"/>
                </a:lnTo>
                <a:lnTo>
                  <a:pt x="1703933" y="1511894"/>
                </a:lnTo>
                <a:lnTo>
                  <a:pt x="1730306" y="1474808"/>
                </a:lnTo>
                <a:lnTo>
                  <a:pt x="1754911" y="1436428"/>
                </a:lnTo>
                <a:lnTo>
                  <a:pt x="1777688" y="1396816"/>
                </a:lnTo>
                <a:lnTo>
                  <a:pt x="1798578" y="1356029"/>
                </a:lnTo>
                <a:lnTo>
                  <a:pt x="1817521" y="1314128"/>
                </a:lnTo>
                <a:lnTo>
                  <a:pt x="1834458" y="1271172"/>
                </a:lnTo>
                <a:lnTo>
                  <a:pt x="1849330" y="1227220"/>
                </a:lnTo>
                <a:lnTo>
                  <a:pt x="1862077" y="1182332"/>
                </a:lnTo>
                <a:lnTo>
                  <a:pt x="1872640" y="1136567"/>
                </a:lnTo>
                <a:lnTo>
                  <a:pt x="1880959" y="1089985"/>
                </a:lnTo>
                <a:lnTo>
                  <a:pt x="1886974" y="1042645"/>
                </a:lnTo>
                <a:lnTo>
                  <a:pt x="1890627" y="994606"/>
                </a:lnTo>
                <a:lnTo>
                  <a:pt x="1891858" y="945929"/>
                </a:lnTo>
                <a:lnTo>
                  <a:pt x="1890627" y="897251"/>
                </a:lnTo>
                <a:lnTo>
                  <a:pt x="1886974" y="849213"/>
                </a:lnTo>
                <a:lnTo>
                  <a:pt x="1880959" y="801873"/>
                </a:lnTo>
                <a:lnTo>
                  <a:pt x="1872640" y="755291"/>
                </a:lnTo>
                <a:lnTo>
                  <a:pt x="1862077" y="709526"/>
                </a:lnTo>
                <a:lnTo>
                  <a:pt x="1849330" y="664638"/>
                </a:lnTo>
                <a:lnTo>
                  <a:pt x="1834458" y="620686"/>
                </a:lnTo>
                <a:lnTo>
                  <a:pt x="1817521" y="577730"/>
                </a:lnTo>
                <a:lnTo>
                  <a:pt x="1798578" y="535829"/>
                </a:lnTo>
                <a:lnTo>
                  <a:pt x="1777688" y="495042"/>
                </a:lnTo>
                <a:lnTo>
                  <a:pt x="1754911" y="455429"/>
                </a:lnTo>
                <a:lnTo>
                  <a:pt x="1730306" y="417050"/>
                </a:lnTo>
                <a:lnTo>
                  <a:pt x="1703933" y="379964"/>
                </a:lnTo>
                <a:lnTo>
                  <a:pt x="1675851" y="344229"/>
                </a:lnTo>
                <a:lnTo>
                  <a:pt x="1646120" y="309907"/>
                </a:lnTo>
                <a:lnTo>
                  <a:pt x="1614798" y="277055"/>
                </a:lnTo>
                <a:lnTo>
                  <a:pt x="1581947" y="245734"/>
                </a:lnTo>
                <a:lnTo>
                  <a:pt x="1547624" y="216003"/>
                </a:lnTo>
                <a:lnTo>
                  <a:pt x="1511890" y="187922"/>
                </a:lnTo>
                <a:lnTo>
                  <a:pt x="1474803" y="161549"/>
                </a:lnTo>
                <a:lnTo>
                  <a:pt x="1436424" y="136945"/>
                </a:lnTo>
                <a:lnTo>
                  <a:pt x="1396811" y="114168"/>
                </a:lnTo>
                <a:lnTo>
                  <a:pt x="1356024" y="93278"/>
                </a:lnTo>
                <a:lnTo>
                  <a:pt x="1314123" y="74335"/>
                </a:lnTo>
                <a:lnTo>
                  <a:pt x="1271167" y="57398"/>
                </a:lnTo>
                <a:lnTo>
                  <a:pt x="1227216" y="42526"/>
                </a:lnTo>
                <a:lnTo>
                  <a:pt x="1182328" y="29780"/>
                </a:lnTo>
                <a:lnTo>
                  <a:pt x="1136564" y="19217"/>
                </a:lnTo>
                <a:lnTo>
                  <a:pt x="1089982" y="10899"/>
                </a:lnTo>
                <a:lnTo>
                  <a:pt x="1042643" y="4883"/>
                </a:lnTo>
                <a:lnTo>
                  <a:pt x="994605" y="1230"/>
                </a:lnTo>
                <a:lnTo>
                  <a:pt x="945929" y="0"/>
                </a:lnTo>
                <a:close/>
              </a:path>
            </a:pathLst>
          </a:custGeom>
          <a:solidFill>
            <a:srgbClr val="FF7900"/>
          </a:solidFill>
        </p:spPr>
        <p:txBody>
          <a:bodyPr wrap="square" lIns="0" tIns="0" rIns="0" bIns="0" rtlCol="0"/>
          <a:lstStyle/>
          <a:p>
            <a:endParaRPr/>
          </a:p>
        </p:txBody>
      </p:sp>
      <p:sp>
        <p:nvSpPr>
          <p:cNvPr id="455" name="object 455"/>
          <p:cNvSpPr txBox="1"/>
          <p:nvPr/>
        </p:nvSpPr>
        <p:spPr>
          <a:xfrm>
            <a:off x="3646479" y="2291740"/>
            <a:ext cx="514675" cy="297462"/>
          </a:xfrm>
          <a:prstGeom prst="rect">
            <a:avLst/>
          </a:prstGeom>
        </p:spPr>
        <p:txBody>
          <a:bodyPr vert="horz" wrap="square" lIns="0" tIns="6931" rIns="0" bIns="0" rtlCol="0">
            <a:spAutoFit/>
          </a:bodyPr>
          <a:lstStyle/>
          <a:p>
            <a:pPr marL="5776">
              <a:spcBef>
                <a:spcPts val="55"/>
              </a:spcBef>
            </a:pPr>
            <a:r>
              <a:rPr lang="fr-FR" sz="1900" b="1" spc="7" dirty="0">
                <a:solidFill>
                  <a:srgbClr val="FFFFFF"/>
                </a:solidFill>
                <a:latin typeface="Helvetica Neue"/>
                <a:cs typeface="Helvetica Neue"/>
              </a:rPr>
              <a:t>21%</a:t>
            </a:r>
            <a:endParaRPr lang="fr-FR" sz="1900" dirty="0">
              <a:latin typeface="Helvetica Neue"/>
              <a:cs typeface="Helvetica Neue"/>
            </a:endParaRPr>
          </a:p>
        </p:txBody>
      </p:sp>
      <p:sp>
        <p:nvSpPr>
          <p:cNvPr id="456" name="object 456"/>
          <p:cNvSpPr txBox="1"/>
          <p:nvPr/>
        </p:nvSpPr>
        <p:spPr>
          <a:xfrm>
            <a:off x="4608742" y="1960055"/>
            <a:ext cx="514675" cy="297462"/>
          </a:xfrm>
          <a:prstGeom prst="rect">
            <a:avLst/>
          </a:prstGeom>
        </p:spPr>
        <p:txBody>
          <a:bodyPr vert="horz" wrap="square" lIns="0" tIns="6931" rIns="0" bIns="0" rtlCol="0">
            <a:spAutoFit/>
          </a:bodyPr>
          <a:lstStyle/>
          <a:p>
            <a:pPr marL="5776">
              <a:spcBef>
                <a:spcPts val="55"/>
              </a:spcBef>
            </a:pPr>
            <a:r>
              <a:rPr sz="1900" b="1" spc="7" dirty="0">
                <a:solidFill>
                  <a:srgbClr val="FFFFFF"/>
                </a:solidFill>
                <a:latin typeface="Helvetica Neue"/>
                <a:cs typeface="Helvetica Neue"/>
              </a:rPr>
              <a:t>21%</a:t>
            </a:r>
            <a:endParaRPr sz="1900" dirty="0">
              <a:latin typeface="Helvetica Neue"/>
              <a:cs typeface="Helvetica Neue"/>
            </a:endParaRPr>
          </a:p>
        </p:txBody>
      </p:sp>
      <p:sp>
        <p:nvSpPr>
          <p:cNvPr id="457" name="object 457"/>
          <p:cNvSpPr txBox="1"/>
          <p:nvPr/>
        </p:nvSpPr>
        <p:spPr>
          <a:xfrm>
            <a:off x="3560993" y="3024399"/>
            <a:ext cx="1502723" cy="518971"/>
          </a:xfrm>
          <a:prstGeom prst="rect">
            <a:avLst/>
          </a:prstGeom>
        </p:spPr>
        <p:txBody>
          <a:bodyPr vert="horz" wrap="square" lIns="0" tIns="6931" rIns="0" bIns="0" rtlCol="0">
            <a:spAutoFit/>
          </a:bodyPr>
          <a:lstStyle/>
          <a:p>
            <a:pPr marL="993754">
              <a:lnSpc>
                <a:spcPts val="1990"/>
              </a:lnSpc>
              <a:spcBef>
                <a:spcPts val="55"/>
              </a:spcBef>
            </a:pPr>
            <a:r>
              <a:rPr sz="1900" b="1" spc="7" dirty="0">
                <a:solidFill>
                  <a:srgbClr val="FFFFFF"/>
                </a:solidFill>
                <a:latin typeface="Helvetica Neue"/>
                <a:cs typeface="Helvetica Neue"/>
              </a:rPr>
              <a:t>35%</a:t>
            </a:r>
            <a:endParaRPr sz="1900">
              <a:latin typeface="Helvetica Neue"/>
              <a:cs typeface="Helvetica Neue"/>
            </a:endParaRPr>
          </a:p>
          <a:p>
            <a:pPr marL="5776">
              <a:lnSpc>
                <a:spcPts val="1990"/>
              </a:lnSpc>
            </a:pPr>
            <a:r>
              <a:rPr sz="1900" b="1" spc="7" dirty="0">
                <a:solidFill>
                  <a:srgbClr val="FFFFFF"/>
                </a:solidFill>
                <a:latin typeface="Helvetica Neue"/>
                <a:cs typeface="Helvetica Neue"/>
              </a:rPr>
              <a:t>19%</a:t>
            </a:r>
            <a:endParaRPr sz="1900">
              <a:latin typeface="Helvetica Neue"/>
              <a:cs typeface="Helvetica Neue"/>
            </a:endParaRPr>
          </a:p>
        </p:txBody>
      </p:sp>
      <p:sp>
        <p:nvSpPr>
          <p:cNvPr id="458" name="object 458"/>
          <p:cNvSpPr txBox="1"/>
          <p:nvPr/>
        </p:nvSpPr>
        <p:spPr>
          <a:xfrm>
            <a:off x="4672324" y="4301905"/>
            <a:ext cx="1606698" cy="354644"/>
          </a:xfrm>
          <a:prstGeom prst="rect">
            <a:avLst/>
          </a:prstGeom>
        </p:spPr>
        <p:txBody>
          <a:bodyPr vert="horz" wrap="square" lIns="0" tIns="5487" rIns="0" bIns="0" rtlCol="0">
            <a:spAutoFit/>
          </a:bodyPr>
          <a:lstStyle/>
          <a:p>
            <a:pPr marL="5776" marR="2310">
              <a:lnSpc>
                <a:spcPct val="101000"/>
              </a:lnSpc>
              <a:spcBef>
                <a:spcPts val="43"/>
              </a:spcBef>
            </a:pPr>
            <a:r>
              <a:rPr sz="1100" b="1" spc="5" dirty="0">
                <a:latin typeface="Helvetica Neue"/>
                <a:cs typeface="Helvetica Neue"/>
              </a:rPr>
              <a:t>Les fidèles des  banques</a:t>
            </a:r>
            <a:r>
              <a:rPr sz="1100" b="1" spc="-27" dirty="0">
                <a:latin typeface="Helvetica Neue"/>
                <a:cs typeface="Helvetica Neue"/>
              </a:rPr>
              <a:t> </a:t>
            </a:r>
            <a:r>
              <a:rPr sz="1100" b="1" spc="5" dirty="0">
                <a:latin typeface="Helvetica Neue"/>
                <a:cs typeface="Helvetica Neue"/>
              </a:rPr>
              <a:t>traditionnelles</a:t>
            </a:r>
            <a:endParaRPr sz="1100" dirty="0">
              <a:latin typeface="Helvetica Neue"/>
              <a:cs typeface="Helvetica Neue"/>
            </a:endParaRPr>
          </a:p>
        </p:txBody>
      </p:sp>
      <p:sp>
        <p:nvSpPr>
          <p:cNvPr id="459" name="object 459"/>
          <p:cNvSpPr txBox="1"/>
          <p:nvPr/>
        </p:nvSpPr>
        <p:spPr>
          <a:xfrm>
            <a:off x="6618996" y="2209076"/>
            <a:ext cx="1841797" cy="354644"/>
          </a:xfrm>
          <a:prstGeom prst="rect">
            <a:avLst/>
          </a:prstGeom>
        </p:spPr>
        <p:txBody>
          <a:bodyPr vert="horz" wrap="square" lIns="0" tIns="5487" rIns="0" bIns="0" rtlCol="0">
            <a:spAutoFit/>
          </a:bodyPr>
          <a:lstStyle/>
          <a:p>
            <a:pPr marL="5776" marR="2310">
              <a:lnSpc>
                <a:spcPct val="101000"/>
              </a:lnSpc>
              <a:spcBef>
                <a:spcPts val="43"/>
              </a:spcBef>
            </a:pPr>
            <a:r>
              <a:rPr sz="1100" b="1" spc="5" dirty="0">
                <a:latin typeface="Helvetica Neue"/>
                <a:cs typeface="Helvetica Neue"/>
              </a:rPr>
              <a:t>Les clients séduits par les  banques en ligne et</a:t>
            </a:r>
            <a:r>
              <a:rPr sz="1100" b="1" spc="-27" dirty="0">
                <a:latin typeface="Helvetica Neue"/>
                <a:cs typeface="Helvetica Neue"/>
              </a:rPr>
              <a:t> </a:t>
            </a:r>
            <a:r>
              <a:rPr sz="1100" b="1" spc="5" dirty="0">
                <a:latin typeface="Helvetica Neue"/>
                <a:cs typeface="Helvetica Neue"/>
              </a:rPr>
              <a:t>mobile</a:t>
            </a:r>
            <a:endParaRPr sz="1100">
              <a:latin typeface="Helvetica Neue"/>
              <a:cs typeface="Helvetica Neue"/>
            </a:endParaRPr>
          </a:p>
        </p:txBody>
      </p:sp>
      <p:sp>
        <p:nvSpPr>
          <p:cNvPr id="460" name="object 460"/>
          <p:cNvSpPr txBox="1"/>
          <p:nvPr/>
        </p:nvSpPr>
        <p:spPr>
          <a:xfrm>
            <a:off x="1141597" y="1255024"/>
            <a:ext cx="1654642" cy="354644"/>
          </a:xfrm>
          <a:prstGeom prst="rect">
            <a:avLst/>
          </a:prstGeom>
        </p:spPr>
        <p:txBody>
          <a:bodyPr vert="horz" wrap="square" lIns="0" tIns="5487" rIns="0" bIns="0" rtlCol="0">
            <a:spAutoFit/>
          </a:bodyPr>
          <a:lstStyle/>
          <a:p>
            <a:pPr marL="442727" marR="2310" indent="-437240">
              <a:lnSpc>
                <a:spcPct val="101000"/>
              </a:lnSpc>
              <a:spcBef>
                <a:spcPts val="43"/>
              </a:spcBef>
            </a:pPr>
            <a:r>
              <a:rPr sz="1100" b="1" spc="5" dirty="0">
                <a:latin typeface="Helvetica Neue"/>
                <a:cs typeface="Helvetica Neue"/>
              </a:rPr>
              <a:t>Les clients des</a:t>
            </a:r>
            <a:r>
              <a:rPr sz="1100" b="1" spc="-25" dirty="0">
                <a:latin typeface="Helvetica Neue"/>
                <a:cs typeface="Helvetica Neue"/>
              </a:rPr>
              <a:t> </a:t>
            </a:r>
            <a:r>
              <a:rPr sz="1100" b="1" spc="5" dirty="0">
                <a:latin typeface="Helvetica Neue"/>
                <a:cs typeface="Helvetica Neue"/>
              </a:rPr>
              <a:t>banques  en ligne et</a:t>
            </a:r>
            <a:r>
              <a:rPr sz="1100" b="1" spc="-36" dirty="0">
                <a:latin typeface="Helvetica Neue"/>
                <a:cs typeface="Helvetica Neue"/>
              </a:rPr>
              <a:t> </a:t>
            </a:r>
            <a:r>
              <a:rPr sz="1100" b="1" spc="5" dirty="0">
                <a:latin typeface="Helvetica Neue"/>
                <a:cs typeface="Helvetica Neue"/>
              </a:rPr>
              <a:t>mobile</a:t>
            </a:r>
            <a:endParaRPr sz="1100">
              <a:latin typeface="Helvetica Neue"/>
              <a:cs typeface="Helvetica Neue"/>
            </a:endParaRPr>
          </a:p>
        </p:txBody>
      </p:sp>
      <p:sp>
        <p:nvSpPr>
          <p:cNvPr id="461" name="object 461"/>
          <p:cNvSpPr txBox="1"/>
          <p:nvPr/>
        </p:nvSpPr>
        <p:spPr>
          <a:xfrm>
            <a:off x="2242592" y="4544062"/>
            <a:ext cx="1606698" cy="354644"/>
          </a:xfrm>
          <a:prstGeom prst="rect">
            <a:avLst/>
          </a:prstGeom>
        </p:spPr>
        <p:txBody>
          <a:bodyPr vert="horz" wrap="square" lIns="0" tIns="5487" rIns="0" bIns="0" rtlCol="0">
            <a:spAutoFit/>
          </a:bodyPr>
          <a:lstStyle/>
          <a:p>
            <a:pPr marL="5776" marR="2310">
              <a:lnSpc>
                <a:spcPct val="101000"/>
              </a:lnSpc>
              <a:spcBef>
                <a:spcPts val="43"/>
              </a:spcBef>
            </a:pPr>
            <a:r>
              <a:rPr sz="1100" b="1" spc="5" dirty="0">
                <a:latin typeface="Helvetica Neue"/>
                <a:cs typeface="Helvetica Neue"/>
              </a:rPr>
              <a:t>Les infidèles des  banques</a:t>
            </a:r>
            <a:r>
              <a:rPr sz="1100" b="1" spc="-27" dirty="0">
                <a:latin typeface="Helvetica Neue"/>
                <a:cs typeface="Helvetica Neue"/>
              </a:rPr>
              <a:t> </a:t>
            </a:r>
            <a:r>
              <a:rPr sz="1100" b="1" spc="5" dirty="0">
                <a:latin typeface="Helvetica Neue"/>
                <a:cs typeface="Helvetica Neue"/>
              </a:rPr>
              <a:t>traditionnelles</a:t>
            </a:r>
            <a:endParaRPr sz="1100">
              <a:latin typeface="Helvetica Neue"/>
              <a:cs typeface="Helvetica Neue"/>
            </a:endParaRPr>
          </a:p>
        </p:txBody>
      </p:sp>
      <p:sp>
        <p:nvSpPr>
          <p:cNvPr id="7" name="Rectangle 6"/>
          <p:cNvSpPr/>
          <p:nvPr/>
        </p:nvSpPr>
        <p:spPr>
          <a:xfrm>
            <a:off x="125113" y="4959085"/>
            <a:ext cx="8020223" cy="1336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1587" tIns="20793" rIns="41587" bIns="20793" rtlCol="0" anchor="ctr"/>
          <a:lstStyle/>
          <a:p>
            <a:r>
              <a:rPr lang="fr-FR" sz="900" b="1" dirty="0"/>
              <a:t>NB : 4% sont clients d’une autre banque ou ont déclaré ne pas avoir  de banque</a:t>
            </a:r>
          </a:p>
        </p:txBody>
      </p:sp>
    </p:spTree>
    <p:extLst>
      <p:ext uri="{BB962C8B-B14F-4D97-AF65-F5344CB8AC3E}">
        <p14:creationId xmlns:p14="http://schemas.microsoft.com/office/powerpoint/2010/main" val="1851048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32884" y="167076"/>
            <a:ext cx="6619725" cy="322822"/>
          </a:xfrm>
          <a:prstGeom prst="rect">
            <a:avLst/>
          </a:prstGeom>
        </p:spPr>
        <p:txBody>
          <a:bodyPr vert="horz" wrap="square" lIns="0" tIns="7798" rIns="0" bIns="0" rtlCol="0">
            <a:spAutoFit/>
          </a:bodyPr>
          <a:lstStyle/>
          <a:p>
            <a:pPr marL="5776">
              <a:lnSpc>
                <a:spcPct val="100000"/>
              </a:lnSpc>
              <a:spcBef>
                <a:spcPts val="61"/>
              </a:spcBef>
            </a:pPr>
            <a:r>
              <a:rPr spc="-2" dirty="0"/>
              <a:t>La </a:t>
            </a:r>
            <a:r>
              <a:rPr spc="-11" dirty="0"/>
              <a:t>banque </a:t>
            </a:r>
            <a:r>
              <a:rPr spc="-2" dirty="0"/>
              <a:t>en </a:t>
            </a:r>
            <a:r>
              <a:rPr spc="-11" dirty="0"/>
              <a:t>ligne </a:t>
            </a:r>
            <a:r>
              <a:rPr spc="-2" dirty="0"/>
              <a:t>ou </a:t>
            </a:r>
            <a:r>
              <a:rPr spc="-11" dirty="0"/>
              <a:t>mobile </a:t>
            </a:r>
            <a:r>
              <a:rPr spc="-5" dirty="0"/>
              <a:t>se</a:t>
            </a:r>
            <a:r>
              <a:rPr spc="-234" dirty="0"/>
              <a:t> </a:t>
            </a:r>
            <a:r>
              <a:rPr spc="-16" dirty="0"/>
              <a:t>démocratise</a:t>
            </a:r>
          </a:p>
        </p:txBody>
      </p:sp>
      <p:sp>
        <p:nvSpPr>
          <p:cNvPr id="3" name="object 3"/>
          <p:cNvSpPr txBox="1"/>
          <p:nvPr/>
        </p:nvSpPr>
        <p:spPr>
          <a:xfrm>
            <a:off x="1322270" y="581384"/>
            <a:ext cx="3008669" cy="240280"/>
          </a:xfrm>
          <a:prstGeom prst="rect">
            <a:avLst/>
          </a:prstGeom>
        </p:spPr>
        <p:txBody>
          <a:bodyPr vert="horz" wrap="square" lIns="0" tIns="5487" rIns="0" bIns="0" rtlCol="0">
            <a:spAutoFit/>
          </a:bodyPr>
          <a:lstStyle/>
          <a:p>
            <a:pPr marL="5776">
              <a:spcBef>
                <a:spcPts val="43"/>
              </a:spcBef>
            </a:pPr>
            <a:r>
              <a:rPr lang="fr-FR" sz="1500" b="1" spc="-11" dirty="0">
                <a:latin typeface="Helvetica Neue"/>
                <a:cs typeface="Helvetica Neue"/>
              </a:rPr>
              <a:t>Les </a:t>
            </a:r>
            <a:r>
              <a:rPr lang="fr-FR" sz="1500" b="1" spc="-16" dirty="0">
                <a:latin typeface="Helvetica Neue"/>
                <a:cs typeface="Helvetica Neue"/>
              </a:rPr>
              <a:t>clients</a:t>
            </a:r>
            <a:r>
              <a:rPr lang="fr-FR" sz="1500" b="1" spc="-59" dirty="0">
                <a:latin typeface="Helvetica Neue"/>
                <a:cs typeface="Helvetica Neue"/>
              </a:rPr>
              <a:t> </a:t>
            </a:r>
            <a:r>
              <a:rPr lang="fr-FR" sz="1500" b="1" spc="-20" dirty="0">
                <a:latin typeface="Helvetica Neue"/>
                <a:cs typeface="Helvetica Neue"/>
              </a:rPr>
              <a:t>d’aujourd’hui </a:t>
            </a:r>
            <a:r>
              <a:rPr lang="fr-FR" sz="1300" b="1" spc="-18" dirty="0">
                <a:latin typeface="Helvetica Neue"/>
                <a:cs typeface="Helvetica Neue"/>
              </a:rPr>
              <a:t>*</a:t>
            </a:r>
          </a:p>
        </p:txBody>
      </p:sp>
      <p:sp>
        <p:nvSpPr>
          <p:cNvPr id="4" name="object 4"/>
          <p:cNvSpPr txBox="1"/>
          <p:nvPr/>
        </p:nvSpPr>
        <p:spPr>
          <a:xfrm>
            <a:off x="5913320" y="581384"/>
            <a:ext cx="2227958" cy="236503"/>
          </a:xfrm>
          <a:prstGeom prst="rect">
            <a:avLst/>
          </a:prstGeom>
        </p:spPr>
        <p:txBody>
          <a:bodyPr vert="horz" wrap="square" lIns="0" tIns="5487" rIns="0" bIns="0" rtlCol="0">
            <a:spAutoFit/>
          </a:bodyPr>
          <a:lstStyle/>
          <a:p>
            <a:pPr marL="5776">
              <a:spcBef>
                <a:spcPts val="43"/>
              </a:spcBef>
            </a:pPr>
            <a:r>
              <a:rPr lang="fr-FR" sz="1500" b="1" spc="-11" dirty="0">
                <a:latin typeface="Helvetica Neue"/>
                <a:cs typeface="Helvetica Neue"/>
              </a:rPr>
              <a:t>Les </a:t>
            </a:r>
            <a:r>
              <a:rPr lang="fr-FR" sz="1500" b="1" spc="-16" dirty="0">
                <a:latin typeface="Helvetica Neue"/>
                <a:cs typeface="Helvetica Neue"/>
              </a:rPr>
              <a:t>clients </a:t>
            </a:r>
            <a:r>
              <a:rPr lang="fr-FR" sz="1500" b="1" spc="-9" dirty="0">
                <a:latin typeface="Helvetica Neue"/>
                <a:cs typeface="Helvetica Neue"/>
              </a:rPr>
              <a:t>de</a:t>
            </a:r>
            <a:r>
              <a:rPr lang="fr-FR" sz="1500" b="1" spc="-89" dirty="0">
                <a:latin typeface="Helvetica Neue"/>
                <a:cs typeface="Helvetica Neue"/>
              </a:rPr>
              <a:t> </a:t>
            </a:r>
            <a:r>
              <a:rPr lang="fr-FR" sz="1500" b="1" spc="-18" dirty="0">
                <a:latin typeface="Helvetica Neue"/>
                <a:cs typeface="Helvetica Neue"/>
              </a:rPr>
              <a:t>demain </a:t>
            </a:r>
            <a:r>
              <a:rPr lang="fr-FR" sz="1300" b="1" spc="-18" dirty="0">
                <a:latin typeface="Helvetica Neue"/>
                <a:cs typeface="Helvetica Neue"/>
              </a:rPr>
              <a:t>*  </a:t>
            </a:r>
            <a:r>
              <a:rPr lang="fr-FR" sz="1500" b="1" spc="-18" dirty="0">
                <a:latin typeface="Helvetica Neue"/>
                <a:cs typeface="Helvetica Neue"/>
              </a:rPr>
              <a:t> </a:t>
            </a:r>
            <a:endParaRPr lang="fr-FR" sz="1500" dirty="0">
              <a:latin typeface="Helvetica Neue"/>
              <a:cs typeface="Helvetica Neue"/>
            </a:endParaRPr>
          </a:p>
        </p:txBody>
      </p:sp>
      <p:sp>
        <p:nvSpPr>
          <p:cNvPr id="5" name="object 5"/>
          <p:cNvSpPr/>
          <p:nvPr/>
        </p:nvSpPr>
        <p:spPr>
          <a:xfrm>
            <a:off x="-19194" y="875637"/>
            <a:ext cx="4555249" cy="4267863"/>
          </a:xfrm>
          <a:custGeom>
            <a:avLst/>
            <a:gdLst/>
            <a:ahLst/>
            <a:cxnLst/>
            <a:rect l="l" t="t" r="r" b="b"/>
            <a:pathLst>
              <a:path w="10015220" h="9384030">
                <a:moveTo>
                  <a:pt x="0" y="9383839"/>
                </a:moveTo>
                <a:lnTo>
                  <a:pt x="10014993" y="9383839"/>
                </a:lnTo>
                <a:lnTo>
                  <a:pt x="10014993" y="0"/>
                </a:lnTo>
                <a:lnTo>
                  <a:pt x="0" y="0"/>
                </a:lnTo>
                <a:lnTo>
                  <a:pt x="0" y="9383839"/>
                </a:lnTo>
                <a:close/>
              </a:path>
            </a:pathLst>
          </a:custGeom>
          <a:solidFill>
            <a:srgbClr val="DDDDDD"/>
          </a:solidFill>
        </p:spPr>
        <p:txBody>
          <a:bodyPr wrap="square" lIns="0" tIns="0" rIns="0" bIns="0" rtlCol="0"/>
          <a:lstStyle/>
          <a:p>
            <a:endParaRPr/>
          </a:p>
        </p:txBody>
      </p:sp>
      <p:sp>
        <p:nvSpPr>
          <p:cNvPr id="6" name="object 6"/>
          <p:cNvSpPr/>
          <p:nvPr/>
        </p:nvSpPr>
        <p:spPr>
          <a:xfrm>
            <a:off x="4555146" y="875362"/>
            <a:ext cx="4589040" cy="4267863"/>
          </a:xfrm>
          <a:custGeom>
            <a:avLst/>
            <a:gdLst/>
            <a:ahLst/>
            <a:cxnLst/>
            <a:rect l="l" t="t" r="r" b="b"/>
            <a:pathLst>
              <a:path w="10089515" h="9384030">
                <a:moveTo>
                  <a:pt x="0" y="9383839"/>
                </a:moveTo>
                <a:lnTo>
                  <a:pt x="10089106" y="9383839"/>
                </a:lnTo>
                <a:lnTo>
                  <a:pt x="10089106" y="0"/>
                </a:lnTo>
                <a:lnTo>
                  <a:pt x="0" y="0"/>
                </a:lnTo>
                <a:lnTo>
                  <a:pt x="0" y="9383839"/>
                </a:lnTo>
                <a:close/>
              </a:path>
            </a:pathLst>
          </a:custGeom>
          <a:solidFill>
            <a:srgbClr val="EDEDED"/>
          </a:solidFill>
        </p:spPr>
        <p:txBody>
          <a:bodyPr wrap="square" lIns="0" tIns="0" rIns="0" bIns="0" rtlCol="0"/>
          <a:lstStyle/>
          <a:p>
            <a:endParaRPr/>
          </a:p>
        </p:txBody>
      </p:sp>
      <p:sp>
        <p:nvSpPr>
          <p:cNvPr id="7" name="object 7"/>
          <p:cNvSpPr/>
          <p:nvPr/>
        </p:nvSpPr>
        <p:spPr>
          <a:xfrm>
            <a:off x="1841897" y="1714360"/>
            <a:ext cx="14441" cy="0"/>
          </a:xfrm>
          <a:custGeom>
            <a:avLst/>
            <a:gdLst/>
            <a:ahLst/>
            <a:cxnLst/>
            <a:rect l="l" t="t" r="r" b="b"/>
            <a:pathLst>
              <a:path w="31750">
                <a:moveTo>
                  <a:pt x="0" y="0"/>
                </a:moveTo>
                <a:lnTo>
                  <a:pt x="31412" y="0"/>
                </a:lnTo>
              </a:path>
            </a:pathLst>
          </a:custGeom>
          <a:ln w="34731">
            <a:solidFill>
              <a:srgbClr val="1D1D1B"/>
            </a:solidFill>
          </a:ln>
        </p:spPr>
        <p:txBody>
          <a:bodyPr wrap="square" lIns="0" tIns="0" rIns="0" bIns="0" rtlCol="0"/>
          <a:lstStyle/>
          <a:p>
            <a:endParaRPr/>
          </a:p>
        </p:txBody>
      </p:sp>
      <p:sp>
        <p:nvSpPr>
          <p:cNvPr id="8" name="object 8"/>
          <p:cNvSpPr/>
          <p:nvPr/>
        </p:nvSpPr>
        <p:spPr>
          <a:xfrm>
            <a:off x="1884820" y="1714360"/>
            <a:ext cx="845084" cy="0"/>
          </a:xfrm>
          <a:custGeom>
            <a:avLst/>
            <a:gdLst/>
            <a:ahLst/>
            <a:cxnLst/>
            <a:rect l="l" t="t" r="r" b="b"/>
            <a:pathLst>
              <a:path w="1858010">
                <a:moveTo>
                  <a:pt x="0" y="0"/>
                </a:moveTo>
                <a:lnTo>
                  <a:pt x="1857398" y="0"/>
                </a:lnTo>
              </a:path>
            </a:pathLst>
          </a:custGeom>
          <a:ln w="34731">
            <a:solidFill>
              <a:srgbClr val="1D1D1B"/>
            </a:solidFill>
            <a:prstDash val="dash"/>
          </a:ln>
        </p:spPr>
        <p:txBody>
          <a:bodyPr wrap="square" lIns="0" tIns="0" rIns="0" bIns="0" rtlCol="0"/>
          <a:lstStyle/>
          <a:p>
            <a:endParaRPr/>
          </a:p>
        </p:txBody>
      </p:sp>
      <p:sp>
        <p:nvSpPr>
          <p:cNvPr id="9" name="object 9"/>
          <p:cNvSpPr/>
          <p:nvPr/>
        </p:nvSpPr>
        <p:spPr>
          <a:xfrm>
            <a:off x="2743945" y="1714360"/>
            <a:ext cx="14441" cy="0"/>
          </a:xfrm>
          <a:custGeom>
            <a:avLst/>
            <a:gdLst/>
            <a:ahLst/>
            <a:cxnLst/>
            <a:rect l="l" t="t" r="r" b="b"/>
            <a:pathLst>
              <a:path w="31750">
                <a:moveTo>
                  <a:pt x="0" y="0"/>
                </a:moveTo>
                <a:lnTo>
                  <a:pt x="31412" y="0"/>
                </a:lnTo>
              </a:path>
            </a:pathLst>
          </a:custGeom>
          <a:ln w="34731">
            <a:solidFill>
              <a:srgbClr val="1D1D1B"/>
            </a:solidFill>
          </a:ln>
        </p:spPr>
        <p:txBody>
          <a:bodyPr wrap="square" lIns="0" tIns="0" rIns="0" bIns="0" rtlCol="0"/>
          <a:lstStyle/>
          <a:p>
            <a:endParaRPr/>
          </a:p>
        </p:txBody>
      </p:sp>
      <p:sp>
        <p:nvSpPr>
          <p:cNvPr id="10" name="object 10"/>
          <p:cNvSpPr/>
          <p:nvPr/>
        </p:nvSpPr>
        <p:spPr>
          <a:xfrm>
            <a:off x="2054064" y="2102716"/>
            <a:ext cx="704255" cy="29020"/>
          </a:xfrm>
          <a:custGeom>
            <a:avLst/>
            <a:gdLst/>
            <a:ahLst/>
            <a:cxnLst/>
            <a:rect l="l" t="t" r="r" b="b"/>
            <a:pathLst>
              <a:path w="2014854">
                <a:moveTo>
                  <a:pt x="0" y="0"/>
                </a:moveTo>
                <a:lnTo>
                  <a:pt x="2014661" y="0"/>
                </a:lnTo>
              </a:path>
            </a:pathLst>
          </a:custGeom>
          <a:ln w="34731">
            <a:solidFill>
              <a:srgbClr val="1D1D1B"/>
            </a:solidFill>
            <a:prstDash val="dash"/>
          </a:ln>
        </p:spPr>
        <p:txBody>
          <a:bodyPr wrap="square" lIns="0" tIns="0" rIns="0" bIns="0" rtlCol="0"/>
          <a:lstStyle/>
          <a:p>
            <a:endParaRPr/>
          </a:p>
        </p:txBody>
      </p:sp>
      <p:sp>
        <p:nvSpPr>
          <p:cNvPr id="11" name="object 11"/>
          <p:cNvSpPr/>
          <p:nvPr/>
        </p:nvSpPr>
        <p:spPr>
          <a:xfrm>
            <a:off x="1841897" y="2533311"/>
            <a:ext cx="916422" cy="0"/>
          </a:xfrm>
          <a:custGeom>
            <a:avLst/>
            <a:gdLst/>
            <a:ahLst/>
            <a:cxnLst/>
            <a:rect l="l" t="t" r="r" b="b"/>
            <a:pathLst>
              <a:path w="2014854">
                <a:moveTo>
                  <a:pt x="0" y="0"/>
                </a:moveTo>
                <a:lnTo>
                  <a:pt x="2014661" y="0"/>
                </a:lnTo>
              </a:path>
            </a:pathLst>
          </a:custGeom>
          <a:ln w="34731">
            <a:solidFill>
              <a:srgbClr val="1D1D1B"/>
            </a:solidFill>
            <a:prstDash val="dash"/>
          </a:ln>
        </p:spPr>
        <p:txBody>
          <a:bodyPr wrap="square" lIns="0" tIns="0" rIns="0" bIns="0" rtlCol="0"/>
          <a:lstStyle/>
          <a:p>
            <a:endParaRPr/>
          </a:p>
        </p:txBody>
      </p:sp>
      <p:sp>
        <p:nvSpPr>
          <p:cNvPr id="12" name="object 12"/>
          <p:cNvSpPr/>
          <p:nvPr/>
        </p:nvSpPr>
        <p:spPr>
          <a:xfrm>
            <a:off x="1841897" y="2934889"/>
            <a:ext cx="916422" cy="0"/>
          </a:xfrm>
          <a:custGeom>
            <a:avLst/>
            <a:gdLst/>
            <a:ahLst/>
            <a:cxnLst/>
            <a:rect l="l" t="t" r="r" b="b"/>
            <a:pathLst>
              <a:path w="2014854">
                <a:moveTo>
                  <a:pt x="0" y="0"/>
                </a:moveTo>
                <a:lnTo>
                  <a:pt x="2014661" y="0"/>
                </a:lnTo>
              </a:path>
            </a:pathLst>
          </a:custGeom>
          <a:ln w="34731">
            <a:solidFill>
              <a:srgbClr val="1D1D1B"/>
            </a:solidFill>
            <a:prstDash val="dash"/>
          </a:ln>
        </p:spPr>
        <p:txBody>
          <a:bodyPr wrap="square" lIns="0" tIns="0" rIns="0" bIns="0" rtlCol="0"/>
          <a:lstStyle/>
          <a:p>
            <a:endParaRPr/>
          </a:p>
        </p:txBody>
      </p:sp>
      <p:sp>
        <p:nvSpPr>
          <p:cNvPr id="13" name="object 13"/>
          <p:cNvSpPr/>
          <p:nvPr/>
        </p:nvSpPr>
        <p:spPr>
          <a:xfrm>
            <a:off x="1841897" y="3368062"/>
            <a:ext cx="458355" cy="0"/>
          </a:xfrm>
          <a:custGeom>
            <a:avLst/>
            <a:gdLst/>
            <a:ahLst/>
            <a:cxnLst/>
            <a:rect l="l" t="t" r="r" b="b"/>
            <a:pathLst>
              <a:path w="1007745">
                <a:moveTo>
                  <a:pt x="0" y="0"/>
                </a:moveTo>
                <a:lnTo>
                  <a:pt x="1007330" y="0"/>
                </a:lnTo>
              </a:path>
            </a:pathLst>
          </a:custGeom>
          <a:ln w="34731">
            <a:solidFill>
              <a:srgbClr val="1D1D1B"/>
            </a:solidFill>
            <a:prstDash val="dash"/>
          </a:ln>
        </p:spPr>
        <p:txBody>
          <a:bodyPr wrap="square" lIns="0" tIns="0" rIns="0" bIns="0" rtlCol="0"/>
          <a:lstStyle/>
          <a:p>
            <a:endParaRPr/>
          </a:p>
        </p:txBody>
      </p:sp>
      <p:sp>
        <p:nvSpPr>
          <p:cNvPr id="14" name="object 14"/>
          <p:cNvSpPr/>
          <p:nvPr/>
        </p:nvSpPr>
        <p:spPr>
          <a:xfrm>
            <a:off x="2457078" y="3526039"/>
            <a:ext cx="306148" cy="0"/>
          </a:xfrm>
          <a:custGeom>
            <a:avLst/>
            <a:gdLst/>
            <a:ahLst/>
            <a:cxnLst/>
            <a:rect l="l" t="t" r="r" b="b"/>
            <a:pathLst>
              <a:path w="673100">
                <a:moveTo>
                  <a:pt x="0" y="0"/>
                </a:moveTo>
                <a:lnTo>
                  <a:pt x="672796" y="0"/>
                </a:lnTo>
              </a:path>
            </a:pathLst>
          </a:custGeom>
          <a:ln w="34731">
            <a:solidFill>
              <a:srgbClr val="1D1D1B"/>
            </a:solidFill>
            <a:prstDash val="dash"/>
          </a:ln>
        </p:spPr>
        <p:txBody>
          <a:bodyPr wrap="square" lIns="0" tIns="0" rIns="0" bIns="0" rtlCol="0"/>
          <a:lstStyle/>
          <a:p>
            <a:endParaRPr/>
          </a:p>
        </p:txBody>
      </p:sp>
      <p:sp>
        <p:nvSpPr>
          <p:cNvPr id="15" name="object 15"/>
          <p:cNvSpPr/>
          <p:nvPr/>
        </p:nvSpPr>
        <p:spPr>
          <a:xfrm>
            <a:off x="6983183" y="3537851"/>
            <a:ext cx="306148" cy="0"/>
          </a:xfrm>
          <a:custGeom>
            <a:avLst/>
            <a:gdLst/>
            <a:ahLst/>
            <a:cxnLst/>
            <a:rect l="l" t="t" r="r" b="b"/>
            <a:pathLst>
              <a:path w="673100">
                <a:moveTo>
                  <a:pt x="0" y="0"/>
                </a:moveTo>
                <a:lnTo>
                  <a:pt x="672806" y="0"/>
                </a:lnTo>
              </a:path>
            </a:pathLst>
          </a:custGeom>
          <a:ln w="34731">
            <a:solidFill>
              <a:srgbClr val="1D1D1B"/>
            </a:solidFill>
            <a:prstDash val="dash"/>
          </a:ln>
        </p:spPr>
        <p:txBody>
          <a:bodyPr wrap="square" lIns="0" tIns="0" rIns="0" bIns="0" rtlCol="0"/>
          <a:lstStyle/>
          <a:p>
            <a:endParaRPr/>
          </a:p>
        </p:txBody>
      </p:sp>
      <p:sp>
        <p:nvSpPr>
          <p:cNvPr id="16" name="object 16"/>
          <p:cNvSpPr/>
          <p:nvPr/>
        </p:nvSpPr>
        <p:spPr>
          <a:xfrm>
            <a:off x="6370291" y="1726170"/>
            <a:ext cx="916422" cy="0"/>
          </a:xfrm>
          <a:custGeom>
            <a:avLst/>
            <a:gdLst/>
            <a:ahLst/>
            <a:cxnLst/>
            <a:rect l="l" t="t" r="r" b="b"/>
            <a:pathLst>
              <a:path w="2014855">
                <a:moveTo>
                  <a:pt x="0" y="0"/>
                </a:moveTo>
                <a:lnTo>
                  <a:pt x="2014661" y="0"/>
                </a:lnTo>
              </a:path>
            </a:pathLst>
          </a:custGeom>
          <a:ln w="34731">
            <a:solidFill>
              <a:srgbClr val="1D1D1B"/>
            </a:solidFill>
            <a:prstDash val="dash"/>
          </a:ln>
        </p:spPr>
        <p:txBody>
          <a:bodyPr wrap="square" lIns="0" tIns="0" rIns="0" bIns="0" rtlCol="0"/>
          <a:lstStyle/>
          <a:p>
            <a:endParaRPr/>
          </a:p>
        </p:txBody>
      </p:sp>
      <p:sp>
        <p:nvSpPr>
          <p:cNvPr id="17" name="object 17"/>
          <p:cNvSpPr/>
          <p:nvPr/>
        </p:nvSpPr>
        <p:spPr>
          <a:xfrm flipV="1">
            <a:off x="6478204" y="2143546"/>
            <a:ext cx="764131" cy="20793"/>
          </a:xfrm>
          <a:custGeom>
            <a:avLst/>
            <a:gdLst/>
            <a:ahLst/>
            <a:cxnLst/>
            <a:rect l="l" t="t" r="r" b="b"/>
            <a:pathLst>
              <a:path w="2014855">
                <a:moveTo>
                  <a:pt x="0" y="0"/>
                </a:moveTo>
                <a:lnTo>
                  <a:pt x="2014661" y="0"/>
                </a:lnTo>
              </a:path>
            </a:pathLst>
          </a:custGeom>
          <a:ln w="34731">
            <a:solidFill>
              <a:srgbClr val="1D1D1B"/>
            </a:solidFill>
            <a:prstDash val="dash"/>
          </a:ln>
        </p:spPr>
        <p:txBody>
          <a:bodyPr wrap="square" lIns="0" tIns="0" rIns="0" bIns="0" rtlCol="0"/>
          <a:lstStyle/>
          <a:p>
            <a:endParaRPr/>
          </a:p>
        </p:txBody>
      </p:sp>
      <p:sp>
        <p:nvSpPr>
          <p:cNvPr id="18" name="object 18"/>
          <p:cNvSpPr/>
          <p:nvPr/>
        </p:nvSpPr>
        <p:spPr>
          <a:xfrm>
            <a:off x="6370291" y="2545124"/>
            <a:ext cx="916422" cy="0"/>
          </a:xfrm>
          <a:custGeom>
            <a:avLst/>
            <a:gdLst/>
            <a:ahLst/>
            <a:cxnLst/>
            <a:rect l="l" t="t" r="r" b="b"/>
            <a:pathLst>
              <a:path w="2014855">
                <a:moveTo>
                  <a:pt x="0" y="0"/>
                </a:moveTo>
                <a:lnTo>
                  <a:pt x="2014661" y="0"/>
                </a:lnTo>
              </a:path>
            </a:pathLst>
          </a:custGeom>
          <a:ln w="34731">
            <a:solidFill>
              <a:srgbClr val="1D1D1B"/>
            </a:solidFill>
            <a:prstDash val="dash"/>
          </a:ln>
        </p:spPr>
        <p:txBody>
          <a:bodyPr wrap="square" lIns="0" tIns="0" rIns="0" bIns="0" rtlCol="0"/>
          <a:lstStyle/>
          <a:p>
            <a:endParaRPr/>
          </a:p>
        </p:txBody>
      </p:sp>
      <p:sp>
        <p:nvSpPr>
          <p:cNvPr id="19" name="object 19"/>
          <p:cNvSpPr/>
          <p:nvPr/>
        </p:nvSpPr>
        <p:spPr>
          <a:xfrm>
            <a:off x="6370291" y="2946701"/>
            <a:ext cx="916422" cy="0"/>
          </a:xfrm>
          <a:custGeom>
            <a:avLst/>
            <a:gdLst/>
            <a:ahLst/>
            <a:cxnLst/>
            <a:rect l="l" t="t" r="r" b="b"/>
            <a:pathLst>
              <a:path w="2014855">
                <a:moveTo>
                  <a:pt x="0" y="0"/>
                </a:moveTo>
                <a:lnTo>
                  <a:pt x="2014661" y="0"/>
                </a:lnTo>
              </a:path>
            </a:pathLst>
          </a:custGeom>
          <a:ln w="34731">
            <a:solidFill>
              <a:srgbClr val="1D1D1B"/>
            </a:solidFill>
            <a:prstDash val="dash"/>
          </a:ln>
        </p:spPr>
        <p:txBody>
          <a:bodyPr wrap="square" lIns="0" tIns="0" rIns="0" bIns="0" rtlCol="0"/>
          <a:lstStyle/>
          <a:p>
            <a:endParaRPr/>
          </a:p>
        </p:txBody>
      </p:sp>
      <p:sp>
        <p:nvSpPr>
          <p:cNvPr id="20" name="object 20"/>
          <p:cNvSpPr/>
          <p:nvPr/>
        </p:nvSpPr>
        <p:spPr>
          <a:xfrm>
            <a:off x="6370291" y="3379872"/>
            <a:ext cx="434095" cy="0"/>
          </a:xfrm>
          <a:custGeom>
            <a:avLst/>
            <a:gdLst/>
            <a:ahLst/>
            <a:cxnLst/>
            <a:rect l="l" t="t" r="r" b="b"/>
            <a:pathLst>
              <a:path w="954405">
                <a:moveTo>
                  <a:pt x="0" y="0"/>
                </a:moveTo>
                <a:lnTo>
                  <a:pt x="953792" y="0"/>
                </a:lnTo>
              </a:path>
            </a:pathLst>
          </a:custGeom>
          <a:ln w="34731">
            <a:solidFill>
              <a:srgbClr val="1D1D1B"/>
            </a:solidFill>
            <a:prstDash val="dash"/>
          </a:ln>
        </p:spPr>
        <p:txBody>
          <a:bodyPr wrap="square" lIns="0" tIns="0" rIns="0" bIns="0" rtlCol="0"/>
          <a:lstStyle/>
          <a:p>
            <a:endParaRPr/>
          </a:p>
        </p:txBody>
      </p:sp>
      <p:sp>
        <p:nvSpPr>
          <p:cNvPr id="21" name="object 21"/>
          <p:cNvSpPr txBox="1"/>
          <p:nvPr/>
        </p:nvSpPr>
        <p:spPr>
          <a:xfrm>
            <a:off x="7374465" y="1390697"/>
            <a:ext cx="1533627" cy="1844267"/>
          </a:xfrm>
          <a:prstGeom prst="rect">
            <a:avLst/>
          </a:prstGeom>
        </p:spPr>
        <p:txBody>
          <a:bodyPr vert="horz" wrap="square" lIns="0" tIns="152774" rIns="0" bIns="0" rtlCol="0">
            <a:spAutoFit/>
          </a:bodyPr>
          <a:lstStyle/>
          <a:p>
            <a:pPr marL="5776">
              <a:spcBef>
                <a:spcPts val="1203"/>
              </a:spcBef>
            </a:pPr>
            <a:r>
              <a:rPr sz="1700" b="1" spc="-5" dirty="0">
                <a:solidFill>
                  <a:srgbClr val="FF7900"/>
                </a:solidFill>
                <a:latin typeface="Helvetica Neue"/>
                <a:cs typeface="Helvetica Neue"/>
              </a:rPr>
              <a:t>52%</a:t>
            </a:r>
            <a:r>
              <a:rPr sz="1700" b="1" spc="-200" dirty="0">
                <a:solidFill>
                  <a:srgbClr val="FF7900"/>
                </a:solidFill>
                <a:latin typeface="Helvetica Neue"/>
                <a:cs typeface="Helvetica Neue"/>
              </a:rPr>
              <a:t> </a:t>
            </a:r>
            <a:r>
              <a:rPr sz="1100" b="1" spc="-9" dirty="0">
                <a:solidFill>
                  <a:srgbClr val="FF7900"/>
                </a:solidFill>
                <a:latin typeface="Helvetica Neue"/>
                <a:cs typeface="Helvetica Neue"/>
              </a:rPr>
              <a:t>femmes</a:t>
            </a:r>
            <a:endParaRPr sz="1100" dirty="0">
              <a:latin typeface="Helvetica Neue"/>
              <a:cs typeface="Helvetica Neue"/>
            </a:endParaRPr>
          </a:p>
          <a:p>
            <a:pPr marL="5776">
              <a:spcBef>
                <a:spcPts val="1160"/>
              </a:spcBef>
            </a:pPr>
            <a:r>
              <a:rPr sz="1700" b="1" spc="-2" dirty="0">
                <a:latin typeface="Helvetica Neue"/>
                <a:cs typeface="Helvetica Neue"/>
              </a:rPr>
              <a:t>42 </a:t>
            </a:r>
            <a:r>
              <a:rPr sz="1700" b="1" spc="-7" dirty="0">
                <a:latin typeface="Helvetica Neue"/>
                <a:cs typeface="Helvetica Neue"/>
              </a:rPr>
              <a:t>ans</a:t>
            </a:r>
            <a:r>
              <a:rPr sz="1700" b="1" spc="-275" dirty="0">
                <a:latin typeface="Helvetica Neue"/>
                <a:cs typeface="Helvetica Neue"/>
              </a:rPr>
              <a:t> </a:t>
            </a:r>
            <a:r>
              <a:rPr sz="1100" b="1" spc="-5" dirty="0">
                <a:latin typeface="Helvetica Neue"/>
                <a:cs typeface="Helvetica Neue"/>
              </a:rPr>
              <a:t>en </a:t>
            </a:r>
            <a:r>
              <a:rPr sz="1100" b="1" spc="-9" dirty="0">
                <a:latin typeface="Helvetica Neue"/>
                <a:cs typeface="Helvetica Neue"/>
              </a:rPr>
              <a:t>moyenne</a:t>
            </a:r>
            <a:endParaRPr sz="1100" dirty="0">
              <a:latin typeface="Helvetica Neue"/>
              <a:cs typeface="Helvetica Neue"/>
            </a:endParaRPr>
          </a:p>
          <a:p>
            <a:pPr marL="5776">
              <a:spcBef>
                <a:spcPts val="1160"/>
              </a:spcBef>
            </a:pPr>
            <a:r>
              <a:rPr sz="1700" b="1" spc="-5" dirty="0">
                <a:solidFill>
                  <a:srgbClr val="FF7900"/>
                </a:solidFill>
                <a:latin typeface="Helvetica Neue"/>
                <a:cs typeface="Helvetica Neue"/>
              </a:rPr>
              <a:t>34%</a:t>
            </a:r>
            <a:r>
              <a:rPr sz="1700" b="1" spc="-200" dirty="0">
                <a:solidFill>
                  <a:srgbClr val="FF7900"/>
                </a:solidFill>
                <a:latin typeface="Helvetica Neue"/>
                <a:cs typeface="Helvetica Neue"/>
              </a:rPr>
              <a:t> </a:t>
            </a:r>
            <a:r>
              <a:rPr sz="1100" b="1" spc="-9" dirty="0">
                <a:solidFill>
                  <a:srgbClr val="FF7900"/>
                </a:solidFill>
                <a:latin typeface="Helvetica Neue"/>
                <a:cs typeface="Helvetica Neue"/>
              </a:rPr>
              <a:t>CSP-</a:t>
            </a:r>
            <a:endParaRPr sz="1100" dirty="0">
              <a:latin typeface="Helvetica Neue"/>
              <a:cs typeface="Helvetica Neue"/>
            </a:endParaRPr>
          </a:p>
          <a:p>
            <a:pPr marL="5776" marR="67868">
              <a:lnSpc>
                <a:spcPct val="107600"/>
              </a:lnSpc>
              <a:spcBef>
                <a:spcPts val="1003"/>
              </a:spcBef>
            </a:pPr>
            <a:r>
              <a:rPr sz="1700" b="1" spc="-5" dirty="0">
                <a:solidFill>
                  <a:srgbClr val="FF7900"/>
                </a:solidFill>
                <a:latin typeface="Helvetica Neue"/>
                <a:cs typeface="Helvetica Neue"/>
              </a:rPr>
              <a:t>25%</a:t>
            </a:r>
            <a:r>
              <a:rPr sz="1700" b="1" spc="-248" dirty="0">
                <a:solidFill>
                  <a:srgbClr val="FF7900"/>
                </a:solidFill>
                <a:latin typeface="Helvetica Neue"/>
                <a:cs typeface="Helvetica Neue"/>
              </a:rPr>
              <a:t> </a:t>
            </a:r>
            <a:r>
              <a:rPr sz="1100" b="1" spc="-9" dirty="0">
                <a:solidFill>
                  <a:srgbClr val="FF7900"/>
                </a:solidFill>
                <a:latin typeface="Helvetica Neue"/>
                <a:cs typeface="Helvetica Neue"/>
              </a:rPr>
              <a:t>vivent </a:t>
            </a:r>
            <a:r>
              <a:rPr sz="1100" b="1" spc="-7" dirty="0">
                <a:solidFill>
                  <a:srgbClr val="FF7900"/>
                </a:solidFill>
                <a:latin typeface="Helvetica Neue"/>
                <a:cs typeface="Helvetica Neue"/>
              </a:rPr>
              <a:t>dans </a:t>
            </a:r>
            <a:r>
              <a:rPr sz="1100" b="1" spc="-9" dirty="0">
                <a:solidFill>
                  <a:srgbClr val="FF7900"/>
                </a:solidFill>
                <a:latin typeface="Helvetica Neue"/>
                <a:cs typeface="Helvetica Neue"/>
              </a:rPr>
              <a:t>un  </a:t>
            </a:r>
            <a:r>
              <a:rPr sz="1100" b="1" spc="-7" dirty="0">
                <a:solidFill>
                  <a:srgbClr val="FF7900"/>
                </a:solidFill>
                <a:latin typeface="Helvetica Neue"/>
                <a:cs typeface="Helvetica Neue"/>
              </a:rPr>
              <a:t>foyer </a:t>
            </a:r>
            <a:r>
              <a:rPr sz="1100" b="1" spc="-5" dirty="0">
                <a:solidFill>
                  <a:srgbClr val="FF7900"/>
                </a:solidFill>
                <a:latin typeface="Helvetica Neue"/>
                <a:cs typeface="Helvetica Neue"/>
              </a:rPr>
              <a:t>de </a:t>
            </a:r>
            <a:r>
              <a:rPr sz="1100" b="1" spc="2" dirty="0">
                <a:solidFill>
                  <a:srgbClr val="FF7900"/>
                </a:solidFill>
                <a:latin typeface="Helvetica Neue"/>
                <a:cs typeface="Helvetica Neue"/>
              </a:rPr>
              <a:t>4</a:t>
            </a:r>
            <a:r>
              <a:rPr sz="1100" b="1" spc="-80" dirty="0">
                <a:solidFill>
                  <a:srgbClr val="FF7900"/>
                </a:solidFill>
                <a:latin typeface="Helvetica Neue"/>
                <a:cs typeface="Helvetica Neue"/>
              </a:rPr>
              <a:t> </a:t>
            </a:r>
            <a:r>
              <a:rPr sz="1100" b="1" spc="-9" dirty="0">
                <a:solidFill>
                  <a:srgbClr val="FF7900"/>
                </a:solidFill>
                <a:latin typeface="Helvetica Neue"/>
                <a:cs typeface="Helvetica Neue"/>
              </a:rPr>
              <a:t>personnes</a:t>
            </a:r>
            <a:endParaRPr sz="1100" dirty="0">
              <a:latin typeface="Helvetica Neue"/>
              <a:cs typeface="Helvetica Neue"/>
            </a:endParaRPr>
          </a:p>
        </p:txBody>
      </p:sp>
      <p:sp>
        <p:nvSpPr>
          <p:cNvPr id="22" name="object 22"/>
          <p:cNvSpPr txBox="1"/>
          <p:nvPr/>
        </p:nvSpPr>
        <p:spPr>
          <a:xfrm>
            <a:off x="7374465" y="3354985"/>
            <a:ext cx="1492615" cy="906538"/>
          </a:xfrm>
          <a:prstGeom prst="rect">
            <a:avLst/>
          </a:prstGeom>
        </p:spPr>
        <p:txBody>
          <a:bodyPr vert="horz" wrap="square" lIns="0" tIns="16750" rIns="0" bIns="0" rtlCol="0">
            <a:spAutoFit/>
          </a:bodyPr>
          <a:lstStyle/>
          <a:p>
            <a:pPr marL="5776" marR="20216">
              <a:lnSpc>
                <a:spcPct val="107600"/>
              </a:lnSpc>
              <a:spcBef>
                <a:spcPts val="132"/>
              </a:spcBef>
            </a:pPr>
            <a:r>
              <a:rPr sz="1700" b="1" spc="-5" dirty="0">
                <a:solidFill>
                  <a:srgbClr val="FF7900"/>
                </a:solidFill>
                <a:latin typeface="Helvetica Neue"/>
                <a:cs typeface="Helvetica Neue"/>
              </a:rPr>
              <a:t>65% </a:t>
            </a:r>
            <a:r>
              <a:rPr sz="1100" b="1" spc="-7" dirty="0">
                <a:solidFill>
                  <a:srgbClr val="FF7900"/>
                </a:solidFill>
                <a:latin typeface="Helvetica Neue"/>
                <a:cs typeface="Helvetica Neue"/>
              </a:rPr>
              <a:t>prêts </a:t>
            </a:r>
            <a:r>
              <a:rPr sz="1100" b="1" spc="2" dirty="0">
                <a:solidFill>
                  <a:srgbClr val="FF7900"/>
                </a:solidFill>
                <a:latin typeface="Helvetica Neue"/>
                <a:cs typeface="Helvetica Neue"/>
              </a:rPr>
              <a:t>à </a:t>
            </a:r>
            <a:r>
              <a:rPr sz="1100" b="1" spc="-11" dirty="0">
                <a:solidFill>
                  <a:srgbClr val="FF7900"/>
                </a:solidFill>
                <a:latin typeface="Helvetica Neue"/>
                <a:cs typeface="Helvetica Neue"/>
              </a:rPr>
              <a:t>faire  </a:t>
            </a:r>
            <a:r>
              <a:rPr sz="1100" b="1" spc="-7" dirty="0">
                <a:solidFill>
                  <a:srgbClr val="FF7900"/>
                </a:solidFill>
                <a:latin typeface="Helvetica Neue"/>
                <a:cs typeface="Helvetica Neue"/>
              </a:rPr>
              <a:t>d’une banque </a:t>
            </a:r>
            <a:r>
              <a:rPr sz="1100" b="1" spc="-5" dirty="0">
                <a:solidFill>
                  <a:srgbClr val="FF7900"/>
                </a:solidFill>
                <a:latin typeface="Helvetica Neue"/>
                <a:cs typeface="Helvetica Neue"/>
              </a:rPr>
              <a:t>en</a:t>
            </a:r>
            <a:r>
              <a:rPr sz="1100" b="1" spc="-91" dirty="0">
                <a:solidFill>
                  <a:srgbClr val="FF7900"/>
                </a:solidFill>
                <a:latin typeface="Helvetica Neue"/>
                <a:cs typeface="Helvetica Neue"/>
              </a:rPr>
              <a:t> </a:t>
            </a:r>
            <a:r>
              <a:rPr sz="1100" b="1" spc="-9" dirty="0">
                <a:solidFill>
                  <a:srgbClr val="FF7900"/>
                </a:solidFill>
                <a:latin typeface="Helvetica Neue"/>
                <a:cs typeface="Helvetica Neue"/>
              </a:rPr>
              <a:t>ligne</a:t>
            </a:r>
            <a:endParaRPr sz="1100">
              <a:latin typeface="Helvetica Neue"/>
              <a:cs typeface="Helvetica Neue"/>
            </a:endParaRPr>
          </a:p>
          <a:p>
            <a:pPr marL="5776" marR="2310">
              <a:lnSpc>
                <a:spcPct val="120900"/>
              </a:lnSpc>
            </a:pPr>
            <a:r>
              <a:rPr sz="1100" b="1" spc="-5" dirty="0">
                <a:solidFill>
                  <a:srgbClr val="FF7900"/>
                </a:solidFill>
                <a:latin typeface="Helvetica Neue"/>
                <a:cs typeface="Helvetica Neue"/>
              </a:rPr>
              <a:t>ou </a:t>
            </a:r>
            <a:r>
              <a:rPr sz="1100" b="1" spc="-7" dirty="0">
                <a:solidFill>
                  <a:srgbClr val="FF7900"/>
                </a:solidFill>
                <a:latin typeface="Helvetica Neue"/>
                <a:cs typeface="Helvetica Neue"/>
              </a:rPr>
              <a:t>mobile leur</a:t>
            </a:r>
            <a:r>
              <a:rPr sz="1100" b="1" spc="-91" dirty="0">
                <a:solidFill>
                  <a:srgbClr val="FF7900"/>
                </a:solidFill>
                <a:latin typeface="Helvetica Neue"/>
                <a:cs typeface="Helvetica Neue"/>
              </a:rPr>
              <a:t> </a:t>
            </a:r>
            <a:r>
              <a:rPr sz="1100" b="1" spc="-9" dirty="0">
                <a:solidFill>
                  <a:srgbClr val="FF7900"/>
                </a:solidFill>
                <a:latin typeface="Helvetica Neue"/>
                <a:cs typeface="Helvetica Neue"/>
              </a:rPr>
              <a:t>banque  principale</a:t>
            </a:r>
            <a:endParaRPr sz="1100">
              <a:latin typeface="Helvetica Neue"/>
              <a:cs typeface="Helvetica Neue"/>
            </a:endParaRPr>
          </a:p>
        </p:txBody>
      </p:sp>
      <p:sp>
        <p:nvSpPr>
          <p:cNvPr id="23" name="object 23"/>
          <p:cNvSpPr txBox="1"/>
          <p:nvPr/>
        </p:nvSpPr>
        <p:spPr>
          <a:xfrm>
            <a:off x="4709624" y="1390697"/>
            <a:ext cx="1619695" cy="2090615"/>
          </a:xfrm>
          <a:prstGeom prst="rect">
            <a:avLst/>
          </a:prstGeom>
        </p:spPr>
        <p:txBody>
          <a:bodyPr vert="horz" wrap="square" lIns="0" tIns="152774" rIns="0" bIns="0" rtlCol="0">
            <a:spAutoFit/>
          </a:bodyPr>
          <a:lstStyle/>
          <a:p>
            <a:pPr marL="536587">
              <a:spcBef>
                <a:spcPts val="1203"/>
              </a:spcBef>
            </a:pPr>
            <a:r>
              <a:rPr sz="1700" b="1" spc="-5" dirty="0">
                <a:latin typeface="Helvetica Neue"/>
                <a:cs typeface="Helvetica Neue"/>
              </a:rPr>
              <a:t>48%</a:t>
            </a:r>
            <a:r>
              <a:rPr sz="1700" b="1" spc="-231" dirty="0">
                <a:latin typeface="Helvetica Neue"/>
                <a:cs typeface="Helvetica Neue"/>
              </a:rPr>
              <a:t> </a:t>
            </a:r>
            <a:r>
              <a:rPr sz="1100" b="1" spc="-9" dirty="0">
                <a:latin typeface="Helvetica Neue"/>
                <a:cs typeface="Helvetica Neue"/>
              </a:rPr>
              <a:t>hommes</a:t>
            </a:r>
            <a:endParaRPr sz="1100" dirty="0">
              <a:latin typeface="Helvetica Neue"/>
              <a:cs typeface="Helvetica Neue"/>
            </a:endParaRPr>
          </a:p>
          <a:p>
            <a:pPr marL="742788">
              <a:spcBef>
                <a:spcPts val="1160"/>
              </a:spcBef>
            </a:pPr>
            <a:endParaRPr lang="fr-FR" sz="1700" b="1" spc="-5" dirty="0">
              <a:latin typeface="Helvetica Neue"/>
              <a:cs typeface="Helvetica Neue"/>
            </a:endParaRPr>
          </a:p>
          <a:p>
            <a:pPr marL="742788">
              <a:spcBef>
                <a:spcPts val="1160"/>
              </a:spcBef>
            </a:pPr>
            <a:r>
              <a:rPr sz="1700" b="1" spc="-5" dirty="0">
                <a:latin typeface="Helvetica Neue"/>
                <a:cs typeface="Helvetica Neue"/>
              </a:rPr>
              <a:t>27%</a:t>
            </a:r>
            <a:r>
              <a:rPr sz="1700" b="1" spc="-234" dirty="0">
                <a:latin typeface="Helvetica Neue"/>
                <a:cs typeface="Helvetica Neue"/>
              </a:rPr>
              <a:t> </a:t>
            </a:r>
            <a:r>
              <a:rPr sz="1100" b="1" spc="-9" dirty="0">
                <a:latin typeface="Helvetica Neue"/>
                <a:cs typeface="Helvetica Neue"/>
              </a:rPr>
              <a:t>CSP+</a:t>
            </a:r>
            <a:endParaRPr sz="1100" dirty="0">
              <a:latin typeface="Helvetica Neue"/>
              <a:cs typeface="Helvetica Neue"/>
            </a:endParaRPr>
          </a:p>
          <a:p>
            <a:pPr marL="411537">
              <a:spcBef>
                <a:spcPts val="1162"/>
              </a:spcBef>
            </a:pPr>
            <a:r>
              <a:rPr sz="1700" b="1" spc="-5" dirty="0">
                <a:latin typeface="Helvetica Neue"/>
                <a:cs typeface="Helvetica Neue"/>
              </a:rPr>
              <a:t>14%</a:t>
            </a:r>
            <a:r>
              <a:rPr sz="1700" b="1" spc="-239" dirty="0">
                <a:latin typeface="Helvetica Neue"/>
                <a:cs typeface="Helvetica Neue"/>
              </a:rPr>
              <a:t> </a:t>
            </a:r>
            <a:r>
              <a:rPr sz="1100" b="1" spc="-9" dirty="0">
                <a:latin typeface="Helvetica Neue"/>
                <a:cs typeface="Helvetica Neue"/>
              </a:rPr>
              <a:t>vivent seul</a:t>
            </a:r>
            <a:endParaRPr sz="1100" dirty="0">
              <a:latin typeface="Helvetica Neue"/>
              <a:cs typeface="Helvetica Neue"/>
            </a:endParaRPr>
          </a:p>
          <a:p>
            <a:pPr marL="5776">
              <a:spcBef>
                <a:spcPts val="1160"/>
              </a:spcBef>
            </a:pPr>
            <a:r>
              <a:rPr sz="1700" b="1" spc="-5" dirty="0">
                <a:solidFill>
                  <a:srgbClr val="FF7900"/>
                </a:solidFill>
                <a:latin typeface="Helvetica Neue"/>
                <a:cs typeface="Helvetica Neue"/>
              </a:rPr>
              <a:t>67%</a:t>
            </a:r>
            <a:r>
              <a:rPr sz="1700" b="1" spc="-230" dirty="0">
                <a:solidFill>
                  <a:srgbClr val="FF7900"/>
                </a:solidFill>
                <a:latin typeface="Helvetica Neue"/>
                <a:cs typeface="Helvetica Neue"/>
              </a:rPr>
              <a:t> </a:t>
            </a:r>
            <a:r>
              <a:rPr sz="1100" b="1" spc="-9" dirty="0">
                <a:solidFill>
                  <a:srgbClr val="FF7900"/>
                </a:solidFill>
                <a:latin typeface="Helvetica Neue"/>
                <a:cs typeface="Helvetica Neue"/>
              </a:rPr>
              <a:t>monobancarisés</a:t>
            </a:r>
            <a:endParaRPr sz="1100" dirty="0">
              <a:latin typeface="Helvetica Neue"/>
              <a:cs typeface="Helvetica Neue"/>
            </a:endParaRPr>
          </a:p>
        </p:txBody>
      </p:sp>
      <p:sp>
        <p:nvSpPr>
          <p:cNvPr id="24" name="object 24"/>
          <p:cNvSpPr txBox="1"/>
          <p:nvPr/>
        </p:nvSpPr>
        <p:spPr>
          <a:xfrm>
            <a:off x="206423" y="1378886"/>
            <a:ext cx="1598611" cy="2090615"/>
          </a:xfrm>
          <a:prstGeom prst="rect">
            <a:avLst/>
          </a:prstGeom>
        </p:spPr>
        <p:txBody>
          <a:bodyPr vert="horz" wrap="square" lIns="0" tIns="152774" rIns="0" bIns="0" rtlCol="0">
            <a:spAutoFit/>
          </a:bodyPr>
          <a:lstStyle/>
          <a:p>
            <a:pPr marL="515504">
              <a:spcBef>
                <a:spcPts val="1203"/>
              </a:spcBef>
            </a:pPr>
            <a:r>
              <a:rPr sz="1700" b="1" spc="-5" dirty="0">
                <a:latin typeface="Helvetica Neue"/>
                <a:cs typeface="Helvetica Neue"/>
              </a:rPr>
              <a:t>63%</a:t>
            </a:r>
            <a:r>
              <a:rPr sz="1700" b="1" spc="-231" dirty="0">
                <a:latin typeface="Helvetica Neue"/>
                <a:cs typeface="Helvetica Neue"/>
              </a:rPr>
              <a:t> </a:t>
            </a:r>
            <a:r>
              <a:rPr sz="1100" b="1" spc="-9" dirty="0">
                <a:latin typeface="Helvetica Neue"/>
                <a:cs typeface="Helvetica Neue"/>
              </a:rPr>
              <a:t>hommes</a:t>
            </a:r>
            <a:endParaRPr sz="1100" dirty="0">
              <a:latin typeface="Helvetica Neue"/>
              <a:cs typeface="Helvetica Neue"/>
            </a:endParaRPr>
          </a:p>
          <a:p>
            <a:pPr marL="721706">
              <a:spcBef>
                <a:spcPts val="1160"/>
              </a:spcBef>
            </a:pPr>
            <a:endParaRPr lang="fr-FR" sz="1700" b="1" spc="-5" dirty="0">
              <a:latin typeface="Helvetica Neue"/>
              <a:cs typeface="Helvetica Neue"/>
            </a:endParaRPr>
          </a:p>
          <a:p>
            <a:pPr marL="721706">
              <a:spcBef>
                <a:spcPts val="1160"/>
              </a:spcBef>
            </a:pPr>
            <a:r>
              <a:rPr sz="1700" b="1" spc="-5" dirty="0">
                <a:latin typeface="Helvetica Neue"/>
                <a:cs typeface="Helvetica Neue"/>
              </a:rPr>
              <a:t>41%</a:t>
            </a:r>
            <a:r>
              <a:rPr sz="1700" b="1" spc="-234" dirty="0">
                <a:latin typeface="Helvetica Neue"/>
                <a:cs typeface="Helvetica Neue"/>
              </a:rPr>
              <a:t> </a:t>
            </a:r>
            <a:r>
              <a:rPr sz="1100" b="1" spc="-9" dirty="0">
                <a:latin typeface="Helvetica Neue"/>
                <a:cs typeface="Helvetica Neue"/>
              </a:rPr>
              <a:t>CSP+</a:t>
            </a:r>
            <a:endParaRPr sz="1100" dirty="0">
              <a:latin typeface="Helvetica Neue"/>
              <a:cs typeface="Helvetica Neue"/>
            </a:endParaRPr>
          </a:p>
          <a:p>
            <a:pPr marL="390454">
              <a:spcBef>
                <a:spcPts val="1162"/>
              </a:spcBef>
            </a:pPr>
            <a:r>
              <a:rPr sz="1700" b="1" spc="-5" dirty="0">
                <a:latin typeface="Helvetica Neue"/>
                <a:cs typeface="Helvetica Neue"/>
              </a:rPr>
              <a:t>26%</a:t>
            </a:r>
            <a:r>
              <a:rPr sz="1700" b="1" spc="-239" dirty="0">
                <a:latin typeface="Helvetica Neue"/>
                <a:cs typeface="Helvetica Neue"/>
              </a:rPr>
              <a:t> </a:t>
            </a:r>
            <a:r>
              <a:rPr sz="1100" b="1" spc="-9" dirty="0">
                <a:latin typeface="Helvetica Neue"/>
                <a:cs typeface="Helvetica Neue"/>
              </a:rPr>
              <a:t>vivent seul</a:t>
            </a:r>
            <a:endParaRPr sz="1100" dirty="0">
              <a:latin typeface="Helvetica Neue"/>
              <a:cs typeface="Helvetica Neue"/>
            </a:endParaRPr>
          </a:p>
          <a:p>
            <a:pPr marL="5776">
              <a:spcBef>
                <a:spcPts val="1160"/>
              </a:spcBef>
            </a:pPr>
            <a:r>
              <a:rPr sz="1700" b="1" spc="-5" dirty="0">
                <a:latin typeface="Helvetica Neue"/>
                <a:cs typeface="Helvetica Neue"/>
              </a:rPr>
              <a:t>20%</a:t>
            </a:r>
            <a:r>
              <a:rPr sz="1700" b="1" spc="-230" dirty="0">
                <a:latin typeface="Helvetica Neue"/>
                <a:cs typeface="Helvetica Neue"/>
              </a:rPr>
              <a:t> </a:t>
            </a:r>
            <a:r>
              <a:rPr sz="1100" b="1" spc="-9" dirty="0">
                <a:latin typeface="Helvetica Neue"/>
                <a:cs typeface="Helvetica Neue"/>
              </a:rPr>
              <a:t>monobancarirés</a:t>
            </a:r>
            <a:endParaRPr sz="1100" dirty="0">
              <a:latin typeface="Helvetica Neue"/>
              <a:cs typeface="Helvetica Neue"/>
            </a:endParaRPr>
          </a:p>
        </p:txBody>
      </p:sp>
      <p:sp>
        <p:nvSpPr>
          <p:cNvPr id="25" name="object 25"/>
          <p:cNvSpPr txBox="1"/>
          <p:nvPr/>
        </p:nvSpPr>
        <p:spPr>
          <a:xfrm>
            <a:off x="2797312" y="1378886"/>
            <a:ext cx="1533627" cy="1844267"/>
          </a:xfrm>
          <a:prstGeom prst="rect">
            <a:avLst/>
          </a:prstGeom>
        </p:spPr>
        <p:txBody>
          <a:bodyPr vert="horz" wrap="square" lIns="0" tIns="152774" rIns="0" bIns="0" rtlCol="0">
            <a:spAutoFit/>
          </a:bodyPr>
          <a:lstStyle/>
          <a:p>
            <a:pPr marL="5776">
              <a:spcBef>
                <a:spcPts val="1203"/>
              </a:spcBef>
            </a:pPr>
            <a:r>
              <a:rPr sz="1700" b="1" spc="-5" dirty="0">
                <a:latin typeface="Helvetica Neue"/>
                <a:cs typeface="Helvetica Neue"/>
              </a:rPr>
              <a:t>37%</a:t>
            </a:r>
            <a:r>
              <a:rPr sz="1700" b="1" spc="-200" dirty="0">
                <a:latin typeface="Helvetica Neue"/>
                <a:cs typeface="Helvetica Neue"/>
              </a:rPr>
              <a:t> </a:t>
            </a:r>
            <a:r>
              <a:rPr sz="1100" b="1" spc="-9" dirty="0">
                <a:latin typeface="Helvetica Neue"/>
                <a:cs typeface="Helvetica Neue"/>
              </a:rPr>
              <a:t>femmes</a:t>
            </a:r>
            <a:endParaRPr sz="1100" dirty="0">
              <a:latin typeface="Helvetica Neue"/>
              <a:cs typeface="Helvetica Neue"/>
            </a:endParaRPr>
          </a:p>
          <a:p>
            <a:pPr marL="5776">
              <a:spcBef>
                <a:spcPts val="1160"/>
              </a:spcBef>
            </a:pPr>
            <a:r>
              <a:rPr sz="1700" b="1" spc="-2" dirty="0">
                <a:latin typeface="Helvetica Neue"/>
                <a:cs typeface="Helvetica Neue"/>
              </a:rPr>
              <a:t>47 </a:t>
            </a:r>
            <a:r>
              <a:rPr sz="1700" b="1" spc="-7" dirty="0">
                <a:latin typeface="Helvetica Neue"/>
                <a:cs typeface="Helvetica Neue"/>
              </a:rPr>
              <a:t>ans</a:t>
            </a:r>
            <a:r>
              <a:rPr sz="1700" b="1" spc="-275" dirty="0">
                <a:latin typeface="Helvetica Neue"/>
                <a:cs typeface="Helvetica Neue"/>
              </a:rPr>
              <a:t> </a:t>
            </a:r>
            <a:r>
              <a:rPr sz="1100" b="1" spc="-5" dirty="0">
                <a:latin typeface="Helvetica Neue"/>
                <a:cs typeface="Helvetica Neue"/>
              </a:rPr>
              <a:t>en </a:t>
            </a:r>
            <a:r>
              <a:rPr sz="1100" b="1" spc="-9" dirty="0">
                <a:latin typeface="Helvetica Neue"/>
                <a:cs typeface="Helvetica Neue"/>
              </a:rPr>
              <a:t>moyenne</a:t>
            </a:r>
            <a:endParaRPr sz="1100" dirty="0">
              <a:latin typeface="Helvetica Neue"/>
              <a:cs typeface="Helvetica Neue"/>
            </a:endParaRPr>
          </a:p>
          <a:p>
            <a:pPr marL="5776">
              <a:spcBef>
                <a:spcPts val="1160"/>
              </a:spcBef>
            </a:pPr>
            <a:r>
              <a:rPr sz="1700" b="1" spc="-5" dirty="0">
                <a:latin typeface="Helvetica Neue"/>
                <a:cs typeface="Helvetica Neue"/>
              </a:rPr>
              <a:t>25%</a:t>
            </a:r>
            <a:r>
              <a:rPr sz="1700" b="1" spc="-200" dirty="0">
                <a:latin typeface="Helvetica Neue"/>
                <a:cs typeface="Helvetica Neue"/>
              </a:rPr>
              <a:t> </a:t>
            </a:r>
            <a:r>
              <a:rPr sz="1100" b="1" spc="-9" dirty="0">
                <a:latin typeface="Helvetica Neue"/>
                <a:cs typeface="Helvetica Neue"/>
              </a:rPr>
              <a:t>CSP-</a:t>
            </a:r>
            <a:endParaRPr sz="1100" dirty="0">
              <a:latin typeface="Helvetica Neue"/>
              <a:cs typeface="Helvetica Neue"/>
            </a:endParaRPr>
          </a:p>
          <a:p>
            <a:pPr marL="5776" marR="67868">
              <a:lnSpc>
                <a:spcPct val="107600"/>
              </a:lnSpc>
              <a:spcBef>
                <a:spcPts val="1003"/>
              </a:spcBef>
            </a:pPr>
            <a:r>
              <a:rPr sz="1700" b="1" spc="-5" dirty="0">
                <a:latin typeface="Helvetica Neue"/>
                <a:cs typeface="Helvetica Neue"/>
              </a:rPr>
              <a:t>12%</a:t>
            </a:r>
            <a:r>
              <a:rPr sz="1700" b="1" spc="-248" dirty="0">
                <a:latin typeface="Helvetica Neue"/>
                <a:cs typeface="Helvetica Neue"/>
              </a:rPr>
              <a:t> </a:t>
            </a:r>
            <a:r>
              <a:rPr sz="1100" b="1" spc="-9" dirty="0">
                <a:latin typeface="Helvetica Neue"/>
                <a:cs typeface="Helvetica Neue"/>
              </a:rPr>
              <a:t>vivent </a:t>
            </a:r>
            <a:r>
              <a:rPr sz="1100" b="1" spc="-7" dirty="0">
                <a:latin typeface="Helvetica Neue"/>
                <a:cs typeface="Helvetica Neue"/>
              </a:rPr>
              <a:t>dans </a:t>
            </a:r>
            <a:r>
              <a:rPr sz="1100" b="1" spc="-9" dirty="0">
                <a:latin typeface="Helvetica Neue"/>
                <a:cs typeface="Helvetica Neue"/>
              </a:rPr>
              <a:t>un  </a:t>
            </a:r>
            <a:r>
              <a:rPr sz="1100" b="1" spc="-7" dirty="0">
                <a:latin typeface="Helvetica Neue"/>
                <a:cs typeface="Helvetica Neue"/>
              </a:rPr>
              <a:t>foyer </a:t>
            </a:r>
            <a:r>
              <a:rPr sz="1100" b="1" spc="-5" dirty="0">
                <a:latin typeface="Helvetica Neue"/>
                <a:cs typeface="Helvetica Neue"/>
              </a:rPr>
              <a:t>de </a:t>
            </a:r>
            <a:r>
              <a:rPr sz="1100" b="1" spc="2" dirty="0">
                <a:latin typeface="Helvetica Neue"/>
                <a:cs typeface="Helvetica Neue"/>
              </a:rPr>
              <a:t>4</a:t>
            </a:r>
            <a:r>
              <a:rPr sz="1100" b="1" spc="-80" dirty="0">
                <a:latin typeface="Helvetica Neue"/>
                <a:cs typeface="Helvetica Neue"/>
              </a:rPr>
              <a:t> </a:t>
            </a:r>
            <a:r>
              <a:rPr sz="1100" b="1" spc="-9" dirty="0">
                <a:latin typeface="Helvetica Neue"/>
                <a:cs typeface="Helvetica Neue"/>
              </a:rPr>
              <a:t>personnes</a:t>
            </a:r>
            <a:endParaRPr sz="1100" dirty="0">
              <a:latin typeface="Helvetica Neue"/>
              <a:cs typeface="Helvetica Neue"/>
            </a:endParaRPr>
          </a:p>
        </p:txBody>
      </p:sp>
      <p:sp>
        <p:nvSpPr>
          <p:cNvPr id="26" name="object 26"/>
          <p:cNvSpPr txBox="1"/>
          <p:nvPr/>
        </p:nvSpPr>
        <p:spPr>
          <a:xfrm>
            <a:off x="2797312" y="3372567"/>
            <a:ext cx="1492615" cy="773113"/>
          </a:xfrm>
          <a:prstGeom prst="rect">
            <a:avLst/>
          </a:prstGeom>
        </p:spPr>
        <p:txBody>
          <a:bodyPr vert="horz" wrap="square" lIns="0" tIns="13862" rIns="0" bIns="0" rtlCol="0">
            <a:spAutoFit/>
          </a:bodyPr>
          <a:lstStyle/>
          <a:p>
            <a:pPr marL="5776" marR="2310">
              <a:lnSpc>
                <a:spcPct val="97500"/>
              </a:lnSpc>
              <a:spcBef>
                <a:spcPts val="109"/>
              </a:spcBef>
            </a:pPr>
            <a:r>
              <a:rPr sz="1700" b="1" spc="-5" dirty="0">
                <a:latin typeface="Helvetica Neue"/>
                <a:cs typeface="Helvetica Neue"/>
              </a:rPr>
              <a:t>54% </a:t>
            </a:r>
            <a:r>
              <a:rPr sz="1100" b="1" spc="-7" dirty="0">
                <a:latin typeface="Helvetica Neue"/>
                <a:cs typeface="Helvetica Neue"/>
              </a:rPr>
              <a:t>prêts </a:t>
            </a:r>
            <a:r>
              <a:rPr sz="1100" b="1" spc="2" dirty="0">
                <a:latin typeface="Helvetica Neue"/>
                <a:cs typeface="Helvetica Neue"/>
              </a:rPr>
              <a:t>à </a:t>
            </a:r>
            <a:r>
              <a:rPr sz="1100" b="1" spc="-11" dirty="0">
                <a:latin typeface="Helvetica Neue"/>
                <a:cs typeface="Helvetica Neue"/>
              </a:rPr>
              <a:t>faire  </a:t>
            </a:r>
            <a:r>
              <a:rPr sz="1100" b="1" spc="-7" dirty="0">
                <a:latin typeface="Helvetica Neue"/>
                <a:cs typeface="Helvetica Neue"/>
              </a:rPr>
              <a:t>d’une banque </a:t>
            </a:r>
            <a:r>
              <a:rPr sz="1100" b="1" spc="-5" dirty="0">
                <a:latin typeface="Helvetica Neue"/>
                <a:cs typeface="Helvetica Neue"/>
              </a:rPr>
              <a:t>en </a:t>
            </a:r>
            <a:r>
              <a:rPr sz="1100" b="1" spc="-9" dirty="0">
                <a:latin typeface="Helvetica Neue"/>
                <a:cs typeface="Helvetica Neue"/>
              </a:rPr>
              <a:t>ligne  </a:t>
            </a:r>
            <a:r>
              <a:rPr sz="1100" b="1" spc="-5" dirty="0">
                <a:latin typeface="Helvetica Neue"/>
                <a:cs typeface="Helvetica Neue"/>
              </a:rPr>
              <a:t>ou </a:t>
            </a:r>
            <a:r>
              <a:rPr sz="1100" b="1" spc="-7" dirty="0">
                <a:latin typeface="Helvetica Neue"/>
                <a:cs typeface="Helvetica Neue"/>
              </a:rPr>
              <a:t>mobile leur</a:t>
            </a:r>
            <a:r>
              <a:rPr sz="1100" b="1" spc="-91" dirty="0">
                <a:latin typeface="Helvetica Neue"/>
                <a:cs typeface="Helvetica Neue"/>
              </a:rPr>
              <a:t> </a:t>
            </a:r>
            <a:r>
              <a:rPr sz="1100" b="1" spc="-9" dirty="0">
                <a:latin typeface="Helvetica Neue"/>
                <a:cs typeface="Helvetica Neue"/>
              </a:rPr>
              <a:t>banque  principale</a:t>
            </a:r>
            <a:endParaRPr sz="1100">
              <a:latin typeface="Helvetica Neue"/>
              <a:cs typeface="Helvetica Neue"/>
            </a:endParaRPr>
          </a:p>
        </p:txBody>
      </p:sp>
      <p:sp>
        <p:nvSpPr>
          <p:cNvPr id="27" name="object 27"/>
          <p:cNvSpPr/>
          <p:nvPr/>
        </p:nvSpPr>
        <p:spPr>
          <a:xfrm>
            <a:off x="2589758" y="2846711"/>
            <a:ext cx="119860" cy="140067"/>
          </a:xfrm>
          <a:custGeom>
            <a:avLst/>
            <a:gdLst/>
            <a:ahLst/>
            <a:cxnLst/>
            <a:rect l="l" t="t" r="r" b="b"/>
            <a:pathLst>
              <a:path w="263525" h="307975">
                <a:moveTo>
                  <a:pt x="12078" y="149597"/>
                </a:moveTo>
                <a:lnTo>
                  <a:pt x="0" y="157299"/>
                </a:lnTo>
                <a:lnTo>
                  <a:pt x="2215" y="179984"/>
                </a:lnTo>
                <a:lnTo>
                  <a:pt x="12853" y="211336"/>
                </a:lnTo>
                <a:lnTo>
                  <a:pt x="22260" y="240278"/>
                </a:lnTo>
                <a:lnTo>
                  <a:pt x="32161" y="263796"/>
                </a:lnTo>
                <a:lnTo>
                  <a:pt x="44277" y="278881"/>
                </a:lnTo>
                <a:lnTo>
                  <a:pt x="56777" y="289313"/>
                </a:lnTo>
                <a:lnTo>
                  <a:pt x="68095" y="299255"/>
                </a:lnTo>
                <a:lnTo>
                  <a:pt x="80399" y="306240"/>
                </a:lnTo>
                <a:lnTo>
                  <a:pt x="95856" y="307802"/>
                </a:lnTo>
                <a:lnTo>
                  <a:pt x="117018" y="307268"/>
                </a:lnTo>
                <a:lnTo>
                  <a:pt x="143778" y="307268"/>
                </a:lnTo>
                <a:lnTo>
                  <a:pt x="181592" y="297278"/>
                </a:lnTo>
                <a:lnTo>
                  <a:pt x="222718" y="254185"/>
                </a:lnTo>
                <a:lnTo>
                  <a:pt x="259893" y="209114"/>
                </a:lnTo>
                <a:lnTo>
                  <a:pt x="263174" y="193044"/>
                </a:lnTo>
                <a:lnTo>
                  <a:pt x="261937" y="186138"/>
                </a:lnTo>
                <a:lnTo>
                  <a:pt x="74929" y="186138"/>
                </a:lnTo>
                <a:lnTo>
                  <a:pt x="71051" y="184435"/>
                </a:lnTo>
                <a:lnTo>
                  <a:pt x="62736" y="174842"/>
                </a:lnTo>
                <a:lnTo>
                  <a:pt x="49544" y="162591"/>
                </a:lnTo>
                <a:lnTo>
                  <a:pt x="31056" y="152740"/>
                </a:lnTo>
                <a:lnTo>
                  <a:pt x="12078" y="149597"/>
                </a:lnTo>
                <a:close/>
              </a:path>
              <a:path w="263525" h="307975">
                <a:moveTo>
                  <a:pt x="143778" y="307268"/>
                </a:moveTo>
                <a:lnTo>
                  <a:pt x="117018" y="307268"/>
                </a:lnTo>
                <a:lnTo>
                  <a:pt x="141685" y="307472"/>
                </a:lnTo>
                <a:lnTo>
                  <a:pt x="143778" y="307268"/>
                </a:lnTo>
                <a:close/>
              </a:path>
              <a:path w="263525" h="307975">
                <a:moveTo>
                  <a:pt x="201981" y="0"/>
                </a:moveTo>
                <a:lnTo>
                  <a:pt x="200503" y="1969"/>
                </a:lnTo>
                <a:lnTo>
                  <a:pt x="200010" y="3905"/>
                </a:lnTo>
                <a:lnTo>
                  <a:pt x="51690" y="4512"/>
                </a:lnTo>
                <a:lnTo>
                  <a:pt x="45230" y="43068"/>
                </a:lnTo>
                <a:lnTo>
                  <a:pt x="43675" y="65265"/>
                </a:lnTo>
                <a:lnTo>
                  <a:pt x="47561" y="79514"/>
                </a:lnTo>
                <a:lnTo>
                  <a:pt x="57428" y="94227"/>
                </a:lnTo>
                <a:lnTo>
                  <a:pt x="67107" y="113095"/>
                </a:lnTo>
                <a:lnTo>
                  <a:pt x="71652" y="133494"/>
                </a:lnTo>
                <a:lnTo>
                  <a:pt x="73430" y="154382"/>
                </a:lnTo>
                <a:lnTo>
                  <a:pt x="74810" y="174717"/>
                </a:lnTo>
                <a:lnTo>
                  <a:pt x="74929" y="186138"/>
                </a:lnTo>
                <a:lnTo>
                  <a:pt x="261937" y="186138"/>
                </a:lnTo>
                <a:lnTo>
                  <a:pt x="259540" y="172748"/>
                </a:lnTo>
                <a:lnTo>
                  <a:pt x="252454" y="148698"/>
                </a:lnTo>
                <a:lnTo>
                  <a:pt x="245381" y="121368"/>
                </a:lnTo>
                <a:lnTo>
                  <a:pt x="236932" y="93458"/>
                </a:lnTo>
                <a:lnTo>
                  <a:pt x="225648" y="67224"/>
                </a:lnTo>
                <a:lnTo>
                  <a:pt x="214859" y="42468"/>
                </a:lnTo>
                <a:lnTo>
                  <a:pt x="207895" y="18994"/>
                </a:lnTo>
                <a:lnTo>
                  <a:pt x="204445" y="3755"/>
                </a:lnTo>
                <a:lnTo>
                  <a:pt x="201981" y="0"/>
                </a:lnTo>
                <a:close/>
              </a:path>
            </a:pathLst>
          </a:custGeom>
          <a:solidFill>
            <a:srgbClr val="F4CFB1"/>
          </a:solidFill>
        </p:spPr>
        <p:txBody>
          <a:bodyPr wrap="square" lIns="0" tIns="0" rIns="0" bIns="0" rtlCol="0"/>
          <a:lstStyle/>
          <a:p>
            <a:endParaRPr/>
          </a:p>
        </p:txBody>
      </p:sp>
      <p:sp>
        <p:nvSpPr>
          <p:cNvPr id="28" name="object 28"/>
          <p:cNvSpPr/>
          <p:nvPr/>
        </p:nvSpPr>
        <p:spPr>
          <a:xfrm>
            <a:off x="2603918" y="2792178"/>
            <a:ext cx="83271" cy="67622"/>
          </a:xfrm>
          <a:prstGeom prst="rect">
            <a:avLst/>
          </a:prstGeom>
          <a:blipFill>
            <a:blip r:embed="rId2" cstate="print"/>
            <a:stretch>
              <a:fillRect/>
            </a:stretch>
          </a:blipFill>
        </p:spPr>
        <p:txBody>
          <a:bodyPr wrap="square" lIns="0" tIns="0" rIns="0" bIns="0" rtlCol="0"/>
          <a:lstStyle/>
          <a:p>
            <a:endParaRPr/>
          </a:p>
        </p:txBody>
      </p:sp>
      <p:sp>
        <p:nvSpPr>
          <p:cNvPr id="29" name="object 29"/>
          <p:cNvSpPr/>
          <p:nvPr/>
        </p:nvSpPr>
        <p:spPr>
          <a:xfrm>
            <a:off x="2267293" y="1730166"/>
            <a:ext cx="190620" cy="372550"/>
          </a:xfrm>
          <a:custGeom>
            <a:avLst/>
            <a:gdLst/>
            <a:ahLst/>
            <a:cxnLst/>
            <a:rect l="l" t="t" r="r" b="b"/>
            <a:pathLst>
              <a:path w="419100" h="819150">
                <a:moveTo>
                  <a:pt x="34197" y="0"/>
                </a:moveTo>
                <a:lnTo>
                  <a:pt x="0" y="398113"/>
                </a:lnTo>
                <a:lnTo>
                  <a:pt x="320964" y="818613"/>
                </a:lnTo>
                <a:lnTo>
                  <a:pt x="418657" y="373810"/>
                </a:lnTo>
                <a:lnTo>
                  <a:pt x="413327" y="170738"/>
                </a:lnTo>
                <a:lnTo>
                  <a:pt x="413043" y="162889"/>
                </a:lnTo>
                <a:lnTo>
                  <a:pt x="278186" y="162889"/>
                </a:lnTo>
                <a:lnTo>
                  <a:pt x="229397" y="155392"/>
                </a:lnTo>
                <a:lnTo>
                  <a:pt x="184390" y="141072"/>
                </a:lnTo>
                <a:lnTo>
                  <a:pt x="143684" y="120868"/>
                </a:lnTo>
                <a:lnTo>
                  <a:pt x="107794" y="95719"/>
                </a:lnTo>
                <a:lnTo>
                  <a:pt x="77238" y="66565"/>
                </a:lnTo>
                <a:lnTo>
                  <a:pt x="52534" y="34345"/>
                </a:lnTo>
                <a:lnTo>
                  <a:pt x="34197" y="0"/>
                </a:lnTo>
                <a:close/>
              </a:path>
              <a:path w="419100" h="819150">
                <a:moveTo>
                  <a:pt x="412018" y="134561"/>
                </a:moveTo>
                <a:lnTo>
                  <a:pt x="373745" y="153563"/>
                </a:lnTo>
                <a:lnTo>
                  <a:pt x="330241" y="162623"/>
                </a:lnTo>
                <a:lnTo>
                  <a:pt x="278186" y="162889"/>
                </a:lnTo>
                <a:lnTo>
                  <a:pt x="413043" y="162889"/>
                </a:lnTo>
                <a:lnTo>
                  <a:pt x="412018" y="134561"/>
                </a:lnTo>
                <a:close/>
              </a:path>
            </a:pathLst>
          </a:custGeom>
          <a:solidFill>
            <a:srgbClr val="F4CFB1"/>
          </a:solidFill>
        </p:spPr>
        <p:txBody>
          <a:bodyPr wrap="square" lIns="0" tIns="0" rIns="0" bIns="0" rtlCol="0"/>
          <a:lstStyle/>
          <a:p>
            <a:endParaRPr/>
          </a:p>
        </p:txBody>
      </p:sp>
      <p:sp>
        <p:nvSpPr>
          <p:cNvPr id="30" name="object 30"/>
          <p:cNvSpPr/>
          <p:nvPr/>
        </p:nvSpPr>
        <p:spPr>
          <a:xfrm>
            <a:off x="2333812" y="4240418"/>
            <a:ext cx="326654" cy="111187"/>
          </a:xfrm>
          <a:custGeom>
            <a:avLst/>
            <a:gdLst/>
            <a:ahLst/>
            <a:cxnLst/>
            <a:rect l="l" t="t" r="r" b="b"/>
            <a:pathLst>
              <a:path w="718185" h="244475">
                <a:moveTo>
                  <a:pt x="710983" y="164633"/>
                </a:moveTo>
                <a:lnTo>
                  <a:pt x="127535" y="164633"/>
                </a:lnTo>
                <a:lnTo>
                  <a:pt x="257892" y="197300"/>
                </a:lnTo>
                <a:lnTo>
                  <a:pt x="301519" y="209606"/>
                </a:lnTo>
                <a:lnTo>
                  <a:pt x="370766" y="220712"/>
                </a:lnTo>
                <a:lnTo>
                  <a:pt x="426540" y="226838"/>
                </a:lnTo>
                <a:lnTo>
                  <a:pt x="488532" y="232707"/>
                </a:lnTo>
                <a:lnTo>
                  <a:pt x="550829" y="237841"/>
                </a:lnTo>
                <a:lnTo>
                  <a:pt x="607519" y="241761"/>
                </a:lnTo>
                <a:lnTo>
                  <a:pt x="652690" y="243989"/>
                </a:lnTo>
                <a:lnTo>
                  <a:pt x="680429" y="244044"/>
                </a:lnTo>
                <a:lnTo>
                  <a:pt x="705163" y="236007"/>
                </a:lnTo>
                <a:lnTo>
                  <a:pt x="715393" y="219702"/>
                </a:lnTo>
                <a:lnTo>
                  <a:pt x="717504" y="199679"/>
                </a:lnTo>
                <a:lnTo>
                  <a:pt x="717883" y="180486"/>
                </a:lnTo>
                <a:lnTo>
                  <a:pt x="710983" y="164633"/>
                </a:lnTo>
                <a:close/>
              </a:path>
              <a:path w="718185" h="244475">
                <a:moveTo>
                  <a:pt x="420154" y="0"/>
                </a:moveTo>
                <a:lnTo>
                  <a:pt x="0" y="29391"/>
                </a:lnTo>
                <a:lnTo>
                  <a:pt x="10826" y="184235"/>
                </a:lnTo>
                <a:lnTo>
                  <a:pt x="121462" y="187250"/>
                </a:lnTo>
                <a:lnTo>
                  <a:pt x="127535" y="164633"/>
                </a:lnTo>
                <a:lnTo>
                  <a:pt x="710983" y="164633"/>
                </a:lnTo>
                <a:lnTo>
                  <a:pt x="633888" y="120489"/>
                </a:lnTo>
                <a:lnTo>
                  <a:pt x="563448" y="96080"/>
                </a:lnTo>
                <a:lnTo>
                  <a:pt x="499872" y="75296"/>
                </a:lnTo>
                <a:lnTo>
                  <a:pt x="463754" y="58359"/>
                </a:lnTo>
                <a:lnTo>
                  <a:pt x="441659" y="36263"/>
                </a:lnTo>
                <a:lnTo>
                  <a:pt x="420154" y="0"/>
                </a:lnTo>
                <a:close/>
              </a:path>
            </a:pathLst>
          </a:custGeom>
          <a:solidFill>
            <a:srgbClr val="000000"/>
          </a:solidFill>
        </p:spPr>
        <p:txBody>
          <a:bodyPr wrap="square" lIns="0" tIns="0" rIns="0" bIns="0" rtlCol="0"/>
          <a:lstStyle/>
          <a:p>
            <a:endParaRPr/>
          </a:p>
        </p:txBody>
      </p:sp>
      <p:sp>
        <p:nvSpPr>
          <p:cNvPr id="31" name="object 31"/>
          <p:cNvSpPr/>
          <p:nvPr/>
        </p:nvSpPr>
        <p:spPr>
          <a:xfrm>
            <a:off x="1939692" y="2582598"/>
            <a:ext cx="228744" cy="412693"/>
          </a:xfrm>
          <a:custGeom>
            <a:avLst/>
            <a:gdLst/>
            <a:ahLst/>
            <a:cxnLst/>
            <a:rect l="l" t="t" r="r" b="b"/>
            <a:pathLst>
              <a:path w="502920" h="907415">
                <a:moveTo>
                  <a:pt x="0" y="0"/>
                </a:moveTo>
                <a:lnTo>
                  <a:pt x="41103" y="260360"/>
                </a:lnTo>
                <a:lnTo>
                  <a:pt x="62210" y="397870"/>
                </a:lnTo>
                <a:lnTo>
                  <a:pt x="69986" y="458179"/>
                </a:lnTo>
                <a:lnTo>
                  <a:pt x="72268" y="554786"/>
                </a:lnTo>
                <a:lnTo>
                  <a:pt x="74845" y="667382"/>
                </a:lnTo>
                <a:lnTo>
                  <a:pt x="77423" y="772926"/>
                </a:lnTo>
                <a:lnTo>
                  <a:pt x="78594" y="819619"/>
                </a:lnTo>
                <a:lnTo>
                  <a:pt x="502853" y="907375"/>
                </a:lnTo>
                <a:lnTo>
                  <a:pt x="367842" y="493210"/>
                </a:lnTo>
                <a:lnTo>
                  <a:pt x="0" y="0"/>
                </a:lnTo>
                <a:close/>
              </a:path>
            </a:pathLst>
          </a:custGeom>
          <a:solidFill>
            <a:srgbClr val="333333"/>
          </a:solidFill>
        </p:spPr>
        <p:txBody>
          <a:bodyPr wrap="square" lIns="0" tIns="0" rIns="0" bIns="0" rtlCol="0"/>
          <a:lstStyle/>
          <a:p>
            <a:endParaRPr/>
          </a:p>
        </p:txBody>
      </p:sp>
      <p:sp>
        <p:nvSpPr>
          <p:cNvPr id="32" name="object 32"/>
          <p:cNvSpPr/>
          <p:nvPr/>
        </p:nvSpPr>
        <p:spPr>
          <a:xfrm>
            <a:off x="2120334" y="4285384"/>
            <a:ext cx="158850" cy="193495"/>
          </a:xfrm>
          <a:custGeom>
            <a:avLst/>
            <a:gdLst/>
            <a:ahLst/>
            <a:cxnLst/>
            <a:rect l="l" t="t" r="r" b="b"/>
            <a:pathLst>
              <a:path w="349250" h="425450">
                <a:moveTo>
                  <a:pt x="341392" y="0"/>
                </a:moveTo>
                <a:lnTo>
                  <a:pt x="0" y="11402"/>
                </a:lnTo>
                <a:lnTo>
                  <a:pt x="1780" y="30458"/>
                </a:lnTo>
                <a:lnTo>
                  <a:pt x="5696" y="75517"/>
                </a:lnTo>
                <a:lnTo>
                  <a:pt x="9612" y="128415"/>
                </a:lnTo>
                <a:lnTo>
                  <a:pt x="11392" y="170989"/>
                </a:lnTo>
                <a:lnTo>
                  <a:pt x="12759" y="218570"/>
                </a:lnTo>
                <a:lnTo>
                  <a:pt x="16622" y="284213"/>
                </a:lnTo>
                <a:lnTo>
                  <a:pt x="22621" y="346295"/>
                </a:lnTo>
                <a:lnTo>
                  <a:pt x="51757" y="399874"/>
                </a:lnTo>
                <a:lnTo>
                  <a:pt x="90166" y="414064"/>
                </a:lnTo>
                <a:lnTo>
                  <a:pt x="132746" y="423265"/>
                </a:lnTo>
                <a:lnTo>
                  <a:pt x="166623" y="424981"/>
                </a:lnTo>
                <a:lnTo>
                  <a:pt x="237647" y="419764"/>
                </a:lnTo>
                <a:lnTo>
                  <a:pt x="291991" y="405987"/>
                </a:lnTo>
                <a:lnTo>
                  <a:pt x="324778" y="339977"/>
                </a:lnTo>
                <a:lnTo>
                  <a:pt x="341701" y="296463"/>
                </a:lnTo>
                <a:lnTo>
                  <a:pt x="349005" y="265416"/>
                </a:lnTo>
                <a:lnTo>
                  <a:pt x="348886" y="246308"/>
                </a:lnTo>
                <a:lnTo>
                  <a:pt x="348053" y="212291"/>
                </a:lnTo>
                <a:lnTo>
                  <a:pt x="345793" y="138483"/>
                </a:lnTo>
                <a:lnTo>
                  <a:pt x="341392" y="0"/>
                </a:lnTo>
                <a:close/>
              </a:path>
            </a:pathLst>
          </a:custGeom>
          <a:solidFill>
            <a:srgbClr val="000000"/>
          </a:solidFill>
        </p:spPr>
        <p:txBody>
          <a:bodyPr wrap="square" lIns="0" tIns="0" rIns="0" bIns="0" rtlCol="0"/>
          <a:lstStyle/>
          <a:p>
            <a:endParaRPr/>
          </a:p>
        </p:txBody>
      </p:sp>
      <p:sp>
        <p:nvSpPr>
          <p:cNvPr id="33" name="object 33"/>
          <p:cNvSpPr/>
          <p:nvPr/>
        </p:nvSpPr>
        <p:spPr>
          <a:xfrm>
            <a:off x="2405832" y="1714360"/>
            <a:ext cx="53142" cy="369084"/>
          </a:xfrm>
          <a:custGeom>
            <a:avLst/>
            <a:gdLst/>
            <a:ahLst/>
            <a:cxnLst/>
            <a:rect l="l" t="t" r="r" b="b"/>
            <a:pathLst>
              <a:path w="116839" h="811529">
                <a:moveTo>
                  <a:pt x="3738" y="0"/>
                </a:moveTo>
                <a:lnTo>
                  <a:pt x="0" y="811525"/>
                </a:lnTo>
                <a:lnTo>
                  <a:pt x="37716" y="764981"/>
                </a:lnTo>
                <a:lnTo>
                  <a:pt x="116342" y="572715"/>
                </a:lnTo>
                <a:lnTo>
                  <a:pt x="103399" y="35590"/>
                </a:lnTo>
                <a:lnTo>
                  <a:pt x="3738" y="0"/>
                </a:lnTo>
                <a:close/>
              </a:path>
            </a:pathLst>
          </a:custGeom>
          <a:solidFill>
            <a:srgbClr val="F4CFB1"/>
          </a:solidFill>
        </p:spPr>
        <p:txBody>
          <a:bodyPr wrap="square" lIns="0" tIns="0" rIns="0" bIns="0" rtlCol="0"/>
          <a:lstStyle/>
          <a:p>
            <a:endParaRPr/>
          </a:p>
        </p:txBody>
      </p:sp>
      <p:sp>
        <p:nvSpPr>
          <p:cNvPr id="34" name="object 34"/>
          <p:cNvSpPr/>
          <p:nvPr/>
        </p:nvSpPr>
        <p:spPr>
          <a:xfrm>
            <a:off x="2074030" y="1837096"/>
            <a:ext cx="571283" cy="938017"/>
          </a:xfrm>
          <a:custGeom>
            <a:avLst/>
            <a:gdLst/>
            <a:ahLst/>
            <a:cxnLst/>
            <a:rect l="l" t="t" r="r" b="b"/>
            <a:pathLst>
              <a:path w="1256029" h="2062479">
                <a:moveTo>
                  <a:pt x="423746" y="0"/>
                </a:moveTo>
                <a:lnTo>
                  <a:pt x="0" y="404060"/>
                </a:lnTo>
                <a:lnTo>
                  <a:pt x="73212" y="1972725"/>
                </a:lnTo>
                <a:lnTo>
                  <a:pt x="766479" y="2061947"/>
                </a:lnTo>
                <a:lnTo>
                  <a:pt x="1255658" y="1978672"/>
                </a:lnTo>
                <a:lnTo>
                  <a:pt x="1044873" y="549847"/>
                </a:lnTo>
                <a:lnTo>
                  <a:pt x="711318" y="549847"/>
                </a:lnTo>
                <a:lnTo>
                  <a:pt x="581018" y="268305"/>
                </a:lnTo>
                <a:lnTo>
                  <a:pt x="423746" y="0"/>
                </a:lnTo>
                <a:close/>
              </a:path>
              <a:path w="1256029" h="2062479">
                <a:moveTo>
                  <a:pt x="1023099" y="402249"/>
                </a:moveTo>
                <a:lnTo>
                  <a:pt x="711318" y="549847"/>
                </a:lnTo>
                <a:lnTo>
                  <a:pt x="1044873" y="549847"/>
                </a:lnTo>
                <a:lnTo>
                  <a:pt x="1023099" y="402249"/>
                </a:lnTo>
                <a:close/>
              </a:path>
            </a:pathLst>
          </a:custGeom>
          <a:solidFill>
            <a:srgbClr val="FFFFFF"/>
          </a:solidFill>
        </p:spPr>
        <p:txBody>
          <a:bodyPr wrap="square" lIns="0" tIns="0" rIns="0" bIns="0" rtlCol="0"/>
          <a:lstStyle/>
          <a:p>
            <a:endParaRPr/>
          </a:p>
        </p:txBody>
      </p:sp>
      <p:sp>
        <p:nvSpPr>
          <p:cNvPr id="35" name="object 35"/>
          <p:cNvSpPr/>
          <p:nvPr/>
        </p:nvSpPr>
        <p:spPr>
          <a:xfrm>
            <a:off x="1893011" y="1827200"/>
            <a:ext cx="798641" cy="2524084"/>
          </a:xfrm>
          <a:prstGeom prst="rect">
            <a:avLst/>
          </a:prstGeom>
          <a:blipFill>
            <a:blip r:embed="rId3" cstate="print"/>
            <a:stretch>
              <a:fillRect/>
            </a:stretch>
          </a:blipFill>
        </p:spPr>
        <p:txBody>
          <a:bodyPr wrap="square" lIns="0" tIns="0" rIns="0" bIns="0" rtlCol="0"/>
          <a:lstStyle/>
          <a:p>
            <a:endParaRPr/>
          </a:p>
        </p:txBody>
      </p:sp>
      <p:sp>
        <p:nvSpPr>
          <p:cNvPr id="36" name="object 36"/>
          <p:cNvSpPr/>
          <p:nvPr/>
        </p:nvSpPr>
        <p:spPr>
          <a:xfrm>
            <a:off x="2258430" y="1459638"/>
            <a:ext cx="256471" cy="346847"/>
          </a:xfrm>
          <a:custGeom>
            <a:avLst/>
            <a:gdLst/>
            <a:ahLst/>
            <a:cxnLst/>
            <a:rect l="l" t="t" r="r" b="b"/>
            <a:pathLst>
              <a:path w="563879" h="762635">
                <a:moveTo>
                  <a:pt x="206621" y="0"/>
                </a:moveTo>
                <a:lnTo>
                  <a:pt x="165155" y="933"/>
                </a:lnTo>
                <a:lnTo>
                  <a:pt x="99472" y="25385"/>
                </a:lnTo>
                <a:lnTo>
                  <a:pt x="52818" y="85829"/>
                </a:lnTo>
                <a:lnTo>
                  <a:pt x="35782" y="126076"/>
                </a:lnTo>
                <a:lnTo>
                  <a:pt x="22489" y="171154"/>
                </a:lnTo>
                <a:lnTo>
                  <a:pt x="12603" y="219675"/>
                </a:lnTo>
                <a:lnTo>
                  <a:pt x="5784" y="270249"/>
                </a:lnTo>
                <a:lnTo>
                  <a:pt x="1696" y="321488"/>
                </a:lnTo>
                <a:lnTo>
                  <a:pt x="0" y="372002"/>
                </a:lnTo>
                <a:lnTo>
                  <a:pt x="358" y="420403"/>
                </a:lnTo>
                <a:lnTo>
                  <a:pt x="2433" y="465301"/>
                </a:lnTo>
                <a:lnTo>
                  <a:pt x="5886" y="505309"/>
                </a:lnTo>
                <a:lnTo>
                  <a:pt x="15578" y="565094"/>
                </a:lnTo>
                <a:lnTo>
                  <a:pt x="48065" y="635407"/>
                </a:lnTo>
                <a:lnTo>
                  <a:pt x="74240" y="667559"/>
                </a:lnTo>
                <a:lnTo>
                  <a:pt x="106291" y="696516"/>
                </a:lnTo>
                <a:lnTo>
                  <a:pt x="143654" y="721386"/>
                </a:lnTo>
                <a:lnTo>
                  <a:pt x="185771" y="741277"/>
                </a:lnTo>
                <a:lnTo>
                  <a:pt x="232081" y="755296"/>
                </a:lnTo>
                <a:lnTo>
                  <a:pt x="282022" y="762550"/>
                </a:lnTo>
                <a:lnTo>
                  <a:pt x="335034" y="762146"/>
                </a:lnTo>
                <a:lnTo>
                  <a:pt x="400550" y="744425"/>
                </a:lnTo>
                <a:lnTo>
                  <a:pt x="449097" y="704522"/>
                </a:lnTo>
                <a:lnTo>
                  <a:pt x="484471" y="643526"/>
                </a:lnTo>
                <a:lnTo>
                  <a:pt x="498405" y="605457"/>
                </a:lnTo>
                <a:lnTo>
                  <a:pt x="510469" y="562522"/>
                </a:lnTo>
                <a:lnTo>
                  <a:pt x="521138" y="514857"/>
                </a:lnTo>
                <a:lnTo>
                  <a:pt x="530886" y="462598"/>
                </a:lnTo>
                <a:lnTo>
                  <a:pt x="540188" y="405881"/>
                </a:lnTo>
                <a:lnTo>
                  <a:pt x="549519" y="344842"/>
                </a:lnTo>
                <a:lnTo>
                  <a:pt x="559352" y="279616"/>
                </a:lnTo>
                <a:lnTo>
                  <a:pt x="563683" y="227031"/>
                </a:lnTo>
                <a:lnTo>
                  <a:pt x="560065" y="181295"/>
                </a:lnTo>
                <a:lnTo>
                  <a:pt x="549236" y="141952"/>
                </a:lnTo>
                <a:lnTo>
                  <a:pt x="508896" y="80627"/>
                </a:lnTo>
                <a:lnTo>
                  <a:pt x="448564" y="39412"/>
                </a:lnTo>
                <a:lnTo>
                  <a:pt x="412744" y="25208"/>
                </a:lnTo>
                <a:lnTo>
                  <a:pt x="374140" y="14665"/>
                </a:lnTo>
                <a:lnTo>
                  <a:pt x="333487" y="7328"/>
                </a:lnTo>
                <a:lnTo>
                  <a:pt x="291525" y="2741"/>
                </a:lnTo>
                <a:lnTo>
                  <a:pt x="248991" y="450"/>
                </a:lnTo>
                <a:lnTo>
                  <a:pt x="206621" y="0"/>
                </a:lnTo>
                <a:close/>
              </a:path>
            </a:pathLst>
          </a:custGeom>
          <a:solidFill>
            <a:srgbClr val="F4CFB1"/>
          </a:solidFill>
        </p:spPr>
        <p:txBody>
          <a:bodyPr wrap="square" lIns="0" tIns="0" rIns="0" bIns="0" rtlCol="0"/>
          <a:lstStyle/>
          <a:p>
            <a:endParaRPr/>
          </a:p>
        </p:txBody>
      </p:sp>
      <p:sp>
        <p:nvSpPr>
          <p:cNvPr id="37" name="object 37"/>
          <p:cNvSpPr/>
          <p:nvPr/>
        </p:nvSpPr>
        <p:spPr>
          <a:xfrm>
            <a:off x="2491658" y="1619974"/>
            <a:ext cx="34627" cy="84271"/>
          </a:xfrm>
          <a:prstGeom prst="rect">
            <a:avLst/>
          </a:prstGeom>
          <a:blipFill>
            <a:blip r:embed="rId4" cstate="print"/>
            <a:stretch>
              <a:fillRect/>
            </a:stretch>
          </a:blipFill>
        </p:spPr>
        <p:txBody>
          <a:bodyPr wrap="square" lIns="0" tIns="0" rIns="0" bIns="0" rtlCol="0"/>
          <a:lstStyle/>
          <a:p>
            <a:endParaRPr/>
          </a:p>
        </p:txBody>
      </p:sp>
      <p:sp>
        <p:nvSpPr>
          <p:cNvPr id="38" name="object 38"/>
          <p:cNvSpPr/>
          <p:nvPr/>
        </p:nvSpPr>
        <p:spPr>
          <a:xfrm>
            <a:off x="2237701" y="1399361"/>
            <a:ext cx="310480" cy="275225"/>
          </a:xfrm>
          <a:custGeom>
            <a:avLst/>
            <a:gdLst/>
            <a:ahLst/>
            <a:cxnLst/>
            <a:rect l="l" t="t" r="r" b="b"/>
            <a:pathLst>
              <a:path w="682625" h="605154">
                <a:moveTo>
                  <a:pt x="681857" y="221912"/>
                </a:moveTo>
                <a:lnTo>
                  <a:pt x="473173" y="221912"/>
                </a:lnTo>
                <a:lnTo>
                  <a:pt x="507256" y="224354"/>
                </a:lnTo>
                <a:lnTo>
                  <a:pt x="532418" y="245908"/>
                </a:lnTo>
                <a:lnTo>
                  <a:pt x="550569" y="289756"/>
                </a:lnTo>
                <a:lnTo>
                  <a:pt x="558208" y="334791"/>
                </a:lnTo>
                <a:lnTo>
                  <a:pt x="561590" y="390465"/>
                </a:lnTo>
                <a:lnTo>
                  <a:pt x="561994" y="449759"/>
                </a:lnTo>
                <a:lnTo>
                  <a:pt x="560700" y="505656"/>
                </a:lnTo>
                <a:lnTo>
                  <a:pt x="558985" y="551136"/>
                </a:lnTo>
                <a:lnTo>
                  <a:pt x="558129" y="579182"/>
                </a:lnTo>
                <a:lnTo>
                  <a:pt x="561301" y="598223"/>
                </a:lnTo>
                <a:lnTo>
                  <a:pt x="569298" y="604958"/>
                </a:lnTo>
                <a:lnTo>
                  <a:pt x="579841" y="600228"/>
                </a:lnTo>
                <a:lnTo>
                  <a:pt x="599506" y="562388"/>
                </a:lnTo>
                <a:lnTo>
                  <a:pt x="613056" y="522168"/>
                </a:lnTo>
                <a:lnTo>
                  <a:pt x="629382" y="469712"/>
                </a:lnTo>
                <a:lnTo>
                  <a:pt x="646063" y="412248"/>
                </a:lnTo>
                <a:lnTo>
                  <a:pt x="661432" y="354402"/>
                </a:lnTo>
                <a:lnTo>
                  <a:pt x="673317" y="302535"/>
                </a:lnTo>
                <a:lnTo>
                  <a:pt x="679675" y="262574"/>
                </a:lnTo>
                <a:lnTo>
                  <a:pt x="681857" y="221912"/>
                </a:lnTo>
                <a:close/>
              </a:path>
              <a:path w="682625" h="605154">
                <a:moveTo>
                  <a:pt x="324027" y="0"/>
                </a:moveTo>
                <a:lnTo>
                  <a:pt x="272208" y="6292"/>
                </a:lnTo>
                <a:lnTo>
                  <a:pt x="203951" y="17869"/>
                </a:lnTo>
                <a:lnTo>
                  <a:pt x="155770" y="33996"/>
                </a:lnTo>
                <a:lnTo>
                  <a:pt x="115145" y="62314"/>
                </a:lnTo>
                <a:lnTo>
                  <a:pt x="81572" y="99917"/>
                </a:lnTo>
                <a:lnTo>
                  <a:pt x="54546" y="143898"/>
                </a:lnTo>
                <a:lnTo>
                  <a:pt x="33565" y="191349"/>
                </a:lnTo>
                <a:lnTo>
                  <a:pt x="18124" y="239362"/>
                </a:lnTo>
                <a:lnTo>
                  <a:pt x="7719" y="285030"/>
                </a:lnTo>
                <a:lnTo>
                  <a:pt x="1845" y="325446"/>
                </a:lnTo>
                <a:lnTo>
                  <a:pt x="0" y="357702"/>
                </a:lnTo>
                <a:lnTo>
                  <a:pt x="3069" y="419163"/>
                </a:lnTo>
                <a:lnTo>
                  <a:pt x="11223" y="474950"/>
                </a:lnTo>
                <a:lnTo>
                  <a:pt x="22877" y="515839"/>
                </a:lnTo>
                <a:lnTo>
                  <a:pt x="36449" y="532608"/>
                </a:lnTo>
                <a:lnTo>
                  <a:pt x="61940" y="538990"/>
                </a:lnTo>
                <a:lnTo>
                  <a:pt x="79770" y="546995"/>
                </a:lnTo>
                <a:lnTo>
                  <a:pt x="101765" y="474950"/>
                </a:lnTo>
                <a:lnTo>
                  <a:pt x="101923" y="391680"/>
                </a:lnTo>
                <a:lnTo>
                  <a:pt x="109107" y="335440"/>
                </a:lnTo>
                <a:lnTo>
                  <a:pt x="126370" y="296303"/>
                </a:lnTo>
                <a:lnTo>
                  <a:pt x="147524" y="266939"/>
                </a:lnTo>
                <a:lnTo>
                  <a:pt x="166383" y="240018"/>
                </a:lnTo>
                <a:lnTo>
                  <a:pt x="176759" y="208209"/>
                </a:lnTo>
                <a:lnTo>
                  <a:pt x="192898" y="178701"/>
                </a:lnTo>
                <a:lnTo>
                  <a:pt x="224326" y="175943"/>
                </a:lnTo>
                <a:lnTo>
                  <a:pt x="677020" y="175943"/>
                </a:lnTo>
                <a:lnTo>
                  <a:pt x="672032" y="163199"/>
                </a:lnTo>
                <a:lnTo>
                  <a:pt x="659288" y="153855"/>
                </a:lnTo>
                <a:lnTo>
                  <a:pt x="632442" y="148643"/>
                </a:lnTo>
                <a:lnTo>
                  <a:pt x="587126" y="137679"/>
                </a:lnTo>
                <a:lnTo>
                  <a:pt x="530324" y="112698"/>
                </a:lnTo>
                <a:lnTo>
                  <a:pt x="469022" y="65439"/>
                </a:lnTo>
                <a:lnTo>
                  <a:pt x="431908" y="31712"/>
                </a:lnTo>
                <a:lnTo>
                  <a:pt x="398773" y="10822"/>
                </a:lnTo>
                <a:lnTo>
                  <a:pt x="364515" y="880"/>
                </a:lnTo>
                <a:lnTo>
                  <a:pt x="324027" y="0"/>
                </a:lnTo>
                <a:close/>
              </a:path>
              <a:path w="682625" h="605154">
                <a:moveTo>
                  <a:pt x="677020" y="175943"/>
                </a:moveTo>
                <a:lnTo>
                  <a:pt x="224326" y="175943"/>
                </a:lnTo>
                <a:lnTo>
                  <a:pt x="260850" y="191020"/>
                </a:lnTo>
                <a:lnTo>
                  <a:pt x="292273" y="215015"/>
                </a:lnTo>
                <a:lnTo>
                  <a:pt x="318299" y="236352"/>
                </a:lnTo>
                <a:lnTo>
                  <a:pt x="347524" y="248136"/>
                </a:lnTo>
                <a:lnTo>
                  <a:pt x="383120" y="248456"/>
                </a:lnTo>
                <a:lnTo>
                  <a:pt x="428259" y="235402"/>
                </a:lnTo>
                <a:lnTo>
                  <a:pt x="473173" y="221912"/>
                </a:lnTo>
                <a:lnTo>
                  <a:pt x="681857" y="221912"/>
                </a:lnTo>
                <a:lnTo>
                  <a:pt x="682228" y="215011"/>
                </a:lnTo>
                <a:lnTo>
                  <a:pt x="679679" y="182735"/>
                </a:lnTo>
                <a:lnTo>
                  <a:pt x="677020" y="175943"/>
                </a:lnTo>
                <a:close/>
              </a:path>
            </a:pathLst>
          </a:custGeom>
          <a:solidFill>
            <a:srgbClr val="462C24"/>
          </a:solidFill>
        </p:spPr>
        <p:txBody>
          <a:bodyPr wrap="square" lIns="0" tIns="0" rIns="0" bIns="0" rtlCol="0"/>
          <a:lstStyle/>
          <a:p>
            <a:endParaRPr/>
          </a:p>
        </p:txBody>
      </p:sp>
      <p:sp>
        <p:nvSpPr>
          <p:cNvPr id="39" name="object 39"/>
          <p:cNvSpPr/>
          <p:nvPr/>
        </p:nvSpPr>
        <p:spPr>
          <a:xfrm>
            <a:off x="2406463" y="1401021"/>
            <a:ext cx="141810" cy="273492"/>
          </a:xfrm>
          <a:custGeom>
            <a:avLst/>
            <a:gdLst/>
            <a:ahLst/>
            <a:cxnLst/>
            <a:rect l="l" t="t" r="r" b="b"/>
            <a:pathLst>
              <a:path w="311785" h="601345">
                <a:moveTo>
                  <a:pt x="310818" y="218267"/>
                </a:moveTo>
                <a:lnTo>
                  <a:pt x="102132" y="218267"/>
                </a:lnTo>
                <a:lnTo>
                  <a:pt x="136213" y="220709"/>
                </a:lnTo>
                <a:lnTo>
                  <a:pt x="161376" y="242264"/>
                </a:lnTo>
                <a:lnTo>
                  <a:pt x="179533" y="286116"/>
                </a:lnTo>
                <a:lnTo>
                  <a:pt x="187171" y="331147"/>
                </a:lnTo>
                <a:lnTo>
                  <a:pt x="190551" y="386818"/>
                </a:lnTo>
                <a:lnTo>
                  <a:pt x="190953" y="446110"/>
                </a:lnTo>
                <a:lnTo>
                  <a:pt x="189656" y="502006"/>
                </a:lnTo>
                <a:lnTo>
                  <a:pt x="187939" y="547486"/>
                </a:lnTo>
                <a:lnTo>
                  <a:pt x="187083" y="575532"/>
                </a:lnTo>
                <a:lnTo>
                  <a:pt x="190256" y="594573"/>
                </a:lnTo>
                <a:lnTo>
                  <a:pt x="198257" y="601307"/>
                </a:lnTo>
                <a:lnTo>
                  <a:pt x="208803" y="596578"/>
                </a:lnTo>
                <a:lnTo>
                  <a:pt x="228469" y="558738"/>
                </a:lnTo>
                <a:lnTo>
                  <a:pt x="242018" y="518520"/>
                </a:lnTo>
                <a:lnTo>
                  <a:pt x="258217" y="466499"/>
                </a:lnTo>
                <a:lnTo>
                  <a:pt x="275023" y="408602"/>
                </a:lnTo>
                <a:lnTo>
                  <a:pt x="290391" y="350756"/>
                </a:lnTo>
                <a:lnTo>
                  <a:pt x="302278" y="298888"/>
                </a:lnTo>
                <a:lnTo>
                  <a:pt x="308639" y="258924"/>
                </a:lnTo>
                <a:lnTo>
                  <a:pt x="310818" y="218267"/>
                </a:lnTo>
                <a:close/>
              </a:path>
              <a:path w="311785" h="601345">
                <a:moveTo>
                  <a:pt x="6481" y="0"/>
                </a:moveTo>
                <a:lnTo>
                  <a:pt x="0" y="246055"/>
                </a:lnTo>
                <a:lnTo>
                  <a:pt x="12647" y="244723"/>
                </a:lnTo>
                <a:lnTo>
                  <a:pt x="26322" y="241938"/>
                </a:lnTo>
                <a:lnTo>
                  <a:pt x="41142" y="237637"/>
                </a:lnTo>
                <a:lnTo>
                  <a:pt x="57223" y="231752"/>
                </a:lnTo>
                <a:lnTo>
                  <a:pt x="102132" y="218267"/>
                </a:lnTo>
                <a:lnTo>
                  <a:pt x="310818" y="218267"/>
                </a:lnTo>
                <a:lnTo>
                  <a:pt x="311188" y="211362"/>
                </a:lnTo>
                <a:lnTo>
                  <a:pt x="308638" y="179088"/>
                </a:lnTo>
                <a:lnTo>
                  <a:pt x="300990" y="159553"/>
                </a:lnTo>
                <a:lnTo>
                  <a:pt x="288242" y="150204"/>
                </a:lnTo>
                <a:lnTo>
                  <a:pt x="261396" y="144993"/>
                </a:lnTo>
                <a:lnTo>
                  <a:pt x="216079" y="134028"/>
                </a:lnTo>
                <a:lnTo>
                  <a:pt x="159277" y="109047"/>
                </a:lnTo>
                <a:lnTo>
                  <a:pt x="97976" y="61788"/>
                </a:lnTo>
                <a:lnTo>
                  <a:pt x="73107" y="38291"/>
                </a:lnTo>
                <a:lnTo>
                  <a:pt x="50571" y="20508"/>
                </a:lnTo>
                <a:lnTo>
                  <a:pt x="28864" y="7918"/>
                </a:lnTo>
                <a:lnTo>
                  <a:pt x="6481" y="0"/>
                </a:lnTo>
                <a:close/>
              </a:path>
            </a:pathLst>
          </a:custGeom>
          <a:solidFill>
            <a:srgbClr val="462C24"/>
          </a:solidFill>
        </p:spPr>
        <p:txBody>
          <a:bodyPr wrap="square" lIns="0" tIns="0" rIns="0" bIns="0" rtlCol="0"/>
          <a:lstStyle/>
          <a:p>
            <a:endParaRPr/>
          </a:p>
        </p:txBody>
      </p:sp>
      <p:sp>
        <p:nvSpPr>
          <p:cNvPr id="40" name="object 40"/>
          <p:cNvSpPr/>
          <p:nvPr/>
        </p:nvSpPr>
        <p:spPr>
          <a:xfrm>
            <a:off x="2238810" y="1593512"/>
            <a:ext cx="30478" cy="94835"/>
          </a:xfrm>
          <a:prstGeom prst="rect">
            <a:avLst/>
          </a:prstGeom>
          <a:blipFill>
            <a:blip r:embed="rId5" cstate="print"/>
            <a:stretch>
              <a:fillRect/>
            </a:stretch>
          </a:blipFill>
        </p:spPr>
        <p:txBody>
          <a:bodyPr wrap="square" lIns="0" tIns="0" rIns="0" bIns="0" rtlCol="0"/>
          <a:lstStyle/>
          <a:p>
            <a:endParaRPr/>
          </a:p>
        </p:txBody>
      </p:sp>
      <p:pic>
        <p:nvPicPr>
          <p:cNvPr id="55" name="Image 54">
            <a:extLst>
              <a:ext uri="{FF2B5EF4-FFF2-40B4-BE49-F238E27FC236}">
                <a16:creationId xmlns:a16="http://schemas.microsoft.com/office/drawing/2014/main" id="{8DC123B7-9421-C74D-AA5E-6B236F831EC7}"/>
              </a:ext>
            </a:extLst>
          </p:cNvPr>
          <p:cNvPicPr>
            <a:picLocks noChangeAspect="1"/>
          </p:cNvPicPr>
          <p:nvPr/>
        </p:nvPicPr>
        <p:blipFill>
          <a:blip r:embed="rId6"/>
          <a:stretch>
            <a:fillRect/>
          </a:stretch>
        </p:blipFill>
        <p:spPr>
          <a:xfrm>
            <a:off x="6302810" y="1324141"/>
            <a:ext cx="939524" cy="3120635"/>
          </a:xfrm>
          <a:prstGeom prst="rect">
            <a:avLst/>
          </a:prstGeom>
        </p:spPr>
      </p:pic>
      <p:sp>
        <p:nvSpPr>
          <p:cNvPr id="42" name="ZoneTexte 41"/>
          <p:cNvSpPr txBox="1"/>
          <p:nvPr/>
        </p:nvSpPr>
        <p:spPr>
          <a:xfrm>
            <a:off x="4678680" y="4559423"/>
            <a:ext cx="4262964" cy="349769"/>
          </a:xfrm>
          <a:prstGeom prst="rect">
            <a:avLst/>
          </a:prstGeom>
          <a:noFill/>
        </p:spPr>
        <p:txBody>
          <a:bodyPr wrap="square" lIns="41587" tIns="20793" rIns="41587" bIns="20793" rtlCol="0">
            <a:spAutoFit/>
          </a:bodyPr>
          <a:lstStyle/>
          <a:p>
            <a:r>
              <a:rPr lang="fr-FR" sz="1000" dirty="0"/>
              <a:t>* Profil des personnes  intéressées par ouvrir un compte dans une banque en ligne ou mobile</a:t>
            </a:r>
          </a:p>
        </p:txBody>
      </p:sp>
      <p:sp>
        <p:nvSpPr>
          <p:cNvPr id="44" name="ZoneTexte 43"/>
          <p:cNvSpPr txBox="1"/>
          <p:nvPr/>
        </p:nvSpPr>
        <p:spPr>
          <a:xfrm>
            <a:off x="36179" y="4559423"/>
            <a:ext cx="4262964" cy="349769"/>
          </a:xfrm>
          <a:prstGeom prst="rect">
            <a:avLst/>
          </a:prstGeom>
          <a:noFill/>
        </p:spPr>
        <p:txBody>
          <a:bodyPr wrap="square" lIns="41587" tIns="20793" rIns="41587" bIns="20793" rtlCol="0">
            <a:spAutoFit/>
          </a:bodyPr>
          <a:lstStyle/>
          <a:p>
            <a:r>
              <a:rPr lang="fr-FR" sz="1000" dirty="0"/>
              <a:t>* Profil des personnes ayant un compte dans une banque en ligne ou mobile</a:t>
            </a:r>
          </a:p>
        </p:txBody>
      </p:sp>
      <p:grpSp>
        <p:nvGrpSpPr>
          <p:cNvPr id="46" name="Groupe 45"/>
          <p:cNvGrpSpPr/>
          <p:nvPr/>
        </p:nvGrpSpPr>
        <p:grpSpPr>
          <a:xfrm>
            <a:off x="206422" y="239158"/>
            <a:ext cx="422542" cy="422512"/>
            <a:chOff x="879052" y="527915"/>
            <a:chExt cx="929005" cy="929005"/>
          </a:xfrm>
        </p:grpSpPr>
        <p:sp>
          <p:nvSpPr>
            <p:cNvPr id="48" name="object 4"/>
            <p:cNvSpPr/>
            <p:nvPr/>
          </p:nvSpPr>
          <p:spPr>
            <a:xfrm>
              <a:off x="879052" y="527915"/>
              <a:ext cx="929005" cy="929005"/>
            </a:xfrm>
            <a:custGeom>
              <a:avLst/>
              <a:gdLst/>
              <a:ahLst/>
              <a:cxnLst/>
              <a:rect l="l" t="t" r="r" b="b"/>
              <a:pathLst>
                <a:path w="929005" h="929005">
                  <a:moveTo>
                    <a:pt x="464352" y="0"/>
                  </a:moveTo>
                  <a:lnTo>
                    <a:pt x="416875" y="2397"/>
                  </a:lnTo>
                  <a:lnTo>
                    <a:pt x="370769" y="9434"/>
                  </a:lnTo>
                  <a:lnTo>
                    <a:pt x="326268" y="20876"/>
                  </a:lnTo>
                  <a:lnTo>
                    <a:pt x="283606" y="36491"/>
                  </a:lnTo>
                  <a:lnTo>
                    <a:pt x="243015" y="56045"/>
                  </a:lnTo>
                  <a:lnTo>
                    <a:pt x="204729" y="79304"/>
                  </a:lnTo>
                  <a:lnTo>
                    <a:pt x="168981" y="106036"/>
                  </a:lnTo>
                  <a:lnTo>
                    <a:pt x="136006" y="136006"/>
                  </a:lnTo>
                  <a:lnTo>
                    <a:pt x="106036" y="168981"/>
                  </a:lnTo>
                  <a:lnTo>
                    <a:pt x="79304" y="204729"/>
                  </a:lnTo>
                  <a:lnTo>
                    <a:pt x="56045" y="243015"/>
                  </a:lnTo>
                  <a:lnTo>
                    <a:pt x="36491" y="283606"/>
                  </a:lnTo>
                  <a:lnTo>
                    <a:pt x="20876" y="326268"/>
                  </a:lnTo>
                  <a:lnTo>
                    <a:pt x="9434" y="370769"/>
                  </a:lnTo>
                  <a:lnTo>
                    <a:pt x="2397" y="416875"/>
                  </a:lnTo>
                  <a:lnTo>
                    <a:pt x="0" y="464352"/>
                  </a:lnTo>
                  <a:lnTo>
                    <a:pt x="2397" y="511829"/>
                  </a:lnTo>
                  <a:lnTo>
                    <a:pt x="9434" y="557935"/>
                  </a:lnTo>
                  <a:lnTo>
                    <a:pt x="20876" y="602435"/>
                  </a:lnTo>
                  <a:lnTo>
                    <a:pt x="36491" y="645098"/>
                  </a:lnTo>
                  <a:lnTo>
                    <a:pt x="56045" y="685689"/>
                  </a:lnTo>
                  <a:lnTo>
                    <a:pt x="79304" y="723975"/>
                  </a:lnTo>
                  <a:lnTo>
                    <a:pt x="106036" y="759722"/>
                  </a:lnTo>
                  <a:lnTo>
                    <a:pt x="136006" y="792698"/>
                  </a:lnTo>
                  <a:lnTo>
                    <a:pt x="168981" y="822668"/>
                  </a:lnTo>
                  <a:lnTo>
                    <a:pt x="204729" y="849400"/>
                  </a:lnTo>
                  <a:lnTo>
                    <a:pt x="243015" y="872659"/>
                  </a:lnTo>
                  <a:lnTo>
                    <a:pt x="283606" y="892213"/>
                  </a:lnTo>
                  <a:lnTo>
                    <a:pt x="326268" y="907828"/>
                  </a:lnTo>
                  <a:lnTo>
                    <a:pt x="370769" y="919270"/>
                  </a:lnTo>
                  <a:lnTo>
                    <a:pt x="416875" y="926307"/>
                  </a:lnTo>
                  <a:lnTo>
                    <a:pt x="464352" y="928704"/>
                  </a:lnTo>
                  <a:lnTo>
                    <a:pt x="511829" y="926307"/>
                  </a:lnTo>
                  <a:lnTo>
                    <a:pt x="557934" y="919270"/>
                  </a:lnTo>
                  <a:lnTo>
                    <a:pt x="602434" y="907828"/>
                  </a:lnTo>
                  <a:lnTo>
                    <a:pt x="645096" y="892213"/>
                  </a:lnTo>
                  <a:lnTo>
                    <a:pt x="685687" y="872659"/>
                  </a:lnTo>
                  <a:lnTo>
                    <a:pt x="723972" y="849400"/>
                  </a:lnTo>
                  <a:lnTo>
                    <a:pt x="759718" y="822668"/>
                  </a:lnTo>
                  <a:lnTo>
                    <a:pt x="792693" y="792698"/>
                  </a:lnTo>
                  <a:lnTo>
                    <a:pt x="822662" y="759722"/>
                  </a:lnTo>
                  <a:lnTo>
                    <a:pt x="849392" y="723975"/>
                  </a:lnTo>
                  <a:lnTo>
                    <a:pt x="872651" y="685689"/>
                  </a:lnTo>
                  <a:lnTo>
                    <a:pt x="892204" y="645098"/>
                  </a:lnTo>
                  <a:lnTo>
                    <a:pt x="907818" y="602435"/>
                  </a:lnTo>
                  <a:lnTo>
                    <a:pt x="919260" y="557935"/>
                  </a:lnTo>
                  <a:lnTo>
                    <a:pt x="926296" y="511829"/>
                  </a:lnTo>
                  <a:lnTo>
                    <a:pt x="928694" y="464352"/>
                  </a:lnTo>
                  <a:lnTo>
                    <a:pt x="926296" y="416875"/>
                  </a:lnTo>
                  <a:lnTo>
                    <a:pt x="919260" y="370769"/>
                  </a:lnTo>
                  <a:lnTo>
                    <a:pt x="907818" y="326268"/>
                  </a:lnTo>
                  <a:lnTo>
                    <a:pt x="892204" y="283606"/>
                  </a:lnTo>
                  <a:lnTo>
                    <a:pt x="872651" y="243015"/>
                  </a:lnTo>
                  <a:lnTo>
                    <a:pt x="849392" y="204729"/>
                  </a:lnTo>
                  <a:lnTo>
                    <a:pt x="822662" y="168981"/>
                  </a:lnTo>
                  <a:lnTo>
                    <a:pt x="792693" y="136006"/>
                  </a:lnTo>
                  <a:lnTo>
                    <a:pt x="759718" y="106036"/>
                  </a:lnTo>
                  <a:lnTo>
                    <a:pt x="723972" y="79304"/>
                  </a:lnTo>
                  <a:lnTo>
                    <a:pt x="685687" y="56045"/>
                  </a:lnTo>
                  <a:lnTo>
                    <a:pt x="645096" y="36491"/>
                  </a:lnTo>
                  <a:lnTo>
                    <a:pt x="602434" y="20876"/>
                  </a:lnTo>
                  <a:lnTo>
                    <a:pt x="557934" y="9434"/>
                  </a:lnTo>
                  <a:lnTo>
                    <a:pt x="511829" y="2397"/>
                  </a:lnTo>
                  <a:lnTo>
                    <a:pt x="464352" y="0"/>
                  </a:lnTo>
                  <a:close/>
                </a:path>
              </a:pathLst>
            </a:custGeom>
            <a:solidFill>
              <a:srgbClr val="50BD86"/>
            </a:solidFill>
          </p:spPr>
          <p:txBody>
            <a:bodyPr wrap="square" lIns="0" tIns="0" rIns="0" bIns="0" rtlCol="0"/>
            <a:lstStyle/>
            <a:p>
              <a:endParaRPr/>
            </a:p>
          </p:txBody>
        </p:sp>
        <p:sp>
          <p:nvSpPr>
            <p:cNvPr id="47" name="object 6"/>
            <p:cNvSpPr/>
            <p:nvPr/>
          </p:nvSpPr>
          <p:spPr>
            <a:xfrm>
              <a:off x="1163531" y="704444"/>
              <a:ext cx="360045" cy="575945"/>
            </a:xfrm>
            <a:custGeom>
              <a:avLst/>
              <a:gdLst/>
              <a:ahLst/>
              <a:cxnLst/>
              <a:rect l="l" t="t" r="r" b="b"/>
              <a:pathLst>
                <a:path w="360044" h="575944">
                  <a:moveTo>
                    <a:pt x="76615" y="232694"/>
                  </a:moveTo>
                  <a:lnTo>
                    <a:pt x="45419" y="255020"/>
                  </a:lnTo>
                  <a:lnTo>
                    <a:pt x="21219" y="284704"/>
                  </a:lnTo>
                  <a:lnTo>
                    <a:pt x="5562" y="320201"/>
                  </a:lnTo>
                  <a:lnTo>
                    <a:pt x="0" y="359968"/>
                  </a:lnTo>
                  <a:lnTo>
                    <a:pt x="0" y="511146"/>
                  </a:lnTo>
                  <a:lnTo>
                    <a:pt x="5333" y="536397"/>
                  </a:lnTo>
                  <a:lnTo>
                    <a:pt x="19392" y="556993"/>
                  </a:lnTo>
                  <a:lnTo>
                    <a:pt x="40117" y="570867"/>
                  </a:lnTo>
                  <a:lnTo>
                    <a:pt x="65443" y="575951"/>
                  </a:lnTo>
                  <a:lnTo>
                    <a:pt x="359968" y="575951"/>
                  </a:lnTo>
                  <a:lnTo>
                    <a:pt x="359968" y="359968"/>
                  </a:lnTo>
                  <a:lnTo>
                    <a:pt x="354406" y="320201"/>
                  </a:lnTo>
                  <a:lnTo>
                    <a:pt x="338754" y="284704"/>
                  </a:lnTo>
                  <a:lnTo>
                    <a:pt x="329679" y="273572"/>
                  </a:lnTo>
                  <a:lnTo>
                    <a:pt x="179984" y="273572"/>
                  </a:lnTo>
                  <a:lnTo>
                    <a:pt x="150768" y="270750"/>
                  </a:lnTo>
                  <a:lnTo>
                    <a:pt x="123446" y="262639"/>
                  </a:lnTo>
                  <a:lnTo>
                    <a:pt x="98550" y="249776"/>
                  </a:lnTo>
                  <a:lnTo>
                    <a:pt x="76615" y="232694"/>
                  </a:lnTo>
                  <a:close/>
                </a:path>
                <a:path w="360044" h="575944">
                  <a:moveTo>
                    <a:pt x="283363" y="232694"/>
                  </a:moveTo>
                  <a:lnTo>
                    <a:pt x="261427" y="249776"/>
                  </a:lnTo>
                  <a:lnTo>
                    <a:pt x="236530" y="262639"/>
                  </a:lnTo>
                  <a:lnTo>
                    <a:pt x="209205" y="270750"/>
                  </a:lnTo>
                  <a:lnTo>
                    <a:pt x="179984" y="273572"/>
                  </a:lnTo>
                  <a:lnTo>
                    <a:pt x="329679" y="273572"/>
                  </a:lnTo>
                  <a:lnTo>
                    <a:pt x="314557" y="255020"/>
                  </a:lnTo>
                  <a:lnTo>
                    <a:pt x="283363" y="232694"/>
                  </a:lnTo>
                  <a:close/>
                </a:path>
                <a:path w="360044" h="575944">
                  <a:moveTo>
                    <a:pt x="179984" y="0"/>
                  </a:moveTo>
                  <a:lnTo>
                    <a:pt x="132345" y="9617"/>
                  </a:lnTo>
                  <a:lnTo>
                    <a:pt x="93440" y="35845"/>
                  </a:lnTo>
                  <a:lnTo>
                    <a:pt x="67209" y="74746"/>
                  </a:lnTo>
                  <a:lnTo>
                    <a:pt x="57589" y="122383"/>
                  </a:lnTo>
                  <a:lnTo>
                    <a:pt x="67209" y="170022"/>
                  </a:lnTo>
                  <a:lnTo>
                    <a:pt x="93440" y="208926"/>
                  </a:lnTo>
                  <a:lnTo>
                    <a:pt x="132345" y="235158"/>
                  </a:lnTo>
                  <a:lnTo>
                    <a:pt x="179984" y="244777"/>
                  </a:lnTo>
                  <a:lnTo>
                    <a:pt x="227625" y="235158"/>
                  </a:lnTo>
                  <a:lnTo>
                    <a:pt x="266525" y="208926"/>
                  </a:lnTo>
                  <a:lnTo>
                    <a:pt x="292751" y="170022"/>
                  </a:lnTo>
                  <a:lnTo>
                    <a:pt x="302367" y="122383"/>
                  </a:lnTo>
                  <a:lnTo>
                    <a:pt x="292751" y="74746"/>
                  </a:lnTo>
                  <a:lnTo>
                    <a:pt x="266525" y="35845"/>
                  </a:lnTo>
                  <a:lnTo>
                    <a:pt x="227625" y="9617"/>
                  </a:lnTo>
                  <a:lnTo>
                    <a:pt x="179984" y="0"/>
                  </a:lnTo>
                  <a:close/>
                </a:path>
              </a:pathLst>
            </a:custGeom>
            <a:solidFill>
              <a:srgbClr val="FFFFFF"/>
            </a:solidFill>
          </p:spPr>
          <p:txBody>
            <a:bodyPr wrap="square" lIns="0" tIns="0" rIns="0" bIns="0" rtlCol="0"/>
            <a:lstStyle/>
            <a:p>
              <a:endParaRPr/>
            </a:p>
          </p:txBody>
        </p:sp>
      </p:grpSp>
    </p:spTree>
    <p:extLst>
      <p:ext uri="{BB962C8B-B14F-4D97-AF65-F5344CB8AC3E}">
        <p14:creationId xmlns:p14="http://schemas.microsoft.com/office/powerpoint/2010/main" val="12750723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272CE65D-C6B8-134E-B391-5C207D375331}"/>
              </a:ext>
            </a:extLst>
          </p:cNvPr>
          <p:cNvSpPr/>
          <p:nvPr/>
        </p:nvSpPr>
        <p:spPr>
          <a:xfrm>
            <a:off x="573989" y="618467"/>
            <a:ext cx="8119550" cy="174906"/>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lIns="41587" tIns="20793" rIns="41587" bIns="20793" rtlCol="0" anchor="ctr"/>
          <a:lstStyle/>
          <a:p>
            <a:pPr algn="ctr"/>
            <a:endParaRPr lang="fr-FR" dirty="0"/>
          </a:p>
        </p:txBody>
      </p:sp>
      <p:sp>
        <p:nvSpPr>
          <p:cNvPr id="2" name="object 2"/>
          <p:cNvSpPr txBox="1">
            <a:spLocks noGrp="1"/>
          </p:cNvSpPr>
          <p:nvPr>
            <p:ph type="title"/>
          </p:nvPr>
        </p:nvSpPr>
        <p:spPr>
          <a:xfrm>
            <a:off x="296689" y="66260"/>
            <a:ext cx="6321664" cy="359484"/>
          </a:xfrm>
          <a:prstGeom prst="rect">
            <a:avLst/>
          </a:prstGeom>
        </p:spPr>
        <p:txBody>
          <a:bodyPr vert="horz" wrap="square" lIns="0" tIns="5487" rIns="0" bIns="0" rtlCol="0">
            <a:spAutoFit/>
          </a:bodyPr>
          <a:lstStyle/>
          <a:p>
            <a:pPr marL="5776">
              <a:lnSpc>
                <a:spcPct val="100000"/>
              </a:lnSpc>
              <a:spcBef>
                <a:spcPts val="43"/>
              </a:spcBef>
            </a:pPr>
            <a:r>
              <a:rPr lang="fr-FR" sz="2300" spc="-23" dirty="0"/>
              <a:t>La méthodologie</a:t>
            </a:r>
            <a:endParaRPr sz="2300" dirty="0"/>
          </a:p>
        </p:txBody>
      </p:sp>
      <p:grpSp>
        <p:nvGrpSpPr>
          <p:cNvPr id="59" name="Groupe 58">
            <a:extLst>
              <a:ext uri="{FF2B5EF4-FFF2-40B4-BE49-F238E27FC236}">
                <a16:creationId xmlns:a16="http://schemas.microsoft.com/office/drawing/2014/main" id="{965B736F-88F6-DF48-B56E-912C5DC7CBFC}"/>
              </a:ext>
            </a:extLst>
          </p:cNvPr>
          <p:cNvGrpSpPr/>
          <p:nvPr/>
        </p:nvGrpSpPr>
        <p:grpSpPr>
          <a:xfrm>
            <a:off x="296689" y="596369"/>
            <a:ext cx="527170" cy="540289"/>
            <a:chOff x="652304" y="1844675"/>
            <a:chExt cx="1159042" cy="1187969"/>
          </a:xfrm>
        </p:grpSpPr>
        <p:sp>
          <p:nvSpPr>
            <p:cNvPr id="34" name="Ellipse 33">
              <a:extLst>
                <a:ext uri="{FF2B5EF4-FFF2-40B4-BE49-F238E27FC236}">
                  <a16:creationId xmlns:a16="http://schemas.microsoft.com/office/drawing/2014/main" id="{39DB1C55-4E2D-A44F-A29E-A5E1BFCB3F75}"/>
                </a:ext>
              </a:extLst>
            </p:cNvPr>
            <p:cNvSpPr>
              <a:spLocks noChangeAspect="1"/>
            </p:cNvSpPr>
            <p:nvPr/>
          </p:nvSpPr>
          <p:spPr>
            <a:xfrm>
              <a:off x="652304" y="1844675"/>
              <a:ext cx="1159042" cy="1187969"/>
            </a:xfrm>
            <a:prstGeom prst="ellipse">
              <a:avLst/>
            </a:prstGeom>
            <a:solidFill>
              <a:srgbClr val="FF79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01040" tIns="100520" rIns="201040" bIns="100520" rtlCol="0" anchor="ctr"/>
            <a:lstStyle/>
            <a:p>
              <a:pPr algn="ctr"/>
              <a:endParaRPr lang="fr-FR"/>
            </a:p>
          </p:txBody>
        </p:sp>
        <p:pic>
          <p:nvPicPr>
            <p:cNvPr id="38" name="Picture 6" descr="D:\01-OWay\GRAPHISMES\Methodo\white-05.png">
              <a:extLst>
                <a:ext uri="{FF2B5EF4-FFF2-40B4-BE49-F238E27FC236}">
                  <a16:creationId xmlns:a16="http://schemas.microsoft.com/office/drawing/2014/main" id="{4DEB1A64-A07D-9545-B1AF-F26386298FDE}"/>
                </a:ext>
              </a:extLst>
            </p:cNvPr>
            <p:cNvPicPr>
              <a:picLocks noChangeAspect="1" noChangeArrowheads="1"/>
            </p:cNvPicPr>
            <p:nvPr/>
          </p:nvPicPr>
          <p:blipFill>
            <a:blip r:embed="rId3" cstate="print"/>
            <a:srcRect/>
            <a:stretch>
              <a:fillRect/>
            </a:stretch>
          </p:blipFill>
          <p:spPr bwMode="auto">
            <a:xfrm>
              <a:off x="813282" y="1967782"/>
              <a:ext cx="837086" cy="857976"/>
            </a:xfrm>
            <a:prstGeom prst="rect">
              <a:avLst/>
            </a:prstGeom>
            <a:noFill/>
          </p:spPr>
        </p:pic>
      </p:grpSp>
      <p:grpSp>
        <p:nvGrpSpPr>
          <p:cNvPr id="88" name="Groupe 87">
            <a:extLst>
              <a:ext uri="{FF2B5EF4-FFF2-40B4-BE49-F238E27FC236}">
                <a16:creationId xmlns:a16="http://schemas.microsoft.com/office/drawing/2014/main" id="{CAE6AFF3-874E-9449-A0EA-1E2D2CC3B833}"/>
              </a:ext>
            </a:extLst>
          </p:cNvPr>
          <p:cNvGrpSpPr/>
          <p:nvPr/>
        </p:nvGrpSpPr>
        <p:grpSpPr>
          <a:xfrm>
            <a:off x="1988196" y="1261038"/>
            <a:ext cx="5536132" cy="667987"/>
            <a:chOff x="8237569" y="4104838"/>
            <a:chExt cx="10476391" cy="2797445"/>
          </a:xfrm>
        </p:grpSpPr>
        <p:sp>
          <p:nvSpPr>
            <p:cNvPr id="63" name="object 11">
              <a:extLst>
                <a:ext uri="{FF2B5EF4-FFF2-40B4-BE49-F238E27FC236}">
                  <a16:creationId xmlns:a16="http://schemas.microsoft.com/office/drawing/2014/main" id="{04657D53-20F5-D041-A2B7-80D76FE1D7F8}"/>
                </a:ext>
              </a:extLst>
            </p:cNvPr>
            <p:cNvSpPr txBox="1"/>
            <p:nvPr/>
          </p:nvSpPr>
          <p:spPr>
            <a:xfrm>
              <a:off x="8237569" y="4856109"/>
              <a:ext cx="1159042" cy="1401710"/>
            </a:xfrm>
            <a:prstGeom prst="rect">
              <a:avLst/>
            </a:prstGeom>
          </p:spPr>
          <p:txBody>
            <a:bodyPr vert="horz" wrap="square" lIns="0" tIns="13970" rIns="0" bIns="0" rtlCol="0">
              <a:spAutoFit/>
            </a:bodyPr>
            <a:lstStyle/>
            <a:p>
              <a:pPr marL="5776">
                <a:spcBef>
                  <a:spcPts val="50"/>
                </a:spcBef>
              </a:pPr>
              <a:r>
                <a:rPr lang="fr-FR" sz="1000" b="1" spc="2" dirty="0">
                  <a:latin typeface="Helvetica Neue" panose="02000503000000020004" pitchFamily="2" charset="0"/>
                  <a:ea typeface="Helvetica Neue" panose="02000503000000020004" pitchFamily="2" charset="0"/>
                  <a:cs typeface="Helvetica Neue" panose="02000503000000020004" pitchFamily="2" charset="0"/>
                </a:rPr>
                <a:t>France</a:t>
              </a:r>
            </a:p>
            <a:p>
              <a:pPr marL="5776">
                <a:spcBef>
                  <a:spcPts val="50"/>
                </a:spcBef>
              </a:pPr>
              <a:r>
                <a:rPr sz="1000" spc="2" dirty="0">
                  <a:latin typeface="Helvetica Neue"/>
                  <a:cs typeface="Helvetica Neue"/>
                </a:rPr>
                <a:t>N =</a:t>
              </a:r>
              <a:r>
                <a:rPr sz="1000" spc="-39" dirty="0">
                  <a:latin typeface="Helvetica Neue"/>
                  <a:cs typeface="Helvetica Neue"/>
                </a:rPr>
                <a:t> </a:t>
              </a:r>
              <a:r>
                <a:rPr sz="1000" spc="2" dirty="0">
                  <a:latin typeface="Helvetica Neue"/>
                  <a:cs typeface="Helvetica Neue"/>
                </a:rPr>
                <a:t>2024</a:t>
              </a:r>
              <a:endParaRPr sz="1000" dirty="0">
                <a:latin typeface="Helvetica Neue"/>
                <a:cs typeface="Helvetica Neue"/>
              </a:endParaRPr>
            </a:p>
          </p:txBody>
        </p:sp>
        <p:sp>
          <p:nvSpPr>
            <p:cNvPr id="64" name="object 12">
              <a:extLst>
                <a:ext uri="{FF2B5EF4-FFF2-40B4-BE49-F238E27FC236}">
                  <a16:creationId xmlns:a16="http://schemas.microsoft.com/office/drawing/2014/main" id="{D8195B55-FA45-544A-82F2-117E0F988E67}"/>
                </a:ext>
              </a:extLst>
            </p:cNvPr>
            <p:cNvSpPr txBox="1"/>
            <p:nvPr/>
          </p:nvSpPr>
          <p:spPr>
            <a:xfrm>
              <a:off x="10496937" y="4856109"/>
              <a:ext cx="1371784" cy="1401710"/>
            </a:xfrm>
            <a:prstGeom prst="rect">
              <a:avLst/>
            </a:prstGeom>
          </p:spPr>
          <p:txBody>
            <a:bodyPr vert="horz" wrap="square" lIns="0" tIns="13970" rIns="0" bIns="0" rtlCol="0">
              <a:spAutoFit/>
            </a:bodyPr>
            <a:lstStyle/>
            <a:p>
              <a:pPr marL="5776">
                <a:spcBef>
                  <a:spcPts val="50"/>
                </a:spcBef>
              </a:pPr>
              <a:r>
                <a:rPr lang="fr-FR" sz="1000" b="1" spc="2" dirty="0">
                  <a:latin typeface="Helvetica Neue" panose="02000503000000020004" pitchFamily="2" charset="0"/>
                  <a:ea typeface="Helvetica Neue" panose="02000503000000020004" pitchFamily="2" charset="0"/>
                  <a:cs typeface="Helvetica Neue" panose="02000503000000020004" pitchFamily="2" charset="0"/>
                </a:rPr>
                <a:t>Espagne</a:t>
              </a:r>
              <a:endParaRPr lang="fr-FR" sz="1000" spc="2" dirty="0">
                <a:latin typeface="Helvetica Neue"/>
                <a:cs typeface="Helvetica Neue"/>
              </a:endParaRPr>
            </a:p>
            <a:p>
              <a:pPr marL="5776">
                <a:spcBef>
                  <a:spcPts val="50"/>
                </a:spcBef>
              </a:pPr>
              <a:r>
                <a:rPr sz="1000" spc="2" dirty="0">
                  <a:latin typeface="Helvetica Neue"/>
                  <a:cs typeface="Helvetica Neue"/>
                </a:rPr>
                <a:t>N =</a:t>
              </a:r>
              <a:r>
                <a:rPr sz="1000" spc="-39" dirty="0">
                  <a:latin typeface="Helvetica Neue"/>
                  <a:cs typeface="Helvetica Neue"/>
                </a:rPr>
                <a:t> </a:t>
              </a:r>
              <a:r>
                <a:rPr sz="1000" spc="2" dirty="0">
                  <a:latin typeface="Helvetica Neue"/>
                  <a:cs typeface="Helvetica Neue"/>
                </a:rPr>
                <a:t>2015</a:t>
              </a:r>
              <a:endParaRPr sz="1000" dirty="0">
                <a:latin typeface="Helvetica Neue"/>
                <a:cs typeface="Helvetica Neue"/>
              </a:endParaRPr>
            </a:p>
          </p:txBody>
        </p:sp>
        <p:sp>
          <p:nvSpPr>
            <p:cNvPr id="65" name="object 13">
              <a:extLst>
                <a:ext uri="{FF2B5EF4-FFF2-40B4-BE49-F238E27FC236}">
                  <a16:creationId xmlns:a16="http://schemas.microsoft.com/office/drawing/2014/main" id="{47A34A2A-F3A6-7F4F-998A-64AB969C34F5}"/>
                </a:ext>
              </a:extLst>
            </p:cNvPr>
            <p:cNvSpPr txBox="1"/>
            <p:nvPr/>
          </p:nvSpPr>
          <p:spPr>
            <a:xfrm>
              <a:off x="12856382" y="4856109"/>
              <a:ext cx="1360816" cy="1401711"/>
            </a:xfrm>
            <a:prstGeom prst="rect">
              <a:avLst/>
            </a:prstGeom>
          </p:spPr>
          <p:txBody>
            <a:bodyPr vert="horz" wrap="square" lIns="0" tIns="13970" rIns="0" bIns="0" rtlCol="0">
              <a:spAutoFit/>
            </a:bodyPr>
            <a:lstStyle/>
            <a:p>
              <a:pPr marL="5776">
                <a:spcBef>
                  <a:spcPts val="50"/>
                </a:spcBef>
              </a:pPr>
              <a:r>
                <a:rPr lang="fr-FR" sz="1000" b="1" spc="2" dirty="0">
                  <a:latin typeface="Helvetica Neue" panose="02000503000000020004" pitchFamily="2" charset="0"/>
                  <a:ea typeface="Helvetica Neue" panose="02000503000000020004" pitchFamily="2" charset="0"/>
                  <a:cs typeface="Helvetica Neue" panose="02000503000000020004" pitchFamily="2" charset="0"/>
                </a:rPr>
                <a:t>UK</a:t>
              </a:r>
              <a:endParaRPr lang="fr-FR" sz="1000" spc="2" dirty="0">
                <a:latin typeface="Helvetica Neue"/>
                <a:cs typeface="Helvetica Neue"/>
              </a:endParaRPr>
            </a:p>
            <a:p>
              <a:pPr marL="5776">
                <a:spcBef>
                  <a:spcPts val="50"/>
                </a:spcBef>
              </a:pPr>
              <a:r>
                <a:rPr sz="1000" spc="2" dirty="0">
                  <a:latin typeface="Helvetica Neue"/>
                  <a:cs typeface="Helvetica Neue"/>
                </a:rPr>
                <a:t>N =</a:t>
              </a:r>
              <a:r>
                <a:rPr sz="1000" spc="-39" dirty="0">
                  <a:latin typeface="Helvetica Neue"/>
                  <a:cs typeface="Helvetica Neue"/>
                </a:rPr>
                <a:t> </a:t>
              </a:r>
              <a:r>
                <a:rPr lang="fr-FR" sz="1000" spc="2" dirty="0">
                  <a:latin typeface="Helvetica Neue"/>
                  <a:cs typeface="Helvetica Neue"/>
                </a:rPr>
                <a:t>1</a:t>
              </a:r>
              <a:r>
                <a:rPr sz="1000" spc="2" dirty="0">
                  <a:latin typeface="Helvetica Neue"/>
                  <a:cs typeface="Helvetica Neue"/>
                </a:rPr>
                <a:t>0</a:t>
              </a:r>
              <a:r>
                <a:rPr lang="fr-FR" sz="1000" spc="2" dirty="0">
                  <a:latin typeface="Helvetica Neue"/>
                  <a:cs typeface="Helvetica Neue"/>
                </a:rPr>
                <a:t>0</a:t>
              </a:r>
              <a:r>
                <a:rPr sz="1000" spc="2" dirty="0">
                  <a:latin typeface="Helvetica Neue"/>
                  <a:cs typeface="Helvetica Neue"/>
                </a:rPr>
                <a:t>5</a:t>
              </a:r>
              <a:endParaRPr sz="1000" dirty="0">
                <a:latin typeface="Helvetica Neue"/>
                <a:cs typeface="Helvetica Neue"/>
              </a:endParaRPr>
            </a:p>
          </p:txBody>
        </p:sp>
        <p:sp>
          <p:nvSpPr>
            <p:cNvPr id="66" name="object 14">
              <a:extLst>
                <a:ext uri="{FF2B5EF4-FFF2-40B4-BE49-F238E27FC236}">
                  <a16:creationId xmlns:a16="http://schemas.microsoft.com/office/drawing/2014/main" id="{190ECDC9-7111-6944-B90F-AE47C9037849}"/>
                </a:ext>
              </a:extLst>
            </p:cNvPr>
            <p:cNvSpPr txBox="1"/>
            <p:nvPr/>
          </p:nvSpPr>
          <p:spPr>
            <a:xfrm>
              <a:off x="15195008" y="4856109"/>
              <a:ext cx="1032439" cy="1401711"/>
            </a:xfrm>
            <a:prstGeom prst="rect">
              <a:avLst/>
            </a:prstGeom>
          </p:spPr>
          <p:txBody>
            <a:bodyPr vert="horz" wrap="square" lIns="0" tIns="13970" rIns="0" bIns="0" rtlCol="0">
              <a:spAutoFit/>
            </a:bodyPr>
            <a:lstStyle/>
            <a:p>
              <a:pPr marL="5776">
                <a:spcBef>
                  <a:spcPts val="50"/>
                </a:spcBef>
              </a:pPr>
              <a:r>
                <a:rPr lang="fr-FR" sz="1000" b="1" spc="2" dirty="0">
                  <a:latin typeface="Helvetica Neue" panose="02000503000000020004" pitchFamily="2" charset="0"/>
                  <a:ea typeface="Helvetica Neue" panose="02000503000000020004" pitchFamily="2" charset="0"/>
                  <a:cs typeface="Helvetica Neue" panose="02000503000000020004" pitchFamily="2" charset="0"/>
                </a:rPr>
                <a:t>Suède</a:t>
              </a:r>
              <a:endParaRPr lang="fr-FR" sz="1000" spc="2" dirty="0">
                <a:latin typeface="Helvetica Neue"/>
                <a:cs typeface="Helvetica Neue"/>
              </a:endParaRPr>
            </a:p>
            <a:p>
              <a:pPr marL="5776">
                <a:spcBef>
                  <a:spcPts val="50"/>
                </a:spcBef>
              </a:pPr>
              <a:r>
                <a:rPr sz="1000" spc="2" dirty="0">
                  <a:latin typeface="Helvetica Neue"/>
                  <a:cs typeface="Helvetica Neue"/>
                </a:rPr>
                <a:t>N =</a:t>
              </a:r>
              <a:r>
                <a:rPr sz="1000" spc="-39" dirty="0">
                  <a:latin typeface="Helvetica Neue"/>
                  <a:cs typeface="Helvetica Neue"/>
                </a:rPr>
                <a:t> </a:t>
              </a:r>
              <a:r>
                <a:rPr sz="1000" spc="2" dirty="0">
                  <a:latin typeface="Helvetica Neue"/>
                  <a:cs typeface="Helvetica Neue"/>
                </a:rPr>
                <a:t>1007</a:t>
              </a:r>
              <a:endParaRPr sz="1000" dirty="0">
                <a:latin typeface="Helvetica Neue"/>
                <a:cs typeface="Helvetica Neue"/>
              </a:endParaRPr>
            </a:p>
          </p:txBody>
        </p:sp>
        <p:sp>
          <p:nvSpPr>
            <p:cNvPr id="67" name="object 15">
              <a:extLst>
                <a:ext uri="{FF2B5EF4-FFF2-40B4-BE49-F238E27FC236}">
                  <a16:creationId xmlns:a16="http://schemas.microsoft.com/office/drawing/2014/main" id="{17444945-E050-C24B-B14D-08D506D23B42}"/>
                </a:ext>
              </a:extLst>
            </p:cNvPr>
            <p:cNvSpPr txBox="1"/>
            <p:nvPr/>
          </p:nvSpPr>
          <p:spPr>
            <a:xfrm>
              <a:off x="17543965" y="4856109"/>
              <a:ext cx="1169995" cy="2046174"/>
            </a:xfrm>
            <a:prstGeom prst="rect">
              <a:avLst/>
            </a:prstGeom>
          </p:spPr>
          <p:txBody>
            <a:bodyPr vert="horz" wrap="square" lIns="0" tIns="13970" rIns="0" bIns="0" rtlCol="0">
              <a:spAutoFit/>
            </a:bodyPr>
            <a:lstStyle/>
            <a:p>
              <a:pPr marL="5776">
                <a:spcBef>
                  <a:spcPts val="50"/>
                </a:spcBef>
              </a:pPr>
              <a:r>
                <a:rPr lang="fr-FR" sz="1000" b="1" spc="2" dirty="0">
                  <a:latin typeface="Helvetica Neue" panose="02000503000000020004" pitchFamily="2" charset="0"/>
                  <a:ea typeface="Helvetica Neue" panose="02000503000000020004" pitchFamily="2" charset="0"/>
                  <a:cs typeface="Helvetica Neue" panose="02000503000000020004" pitchFamily="2" charset="0"/>
                </a:rPr>
                <a:t>Roumanie</a:t>
              </a:r>
              <a:endParaRPr lang="fr-FR" sz="1000" spc="2" dirty="0">
                <a:latin typeface="Helvetica Neue"/>
                <a:cs typeface="Helvetica Neue"/>
              </a:endParaRPr>
            </a:p>
            <a:p>
              <a:pPr marL="5776">
                <a:spcBef>
                  <a:spcPts val="50"/>
                </a:spcBef>
              </a:pPr>
              <a:r>
                <a:rPr sz="1000" spc="2" dirty="0">
                  <a:latin typeface="Helvetica Neue"/>
                  <a:cs typeface="Helvetica Neue"/>
                </a:rPr>
                <a:t>N =</a:t>
              </a:r>
              <a:r>
                <a:rPr sz="1000" spc="-39" dirty="0">
                  <a:latin typeface="Helvetica Neue"/>
                  <a:cs typeface="Helvetica Neue"/>
                </a:rPr>
                <a:t> </a:t>
              </a:r>
              <a:r>
                <a:rPr sz="1000" spc="2" dirty="0">
                  <a:latin typeface="Helvetica Neue"/>
                  <a:cs typeface="Helvetica Neue"/>
                </a:rPr>
                <a:t>1003</a:t>
              </a:r>
              <a:endParaRPr sz="1000" dirty="0">
                <a:latin typeface="Helvetica Neue"/>
                <a:cs typeface="Helvetica Neue"/>
              </a:endParaRPr>
            </a:p>
          </p:txBody>
        </p:sp>
        <p:sp>
          <p:nvSpPr>
            <p:cNvPr id="68" name="object 16">
              <a:extLst>
                <a:ext uri="{FF2B5EF4-FFF2-40B4-BE49-F238E27FC236}">
                  <a16:creationId xmlns:a16="http://schemas.microsoft.com/office/drawing/2014/main" id="{5FF9AB2F-EE21-1847-BB08-CCA3DF8D90E8}"/>
                </a:ext>
              </a:extLst>
            </p:cNvPr>
            <p:cNvSpPr/>
            <p:nvPr/>
          </p:nvSpPr>
          <p:spPr>
            <a:xfrm>
              <a:off x="8698127" y="4130111"/>
              <a:ext cx="222250" cy="633095"/>
            </a:xfrm>
            <a:custGeom>
              <a:avLst/>
              <a:gdLst/>
              <a:ahLst/>
              <a:cxnLst/>
              <a:rect l="l" t="t" r="r" b="b"/>
              <a:pathLst>
                <a:path w="222250" h="633095">
                  <a:moveTo>
                    <a:pt x="0" y="0"/>
                  </a:moveTo>
                  <a:lnTo>
                    <a:pt x="0" y="632902"/>
                  </a:lnTo>
                  <a:lnTo>
                    <a:pt x="41699" y="614455"/>
                  </a:lnTo>
                  <a:lnTo>
                    <a:pt x="80213" y="590779"/>
                  </a:lnTo>
                  <a:lnTo>
                    <a:pt x="115082" y="562323"/>
                  </a:lnTo>
                  <a:lnTo>
                    <a:pt x="145845" y="529539"/>
                  </a:lnTo>
                  <a:lnTo>
                    <a:pt x="172045" y="492877"/>
                  </a:lnTo>
                  <a:lnTo>
                    <a:pt x="193222" y="452786"/>
                  </a:lnTo>
                  <a:lnTo>
                    <a:pt x="208917" y="409718"/>
                  </a:lnTo>
                  <a:lnTo>
                    <a:pt x="218671" y="364123"/>
                  </a:lnTo>
                  <a:lnTo>
                    <a:pt x="222024" y="316451"/>
                  </a:lnTo>
                  <a:lnTo>
                    <a:pt x="218671" y="268778"/>
                  </a:lnTo>
                  <a:lnTo>
                    <a:pt x="208917" y="223183"/>
                  </a:lnTo>
                  <a:lnTo>
                    <a:pt x="193222" y="180115"/>
                  </a:lnTo>
                  <a:lnTo>
                    <a:pt x="172045" y="140025"/>
                  </a:lnTo>
                  <a:lnTo>
                    <a:pt x="145845" y="103362"/>
                  </a:lnTo>
                  <a:lnTo>
                    <a:pt x="115082" y="70578"/>
                  </a:lnTo>
                  <a:lnTo>
                    <a:pt x="80213" y="42123"/>
                  </a:lnTo>
                  <a:lnTo>
                    <a:pt x="41699" y="18446"/>
                  </a:lnTo>
                  <a:lnTo>
                    <a:pt x="0" y="0"/>
                  </a:lnTo>
                  <a:close/>
                </a:path>
              </a:pathLst>
            </a:custGeom>
            <a:solidFill>
              <a:srgbClr val="C60E33"/>
            </a:solidFill>
          </p:spPr>
          <p:txBody>
            <a:bodyPr wrap="square" lIns="0" tIns="0" rIns="0" bIns="0" rtlCol="0"/>
            <a:lstStyle/>
            <a:p>
              <a:endParaRPr sz="1000"/>
            </a:p>
          </p:txBody>
        </p:sp>
        <p:sp>
          <p:nvSpPr>
            <p:cNvPr id="69" name="object 17">
              <a:extLst>
                <a:ext uri="{FF2B5EF4-FFF2-40B4-BE49-F238E27FC236}">
                  <a16:creationId xmlns:a16="http://schemas.microsoft.com/office/drawing/2014/main" id="{CC1D5CD7-976D-6F4C-8ADD-4EC1EC970380}"/>
                </a:ext>
              </a:extLst>
            </p:cNvPr>
            <p:cNvSpPr/>
            <p:nvPr/>
          </p:nvSpPr>
          <p:spPr>
            <a:xfrm>
              <a:off x="8246139" y="4130111"/>
              <a:ext cx="222250" cy="633095"/>
            </a:xfrm>
            <a:custGeom>
              <a:avLst/>
              <a:gdLst/>
              <a:ahLst/>
              <a:cxnLst/>
              <a:rect l="l" t="t" r="r" b="b"/>
              <a:pathLst>
                <a:path w="222250" h="633095">
                  <a:moveTo>
                    <a:pt x="222024" y="0"/>
                  </a:moveTo>
                  <a:lnTo>
                    <a:pt x="180327" y="18446"/>
                  </a:lnTo>
                  <a:lnTo>
                    <a:pt x="141815" y="42123"/>
                  </a:lnTo>
                  <a:lnTo>
                    <a:pt x="106947" y="70578"/>
                  </a:lnTo>
                  <a:lnTo>
                    <a:pt x="76183" y="103362"/>
                  </a:lnTo>
                  <a:lnTo>
                    <a:pt x="49982" y="140025"/>
                  </a:lnTo>
                  <a:lnTo>
                    <a:pt x="28804" y="180115"/>
                  </a:lnTo>
                  <a:lnTo>
                    <a:pt x="13108" y="223183"/>
                  </a:lnTo>
                  <a:lnTo>
                    <a:pt x="3353" y="268778"/>
                  </a:lnTo>
                  <a:lnTo>
                    <a:pt x="0" y="316451"/>
                  </a:lnTo>
                  <a:lnTo>
                    <a:pt x="3353" y="364123"/>
                  </a:lnTo>
                  <a:lnTo>
                    <a:pt x="13108" y="409718"/>
                  </a:lnTo>
                  <a:lnTo>
                    <a:pt x="28804" y="452786"/>
                  </a:lnTo>
                  <a:lnTo>
                    <a:pt x="49982" y="492877"/>
                  </a:lnTo>
                  <a:lnTo>
                    <a:pt x="76183" y="529539"/>
                  </a:lnTo>
                  <a:lnTo>
                    <a:pt x="106947" y="562323"/>
                  </a:lnTo>
                  <a:lnTo>
                    <a:pt x="141815" y="590779"/>
                  </a:lnTo>
                  <a:lnTo>
                    <a:pt x="180327" y="614455"/>
                  </a:lnTo>
                  <a:lnTo>
                    <a:pt x="222024" y="632902"/>
                  </a:lnTo>
                  <a:lnTo>
                    <a:pt x="222024" y="0"/>
                  </a:lnTo>
                  <a:close/>
                </a:path>
              </a:pathLst>
            </a:custGeom>
            <a:solidFill>
              <a:srgbClr val="354083"/>
            </a:solidFill>
          </p:spPr>
          <p:txBody>
            <a:bodyPr wrap="square" lIns="0" tIns="0" rIns="0" bIns="0" rtlCol="0"/>
            <a:lstStyle/>
            <a:p>
              <a:endParaRPr sz="1000"/>
            </a:p>
          </p:txBody>
        </p:sp>
        <p:sp>
          <p:nvSpPr>
            <p:cNvPr id="70" name="object 18">
              <a:extLst>
                <a:ext uri="{FF2B5EF4-FFF2-40B4-BE49-F238E27FC236}">
                  <a16:creationId xmlns:a16="http://schemas.microsoft.com/office/drawing/2014/main" id="{BA7D0BC0-C344-904C-9031-50A67BD52A0E}"/>
                </a:ext>
              </a:extLst>
            </p:cNvPr>
            <p:cNvSpPr/>
            <p:nvPr/>
          </p:nvSpPr>
          <p:spPr>
            <a:xfrm>
              <a:off x="8468165" y="4109555"/>
              <a:ext cx="230504" cy="674370"/>
            </a:xfrm>
            <a:custGeom>
              <a:avLst/>
              <a:gdLst/>
              <a:ahLst/>
              <a:cxnLst/>
              <a:rect l="l" t="t" r="r" b="b"/>
              <a:pathLst>
                <a:path w="230504" h="674370">
                  <a:moveTo>
                    <a:pt x="114980" y="0"/>
                  </a:moveTo>
                  <a:lnTo>
                    <a:pt x="85004" y="1375"/>
                  </a:lnTo>
                  <a:lnTo>
                    <a:pt x="55798" y="5380"/>
                  </a:lnTo>
                  <a:lnTo>
                    <a:pt x="27438" y="11834"/>
                  </a:lnTo>
                  <a:lnTo>
                    <a:pt x="0" y="20554"/>
                  </a:lnTo>
                  <a:lnTo>
                    <a:pt x="0" y="653456"/>
                  </a:lnTo>
                  <a:lnTo>
                    <a:pt x="27438" y="662182"/>
                  </a:lnTo>
                  <a:lnTo>
                    <a:pt x="55798" y="668639"/>
                  </a:lnTo>
                  <a:lnTo>
                    <a:pt x="85004" y="672645"/>
                  </a:lnTo>
                  <a:lnTo>
                    <a:pt x="114980" y="674021"/>
                  </a:lnTo>
                  <a:lnTo>
                    <a:pt x="144957" y="672645"/>
                  </a:lnTo>
                  <a:lnTo>
                    <a:pt x="174163" y="668639"/>
                  </a:lnTo>
                  <a:lnTo>
                    <a:pt x="202523" y="662182"/>
                  </a:lnTo>
                  <a:lnTo>
                    <a:pt x="229961" y="653456"/>
                  </a:lnTo>
                  <a:lnTo>
                    <a:pt x="229961" y="20554"/>
                  </a:lnTo>
                  <a:lnTo>
                    <a:pt x="202523" y="11834"/>
                  </a:lnTo>
                  <a:lnTo>
                    <a:pt x="174163" y="5380"/>
                  </a:lnTo>
                  <a:lnTo>
                    <a:pt x="144957" y="1375"/>
                  </a:lnTo>
                  <a:lnTo>
                    <a:pt x="114980" y="0"/>
                  </a:lnTo>
                  <a:close/>
                </a:path>
              </a:pathLst>
            </a:custGeom>
            <a:solidFill>
              <a:srgbClr val="FFFFFF"/>
            </a:solidFill>
          </p:spPr>
          <p:txBody>
            <a:bodyPr wrap="square" lIns="0" tIns="0" rIns="0" bIns="0" rtlCol="0"/>
            <a:lstStyle/>
            <a:p>
              <a:endParaRPr sz="1000"/>
            </a:p>
          </p:txBody>
        </p:sp>
        <p:sp>
          <p:nvSpPr>
            <p:cNvPr id="71" name="object 19">
              <a:extLst>
                <a:ext uri="{FF2B5EF4-FFF2-40B4-BE49-F238E27FC236}">
                  <a16:creationId xmlns:a16="http://schemas.microsoft.com/office/drawing/2014/main" id="{A8EECD22-FAF3-514D-9CD3-FD54BADC9ADF}"/>
                </a:ext>
              </a:extLst>
            </p:cNvPr>
            <p:cNvSpPr/>
            <p:nvPr/>
          </p:nvSpPr>
          <p:spPr>
            <a:xfrm>
              <a:off x="10511303" y="4109560"/>
              <a:ext cx="672031" cy="672031"/>
            </a:xfrm>
            <a:prstGeom prst="rect">
              <a:avLst/>
            </a:prstGeom>
            <a:blipFill>
              <a:blip r:embed="rId4" cstate="print"/>
              <a:stretch>
                <a:fillRect/>
              </a:stretch>
            </a:blipFill>
          </p:spPr>
          <p:txBody>
            <a:bodyPr wrap="square" lIns="0" tIns="0" rIns="0" bIns="0" rtlCol="0"/>
            <a:lstStyle/>
            <a:p>
              <a:endParaRPr sz="1000"/>
            </a:p>
          </p:txBody>
        </p:sp>
        <p:sp>
          <p:nvSpPr>
            <p:cNvPr id="72" name="object 20">
              <a:extLst>
                <a:ext uri="{FF2B5EF4-FFF2-40B4-BE49-F238E27FC236}">
                  <a16:creationId xmlns:a16="http://schemas.microsoft.com/office/drawing/2014/main" id="{9D3C8BA2-DA41-864B-9F6E-E7A04CAB7AF8}"/>
                </a:ext>
              </a:extLst>
            </p:cNvPr>
            <p:cNvSpPr/>
            <p:nvPr/>
          </p:nvSpPr>
          <p:spPr>
            <a:xfrm>
              <a:off x="12868121" y="4104838"/>
              <a:ext cx="676910" cy="676910"/>
            </a:xfrm>
            <a:custGeom>
              <a:avLst/>
              <a:gdLst/>
              <a:ahLst/>
              <a:cxnLst/>
              <a:rect l="l" t="t" r="r" b="b"/>
              <a:pathLst>
                <a:path w="676909" h="676910">
                  <a:moveTo>
                    <a:pt x="384283" y="3088"/>
                  </a:moveTo>
                  <a:lnTo>
                    <a:pt x="292450" y="3088"/>
                  </a:lnTo>
                  <a:lnTo>
                    <a:pt x="248412" y="12086"/>
                  </a:lnTo>
                  <a:lnTo>
                    <a:pt x="206655" y="26590"/>
                  </a:lnTo>
                  <a:lnTo>
                    <a:pt x="167582" y="46197"/>
                  </a:lnTo>
                  <a:lnTo>
                    <a:pt x="131596" y="70503"/>
                  </a:lnTo>
                  <a:lnTo>
                    <a:pt x="99101" y="99106"/>
                  </a:lnTo>
                  <a:lnTo>
                    <a:pt x="70500" y="131603"/>
                  </a:lnTo>
                  <a:lnTo>
                    <a:pt x="46194" y="167590"/>
                  </a:lnTo>
                  <a:lnTo>
                    <a:pt x="26589" y="206663"/>
                  </a:lnTo>
                  <a:lnTo>
                    <a:pt x="12086" y="248421"/>
                  </a:lnTo>
                  <a:lnTo>
                    <a:pt x="3088" y="292460"/>
                  </a:lnTo>
                  <a:lnTo>
                    <a:pt x="0" y="338377"/>
                  </a:lnTo>
                  <a:lnTo>
                    <a:pt x="3088" y="384291"/>
                  </a:lnTo>
                  <a:lnTo>
                    <a:pt x="12086" y="428328"/>
                  </a:lnTo>
                  <a:lnTo>
                    <a:pt x="26589" y="470085"/>
                  </a:lnTo>
                  <a:lnTo>
                    <a:pt x="46194" y="509159"/>
                  </a:lnTo>
                  <a:lnTo>
                    <a:pt x="70500" y="545146"/>
                  </a:lnTo>
                  <a:lnTo>
                    <a:pt x="99101" y="577643"/>
                  </a:lnTo>
                  <a:lnTo>
                    <a:pt x="131596" y="606247"/>
                  </a:lnTo>
                  <a:lnTo>
                    <a:pt x="167582" y="630554"/>
                  </a:lnTo>
                  <a:lnTo>
                    <a:pt x="206655" y="650161"/>
                  </a:lnTo>
                  <a:lnTo>
                    <a:pt x="248412" y="664666"/>
                  </a:lnTo>
                  <a:lnTo>
                    <a:pt x="292450" y="673665"/>
                  </a:lnTo>
                  <a:lnTo>
                    <a:pt x="337121" y="676670"/>
                  </a:lnTo>
                  <a:lnTo>
                    <a:pt x="339611" y="676670"/>
                  </a:lnTo>
                  <a:lnTo>
                    <a:pt x="384283" y="673665"/>
                  </a:lnTo>
                  <a:lnTo>
                    <a:pt x="428322" y="664666"/>
                  </a:lnTo>
                  <a:lnTo>
                    <a:pt x="470079" y="650161"/>
                  </a:lnTo>
                  <a:lnTo>
                    <a:pt x="509153" y="630554"/>
                  </a:lnTo>
                  <a:lnTo>
                    <a:pt x="545140" y="606247"/>
                  </a:lnTo>
                  <a:lnTo>
                    <a:pt x="577636" y="577643"/>
                  </a:lnTo>
                  <a:lnTo>
                    <a:pt x="606239" y="545146"/>
                  </a:lnTo>
                  <a:lnTo>
                    <a:pt x="630546" y="509159"/>
                  </a:lnTo>
                  <a:lnTo>
                    <a:pt x="650152" y="470085"/>
                  </a:lnTo>
                  <a:lnTo>
                    <a:pt x="664656" y="428328"/>
                  </a:lnTo>
                  <a:lnTo>
                    <a:pt x="673654" y="384291"/>
                  </a:lnTo>
                  <a:lnTo>
                    <a:pt x="676743" y="338377"/>
                  </a:lnTo>
                  <a:lnTo>
                    <a:pt x="673654" y="292460"/>
                  </a:lnTo>
                  <a:lnTo>
                    <a:pt x="664656" y="248421"/>
                  </a:lnTo>
                  <a:lnTo>
                    <a:pt x="650152" y="206663"/>
                  </a:lnTo>
                  <a:lnTo>
                    <a:pt x="630546" y="167590"/>
                  </a:lnTo>
                  <a:lnTo>
                    <a:pt x="606239" y="131603"/>
                  </a:lnTo>
                  <a:lnTo>
                    <a:pt x="577636" y="99106"/>
                  </a:lnTo>
                  <a:lnTo>
                    <a:pt x="545140" y="70503"/>
                  </a:lnTo>
                  <a:lnTo>
                    <a:pt x="509153" y="46197"/>
                  </a:lnTo>
                  <a:lnTo>
                    <a:pt x="470079" y="26590"/>
                  </a:lnTo>
                  <a:lnTo>
                    <a:pt x="428322" y="12086"/>
                  </a:lnTo>
                  <a:lnTo>
                    <a:pt x="384283" y="3088"/>
                  </a:lnTo>
                  <a:close/>
                </a:path>
                <a:path w="676909" h="676910">
                  <a:moveTo>
                    <a:pt x="338366" y="0"/>
                  </a:moveTo>
                  <a:lnTo>
                    <a:pt x="292450" y="3088"/>
                  </a:lnTo>
                  <a:lnTo>
                    <a:pt x="384283" y="3088"/>
                  </a:lnTo>
                  <a:lnTo>
                    <a:pt x="338366" y="0"/>
                  </a:lnTo>
                  <a:close/>
                </a:path>
              </a:pathLst>
            </a:custGeom>
            <a:solidFill>
              <a:srgbClr val="FFFFFF"/>
            </a:solidFill>
          </p:spPr>
          <p:txBody>
            <a:bodyPr wrap="square" lIns="0" tIns="0" rIns="0" bIns="0" rtlCol="0"/>
            <a:lstStyle/>
            <a:p>
              <a:endParaRPr sz="1000"/>
            </a:p>
          </p:txBody>
        </p:sp>
        <p:sp>
          <p:nvSpPr>
            <p:cNvPr id="73" name="object 21">
              <a:extLst>
                <a:ext uri="{FF2B5EF4-FFF2-40B4-BE49-F238E27FC236}">
                  <a16:creationId xmlns:a16="http://schemas.microsoft.com/office/drawing/2014/main" id="{BED7E052-49DF-0E45-95F2-9742157D7B5B}"/>
                </a:ext>
              </a:extLst>
            </p:cNvPr>
            <p:cNvSpPr/>
            <p:nvPr/>
          </p:nvSpPr>
          <p:spPr>
            <a:xfrm>
              <a:off x="12868121" y="4104840"/>
              <a:ext cx="676910" cy="676910"/>
            </a:xfrm>
            <a:custGeom>
              <a:avLst/>
              <a:gdLst/>
              <a:ahLst/>
              <a:cxnLst/>
              <a:rect l="l" t="t" r="r" b="b"/>
              <a:pathLst>
                <a:path w="676909" h="676910">
                  <a:moveTo>
                    <a:pt x="405660" y="405799"/>
                  </a:moveTo>
                  <a:lnTo>
                    <a:pt x="270366" y="405799"/>
                  </a:lnTo>
                  <a:lnTo>
                    <a:pt x="270366" y="669151"/>
                  </a:lnTo>
                  <a:lnTo>
                    <a:pt x="292450" y="673663"/>
                  </a:lnTo>
                  <a:lnTo>
                    <a:pt x="337146" y="676670"/>
                  </a:lnTo>
                  <a:lnTo>
                    <a:pt x="339586" y="676670"/>
                  </a:lnTo>
                  <a:lnTo>
                    <a:pt x="384283" y="673663"/>
                  </a:lnTo>
                  <a:lnTo>
                    <a:pt x="405660" y="669295"/>
                  </a:lnTo>
                  <a:lnTo>
                    <a:pt x="405660" y="405799"/>
                  </a:lnTo>
                  <a:close/>
                </a:path>
                <a:path w="676909" h="676910">
                  <a:moveTo>
                    <a:pt x="669171" y="270515"/>
                  </a:moveTo>
                  <a:lnTo>
                    <a:pt x="7571" y="270515"/>
                  </a:lnTo>
                  <a:lnTo>
                    <a:pt x="3088" y="292458"/>
                  </a:lnTo>
                  <a:lnTo>
                    <a:pt x="0" y="338375"/>
                  </a:lnTo>
                  <a:lnTo>
                    <a:pt x="3088" y="384289"/>
                  </a:lnTo>
                  <a:lnTo>
                    <a:pt x="7483" y="405799"/>
                  </a:lnTo>
                  <a:lnTo>
                    <a:pt x="669259" y="405799"/>
                  </a:lnTo>
                  <a:lnTo>
                    <a:pt x="673654" y="384289"/>
                  </a:lnTo>
                  <a:lnTo>
                    <a:pt x="676743" y="338375"/>
                  </a:lnTo>
                  <a:lnTo>
                    <a:pt x="673654" y="292458"/>
                  </a:lnTo>
                  <a:lnTo>
                    <a:pt x="669171" y="270515"/>
                  </a:lnTo>
                  <a:close/>
                </a:path>
                <a:path w="676909" h="676910">
                  <a:moveTo>
                    <a:pt x="384283" y="3087"/>
                  </a:moveTo>
                  <a:lnTo>
                    <a:pt x="292450" y="3087"/>
                  </a:lnTo>
                  <a:lnTo>
                    <a:pt x="270366" y="7599"/>
                  </a:lnTo>
                  <a:lnTo>
                    <a:pt x="270366" y="270515"/>
                  </a:lnTo>
                  <a:lnTo>
                    <a:pt x="405660" y="270515"/>
                  </a:lnTo>
                  <a:lnTo>
                    <a:pt x="405660" y="7455"/>
                  </a:lnTo>
                  <a:lnTo>
                    <a:pt x="384283" y="3087"/>
                  </a:lnTo>
                  <a:close/>
                </a:path>
                <a:path w="676909" h="676910">
                  <a:moveTo>
                    <a:pt x="338391" y="0"/>
                  </a:moveTo>
                  <a:lnTo>
                    <a:pt x="292450" y="3087"/>
                  </a:lnTo>
                  <a:lnTo>
                    <a:pt x="384283" y="3087"/>
                  </a:lnTo>
                  <a:lnTo>
                    <a:pt x="338391" y="0"/>
                  </a:lnTo>
                  <a:close/>
                </a:path>
              </a:pathLst>
            </a:custGeom>
            <a:solidFill>
              <a:srgbClr val="BE142B"/>
            </a:solidFill>
          </p:spPr>
          <p:txBody>
            <a:bodyPr wrap="square" lIns="0" tIns="0" rIns="0" bIns="0" rtlCol="0"/>
            <a:lstStyle/>
            <a:p>
              <a:endParaRPr sz="1000"/>
            </a:p>
          </p:txBody>
        </p:sp>
        <p:sp>
          <p:nvSpPr>
            <p:cNvPr id="74" name="object 22">
              <a:extLst>
                <a:ext uri="{FF2B5EF4-FFF2-40B4-BE49-F238E27FC236}">
                  <a16:creationId xmlns:a16="http://schemas.microsoft.com/office/drawing/2014/main" id="{5555CA41-AA00-8640-927B-6E3802386B58}"/>
                </a:ext>
              </a:extLst>
            </p:cNvPr>
            <p:cNvSpPr/>
            <p:nvPr/>
          </p:nvSpPr>
          <p:spPr>
            <a:xfrm>
              <a:off x="13318901" y="4124726"/>
              <a:ext cx="160655" cy="199390"/>
            </a:xfrm>
            <a:custGeom>
              <a:avLst/>
              <a:gdLst/>
              <a:ahLst/>
              <a:cxnLst/>
              <a:rect l="l" t="t" r="r" b="b"/>
              <a:pathLst>
                <a:path w="160655" h="199389">
                  <a:moveTo>
                    <a:pt x="0" y="0"/>
                  </a:moveTo>
                  <a:lnTo>
                    <a:pt x="0" y="199150"/>
                  </a:lnTo>
                  <a:lnTo>
                    <a:pt x="160351" y="118959"/>
                  </a:lnTo>
                  <a:lnTo>
                    <a:pt x="126856" y="79219"/>
                  </a:lnTo>
                  <a:lnTo>
                    <a:pt x="94359" y="50616"/>
                  </a:lnTo>
                  <a:lnTo>
                    <a:pt x="58373" y="26310"/>
                  </a:lnTo>
                  <a:lnTo>
                    <a:pt x="19299" y="6703"/>
                  </a:lnTo>
                  <a:lnTo>
                    <a:pt x="0" y="0"/>
                  </a:lnTo>
                  <a:close/>
                </a:path>
              </a:pathLst>
            </a:custGeom>
            <a:solidFill>
              <a:srgbClr val="24346C"/>
            </a:solidFill>
          </p:spPr>
          <p:txBody>
            <a:bodyPr wrap="square" lIns="0" tIns="0" rIns="0" bIns="0" rtlCol="0"/>
            <a:lstStyle/>
            <a:p>
              <a:endParaRPr sz="1000"/>
            </a:p>
          </p:txBody>
        </p:sp>
        <p:sp>
          <p:nvSpPr>
            <p:cNvPr id="75" name="object 23">
              <a:extLst>
                <a:ext uri="{FF2B5EF4-FFF2-40B4-BE49-F238E27FC236}">
                  <a16:creationId xmlns:a16="http://schemas.microsoft.com/office/drawing/2014/main" id="{69B1245F-D1AA-9842-8DFC-8074FE628771}"/>
                </a:ext>
              </a:extLst>
            </p:cNvPr>
            <p:cNvSpPr/>
            <p:nvPr/>
          </p:nvSpPr>
          <p:spPr>
            <a:xfrm>
              <a:off x="13318901" y="4562472"/>
              <a:ext cx="160655" cy="199390"/>
            </a:xfrm>
            <a:custGeom>
              <a:avLst/>
              <a:gdLst/>
              <a:ahLst/>
              <a:cxnLst/>
              <a:rect l="l" t="t" r="r" b="b"/>
              <a:pathLst>
                <a:path w="160655" h="199389">
                  <a:moveTo>
                    <a:pt x="0" y="0"/>
                  </a:moveTo>
                  <a:lnTo>
                    <a:pt x="0" y="199231"/>
                  </a:lnTo>
                  <a:lnTo>
                    <a:pt x="19299" y="192527"/>
                  </a:lnTo>
                  <a:lnTo>
                    <a:pt x="58373" y="172920"/>
                  </a:lnTo>
                  <a:lnTo>
                    <a:pt x="94359" y="148613"/>
                  </a:lnTo>
                  <a:lnTo>
                    <a:pt x="126856" y="120009"/>
                  </a:lnTo>
                  <a:lnTo>
                    <a:pt x="155459" y="87512"/>
                  </a:lnTo>
                  <a:lnTo>
                    <a:pt x="160391" y="80210"/>
                  </a:lnTo>
                  <a:lnTo>
                    <a:pt x="0" y="0"/>
                  </a:lnTo>
                  <a:close/>
                </a:path>
              </a:pathLst>
            </a:custGeom>
            <a:solidFill>
              <a:srgbClr val="24346C"/>
            </a:solidFill>
          </p:spPr>
          <p:txBody>
            <a:bodyPr wrap="square" lIns="0" tIns="0" rIns="0" bIns="0" rtlCol="0"/>
            <a:lstStyle/>
            <a:p>
              <a:endParaRPr sz="1000"/>
            </a:p>
          </p:txBody>
        </p:sp>
        <p:sp>
          <p:nvSpPr>
            <p:cNvPr id="76" name="object 24">
              <a:extLst>
                <a:ext uri="{FF2B5EF4-FFF2-40B4-BE49-F238E27FC236}">
                  <a16:creationId xmlns:a16="http://schemas.microsoft.com/office/drawing/2014/main" id="{37C167D1-29E0-2F4E-BE70-A72EC6A5B3EC}"/>
                </a:ext>
              </a:extLst>
            </p:cNvPr>
            <p:cNvSpPr/>
            <p:nvPr/>
          </p:nvSpPr>
          <p:spPr>
            <a:xfrm>
              <a:off x="12933511" y="4562472"/>
              <a:ext cx="160020" cy="199390"/>
            </a:xfrm>
            <a:custGeom>
              <a:avLst/>
              <a:gdLst/>
              <a:ahLst/>
              <a:cxnLst/>
              <a:rect l="l" t="t" r="r" b="b"/>
              <a:pathLst>
                <a:path w="160019" h="199389">
                  <a:moveTo>
                    <a:pt x="159861" y="0"/>
                  </a:moveTo>
                  <a:lnTo>
                    <a:pt x="0" y="79946"/>
                  </a:lnTo>
                  <a:lnTo>
                    <a:pt x="5110" y="87512"/>
                  </a:lnTo>
                  <a:lnTo>
                    <a:pt x="33711" y="120009"/>
                  </a:lnTo>
                  <a:lnTo>
                    <a:pt x="66206" y="148613"/>
                  </a:lnTo>
                  <a:lnTo>
                    <a:pt x="102192" y="172920"/>
                  </a:lnTo>
                  <a:lnTo>
                    <a:pt x="141265" y="192527"/>
                  </a:lnTo>
                  <a:lnTo>
                    <a:pt x="159861" y="198987"/>
                  </a:lnTo>
                  <a:lnTo>
                    <a:pt x="159861" y="0"/>
                  </a:lnTo>
                  <a:close/>
                </a:path>
              </a:pathLst>
            </a:custGeom>
            <a:solidFill>
              <a:srgbClr val="24346C"/>
            </a:solidFill>
          </p:spPr>
          <p:txBody>
            <a:bodyPr wrap="square" lIns="0" tIns="0" rIns="0" bIns="0" rtlCol="0"/>
            <a:lstStyle/>
            <a:p>
              <a:endParaRPr sz="1000"/>
            </a:p>
          </p:txBody>
        </p:sp>
        <p:sp>
          <p:nvSpPr>
            <p:cNvPr id="77" name="object 25">
              <a:extLst>
                <a:ext uri="{FF2B5EF4-FFF2-40B4-BE49-F238E27FC236}">
                  <a16:creationId xmlns:a16="http://schemas.microsoft.com/office/drawing/2014/main" id="{D663D8D5-981B-6C45-BABA-D48E8103E089}"/>
                </a:ext>
              </a:extLst>
            </p:cNvPr>
            <p:cNvSpPr/>
            <p:nvPr/>
          </p:nvSpPr>
          <p:spPr>
            <a:xfrm>
              <a:off x="12933550" y="4124970"/>
              <a:ext cx="160020" cy="199390"/>
            </a:xfrm>
            <a:custGeom>
              <a:avLst/>
              <a:gdLst/>
              <a:ahLst/>
              <a:cxnLst/>
              <a:rect l="l" t="t" r="r" b="b"/>
              <a:pathLst>
                <a:path w="160019" h="199389">
                  <a:moveTo>
                    <a:pt x="159822" y="0"/>
                  </a:moveTo>
                  <a:lnTo>
                    <a:pt x="102153" y="26066"/>
                  </a:lnTo>
                  <a:lnTo>
                    <a:pt x="66167" y="50372"/>
                  </a:lnTo>
                  <a:lnTo>
                    <a:pt x="33672" y="78975"/>
                  </a:lnTo>
                  <a:lnTo>
                    <a:pt x="5070" y="111471"/>
                  </a:lnTo>
                  <a:lnTo>
                    <a:pt x="0" y="118979"/>
                  </a:lnTo>
                  <a:lnTo>
                    <a:pt x="159822" y="198906"/>
                  </a:lnTo>
                  <a:lnTo>
                    <a:pt x="159822" y="0"/>
                  </a:lnTo>
                  <a:close/>
                </a:path>
              </a:pathLst>
            </a:custGeom>
            <a:solidFill>
              <a:srgbClr val="24346C"/>
            </a:solidFill>
          </p:spPr>
          <p:txBody>
            <a:bodyPr wrap="square" lIns="0" tIns="0" rIns="0" bIns="0" rtlCol="0"/>
            <a:lstStyle/>
            <a:p>
              <a:endParaRPr sz="1000"/>
            </a:p>
          </p:txBody>
        </p:sp>
        <p:sp>
          <p:nvSpPr>
            <p:cNvPr id="78" name="object 26">
              <a:extLst>
                <a:ext uri="{FF2B5EF4-FFF2-40B4-BE49-F238E27FC236}">
                  <a16:creationId xmlns:a16="http://schemas.microsoft.com/office/drawing/2014/main" id="{611C29A8-B58D-5348-BE24-A247801E1CB7}"/>
                </a:ext>
              </a:extLst>
            </p:cNvPr>
            <p:cNvSpPr/>
            <p:nvPr/>
          </p:nvSpPr>
          <p:spPr>
            <a:xfrm>
              <a:off x="13357178" y="4262773"/>
              <a:ext cx="151765" cy="67945"/>
            </a:xfrm>
            <a:custGeom>
              <a:avLst/>
              <a:gdLst/>
              <a:ahLst/>
              <a:cxnLst/>
              <a:rect l="l" t="t" r="r" b="b"/>
              <a:pathLst>
                <a:path w="151765" h="67945">
                  <a:moveTo>
                    <a:pt x="134967" y="0"/>
                  </a:moveTo>
                  <a:lnTo>
                    <a:pt x="0" y="67617"/>
                  </a:lnTo>
                  <a:lnTo>
                    <a:pt x="75139" y="67617"/>
                  </a:lnTo>
                  <a:lnTo>
                    <a:pt x="151425" y="29458"/>
                  </a:lnTo>
                  <a:lnTo>
                    <a:pt x="141488" y="9655"/>
                  </a:lnTo>
                  <a:lnTo>
                    <a:pt x="134967" y="0"/>
                  </a:lnTo>
                  <a:close/>
                </a:path>
              </a:pathLst>
            </a:custGeom>
            <a:solidFill>
              <a:srgbClr val="BE142B"/>
            </a:solidFill>
          </p:spPr>
          <p:txBody>
            <a:bodyPr wrap="square" lIns="0" tIns="0" rIns="0" bIns="0" rtlCol="0"/>
            <a:lstStyle/>
            <a:p>
              <a:endParaRPr sz="1000"/>
            </a:p>
          </p:txBody>
        </p:sp>
        <p:sp>
          <p:nvSpPr>
            <p:cNvPr id="79" name="object 27">
              <a:extLst>
                <a:ext uri="{FF2B5EF4-FFF2-40B4-BE49-F238E27FC236}">
                  <a16:creationId xmlns:a16="http://schemas.microsoft.com/office/drawing/2014/main" id="{5DA984F6-B2B3-4F47-93CC-FA21300DA74D}"/>
                </a:ext>
              </a:extLst>
            </p:cNvPr>
            <p:cNvSpPr/>
            <p:nvPr/>
          </p:nvSpPr>
          <p:spPr>
            <a:xfrm>
              <a:off x="12904224" y="4555949"/>
              <a:ext cx="151765" cy="67945"/>
            </a:xfrm>
            <a:custGeom>
              <a:avLst/>
              <a:gdLst/>
              <a:ahLst/>
              <a:cxnLst/>
              <a:rect l="l" t="t" r="r" b="b"/>
              <a:pathLst>
                <a:path w="151765" h="67945">
                  <a:moveTo>
                    <a:pt x="151577" y="0"/>
                  </a:moveTo>
                  <a:lnTo>
                    <a:pt x="75725" y="0"/>
                  </a:lnTo>
                  <a:lnTo>
                    <a:pt x="0" y="37938"/>
                  </a:lnTo>
                  <a:lnTo>
                    <a:pt x="10090" y="58048"/>
                  </a:lnTo>
                  <a:lnTo>
                    <a:pt x="16513" y="67558"/>
                  </a:lnTo>
                  <a:lnTo>
                    <a:pt x="151577" y="0"/>
                  </a:lnTo>
                  <a:close/>
                </a:path>
              </a:pathLst>
            </a:custGeom>
            <a:solidFill>
              <a:srgbClr val="BE142B"/>
            </a:solidFill>
          </p:spPr>
          <p:txBody>
            <a:bodyPr wrap="square" lIns="0" tIns="0" rIns="0" bIns="0" rtlCol="0"/>
            <a:lstStyle/>
            <a:p>
              <a:endParaRPr sz="1000"/>
            </a:p>
          </p:txBody>
        </p:sp>
        <p:sp>
          <p:nvSpPr>
            <p:cNvPr id="80" name="object 28">
              <a:extLst>
                <a:ext uri="{FF2B5EF4-FFF2-40B4-BE49-F238E27FC236}">
                  <a16:creationId xmlns:a16="http://schemas.microsoft.com/office/drawing/2014/main" id="{CD9A3F61-EFBB-1D47-93A0-A97FB4CDC99B}"/>
                </a:ext>
              </a:extLst>
            </p:cNvPr>
            <p:cNvSpPr/>
            <p:nvPr/>
          </p:nvSpPr>
          <p:spPr>
            <a:xfrm>
              <a:off x="12890653" y="4292384"/>
              <a:ext cx="90170" cy="38735"/>
            </a:xfrm>
            <a:custGeom>
              <a:avLst/>
              <a:gdLst/>
              <a:ahLst/>
              <a:cxnLst/>
              <a:rect l="l" t="t" r="r" b="b"/>
              <a:pathLst>
                <a:path w="90170" h="38735">
                  <a:moveTo>
                    <a:pt x="13649" y="0"/>
                  </a:moveTo>
                  <a:lnTo>
                    <a:pt x="4056" y="19117"/>
                  </a:lnTo>
                  <a:lnTo>
                    <a:pt x="0" y="30797"/>
                  </a:lnTo>
                  <a:lnTo>
                    <a:pt x="14759" y="38179"/>
                  </a:lnTo>
                  <a:lnTo>
                    <a:pt x="89898" y="38179"/>
                  </a:lnTo>
                  <a:lnTo>
                    <a:pt x="13649" y="0"/>
                  </a:lnTo>
                  <a:close/>
                </a:path>
              </a:pathLst>
            </a:custGeom>
            <a:solidFill>
              <a:srgbClr val="BE142B"/>
            </a:solidFill>
          </p:spPr>
          <p:txBody>
            <a:bodyPr wrap="square" lIns="0" tIns="0" rIns="0" bIns="0" rtlCol="0"/>
            <a:lstStyle/>
            <a:p>
              <a:endParaRPr sz="1000"/>
            </a:p>
          </p:txBody>
        </p:sp>
        <p:sp>
          <p:nvSpPr>
            <p:cNvPr id="81" name="object 29">
              <a:extLst>
                <a:ext uri="{FF2B5EF4-FFF2-40B4-BE49-F238E27FC236}">
                  <a16:creationId xmlns:a16="http://schemas.microsoft.com/office/drawing/2014/main" id="{B3D2F8DA-4D66-304A-AFFD-CE26ABE9BDC1}"/>
                </a:ext>
              </a:extLst>
            </p:cNvPr>
            <p:cNvSpPr/>
            <p:nvPr/>
          </p:nvSpPr>
          <p:spPr>
            <a:xfrm>
              <a:off x="13431480" y="4555862"/>
              <a:ext cx="90805" cy="38735"/>
            </a:xfrm>
            <a:custGeom>
              <a:avLst/>
              <a:gdLst/>
              <a:ahLst/>
              <a:cxnLst/>
              <a:rect l="l" t="t" r="r" b="b"/>
              <a:pathLst>
                <a:path w="90805" h="38735">
                  <a:moveTo>
                    <a:pt x="75139" y="0"/>
                  </a:moveTo>
                  <a:lnTo>
                    <a:pt x="0" y="0"/>
                  </a:lnTo>
                  <a:lnTo>
                    <a:pt x="77008" y="38559"/>
                  </a:lnTo>
                  <a:lnTo>
                    <a:pt x="86792" y="19062"/>
                  </a:lnTo>
                  <a:lnTo>
                    <a:pt x="90708" y="7787"/>
                  </a:lnTo>
                  <a:lnTo>
                    <a:pt x="75139" y="0"/>
                  </a:lnTo>
                  <a:close/>
                </a:path>
              </a:pathLst>
            </a:custGeom>
            <a:solidFill>
              <a:srgbClr val="BE142B"/>
            </a:solidFill>
          </p:spPr>
          <p:txBody>
            <a:bodyPr wrap="square" lIns="0" tIns="0" rIns="0" bIns="0" rtlCol="0"/>
            <a:lstStyle/>
            <a:p>
              <a:endParaRPr sz="1000"/>
            </a:p>
          </p:txBody>
        </p:sp>
        <p:sp>
          <p:nvSpPr>
            <p:cNvPr id="82" name="object 30">
              <a:extLst>
                <a:ext uri="{FF2B5EF4-FFF2-40B4-BE49-F238E27FC236}">
                  <a16:creationId xmlns:a16="http://schemas.microsoft.com/office/drawing/2014/main" id="{5A295850-83DD-E54F-B86F-EA10B73BFAD4}"/>
                </a:ext>
              </a:extLst>
            </p:cNvPr>
            <p:cNvSpPr/>
            <p:nvPr/>
          </p:nvSpPr>
          <p:spPr>
            <a:xfrm>
              <a:off x="15199506" y="4115508"/>
              <a:ext cx="672465" cy="672465"/>
            </a:xfrm>
            <a:custGeom>
              <a:avLst/>
              <a:gdLst/>
              <a:ahLst/>
              <a:cxnLst/>
              <a:rect l="l" t="t" r="r" b="b"/>
              <a:pathLst>
                <a:path w="672465" h="672464">
                  <a:moveTo>
                    <a:pt x="336021" y="0"/>
                  </a:moveTo>
                  <a:lnTo>
                    <a:pt x="286367" y="3643"/>
                  </a:lnTo>
                  <a:lnTo>
                    <a:pt x="238975" y="14226"/>
                  </a:lnTo>
                  <a:lnTo>
                    <a:pt x="194364" y="31229"/>
                  </a:lnTo>
                  <a:lnTo>
                    <a:pt x="153055" y="54132"/>
                  </a:lnTo>
                  <a:lnTo>
                    <a:pt x="115568" y="82417"/>
                  </a:lnTo>
                  <a:lnTo>
                    <a:pt x="82421" y="115562"/>
                  </a:lnTo>
                  <a:lnTo>
                    <a:pt x="54136" y="153048"/>
                  </a:lnTo>
                  <a:lnTo>
                    <a:pt x="31231" y="194356"/>
                  </a:lnTo>
                  <a:lnTo>
                    <a:pt x="14227" y="238965"/>
                  </a:lnTo>
                  <a:lnTo>
                    <a:pt x="3643" y="286357"/>
                  </a:lnTo>
                  <a:lnTo>
                    <a:pt x="0" y="336010"/>
                  </a:lnTo>
                  <a:lnTo>
                    <a:pt x="3643" y="385666"/>
                  </a:lnTo>
                  <a:lnTo>
                    <a:pt x="14227" y="433059"/>
                  </a:lnTo>
                  <a:lnTo>
                    <a:pt x="31231" y="477669"/>
                  </a:lnTo>
                  <a:lnTo>
                    <a:pt x="54136" y="518977"/>
                  </a:lnTo>
                  <a:lnTo>
                    <a:pt x="82421" y="556463"/>
                  </a:lnTo>
                  <a:lnTo>
                    <a:pt x="115568" y="589607"/>
                  </a:lnTo>
                  <a:lnTo>
                    <a:pt x="153055" y="617891"/>
                  </a:lnTo>
                  <a:lnTo>
                    <a:pt x="194364" y="640793"/>
                  </a:lnTo>
                  <a:lnTo>
                    <a:pt x="238975" y="657796"/>
                  </a:lnTo>
                  <a:lnTo>
                    <a:pt x="286367" y="668378"/>
                  </a:lnTo>
                  <a:lnTo>
                    <a:pt x="336021" y="672021"/>
                  </a:lnTo>
                  <a:lnTo>
                    <a:pt x="385674" y="668378"/>
                  </a:lnTo>
                  <a:lnTo>
                    <a:pt x="433066" y="657796"/>
                  </a:lnTo>
                  <a:lnTo>
                    <a:pt x="477675" y="640793"/>
                  </a:lnTo>
                  <a:lnTo>
                    <a:pt x="518983" y="617891"/>
                  </a:lnTo>
                  <a:lnTo>
                    <a:pt x="556469" y="589607"/>
                  </a:lnTo>
                  <a:lnTo>
                    <a:pt x="589614" y="556463"/>
                  </a:lnTo>
                  <a:lnTo>
                    <a:pt x="617898" y="518977"/>
                  </a:lnTo>
                  <a:lnTo>
                    <a:pt x="640802" y="477669"/>
                  </a:lnTo>
                  <a:lnTo>
                    <a:pt x="657805" y="433059"/>
                  </a:lnTo>
                  <a:lnTo>
                    <a:pt x="668388" y="385666"/>
                  </a:lnTo>
                  <a:lnTo>
                    <a:pt x="672031" y="336010"/>
                  </a:lnTo>
                  <a:lnTo>
                    <a:pt x="668388" y="286357"/>
                  </a:lnTo>
                  <a:lnTo>
                    <a:pt x="657805" y="238965"/>
                  </a:lnTo>
                  <a:lnTo>
                    <a:pt x="640802" y="194356"/>
                  </a:lnTo>
                  <a:lnTo>
                    <a:pt x="617898" y="153048"/>
                  </a:lnTo>
                  <a:lnTo>
                    <a:pt x="589614" y="115562"/>
                  </a:lnTo>
                  <a:lnTo>
                    <a:pt x="556469" y="82417"/>
                  </a:lnTo>
                  <a:lnTo>
                    <a:pt x="518983" y="54132"/>
                  </a:lnTo>
                  <a:lnTo>
                    <a:pt x="477675" y="31229"/>
                  </a:lnTo>
                  <a:lnTo>
                    <a:pt x="433066" y="14226"/>
                  </a:lnTo>
                  <a:lnTo>
                    <a:pt x="385674" y="3643"/>
                  </a:lnTo>
                  <a:lnTo>
                    <a:pt x="336021" y="0"/>
                  </a:lnTo>
                  <a:close/>
                </a:path>
              </a:pathLst>
            </a:custGeom>
            <a:solidFill>
              <a:srgbClr val="035284"/>
            </a:solidFill>
          </p:spPr>
          <p:txBody>
            <a:bodyPr wrap="square" lIns="0" tIns="0" rIns="0" bIns="0" rtlCol="0"/>
            <a:lstStyle/>
            <a:p>
              <a:endParaRPr sz="1000"/>
            </a:p>
          </p:txBody>
        </p:sp>
        <p:sp>
          <p:nvSpPr>
            <p:cNvPr id="83" name="object 31">
              <a:extLst>
                <a:ext uri="{FF2B5EF4-FFF2-40B4-BE49-F238E27FC236}">
                  <a16:creationId xmlns:a16="http://schemas.microsoft.com/office/drawing/2014/main" id="{DEB61B8D-F129-BB40-9029-C6F89BD4CFF1}"/>
                </a:ext>
              </a:extLst>
            </p:cNvPr>
            <p:cNvSpPr/>
            <p:nvPr/>
          </p:nvSpPr>
          <p:spPr>
            <a:xfrm>
              <a:off x="15333919" y="4123070"/>
              <a:ext cx="134620" cy="657225"/>
            </a:xfrm>
            <a:custGeom>
              <a:avLst/>
              <a:gdLst/>
              <a:ahLst/>
              <a:cxnLst/>
              <a:rect l="l" t="t" r="r" b="b"/>
              <a:pathLst>
                <a:path w="134619" h="657225">
                  <a:moveTo>
                    <a:pt x="134404" y="0"/>
                  </a:moveTo>
                  <a:lnTo>
                    <a:pt x="104560" y="6664"/>
                  </a:lnTo>
                  <a:lnTo>
                    <a:pt x="59950" y="23667"/>
                  </a:lnTo>
                  <a:lnTo>
                    <a:pt x="18641" y="46571"/>
                  </a:lnTo>
                  <a:lnTo>
                    <a:pt x="0" y="60635"/>
                  </a:lnTo>
                  <a:lnTo>
                    <a:pt x="0" y="596265"/>
                  </a:lnTo>
                  <a:lnTo>
                    <a:pt x="18641" y="610329"/>
                  </a:lnTo>
                  <a:lnTo>
                    <a:pt x="59950" y="633231"/>
                  </a:lnTo>
                  <a:lnTo>
                    <a:pt x="104560" y="650234"/>
                  </a:lnTo>
                  <a:lnTo>
                    <a:pt x="134404" y="656898"/>
                  </a:lnTo>
                  <a:lnTo>
                    <a:pt x="134404" y="0"/>
                  </a:lnTo>
                  <a:close/>
                </a:path>
              </a:pathLst>
            </a:custGeom>
            <a:solidFill>
              <a:srgbClr val="EDB901"/>
            </a:solidFill>
          </p:spPr>
          <p:txBody>
            <a:bodyPr wrap="square" lIns="0" tIns="0" rIns="0" bIns="0" rtlCol="0"/>
            <a:lstStyle/>
            <a:p>
              <a:endParaRPr sz="1000"/>
            </a:p>
          </p:txBody>
        </p:sp>
        <p:sp>
          <p:nvSpPr>
            <p:cNvPr id="84" name="object 32">
              <a:extLst>
                <a:ext uri="{FF2B5EF4-FFF2-40B4-BE49-F238E27FC236}">
                  <a16:creationId xmlns:a16="http://schemas.microsoft.com/office/drawing/2014/main" id="{1CCA5F1F-8BD3-BD4D-BB71-5BEEE030A6F9}"/>
                </a:ext>
              </a:extLst>
            </p:cNvPr>
            <p:cNvSpPr/>
            <p:nvPr/>
          </p:nvSpPr>
          <p:spPr>
            <a:xfrm>
              <a:off x="15199506" y="4384316"/>
              <a:ext cx="672465" cy="134620"/>
            </a:xfrm>
            <a:custGeom>
              <a:avLst/>
              <a:gdLst/>
              <a:ahLst/>
              <a:cxnLst/>
              <a:rect l="l" t="t" r="r" b="b"/>
              <a:pathLst>
                <a:path w="672465" h="134620">
                  <a:moveTo>
                    <a:pt x="664469" y="0"/>
                  </a:moveTo>
                  <a:lnTo>
                    <a:pt x="7562" y="0"/>
                  </a:lnTo>
                  <a:lnTo>
                    <a:pt x="3643" y="17548"/>
                  </a:lnTo>
                  <a:lnTo>
                    <a:pt x="0" y="67202"/>
                  </a:lnTo>
                  <a:lnTo>
                    <a:pt x="3643" y="116858"/>
                  </a:lnTo>
                  <a:lnTo>
                    <a:pt x="7561" y="134404"/>
                  </a:lnTo>
                  <a:lnTo>
                    <a:pt x="664470" y="134404"/>
                  </a:lnTo>
                  <a:lnTo>
                    <a:pt x="668388" y="116858"/>
                  </a:lnTo>
                  <a:lnTo>
                    <a:pt x="672031" y="67202"/>
                  </a:lnTo>
                  <a:lnTo>
                    <a:pt x="668388" y="17548"/>
                  </a:lnTo>
                  <a:lnTo>
                    <a:pt x="664469" y="0"/>
                  </a:lnTo>
                  <a:close/>
                </a:path>
              </a:pathLst>
            </a:custGeom>
            <a:solidFill>
              <a:srgbClr val="EDB901"/>
            </a:solidFill>
          </p:spPr>
          <p:txBody>
            <a:bodyPr wrap="square" lIns="0" tIns="0" rIns="0" bIns="0" rtlCol="0"/>
            <a:lstStyle/>
            <a:p>
              <a:endParaRPr sz="1000"/>
            </a:p>
          </p:txBody>
        </p:sp>
        <p:sp>
          <p:nvSpPr>
            <p:cNvPr id="85" name="object 33">
              <a:extLst>
                <a:ext uri="{FF2B5EF4-FFF2-40B4-BE49-F238E27FC236}">
                  <a16:creationId xmlns:a16="http://schemas.microsoft.com/office/drawing/2014/main" id="{3A6D0607-7AEC-ED42-B34B-A6862360225B}"/>
                </a:ext>
              </a:extLst>
            </p:cNvPr>
            <p:cNvSpPr/>
            <p:nvPr/>
          </p:nvSpPr>
          <p:spPr>
            <a:xfrm>
              <a:off x="17518795" y="4129793"/>
              <a:ext cx="228600" cy="643890"/>
            </a:xfrm>
            <a:custGeom>
              <a:avLst/>
              <a:gdLst/>
              <a:ahLst/>
              <a:cxnLst/>
              <a:rect l="l" t="t" r="r" b="b"/>
              <a:pathLst>
                <a:path w="228600" h="643889">
                  <a:moveTo>
                    <a:pt x="227972" y="0"/>
                  </a:moveTo>
                  <a:lnTo>
                    <a:pt x="169365" y="26455"/>
                  </a:lnTo>
                  <a:lnTo>
                    <a:pt x="132996" y="51020"/>
                  </a:lnTo>
                  <a:lnTo>
                    <a:pt x="100154" y="79926"/>
                  </a:lnTo>
                  <a:lnTo>
                    <a:pt x="71246" y="112767"/>
                  </a:lnTo>
                  <a:lnTo>
                    <a:pt x="46680" y="149135"/>
                  </a:lnTo>
                  <a:lnTo>
                    <a:pt x="26864" y="188622"/>
                  </a:lnTo>
                  <a:lnTo>
                    <a:pt x="12205" y="230821"/>
                  </a:lnTo>
                  <a:lnTo>
                    <a:pt x="3111" y="275324"/>
                  </a:lnTo>
                  <a:lnTo>
                    <a:pt x="0" y="321569"/>
                  </a:lnTo>
                  <a:lnTo>
                    <a:pt x="0" y="321881"/>
                  </a:lnTo>
                  <a:lnTo>
                    <a:pt x="3111" y="368128"/>
                  </a:lnTo>
                  <a:lnTo>
                    <a:pt x="12205" y="412634"/>
                  </a:lnTo>
                  <a:lnTo>
                    <a:pt x="26864" y="454834"/>
                  </a:lnTo>
                  <a:lnTo>
                    <a:pt x="46680" y="494323"/>
                  </a:lnTo>
                  <a:lnTo>
                    <a:pt x="71246" y="530692"/>
                  </a:lnTo>
                  <a:lnTo>
                    <a:pt x="100154" y="563533"/>
                  </a:lnTo>
                  <a:lnTo>
                    <a:pt x="132996" y="592440"/>
                  </a:lnTo>
                  <a:lnTo>
                    <a:pt x="169365" y="617005"/>
                  </a:lnTo>
                  <a:lnTo>
                    <a:pt x="208853" y="636820"/>
                  </a:lnTo>
                  <a:lnTo>
                    <a:pt x="227972" y="643461"/>
                  </a:lnTo>
                  <a:lnTo>
                    <a:pt x="227972" y="0"/>
                  </a:lnTo>
                  <a:close/>
                </a:path>
              </a:pathLst>
            </a:custGeom>
            <a:solidFill>
              <a:srgbClr val="23376F"/>
            </a:solidFill>
          </p:spPr>
          <p:txBody>
            <a:bodyPr wrap="square" lIns="0" tIns="0" rIns="0" bIns="0" rtlCol="0"/>
            <a:lstStyle/>
            <a:p>
              <a:endParaRPr sz="1000"/>
            </a:p>
          </p:txBody>
        </p:sp>
        <p:sp>
          <p:nvSpPr>
            <p:cNvPr id="86" name="object 34">
              <a:extLst>
                <a:ext uri="{FF2B5EF4-FFF2-40B4-BE49-F238E27FC236}">
                  <a16:creationId xmlns:a16="http://schemas.microsoft.com/office/drawing/2014/main" id="{15585AE0-4BE1-CC48-8E86-99BA9F472D3D}"/>
                </a:ext>
              </a:extLst>
            </p:cNvPr>
            <p:cNvSpPr/>
            <p:nvPr/>
          </p:nvSpPr>
          <p:spPr>
            <a:xfrm>
              <a:off x="17746772" y="4109560"/>
              <a:ext cx="227965" cy="684530"/>
            </a:xfrm>
            <a:custGeom>
              <a:avLst/>
              <a:gdLst/>
              <a:ahLst/>
              <a:cxnLst/>
              <a:rect l="l" t="t" r="r" b="b"/>
              <a:pathLst>
                <a:path w="227965" h="684529">
                  <a:moveTo>
                    <a:pt x="160384" y="3121"/>
                  </a:moveTo>
                  <a:lnTo>
                    <a:pt x="67581" y="3121"/>
                  </a:lnTo>
                  <a:lnTo>
                    <a:pt x="23077" y="12215"/>
                  </a:lnTo>
                  <a:lnTo>
                    <a:pt x="0" y="20231"/>
                  </a:lnTo>
                  <a:lnTo>
                    <a:pt x="0" y="663695"/>
                  </a:lnTo>
                  <a:lnTo>
                    <a:pt x="23077" y="671711"/>
                  </a:lnTo>
                  <a:lnTo>
                    <a:pt x="67581" y="680805"/>
                  </a:lnTo>
                  <a:lnTo>
                    <a:pt x="113981" y="683926"/>
                  </a:lnTo>
                  <a:lnTo>
                    <a:pt x="160384" y="680805"/>
                  </a:lnTo>
                  <a:lnTo>
                    <a:pt x="204890" y="671711"/>
                  </a:lnTo>
                  <a:lnTo>
                    <a:pt x="227968" y="663695"/>
                  </a:lnTo>
                  <a:lnTo>
                    <a:pt x="227968" y="20231"/>
                  </a:lnTo>
                  <a:lnTo>
                    <a:pt x="204890" y="12215"/>
                  </a:lnTo>
                  <a:lnTo>
                    <a:pt x="160384" y="3121"/>
                  </a:lnTo>
                  <a:close/>
                </a:path>
                <a:path w="227965" h="684529">
                  <a:moveTo>
                    <a:pt x="113981" y="0"/>
                  </a:moveTo>
                  <a:lnTo>
                    <a:pt x="67581" y="3121"/>
                  </a:lnTo>
                  <a:lnTo>
                    <a:pt x="160384" y="3121"/>
                  </a:lnTo>
                  <a:lnTo>
                    <a:pt x="113981" y="0"/>
                  </a:lnTo>
                  <a:close/>
                </a:path>
              </a:pathLst>
            </a:custGeom>
            <a:solidFill>
              <a:srgbClr val="ECC217"/>
            </a:solidFill>
          </p:spPr>
          <p:txBody>
            <a:bodyPr wrap="square" lIns="0" tIns="0" rIns="0" bIns="0" rtlCol="0"/>
            <a:lstStyle/>
            <a:p>
              <a:endParaRPr sz="1000"/>
            </a:p>
          </p:txBody>
        </p:sp>
        <p:sp>
          <p:nvSpPr>
            <p:cNvPr id="87" name="object 35">
              <a:extLst>
                <a:ext uri="{FF2B5EF4-FFF2-40B4-BE49-F238E27FC236}">
                  <a16:creationId xmlns:a16="http://schemas.microsoft.com/office/drawing/2014/main" id="{29FA632D-CCCC-FD44-8D76-E06B322F55C3}"/>
                </a:ext>
              </a:extLst>
            </p:cNvPr>
            <p:cNvSpPr/>
            <p:nvPr/>
          </p:nvSpPr>
          <p:spPr>
            <a:xfrm>
              <a:off x="17974740" y="4129792"/>
              <a:ext cx="228600" cy="643890"/>
            </a:xfrm>
            <a:custGeom>
              <a:avLst/>
              <a:gdLst/>
              <a:ahLst/>
              <a:cxnLst/>
              <a:rect l="l" t="t" r="r" b="b"/>
              <a:pathLst>
                <a:path w="228600" h="643889">
                  <a:moveTo>
                    <a:pt x="0" y="0"/>
                  </a:moveTo>
                  <a:lnTo>
                    <a:pt x="0" y="643464"/>
                  </a:lnTo>
                  <a:lnTo>
                    <a:pt x="19123" y="636821"/>
                  </a:lnTo>
                  <a:lnTo>
                    <a:pt x="58611" y="617006"/>
                  </a:lnTo>
                  <a:lnTo>
                    <a:pt x="94980" y="592441"/>
                  </a:lnTo>
                  <a:lnTo>
                    <a:pt x="127822" y="563535"/>
                  </a:lnTo>
                  <a:lnTo>
                    <a:pt x="156728" y="530693"/>
                  </a:lnTo>
                  <a:lnTo>
                    <a:pt x="181293" y="494324"/>
                  </a:lnTo>
                  <a:lnTo>
                    <a:pt x="201108" y="454836"/>
                  </a:lnTo>
                  <a:lnTo>
                    <a:pt x="215767" y="412635"/>
                  </a:lnTo>
                  <a:lnTo>
                    <a:pt x="224860" y="368129"/>
                  </a:lnTo>
                  <a:lnTo>
                    <a:pt x="227972" y="321882"/>
                  </a:lnTo>
                  <a:lnTo>
                    <a:pt x="227972" y="321571"/>
                  </a:lnTo>
                  <a:lnTo>
                    <a:pt x="224860" y="275326"/>
                  </a:lnTo>
                  <a:lnTo>
                    <a:pt x="215767" y="230822"/>
                  </a:lnTo>
                  <a:lnTo>
                    <a:pt x="201108" y="188623"/>
                  </a:lnTo>
                  <a:lnTo>
                    <a:pt x="181293" y="149136"/>
                  </a:lnTo>
                  <a:lnTo>
                    <a:pt x="156728" y="112768"/>
                  </a:lnTo>
                  <a:lnTo>
                    <a:pt x="127822" y="79928"/>
                  </a:lnTo>
                  <a:lnTo>
                    <a:pt x="94980" y="51021"/>
                  </a:lnTo>
                  <a:lnTo>
                    <a:pt x="58611" y="26457"/>
                  </a:lnTo>
                  <a:lnTo>
                    <a:pt x="19123" y="6642"/>
                  </a:lnTo>
                  <a:lnTo>
                    <a:pt x="0" y="0"/>
                  </a:lnTo>
                  <a:close/>
                </a:path>
              </a:pathLst>
            </a:custGeom>
            <a:solidFill>
              <a:srgbClr val="BD1327"/>
            </a:solidFill>
          </p:spPr>
          <p:txBody>
            <a:bodyPr wrap="square" lIns="0" tIns="0" rIns="0" bIns="0" rtlCol="0"/>
            <a:lstStyle/>
            <a:p>
              <a:endParaRPr sz="1000"/>
            </a:p>
          </p:txBody>
        </p:sp>
      </p:grpSp>
      <p:sp>
        <p:nvSpPr>
          <p:cNvPr id="89" name="ZoneTexte 88">
            <a:extLst>
              <a:ext uri="{FF2B5EF4-FFF2-40B4-BE49-F238E27FC236}">
                <a16:creationId xmlns:a16="http://schemas.microsoft.com/office/drawing/2014/main" id="{090F61F7-BB87-4A40-A3BF-46CF80D4E71F}"/>
              </a:ext>
            </a:extLst>
          </p:cNvPr>
          <p:cNvSpPr txBox="1"/>
          <p:nvPr/>
        </p:nvSpPr>
        <p:spPr>
          <a:xfrm>
            <a:off x="940239" y="764208"/>
            <a:ext cx="7347548" cy="503657"/>
          </a:xfrm>
          <a:prstGeom prst="rect">
            <a:avLst/>
          </a:prstGeom>
          <a:noFill/>
        </p:spPr>
        <p:txBody>
          <a:bodyPr wrap="square" lIns="41587" tIns="20793" rIns="41587" bIns="20793" rtlCol="0">
            <a:spAutoFit/>
          </a:bodyPr>
          <a:lstStyle/>
          <a:p>
            <a:r>
              <a:rPr lang="fr-FR" sz="1000" spc="-9" dirty="0">
                <a:latin typeface="Helvetica 75 Bold" panose="020B0804020202020204" pitchFamily="34" charset="0"/>
              </a:rPr>
              <a:t>Etude réalisée auprès d’échantillons représentatifs des populations âgées de 15 ans et plus dans les pays suivants : </a:t>
            </a:r>
            <a:r>
              <a:rPr lang="fr-FR" sz="1000" b="1" spc="-9" dirty="0">
                <a:solidFill>
                  <a:srgbClr val="FF7900"/>
                </a:solidFill>
                <a:latin typeface="Helvetica 75 Bold" panose="020B0804020202020204" pitchFamily="34" charset="0"/>
              </a:rPr>
              <a:t>7 054 interviews</a:t>
            </a:r>
            <a:r>
              <a:rPr lang="fr-FR" sz="1000" spc="-9" dirty="0">
                <a:latin typeface="Helvetica 75 Bold" panose="020B0804020202020204" pitchFamily="34" charset="0"/>
              </a:rPr>
              <a:t> au total, réparties de la façon suivante :</a:t>
            </a:r>
          </a:p>
          <a:p>
            <a:endParaRPr lang="fr-FR" sz="1000" dirty="0"/>
          </a:p>
        </p:txBody>
      </p:sp>
      <p:sp>
        <p:nvSpPr>
          <p:cNvPr id="91" name="ZoneTexte 90">
            <a:extLst>
              <a:ext uri="{FF2B5EF4-FFF2-40B4-BE49-F238E27FC236}">
                <a16:creationId xmlns:a16="http://schemas.microsoft.com/office/drawing/2014/main" id="{5E2FDC6A-236E-7444-BC54-D52C19D42368}"/>
              </a:ext>
            </a:extLst>
          </p:cNvPr>
          <p:cNvSpPr txBox="1"/>
          <p:nvPr/>
        </p:nvSpPr>
        <p:spPr>
          <a:xfrm>
            <a:off x="898226" y="1964942"/>
            <a:ext cx="7795313" cy="811434"/>
          </a:xfrm>
          <a:prstGeom prst="rect">
            <a:avLst/>
          </a:prstGeom>
          <a:noFill/>
        </p:spPr>
        <p:txBody>
          <a:bodyPr wrap="square" lIns="41587" tIns="20793" rIns="41587" bIns="20793" rtlCol="0">
            <a:spAutoFit/>
          </a:bodyPr>
          <a:lstStyle/>
          <a:p>
            <a:pPr marL="38988">
              <a:defRPr/>
            </a:pPr>
            <a:r>
              <a:rPr lang="fr-FR" sz="1000" spc="-9" dirty="0">
                <a:latin typeface="Helvetica 75 Bold" panose="020B0804020202020204" pitchFamily="34" charset="0"/>
              </a:rPr>
              <a:t>Ces échantillons ont été constitués selon la méthode des quotas, au regard des critères de sexe, d’âge, de catégorie socioprofessionnelle, de catégorie d’agglomération et de région de résidence.</a:t>
            </a:r>
          </a:p>
          <a:p>
            <a:pPr marL="38988">
              <a:defRPr/>
            </a:pPr>
            <a:endParaRPr lang="fr-FR" sz="1000" spc="-9" dirty="0">
              <a:latin typeface="Helvetica 75 Bold" panose="020B0804020202020204" pitchFamily="34" charset="0"/>
            </a:endParaRPr>
          </a:p>
          <a:p>
            <a:pPr marL="38988" algn="just">
              <a:defRPr/>
            </a:pPr>
            <a:r>
              <a:rPr lang="fr-FR" sz="1000" spc="-9" dirty="0">
                <a:latin typeface="Helvetica 75 Bold" panose="020B0804020202020204" pitchFamily="34" charset="0"/>
              </a:rPr>
              <a:t>Au sein de l’échantillon France, les résultats seront présentés également </a:t>
            </a:r>
          </a:p>
          <a:p>
            <a:pPr marL="38988" algn="just">
              <a:defRPr/>
            </a:pPr>
            <a:r>
              <a:rPr lang="fr-FR" sz="1000" spc="-9" dirty="0">
                <a:latin typeface="Helvetica 75 Bold" panose="020B0804020202020204" pitchFamily="34" charset="0"/>
              </a:rPr>
              <a:t>chez les clients des nouvelles banques.</a:t>
            </a:r>
          </a:p>
        </p:txBody>
      </p:sp>
      <p:sp>
        <p:nvSpPr>
          <p:cNvPr id="93" name="Rectangle 92">
            <a:extLst>
              <a:ext uri="{FF2B5EF4-FFF2-40B4-BE49-F238E27FC236}">
                <a16:creationId xmlns:a16="http://schemas.microsoft.com/office/drawing/2014/main" id="{BAC0CCF4-FAC6-2841-9A70-5A442F709BBF}"/>
              </a:ext>
            </a:extLst>
          </p:cNvPr>
          <p:cNvSpPr/>
          <p:nvPr/>
        </p:nvSpPr>
        <p:spPr>
          <a:xfrm>
            <a:off x="573989" y="2877077"/>
            <a:ext cx="8119550" cy="174906"/>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lIns="41587" tIns="20793" rIns="41587" bIns="20793" rtlCol="0" anchor="ctr"/>
          <a:lstStyle/>
          <a:p>
            <a:pPr algn="ctr"/>
            <a:endParaRPr lang="fr-FR"/>
          </a:p>
        </p:txBody>
      </p:sp>
      <p:grpSp>
        <p:nvGrpSpPr>
          <p:cNvPr id="60" name="Groupe 59">
            <a:extLst>
              <a:ext uri="{FF2B5EF4-FFF2-40B4-BE49-F238E27FC236}">
                <a16:creationId xmlns:a16="http://schemas.microsoft.com/office/drawing/2014/main" id="{891CD02F-2A71-CF41-8BAF-82EEAC10F624}"/>
              </a:ext>
            </a:extLst>
          </p:cNvPr>
          <p:cNvGrpSpPr/>
          <p:nvPr/>
        </p:nvGrpSpPr>
        <p:grpSpPr>
          <a:xfrm>
            <a:off x="301740" y="2847176"/>
            <a:ext cx="527170" cy="540289"/>
            <a:chOff x="652304" y="5913694"/>
            <a:chExt cx="1159042" cy="1187969"/>
          </a:xfrm>
        </p:grpSpPr>
        <p:sp>
          <p:nvSpPr>
            <p:cNvPr id="35" name="Ellipse 34">
              <a:extLst>
                <a:ext uri="{FF2B5EF4-FFF2-40B4-BE49-F238E27FC236}">
                  <a16:creationId xmlns:a16="http://schemas.microsoft.com/office/drawing/2014/main" id="{0697ACD4-973B-6C42-9487-06F99FE4CA3A}"/>
                </a:ext>
              </a:extLst>
            </p:cNvPr>
            <p:cNvSpPr>
              <a:spLocks noChangeAspect="1"/>
            </p:cNvSpPr>
            <p:nvPr/>
          </p:nvSpPr>
          <p:spPr>
            <a:xfrm>
              <a:off x="652304" y="5913694"/>
              <a:ext cx="1159042" cy="1187969"/>
            </a:xfrm>
            <a:prstGeom prst="ellipse">
              <a:avLst/>
            </a:prstGeom>
            <a:solidFill>
              <a:srgbClr val="FF79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01040" tIns="100520" rIns="201040" bIns="100520" rtlCol="0" anchor="ctr"/>
            <a:lstStyle/>
            <a:p>
              <a:pPr algn="ctr"/>
              <a:endParaRPr lang="fr-FR"/>
            </a:p>
          </p:txBody>
        </p:sp>
        <p:pic>
          <p:nvPicPr>
            <p:cNvPr id="39" name="Picture 3" descr="D:\01-OWay\GRAPHISMES\Methodo\white-02.png">
              <a:extLst>
                <a:ext uri="{FF2B5EF4-FFF2-40B4-BE49-F238E27FC236}">
                  <a16:creationId xmlns:a16="http://schemas.microsoft.com/office/drawing/2014/main" id="{2AB0CF1E-A6AD-8E47-95EF-8FBD4B965987}"/>
                </a:ext>
              </a:extLst>
            </p:cNvPr>
            <p:cNvPicPr>
              <a:picLocks noChangeAspect="1" noChangeArrowheads="1"/>
            </p:cNvPicPr>
            <p:nvPr/>
          </p:nvPicPr>
          <p:blipFill>
            <a:blip r:embed="rId5" cstate="print"/>
            <a:srcRect/>
            <a:stretch>
              <a:fillRect/>
            </a:stretch>
          </p:blipFill>
          <p:spPr bwMode="auto">
            <a:xfrm>
              <a:off x="813282" y="6078689"/>
              <a:ext cx="837086" cy="857976"/>
            </a:xfrm>
            <a:prstGeom prst="rect">
              <a:avLst/>
            </a:prstGeom>
            <a:noFill/>
          </p:spPr>
        </p:pic>
      </p:grpSp>
      <p:sp>
        <p:nvSpPr>
          <p:cNvPr id="97" name="ZoneTexte 96">
            <a:extLst>
              <a:ext uri="{FF2B5EF4-FFF2-40B4-BE49-F238E27FC236}">
                <a16:creationId xmlns:a16="http://schemas.microsoft.com/office/drawing/2014/main" id="{E4A0A027-2D01-644D-B220-E99DFA2A269C}"/>
              </a:ext>
            </a:extLst>
          </p:cNvPr>
          <p:cNvSpPr txBox="1"/>
          <p:nvPr/>
        </p:nvSpPr>
        <p:spPr>
          <a:xfrm>
            <a:off x="898226" y="3121166"/>
            <a:ext cx="7347548" cy="503657"/>
          </a:xfrm>
          <a:prstGeom prst="rect">
            <a:avLst/>
          </a:prstGeom>
          <a:noFill/>
        </p:spPr>
        <p:txBody>
          <a:bodyPr wrap="square" lIns="41587" tIns="20793" rIns="41587" bIns="20793" rtlCol="0">
            <a:spAutoFit/>
          </a:bodyPr>
          <a:lstStyle/>
          <a:p>
            <a:pPr marL="38988" algn="just">
              <a:defRPr/>
            </a:pPr>
            <a:r>
              <a:rPr lang="fr-FR" sz="1000" spc="-9" dirty="0">
                <a:latin typeface="Helvetica 75 Bold" panose="020B0804020202020204" pitchFamily="34" charset="0"/>
              </a:rPr>
              <a:t>L’échantillon a été interrogé par questionnaire auto-administré en ligne sur système CAWI (</a:t>
            </a:r>
            <a:r>
              <a:rPr lang="fr-FR" altLang="fr-FR" sz="1000" spc="-9" dirty="0">
                <a:latin typeface="Helvetica 75 Bold" panose="020B0804020202020204" pitchFamily="34" charset="0"/>
              </a:rPr>
              <a:t>Computer </a:t>
            </a:r>
            <a:r>
              <a:rPr lang="fr-FR" altLang="fr-FR" sz="1000" spc="-9" dirty="0" err="1">
                <a:latin typeface="Helvetica 75 Bold" panose="020B0804020202020204" pitchFamily="34" charset="0"/>
              </a:rPr>
              <a:t>Assisted</a:t>
            </a:r>
            <a:r>
              <a:rPr lang="fr-FR" altLang="fr-FR" sz="1000" spc="-9" dirty="0">
                <a:latin typeface="Helvetica 75 Bold" panose="020B0804020202020204" pitchFamily="34" charset="0"/>
              </a:rPr>
              <a:t> Web Interview) en France, en Espagne, en Suède et au Royaume-Uni, et par téléphone sur système CATI </a:t>
            </a:r>
            <a:r>
              <a:rPr lang="fr-FR" sz="1000" spc="-9" dirty="0">
                <a:latin typeface="Helvetica 75 Bold" panose="020B0804020202020204" pitchFamily="34" charset="0"/>
              </a:rPr>
              <a:t>(</a:t>
            </a:r>
            <a:r>
              <a:rPr lang="fr-FR" altLang="fr-FR" sz="1000" spc="-9" dirty="0">
                <a:latin typeface="Helvetica 75 Bold" panose="020B0804020202020204" pitchFamily="34" charset="0"/>
              </a:rPr>
              <a:t>Computer </a:t>
            </a:r>
            <a:r>
              <a:rPr lang="fr-FR" altLang="fr-FR" sz="1000" spc="-9" dirty="0" err="1">
                <a:latin typeface="Helvetica 75 Bold" panose="020B0804020202020204" pitchFamily="34" charset="0"/>
              </a:rPr>
              <a:t>Assisted</a:t>
            </a:r>
            <a:r>
              <a:rPr lang="fr-FR" altLang="fr-FR" sz="1000" spc="-9" dirty="0">
                <a:latin typeface="Helvetica 75 Bold" panose="020B0804020202020204" pitchFamily="34" charset="0"/>
              </a:rPr>
              <a:t> </a:t>
            </a:r>
            <a:r>
              <a:rPr lang="fr-FR" altLang="fr-FR" sz="1000" spc="-9" dirty="0" err="1">
                <a:latin typeface="Helvetica 75 Bold" panose="020B0804020202020204" pitchFamily="34" charset="0"/>
              </a:rPr>
              <a:t>Telephone</a:t>
            </a:r>
            <a:r>
              <a:rPr lang="fr-FR" altLang="fr-FR" sz="1000" spc="-9" dirty="0">
                <a:latin typeface="Helvetica 75 Bold" panose="020B0804020202020204" pitchFamily="34" charset="0"/>
              </a:rPr>
              <a:t> Interview) en Roumanie.</a:t>
            </a:r>
          </a:p>
        </p:txBody>
      </p:sp>
      <p:sp>
        <p:nvSpPr>
          <p:cNvPr id="98" name="Rectangle 97">
            <a:extLst>
              <a:ext uri="{FF2B5EF4-FFF2-40B4-BE49-F238E27FC236}">
                <a16:creationId xmlns:a16="http://schemas.microsoft.com/office/drawing/2014/main" id="{28CE07A2-E287-4943-9BB7-2AABD62434CC}"/>
              </a:ext>
            </a:extLst>
          </p:cNvPr>
          <p:cNvSpPr/>
          <p:nvPr/>
        </p:nvSpPr>
        <p:spPr>
          <a:xfrm>
            <a:off x="573989" y="3718927"/>
            <a:ext cx="8119550" cy="174906"/>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lIns="41587" tIns="20793" rIns="41587" bIns="20793" rtlCol="0" anchor="ctr"/>
          <a:lstStyle/>
          <a:p>
            <a:pPr algn="ctr"/>
            <a:endParaRPr lang="fr-FR"/>
          </a:p>
        </p:txBody>
      </p:sp>
      <p:sp>
        <p:nvSpPr>
          <p:cNvPr id="99" name="Rectangle 98">
            <a:extLst>
              <a:ext uri="{FF2B5EF4-FFF2-40B4-BE49-F238E27FC236}">
                <a16:creationId xmlns:a16="http://schemas.microsoft.com/office/drawing/2014/main" id="{7D8475C4-23D7-1543-A421-B88CD44FD4D5}"/>
              </a:ext>
            </a:extLst>
          </p:cNvPr>
          <p:cNvSpPr/>
          <p:nvPr/>
        </p:nvSpPr>
        <p:spPr>
          <a:xfrm>
            <a:off x="573989" y="4366359"/>
            <a:ext cx="8119550" cy="174906"/>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lIns="41587" tIns="20793" rIns="41587" bIns="20793" rtlCol="0" anchor="ctr"/>
          <a:lstStyle/>
          <a:p>
            <a:pPr algn="ctr"/>
            <a:endParaRPr lang="fr-FR"/>
          </a:p>
        </p:txBody>
      </p:sp>
      <p:grpSp>
        <p:nvGrpSpPr>
          <p:cNvPr id="61" name="Groupe 60">
            <a:extLst>
              <a:ext uri="{FF2B5EF4-FFF2-40B4-BE49-F238E27FC236}">
                <a16:creationId xmlns:a16="http://schemas.microsoft.com/office/drawing/2014/main" id="{EDAC2A05-C777-A749-9DE1-422339E3FCF2}"/>
              </a:ext>
            </a:extLst>
          </p:cNvPr>
          <p:cNvGrpSpPr/>
          <p:nvPr/>
        </p:nvGrpSpPr>
        <p:grpSpPr>
          <a:xfrm>
            <a:off x="296689" y="3715392"/>
            <a:ext cx="527170" cy="540289"/>
            <a:chOff x="652304" y="7459781"/>
            <a:chExt cx="1159042" cy="1187969"/>
          </a:xfrm>
        </p:grpSpPr>
        <p:sp>
          <p:nvSpPr>
            <p:cNvPr id="36" name="Ellipse 35">
              <a:extLst>
                <a:ext uri="{FF2B5EF4-FFF2-40B4-BE49-F238E27FC236}">
                  <a16:creationId xmlns:a16="http://schemas.microsoft.com/office/drawing/2014/main" id="{11F9A912-5699-5247-881C-94CE41033508}"/>
                </a:ext>
              </a:extLst>
            </p:cNvPr>
            <p:cNvSpPr>
              <a:spLocks noChangeAspect="1"/>
            </p:cNvSpPr>
            <p:nvPr/>
          </p:nvSpPr>
          <p:spPr>
            <a:xfrm>
              <a:off x="652304" y="7459781"/>
              <a:ext cx="1159042" cy="1187969"/>
            </a:xfrm>
            <a:prstGeom prst="ellipse">
              <a:avLst/>
            </a:prstGeom>
            <a:solidFill>
              <a:srgbClr val="FF79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01040" tIns="100520" rIns="201040" bIns="100520" rtlCol="0" anchor="ctr"/>
            <a:lstStyle/>
            <a:p>
              <a:pPr algn="ctr"/>
              <a:endParaRPr lang="fr-FR"/>
            </a:p>
          </p:txBody>
        </p:sp>
        <p:pic>
          <p:nvPicPr>
            <p:cNvPr id="40" name="Picture 4" descr="D:\01-OWay\GRAPHISMES\Methodo\white-03.png">
              <a:extLst>
                <a:ext uri="{FF2B5EF4-FFF2-40B4-BE49-F238E27FC236}">
                  <a16:creationId xmlns:a16="http://schemas.microsoft.com/office/drawing/2014/main" id="{DA034E4F-5194-3F44-88F3-8F0DAC6B75B6}"/>
                </a:ext>
              </a:extLst>
            </p:cNvPr>
            <p:cNvPicPr>
              <a:picLocks noChangeAspect="1" noChangeArrowheads="1"/>
            </p:cNvPicPr>
            <p:nvPr/>
          </p:nvPicPr>
          <p:blipFill>
            <a:blip r:embed="rId6" cstate="print"/>
            <a:srcRect/>
            <a:stretch>
              <a:fillRect/>
            </a:stretch>
          </p:blipFill>
          <p:spPr bwMode="auto">
            <a:xfrm>
              <a:off x="813282" y="7624775"/>
              <a:ext cx="837086" cy="857976"/>
            </a:xfrm>
            <a:prstGeom prst="rect">
              <a:avLst/>
            </a:prstGeom>
            <a:noFill/>
          </p:spPr>
        </p:pic>
      </p:grpSp>
      <p:grpSp>
        <p:nvGrpSpPr>
          <p:cNvPr id="62" name="Groupe 61">
            <a:extLst>
              <a:ext uri="{FF2B5EF4-FFF2-40B4-BE49-F238E27FC236}">
                <a16:creationId xmlns:a16="http://schemas.microsoft.com/office/drawing/2014/main" id="{5A038E3E-FB52-F14A-8635-5D041C4C9BD7}"/>
              </a:ext>
            </a:extLst>
          </p:cNvPr>
          <p:cNvGrpSpPr/>
          <p:nvPr/>
        </p:nvGrpSpPr>
        <p:grpSpPr>
          <a:xfrm>
            <a:off x="296689" y="4353401"/>
            <a:ext cx="527170" cy="540289"/>
            <a:chOff x="652304" y="8996929"/>
            <a:chExt cx="1159042" cy="1187969"/>
          </a:xfrm>
        </p:grpSpPr>
        <p:sp>
          <p:nvSpPr>
            <p:cNvPr id="37" name="Ellipse 36">
              <a:extLst>
                <a:ext uri="{FF2B5EF4-FFF2-40B4-BE49-F238E27FC236}">
                  <a16:creationId xmlns:a16="http://schemas.microsoft.com/office/drawing/2014/main" id="{AA0293C5-0EDF-A54F-803C-22E7E2CC49BA}"/>
                </a:ext>
              </a:extLst>
            </p:cNvPr>
            <p:cNvSpPr>
              <a:spLocks noChangeAspect="1"/>
            </p:cNvSpPr>
            <p:nvPr/>
          </p:nvSpPr>
          <p:spPr>
            <a:xfrm>
              <a:off x="652304" y="8996929"/>
              <a:ext cx="1159042" cy="1187969"/>
            </a:xfrm>
            <a:prstGeom prst="ellipse">
              <a:avLst/>
            </a:prstGeom>
            <a:solidFill>
              <a:srgbClr val="FF79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01040" tIns="100520" rIns="201040" bIns="100520" rtlCol="0" anchor="ctr"/>
            <a:lstStyle/>
            <a:p>
              <a:pPr algn="ctr"/>
              <a:endParaRPr lang="fr-FR"/>
            </a:p>
          </p:txBody>
        </p:sp>
        <p:pic>
          <p:nvPicPr>
            <p:cNvPr id="41" name="Picture 5" descr="D:\01-OWay\GRAPHISMES\Methodo\white-04.png">
              <a:extLst>
                <a:ext uri="{FF2B5EF4-FFF2-40B4-BE49-F238E27FC236}">
                  <a16:creationId xmlns:a16="http://schemas.microsoft.com/office/drawing/2014/main" id="{B7AF96A5-AE33-BC4A-A152-4E7CB74A9D67}"/>
                </a:ext>
              </a:extLst>
            </p:cNvPr>
            <p:cNvPicPr>
              <a:picLocks noChangeAspect="1" noChangeArrowheads="1"/>
            </p:cNvPicPr>
            <p:nvPr/>
          </p:nvPicPr>
          <p:blipFill>
            <a:blip r:embed="rId7" cstate="print"/>
            <a:srcRect/>
            <a:stretch>
              <a:fillRect/>
            </a:stretch>
          </p:blipFill>
          <p:spPr bwMode="auto">
            <a:xfrm>
              <a:off x="813282" y="9099093"/>
              <a:ext cx="837086" cy="857976"/>
            </a:xfrm>
            <a:prstGeom prst="rect">
              <a:avLst/>
            </a:prstGeom>
            <a:noFill/>
          </p:spPr>
        </p:pic>
      </p:grpSp>
      <p:sp>
        <p:nvSpPr>
          <p:cNvPr id="100" name="ZoneTexte 99">
            <a:extLst>
              <a:ext uri="{FF2B5EF4-FFF2-40B4-BE49-F238E27FC236}">
                <a16:creationId xmlns:a16="http://schemas.microsoft.com/office/drawing/2014/main" id="{06F8D127-BF65-B645-8907-10135C85BE6D}"/>
              </a:ext>
            </a:extLst>
          </p:cNvPr>
          <p:cNvSpPr txBox="1"/>
          <p:nvPr/>
        </p:nvSpPr>
        <p:spPr>
          <a:xfrm>
            <a:off x="898226" y="3962951"/>
            <a:ext cx="7347548" cy="202967"/>
          </a:xfrm>
          <a:prstGeom prst="rect">
            <a:avLst/>
          </a:prstGeom>
          <a:noFill/>
        </p:spPr>
        <p:txBody>
          <a:bodyPr wrap="square" lIns="41587" tIns="20793" rIns="41587" bIns="20793" rtlCol="0">
            <a:spAutoFit/>
          </a:bodyPr>
          <a:lstStyle/>
          <a:p>
            <a:pPr marL="38988" algn="just">
              <a:defRPr/>
            </a:pPr>
            <a:r>
              <a:rPr lang="fr-FR" sz="1000" spc="-9" dirty="0">
                <a:latin typeface="Helvetica 75 Bold" panose="020B0804020202020204" pitchFamily="34" charset="0"/>
              </a:rPr>
              <a:t>Les interviews ont été réalisées du 27 septembre au 13 octobre 2018.</a:t>
            </a:r>
          </a:p>
        </p:txBody>
      </p:sp>
      <p:sp>
        <p:nvSpPr>
          <p:cNvPr id="101" name="ZoneTexte 100">
            <a:extLst>
              <a:ext uri="{FF2B5EF4-FFF2-40B4-BE49-F238E27FC236}">
                <a16:creationId xmlns:a16="http://schemas.microsoft.com/office/drawing/2014/main" id="{FBDB1520-2F6E-1F4F-AEC4-BFCA99716B86}"/>
              </a:ext>
            </a:extLst>
          </p:cNvPr>
          <p:cNvSpPr txBox="1"/>
          <p:nvPr/>
        </p:nvSpPr>
        <p:spPr>
          <a:xfrm>
            <a:off x="898226" y="4609859"/>
            <a:ext cx="7347548" cy="202967"/>
          </a:xfrm>
          <a:prstGeom prst="rect">
            <a:avLst/>
          </a:prstGeom>
          <a:noFill/>
        </p:spPr>
        <p:txBody>
          <a:bodyPr wrap="square" lIns="41587" tIns="20793" rIns="41587" bIns="20793" rtlCol="0">
            <a:spAutoFit/>
          </a:bodyPr>
          <a:lstStyle/>
          <a:p>
            <a:pPr marL="38988" algn="just">
              <a:tabLst>
                <a:tab pos="121295" algn="l"/>
              </a:tabLst>
              <a:defRPr/>
            </a:pPr>
            <a:r>
              <a:rPr lang="fr-FR" sz="1000" spc="-9" dirty="0" err="1">
                <a:latin typeface="Helvetica 75 Bold" panose="020B0804020202020204" pitchFamily="34" charset="0"/>
              </a:rPr>
              <a:t>OpinionWay</a:t>
            </a:r>
            <a:r>
              <a:rPr lang="fr-FR" sz="1000" spc="-9" dirty="0">
                <a:latin typeface="Helvetica 75 Bold" panose="020B0804020202020204" pitchFamily="34" charset="0"/>
              </a:rPr>
              <a:t> a réalisé cette enquête en appliquant les procédures et règles de la norme ISO 20252.</a:t>
            </a:r>
          </a:p>
        </p:txBody>
      </p:sp>
      <p:sp>
        <p:nvSpPr>
          <p:cNvPr id="57" name="Rectangle 56">
            <a:extLst>
              <a:ext uri="{FF2B5EF4-FFF2-40B4-BE49-F238E27FC236}">
                <a16:creationId xmlns:a16="http://schemas.microsoft.com/office/drawing/2014/main" id="{DDA44E0B-8F19-EE49-9D9D-C5CF71F7CE37}"/>
              </a:ext>
            </a:extLst>
          </p:cNvPr>
          <p:cNvSpPr/>
          <p:nvPr/>
        </p:nvSpPr>
        <p:spPr>
          <a:xfrm>
            <a:off x="6708026" y="2366093"/>
            <a:ext cx="1824414" cy="277666"/>
          </a:xfrm>
          <a:prstGeom prst="rect">
            <a:avLst/>
          </a:prstGeom>
        </p:spPr>
        <p:txBody>
          <a:bodyPr wrap="none" lIns="91433" tIns="45716" rIns="91433" bIns="45716">
            <a:noAutofit/>
          </a:bodyPr>
          <a:lstStyle/>
          <a:p>
            <a:r>
              <a:rPr lang="fr-FR" sz="800" spc="-20" dirty="0">
                <a:latin typeface="Helvetica 75 Bold" panose="020B0804020202020204" pitchFamily="34" charset="0"/>
              </a:rPr>
              <a:t>Clients des nouvelles banques </a:t>
            </a:r>
          </a:p>
          <a:p>
            <a:r>
              <a:rPr lang="fr-FR" sz="800" spc="-20" dirty="0">
                <a:latin typeface="Helvetica 75 Bold" panose="020B0804020202020204" pitchFamily="34" charset="0"/>
              </a:rPr>
              <a:t>(banques en ligne ou banques mobile)</a:t>
            </a:r>
          </a:p>
          <a:p>
            <a:r>
              <a:rPr lang="fr-FR" sz="800" spc="-20" dirty="0">
                <a:latin typeface="Helvetica 75" panose="020B0804020202020204"/>
              </a:rPr>
              <a:t>N = 433</a:t>
            </a:r>
            <a:endParaRPr lang="fr-FR" sz="800" dirty="0">
              <a:latin typeface="Helvetica 75" panose="020B0804020202020204"/>
            </a:endParaRPr>
          </a:p>
          <a:p>
            <a:endParaRPr lang="fr-FR" dirty="0">
              <a:latin typeface="Helvetica 75" panose="020B0804020202020204"/>
            </a:endParaRPr>
          </a:p>
        </p:txBody>
      </p:sp>
      <p:pic>
        <p:nvPicPr>
          <p:cNvPr id="58" name="Image 57">
            <a:extLst>
              <a:ext uri="{FF2B5EF4-FFF2-40B4-BE49-F238E27FC236}">
                <a16:creationId xmlns:a16="http://schemas.microsoft.com/office/drawing/2014/main" id="{894C2C78-E02A-3940-B9BD-A6740A46348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33686" y="2363815"/>
            <a:ext cx="396000" cy="396000"/>
          </a:xfrm>
          <a:prstGeom prst="rect">
            <a:avLst/>
          </a:prstGeom>
        </p:spPr>
      </p:pic>
    </p:spTree>
    <p:extLst>
      <p:ext uri="{BB962C8B-B14F-4D97-AF65-F5344CB8AC3E}">
        <p14:creationId xmlns:p14="http://schemas.microsoft.com/office/powerpoint/2010/main" val="15162707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516"/>
            <a:ext cx="3802968" cy="5128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ZoneTexte 3"/>
          <p:cNvSpPr txBox="1"/>
          <p:nvPr/>
        </p:nvSpPr>
        <p:spPr>
          <a:xfrm>
            <a:off x="4675975" y="215155"/>
            <a:ext cx="3751657" cy="395935"/>
          </a:xfrm>
          <a:prstGeom prst="rect">
            <a:avLst/>
          </a:prstGeom>
          <a:noFill/>
        </p:spPr>
        <p:txBody>
          <a:bodyPr wrap="none" lIns="41587" tIns="20793" rIns="41587" bIns="20793" rtlCol="0">
            <a:spAutoFit/>
          </a:bodyPr>
          <a:lstStyle/>
          <a:p>
            <a:r>
              <a:rPr lang="fr-FR" sz="2300" dirty="0">
                <a:solidFill>
                  <a:srgbClr val="FF7900"/>
                </a:solidFill>
                <a:latin typeface="Helvetica 75 Bold" panose="020B0804020202020204" pitchFamily="34" charset="0"/>
              </a:rPr>
              <a:t>Point de vue Orange Bank</a:t>
            </a:r>
          </a:p>
        </p:txBody>
      </p:sp>
      <p:sp>
        <p:nvSpPr>
          <p:cNvPr id="5" name="ZoneTexte 4"/>
          <p:cNvSpPr txBox="1"/>
          <p:nvPr/>
        </p:nvSpPr>
        <p:spPr>
          <a:xfrm>
            <a:off x="4154791" y="1428109"/>
            <a:ext cx="4713521" cy="1441763"/>
          </a:xfrm>
          <a:prstGeom prst="rect">
            <a:avLst/>
          </a:prstGeom>
          <a:noFill/>
        </p:spPr>
        <p:txBody>
          <a:bodyPr wrap="square" lIns="41587" tIns="20793" rIns="41587" bIns="20793" rtlCol="0">
            <a:spAutoFit/>
          </a:bodyPr>
          <a:lstStyle/>
          <a:p>
            <a:pPr>
              <a:buClr>
                <a:srgbClr val="FF7900"/>
              </a:buClr>
            </a:pPr>
            <a:r>
              <a:rPr lang="fr-FR" dirty="0">
                <a:latin typeface="Helvetica 75 Bold" panose="020B0804020202020204" pitchFamily="34" charset="0"/>
              </a:rPr>
              <a:t>« Les néo-banques se démocratisent et peuvent désormais se prétendre banque principale, pour autant qu’elles répondent aux exigences de transparence et de prix »</a:t>
            </a:r>
          </a:p>
        </p:txBody>
      </p:sp>
    </p:spTree>
    <p:extLst>
      <p:ext uri="{BB962C8B-B14F-4D97-AF65-F5344CB8AC3E}">
        <p14:creationId xmlns:p14="http://schemas.microsoft.com/office/powerpoint/2010/main" val="2407042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 name="Titre 1"/>
          <p:cNvSpPr>
            <a:spLocks noGrp="1"/>
          </p:cNvSpPr>
          <p:nvPr>
            <p:ph type="title"/>
          </p:nvPr>
        </p:nvSpPr>
        <p:spPr>
          <a:xfrm>
            <a:off x="220287" y="31713"/>
            <a:ext cx="8217225" cy="635982"/>
          </a:xfrm>
          <a:prstGeom prst="rect">
            <a:avLst/>
          </a:prstGeom>
        </p:spPr>
        <p:txBody>
          <a:bodyPr>
            <a:normAutofit/>
          </a:bodyPr>
          <a:lstStyle/>
          <a:p>
            <a:pPr defTabSz="651462">
              <a:defRPr sz="4560" b="1">
                <a:solidFill>
                  <a:srgbClr val="FF7600"/>
                </a:solidFill>
                <a:latin typeface="+mn-lt"/>
                <a:ea typeface="+mn-ea"/>
                <a:cs typeface="+mn-cs"/>
                <a:sym typeface="Helvetica"/>
              </a:defRPr>
            </a:pPr>
            <a:r>
              <a:rPr lang="fr-FR" sz="2400" dirty="0">
                <a:latin typeface="Helvetica 75 Bold" panose="020B0804020202020204" pitchFamily="34" charset="0"/>
              </a:rPr>
              <a:t>Agenda</a:t>
            </a:r>
            <a:endParaRPr sz="2400" dirty="0">
              <a:latin typeface="Helvetica 75 Bold" panose="020B0804020202020204" pitchFamily="34" charset="0"/>
            </a:endParaRPr>
          </a:p>
        </p:txBody>
      </p:sp>
      <p:sp>
        <p:nvSpPr>
          <p:cNvPr id="360" name="Numéro de diapositive"/>
          <p:cNvSpPr>
            <a:spLocks noGrp="1"/>
          </p:cNvSpPr>
          <p:nvPr>
            <p:ph type="sldNum" sz="quarter" idx="4294967295"/>
          </p:nvPr>
        </p:nvSpPr>
        <p:spPr>
          <a:xfrm>
            <a:off x="8710894" y="4678061"/>
            <a:ext cx="126956" cy="192358"/>
          </a:xfrm>
          <a:prstGeom prst="rect">
            <a:avLst/>
          </a:prstGeom>
          <a:extLst>
            <a:ext uri="{C572A759-6A51-4108-AA02-DFA0A04FC94B}">
              <ma14:wrappingTextBoxFlag xmlns="" xmlns:ma14="http://schemas.microsoft.com/office/mac/drawingml/2011/main" xmlns:mv="urn:schemas-microsoft-com:mac:vml" xmlns:mc="http://schemas.openxmlformats.org/markup-compatibility/2006" val="1"/>
            </a:ext>
          </a:extLst>
        </p:spPr>
        <p:txBody>
          <a:bodyPr/>
          <a:lstStyle>
            <a:lvl1pPr>
              <a:defRPr sz="800">
                <a:solidFill>
                  <a:srgbClr val="535353"/>
                </a:solidFill>
              </a:defRPr>
            </a:lvl1pPr>
          </a:lstStyle>
          <a:p>
            <a:fld id="{86CB4B4D-7CA3-9044-876B-883B54F8677D}" type="slidenum">
              <a:rPr/>
              <a:pPr/>
              <a:t>31</a:t>
            </a:fld>
            <a:endParaRPr/>
          </a:p>
        </p:txBody>
      </p:sp>
      <p:sp>
        <p:nvSpPr>
          <p:cNvPr id="52" name="Rectangle"/>
          <p:cNvSpPr/>
          <p:nvPr/>
        </p:nvSpPr>
        <p:spPr>
          <a:xfrm>
            <a:off x="6912256" y="1037881"/>
            <a:ext cx="1798638" cy="2352675"/>
          </a:xfrm>
          <a:prstGeom prst="rect">
            <a:avLst/>
          </a:prstGeom>
          <a:solidFill>
            <a:srgbClr val="4BB4E6"/>
          </a:solidFill>
          <a:ln w="12700">
            <a:miter lim="400000"/>
          </a:ln>
        </p:spPr>
        <p:txBody>
          <a:bodyPr lIns="34289" tIns="34289" rIns="34289" bIns="34289" anchor="ctr"/>
          <a:lstStyle/>
          <a:p>
            <a:pPr defTabSz="685783">
              <a:defRPr>
                <a:solidFill>
                  <a:srgbClr val="50BE87"/>
                </a:solidFill>
              </a:defRPr>
            </a:pPr>
            <a:endParaRPr sz="1400" kern="0">
              <a:solidFill>
                <a:srgbClr val="50BE87"/>
              </a:solidFill>
              <a:latin typeface="Calibri"/>
              <a:sym typeface="Calibri"/>
            </a:endParaRPr>
          </a:p>
        </p:txBody>
      </p:sp>
      <p:grpSp>
        <p:nvGrpSpPr>
          <p:cNvPr id="54" name="Grouper"/>
          <p:cNvGrpSpPr>
            <a:grpSpLocks/>
          </p:cNvGrpSpPr>
          <p:nvPr/>
        </p:nvGrpSpPr>
        <p:grpSpPr bwMode="auto">
          <a:xfrm>
            <a:off x="6488394" y="207618"/>
            <a:ext cx="2466975" cy="4349750"/>
            <a:chOff x="0" y="0"/>
            <a:chExt cx="6576145" cy="11601044"/>
          </a:xfrm>
        </p:grpSpPr>
        <p:pic>
          <p:nvPicPr>
            <p:cNvPr id="55" name="pasted-image.png" descr="pasted-imag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5971" y="1500781"/>
              <a:ext cx="4777151" cy="761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56" name="pasted-image.png" descr="pasted-image.png"/>
            <p:cNvPicPr>
              <a:picLocks noChangeAspect="1"/>
            </p:cNvPicPr>
            <p:nvPr/>
          </p:nvPicPr>
          <p:blipFill>
            <a:blip r:embed="rId4">
              <a:extLst>
                <a:ext uri="{28A0092B-C50C-407E-A947-70E740481C1C}">
                  <a14:useLocalDpi xmlns:a14="http://schemas.microsoft.com/office/drawing/2010/main" val="0"/>
                </a:ext>
              </a:extLst>
            </a:blip>
            <a:srcRect t="803"/>
            <a:stretch>
              <a:fillRect/>
            </a:stretch>
          </p:blipFill>
          <p:spPr bwMode="auto">
            <a:xfrm>
              <a:off x="1051188" y="9392532"/>
              <a:ext cx="4777027" cy="733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57" name="Iphone retouche VIDE.png" descr="Iphone retouche VIDE.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6576146" cy="11601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pic>
        <p:nvPicPr>
          <p:cNvPr id="58" name="MONTAGE screen tel Orange bank.png" descr="MONTAGE screen tel Orange bank.png"/>
          <p:cNvPicPr>
            <a:picLocks noChangeAspect="1"/>
          </p:cNvPicPr>
          <p:nvPr/>
        </p:nvPicPr>
        <p:blipFill>
          <a:blip r:embed="rId6">
            <a:extLst>
              <a:ext uri="{28A0092B-C50C-407E-A947-70E740481C1C}">
                <a14:useLocalDpi xmlns:a14="http://schemas.microsoft.com/office/drawing/2010/main" val="0"/>
              </a:ext>
            </a:extLst>
          </a:blip>
          <a:srcRect t="9148" r="74023" b="43721"/>
          <a:stretch>
            <a:fillRect/>
          </a:stretch>
        </p:blipFill>
        <p:spPr bwMode="auto">
          <a:xfrm>
            <a:off x="6883681" y="1053756"/>
            <a:ext cx="1790700"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9" name="Rectangle 58"/>
          <p:cNvSpPr/>
          <p:nvPr/>
        </p:nvSpPr>
        <p:spPr>
          <a:xfrm>
            <a:off x="6883369" y="1055600"/>
            <a:ext cx="1789475" cy="2335005"/>
          </a:xfrm>
          <a:prstGeom prst="rect">
            <a:avLst/>
          </a:prstGeom>
          <a:solidFill>
            <a:srgbClr val="4BB4E6"/>
          </a:solidFill>
          <a:ln w="25400" cap="flat">
            <a:noFill/>
            <a:prstDash val="solid"/>
            <a:miter lim="800000"/>
          </a:ln>
          <a:effectLst/>
          <a:sp3d/>
        </p:spPr>
        <p:style>
          <a:lnRef idx="0">
            <a:scrgbClr r="0" g="0" b="0"/>
          </a:lnRef>
          <a:fillRef idx="0">
            <a:scrgbClr r="0" g="0" b="0"/>
          </a:fillRef>
          <a:effectRef idx="0">
            <a:scrgbClr r="0" g="0" b="0"/>
          </a:effectRef>
          <a:fontRef idx="none"/>
        </p:style>
        <p:txBody>
          <a:bodyPr spcFirstLastPara="1" lIns="91439" tIns="91439" rIns="91439" bIns="91439" spcCol="38100" anchor="ctr">
            <a:spAutoFit/>
          </a:bodyPr>
          <a:lstStyle/>
          <a:p>
            <a:pPr defTabSz="1828800">
              <a:defRPr/>
            </a:pPr>
            <a:endParaRPr lang="fr-FR" sz="3600">
              <a:solidFill>
                <a:srgbClr val="000000"/>
              </a:solidFill>
              <a:latin typeface="Calibri"/>
              <a:ea typeface="+mj-ea"/>
              <a:cs typeface="+mj-cs"/>
              <a:sym typeface="Calibri"/>
            </a:endParaRPr>
          </a:p>
        </p:txBody>
      </p:sp>
      <p:sp>
        <p:nvSpPr>
          <p:cNvPr id="60" name="Titre 1"/>
          <p:cNvSpPr txBox="1">
            <a:spLocks/>
          </p:cNvSpPr>
          <p:nvPr/>
        </p:nvSpPr>
        <p:spPr>
          <a:xfrm>
            <a:off x="6916020" y="1124407"/>
            <a:ext cx="1794874" cy="1307564"/>
          </a:xfrm>
          <a:prstGeom prst="rect">
            <a:avLst/>
          </a:prstGeom>
          <a:ln w="25400">
            <a:miter lim="400000"/>
          </a:ln>
          <a:extLst>
            <a:ext uri="{C572A759-6A51-4108-AA02-DFA0A04FC94B}">
              <ma14:wrappingTextBoxFlag xmlns="" xmlns:ma14="http://schemas.microsoft.com/office/mac/drawingml/2011/main" xmlns:mv="urn:schemas-microsoft-com:mac:vml" xmlns:mc="http://schemas.openxmlformats.org/markup-compatibility/2006" val="1"/>
            </a:ext>
          </a:extLst>
        </p:spPr>
        <p:txBody>
          <a:bodyPr lIns="34288" tIns="34288" rIns="34288" bIns="34288" anchor="ctr">
            <a:noAutofit/>
          </a:bodyPr>
          <a:lstStyle>
            <a:lvl1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1pPr>
            <a:lvl2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2pPr>
            <a:lvl3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3pPr>
            <a:lvl4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4pPr>
            <a:lvl5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5pPr>
            <a:lvl6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6pPr>
            <a:lvl7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7pPr>
            <a:lvl8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8pPr>
            <a:lvl9pPr marL="0" marR="0" indent="0" algn="l" defTabSz="685766"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9pPr>
          </a:lstStyle>
          <a:p>
            <a:pPr>
              <a:lnSpc>
                <a:spcPct val="120000"/>
              </a:lnSpc>
            </a:pPr>
            <a:r>
              <a:rPr lang="fr-FR" altLang="fr-FR" sz="1800" b="1" kern="0" dirty="0">
                <a:solidFill>
                  <a:srgbClr val="FFFFFF"/>
                </a:solidFill>
                <a:latin typeface="Helvetica" pitchFamily="34" charset="0"/>
                <a:cs typeface="Helvetica" pitchFamily="34" charset="0"/>
                <a:sym typeface="Helvetica" pitchFamily="34" charset="0"/>
              </a:rPr>
              <a:t>… Bonjour </a:t>
            </a:r>
            <a:r>
              <a:rPr lang="fr-FR" altLang="fr-FR" sz="1800" b="1" kern="0" dirty="0" err="1">
                <a:solidFill>
                  <a:srgbClr val="FFFFFF"/>
                </a:solidFill>
                <a:latin typeface="Helvetica" pitchFamily="34" charset="0"/>
                <a:cs typeface="Helvetica" pitchFamily="34" charset="0"/>
                <a:sym typeface="Helvetica" pitchFamily="34" charset="0"/>
              </a:rPr>
              <a:t>Djingo</a:t>
            </a:r>
            <a:r>
              <a:rPr lang="fr-FR" altLang="fr-FR" sz="1800" b="1" kern="0" dirty="0">
                <a:solidFill>
                  <a:srgbClr val="FFFFFF"/>
                </a:solidFill>
                <a:latin typeface="Helvetica" pitchFamily="34" charset="0"/>
                <a:cs typeface="Helvetica" pitchFamily="34" charset="0"/>
                <a:sym typeface="Helvetica" pitchFamily="34" charset="0"/>
              </a:rPr>
              <a:t>…</a:t>
            </a:r>
            <a:endParaRPr lang="fr-FR" altLang="fr-FR" sz="900" b="1" kern="0" dirty="0">
              <a:solidFill>
                <a:srgbClr val="FFFFFF"/>
              </a:solidFill>
              <a:latin typeface="Helvetica" pitchFamily="34" charset="0"/>
              <a:cs typeface="Helvetica" pitchFamily="34" charset="0"/>
              <a:sym typeface="Helvetica" pitchFamily="34" charset="0"/>
            </a:endParaRPr>
          </a:p>
        </p:txBody>
      </p:sp>
      <p:sp>
        <p:nvSpPr>
          <p:cNvPr id="3" name="ZoneTexte 2"/>
          <p:cNvSpPr txBox="1"/>
          <p:nvPr/>
        </p:nvSpPr>
        <p:spPr>
          <a:xfrm>
            <a:off x="179512" y="1395231"/>
            <a:ext cx="6308882" cy="5355310"/>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571500" indent="-571500" defTabSz="1828800" hangingPunct="0">
              <a:buFont typeface="+mj-lt"/>
              <a:buAutoNum type="arabicPeriod"/>
            </a:pPr>
            <a:r>
              <a:rPr lang="fr-FR" sz="2400" b="1" dirty="0">
                <a:latin typeface="Helvetica 75 Bold" panose="020B0804020202020204" pitchFamily="34" charset="0"/>
                <a:sym typeface="Calibri"/>
              </a:rPr>
              <a:t>Les grandes tendances de consommation sur les produits bancaires en 2019</a:t>
            </a:r>
          </a:p>
          <a:p>
            <a:pPr marL="571500" indent="-571500" defTabSz="1828800" hangingPunct="0">
              <a:buFont typeface="+mj-lt"/>
              <a:buAutoNum type="arabicPeriod"/>
            </a:pPr>
            <a:endParaRPr lang="fr-FR" sz="2400" b="1" dirty="0">
              <a:solidFill>
                <a:srgbClr val="FF7900"/>
              </a:solidFill>
              <a:latin typeface="Helvetica 75 Bold" panose="020B0804020202020204" pitchFamily="34" charset="0"/>
              <a:ea typeface="+mj-ea"/>
              <a:cs typeface="+mj-cs"/>
              <a:sym typeface="Calibri"/>
            </a:endParaRPr>
          </a:p>
          <a:p>
            <a:pPr marL="571500" indent="-571500" defTabSz="1828800" hangingPunct="0">
              <a:buFont typeface="+mj-lt"/>
              <a:buAutoNum type="arabicPeriod"/>
            </a:pPr>
            <a:r>
              <a:rPr lang="fr-FR" sz="2400" b="1" dirty="0">
                <a:solidFill>
                  <a:schemeClr val="accent1"/>
                </a:solidFill>
                <a:latin typeface="Helvetica 75 Bold" panose="020B0804020202020204" pitchFamily="34" charset="0"/>
                <a:sym typeface="Calibri"/>
              </a:rPr>
              <a:t>La stratégie et les éléments différenciant des néo-banques grâce au digital</a:t>
            </a:r>
          </a:p>
          <a:p>
            <a:pPr marL="571500" lvl="0" indent="-571500" defTabSz="1828800" hangingPunct="0">
              <a:buFont typeface="+mj-lt"/>
              <a:buAutoNum type="arabicPeriod"/>
            </a:pPr>
            <a:endParaRPr lang="fr-FR" sz="2400" b="1" dirty="0">
              <a:solidFill>
                <a:srgbClr val="FF7900"/>
              </a:solidFill>
              <a:latin typeface="Calibri"/>
              <a:ea typeface="+mj-ea"/>
              <a:cs typeface="+mj-cs"/>
              <a:sym typeface="Calibri"/>
            </a:endParaRPr>
          </a:p>
          <a:p>
            <a:pPr marL="571500" lvl="0" indent="-571500" defTabSz="1828800" hangingPunct="0">
              <a:buFont typeface="+mj-lt"/>
              <a:buAutoNum type="arabicPeriod"/>
            </a:pPr>
            <a:endParaRPr lang="fr-FR" sz="2400" b="1" dirty="0">
              <a:solidFill>
                <a:srgbClr val="FF7900"/>
              </a:solidFill>
              <a:latin typeface="Calibri"/>
              <a:ea typeface="+mj-ea"/>
              <a:cs typeface="+mj-cs"/>
              <a:sym typeface="Calibri"/>
            </a:endParaRPr>
          </a:p>
          <a:p>
            <a:pPr defTabSz="1828800" hangingPunct="0"/>
            <a:endParaRPr lang="fr-FR" sz="2400" b="1" dirty="0">
              <a:solidFill>
                <a:srgbClr val="FF7900"/>
              </a:solidFill>
              <a:latin typeface="Calibri"/>
              <a:ea typeface="+mj-ea"/>
              <a:cs typeface="+mj-cs"/>
              <a:sym typeface="Calibri"/>
            </a:endParaRPr>
          </a:p>
          <a:p>
            <a:pPr lvl="0" defTabSz="1828800" hangingPunct="0"/>
            <a:endParaRPr lang="fr-FR" sz="2400" b="1" dirty="0">
              <a:solidFill>
                <a:srgbClr val="000000"/>
              </a:solidFill>
              <a:latin typeface="Calibri"/>
              <a:ea typeface="+mj-ea"/>
              <a:cs typeface="+mj-cs"/>
              <a:sym typeface="Calibri"/>
            </a:endParaRPr>
          </a:p>
          <a:p>
            <a:pPr marL="571500" indent="-571500" defTabSz="1828800" hangingPunct="0">
              <a:buFont typeface="+mj-lt"/>
              <a:buAutoNum type="arabicPeriod"/>
            </a:pPr>
            <a:endParaRPr lang="fr-FR" sz="2400" b="1" dirty="0">
              <a:solidFill>
                <a:srgbClr val="FF7900"/>
              </a:solidFill>
              <a:latin typeface="+mj-lt"/>
              <a:ea typeface="+mj-ea"/>
              <a:cs typeface="+mj-cs"/>
              <a:sym typeface="Calibri"/>
            </a:endParaRPr>
          </a:p>
          <a:p>
            <a:pPr marR="0" algn="l" defTabSz="1828800" rtl="0" fontAlgn="auto" latinLnBrk="0" hangingPunct="0">
              <a:lnSpc>
                <a:spcPct val="100000"/>
              </a:lnSpc>
              <a:spcBef>
                <a:spcPts val="0"/>
              </a:spcBef>
              <a:spcAft>
                <a:spcPts val="0"/>
              </a:spcAft>
              <a:buClrTx/>
              <a:buSzTx/>
              <a:tabLst/>
            </a:pPr>
            <a:endParaRPr kumimoji="0" lang="fr-FR" sz="2400" b="1" i="0" u="none" strike="noStrike" cap="none" spc="0" normalizeH="0" baseline="0" dirty="0">
              <a:ln>
                <a:noFill/>
              </a:ln>
              <a:solidFill>
                <a:srgbClr val="000000"/>
              </a:solidFill>
              <a:effectLst/>
              <a:uFillTx/>
              <a:latin typeface="+mj-lt"/>
              <a:ea typeface="+mj-ea"/>
              <a:cs typeface="+mj-cs"/>
              <a:sym typeface="Calibri"/>
            </a:endParaRPr>
          </a:p>
          <a:p>
            <a:pPr marR="0" algn="l" defTabSz="1828800" rtl="0" fontAlgn="auto" latinLnBrk="0" hangingPunct="0">
              <a:lnSpc>
                <a:spcPct val="100000"/>
              </a:lnSpc>
              <a:spcBef>
                <a:spcPts val="0"/>
              </a:spcBef>
              <a:spcAft>
                <a:spcPts val="0"/>
              </a:spcAft>
              <a:buClrTx/>
              <a:buSzTx/>
              <a:tabLst/>
            </a:pPr>
            <a:endParaRPr lang="fr-FR" sz="2400" b="1" dirty="0">
              <a:solidFill>
                <a:srgbClr val="000000"/>
              </a:solidFill>
              <a:latin typeface="+mj-lt"/>
              <a:ea typeface="+mj-ea"/>
              <a:cs typeface="+mj-cs"/>
              <a:sym typeface="Calibri"/>
            </a:endParaRPr>
          </a:p>
        </p:txBody>
      </p:sp>
    </p:spTree>
    <p:extLst>
      <p:ext uri="{BB962C8B-B14F-4D97-AF65-F5344CB8AC3E}">
        <p14:creationId xmlns:p14="http://schemas.microsoft.com/office/powerpoint/2010/main" val="3507177119"/>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163602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3" name="Diapositive think-cell" r:id="rId46" imgW="360" imgH="360" progId="TCLayout.ActiveDocument.1">
                  <p:embed/>
                </p:oleObj>
              </mc:Choice>
              <mc:Fallback>
                <p:oleObj name="Diapositive think-cell" r:id="rId46" imgW="360" imgH="360" progId="TCLayout.ActiveDocument.1">
                  <p:embed/>
                  <p:pic>
                    <p:nvPicPr>
                      <p:cNvPr id="0" name=""/>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000" dirty="0">
              <a:solidFill>
                <a:srgbClr val="000000"/>
              </a:solidFill>
              <a:latin typeface="Helvetica 65 Medium"/>
              <a:ea typeface="ＭＳ Ｐゴシック"/>
              <a:sym typeface="Helvetica 65 Medium"/>
            </a:endParaRPr>
          </a:p>
        </p:txBody>
      </p:sp>
      <p:sp>
        <p:nvSpPr>
          <p:cNvPr id="3" name="Titre 2"/>
          <p:cNvSpPr>
            <a:spLocks noGrp="1"/>
          </p:cNvSpPr>
          <p:nvPr>
            <p:ph type="title"/>
          </p:nvPr>
        </p:nvSpPr>
        <p:spPr>
          <a:xfrm>
            <a:off x="251520" y="219669"/>
            <a:ext cx="8470900" cy="263849"/>
          </a:xfrm>
        </p:spPr>
        <p:txBody>
          <a:bodyPr/>
          <a:lstStyle/>
          <a:p>
            <a:r>
              <a:rPr lang="fr-FR" sz="1600" dirty="0">
                <a:solidFill>
                  <a:srgbClr val="FF7900"/>
                </a:solidFill>
              </a:rPr>
              <a:t>Acquisition clients des banques en ligne et mobiles</a:t>
            </a:r>
          </a:p>
        </p:txBody>
      </p:sp>
      <p:grpSp>
        <p:nvGrpSpPr>
          <p:cNvPr id="9" name="Groupe 8"/>
          <p:cNvGrpSpPr/>
          <p:nvPr/>
        </p:nvGrpSpPr>
        <p:grpSpPr>
          <a:xfrm>
            <a:off x="107504" y="1105439"/>
            <a:ext cx="2736304" cy="3535451"/>
            <a:chOff x="107505" y="935311"/>
            <a:chExt cx="2736304" cy="3535451"/>
          </a:xfrm>
        </p:grpSpPr>
        <p:grpSp>
          <p:nvGrpSpPr>
            <p:cNvPr id="7" name="Groupe 6"/>
            <p:cNvGrpSpPr/>
            <p:nvPr/>
          </p:nvGrpSpPr>
          <p:grpSpPr>
            <a:xfrm>
              <a:off x="107505" y="1018535"/>
              <a:ext cx="2736304" cy="3452227"/>
              <a:chOff x="133009" y="789136"/>
              <a:chExt cx="2736304" cy="3810124"/>
            </a:xfrm>
          </p:grpSpPr>
          <p:sp>
            <p:nvSpPr>
              <p:cNvPr id="10" name="Rectangle 9"/>
              <p:cNvSpPr/>
              <p:nvPr/>
            </p:nvSpPr>
            <p:spPr>
              <a:xfrm>
                <a:off x="133009" y="789136"/>
                <a:ext cx="2736304" cy="3810124"/>
              </a:xfrm>
              <a:prstGeom prst="rect">
                <a:avLst/>
              </a:prstGeom>
            </p:spPr>
            <p:txBody>
              <a:bodyPr wrap="square">
                <a:spAutoFit/>
              </a:bodyPr>
              <a:lstStyle/>
              <a:p>
                <a:pPr>
                  <a:spcAft>
                    <a:spcPts val="600"/>
                  </a:spcAft>
                  <a:buClr>
                    <a:srgbClr val="5C5C5C"/>
                  </a:buClr>
                  <a:buSzPct val="400000"/>
                </a:pPr>
                <a:r>
                  <a:rPr lang="fr-FR" sz="1000" dirty="0">
                    <a:solidFill>
                      <a:srgbClr val="FF7900"/>
                    </a:solidFill>
                    <a:cs typeface="Arial" panose="020B0604020202020204" pitchFamily="34" charset="0"/>
                  </a:rPr>
                  <a:t>        Marché des banques en ligne et </a:t>
                </a:r>
                <a:r>
                  <a:rPr lang="fr-FR" sz="1000" dirty="0" err="1">
                    <a:solidFill>
                      <a:srgbClr val="FF7900"/>
                    </a:solidFill>
                    <a:cs typeface="Arial" panose="020B0604020202020204" pitchFamily="34" charset="0"/>
                  </a:rPr>
                  <a:t>néobanques</a:t>
                </a:r>
                <a:endParaRPr lang="fr-FR" sz="1000" dirty="0">
                  <a:solidFill>
                    <a:srgbClr val="FFFFFF"/>
                  </a:solidFill>
                  <a:cs typeface="Arial" panose="020B0604020202020204" pitchFamily="34" charset="0"/>
                </a:endParaRPr>
              </a:p>
              <a:p>
                <a:pPr marL="171450" indent="-171450">
                  <a:spcAft>
                    <a:spcPts val="1000"/>
                  </a:spcAft>
                  <a:buFont typeface="Wingdings" panose="05000000000000000000" pitchFamily="2" charset="2"/>
                  <a:buChar char="§"/>
                </a:pPr>
                <a:r>
                  <a:rPr lang="fr-FR" sz="1000" b="1" dirty="0">
                    <a:solidFill>
                      <a:srgbClr val="000000"/>
                    </a:solidFill>
                    <a:cs typeface="Arial" panose="020B0604020202020204" pitchFamily="34" charset="0"/>
                  </a:rPr>
                  <a:t>2,6 millions de clients actifs : </a:t>
                </a:r>
                <a:r>
                  <a:rPr lang="fr-FR" sz="1000" dirty="0">
                    <a:solidFill>
                      <a:srgbClr val="000000"/>
                    </a:solidFill>
                    <a:latin typeface="Helvetica 55 Roman" panose="020B0604020202020204" pitchFamily="34" charset="0"/>
                    <a:cs typeface="Arial" panose="020B0604020202020204" pitchFamily="34" charset="0"/>
                  </a:rPr>
                  <a:t>multiplié par 3,5 entre juillet 2017 et juillet 2019 </a:t>
                </a:r>
                <a:r>
                  <a:rPr lang="fr-FR" sz="1000" baseline="30000" dirty="0">
                    <a:solidFill>
                      <a:srgbClr val="000000"/>
                    </a:solidFill>
                    <a:latin typeface="Helvetica 55 Roman" panose="020B0604020202020204" pitchFamily="34" charset="0"/>
                    <a:cs typeface="Arial" panose="020B0604020202020204" pitchFamily="34" charset="0"/>
                  </a:rPr>
                  <a:t>(1)</a:t>
                </a:r>
                <a:endParaRPr lang="fr-FR" sz="1000" b="1" baseline="30000" dirty="0">
                  <a:solidFill>
                    <a:srgbClr val="000000"/>
                  </a:solidFill>
                  <a:cs typeface="Arial" panose="020B0604020202020204" pitchFamily="34" charset="0"/>
                </a:endParaRPr>
              </a:p>
              <a:p>
                <a:pPr marL="171450" indent="-171450">
                  <a:spcAft>
                    <a:spcPts val="1200"/>
                  </a:spcAft>
                  <a:buFont typeface="Wingdings" panose="05000000000000000000" pitchFamily="2" charset="2"/>
                  <a:buChar char="§"/>
                </a:pPr>
                <a:r>
                  <a:rPr lang="fr-FR" sz="1000" b="1" dirty="0">
                    <a:solidFill>
                      <a:srgbClr val="000000"/>
                    </a:solidFill>
                    <a:cs typeface="Arial" panose="020B0604020202020204" pitchFamily="34" charset="0"/>
                  </a:rPr>
                  <a:t>17 000 comptes par semaine </a:t>
                </a:r>
                <a:r>
                  <a:rPr lang="fr-FR" sz="1000" dirty="0">
                    <a:solidFill>
                      <a:srgbClr val="000000"/>
                    </a:solidFill>
                    <a:latin typeface="Helvetica 55 Roman" panose="020B0604020202020204" pitchFamily="34" charset="0"/>
                    <a:cs typeface="Arial" panose="020B0604020202020204" pitchFamily="34" charset="0"/>
                  </a:rPr>
                  <a:t>sont ouverts et actifs </a:t>
                </a:r>
                <a:r>
                  <a:rPr lang="fr-FR" sz="1000" baseline="30000" dirty="0">
                    <a:solidFill>
                      <a:srgbClr val="000000"/>
                    </a:solidFill>
                    <a:latin typeface="Helvetica 55 Roman" panose="020B0604020202020204" pitchFamily="34" charset="0"/>
                    <a:cs typeface="Arial" panose="020B0604020202020204" pitchFamily="34" charset="0"/>
                  </a:rPr>
                  <a:t>(1)</a:t>
                </a:r>
                <a:endParaRPr lang="fr-FR" sz="1000" dirty="0">
                  <a:solidFill>
                    <a:srgbClr val="000000"/>
                  </a:solidFill>
                  <a:latin typeface="Helvetica 55 Roman" panose="020B0604020202020204" pitchFamily="34" charset="0"/>
                  <a:cs typeface="Arial" panose="020B0604020202020204" pitchFamily="34" charset="0"/>
                </a:endParaRPr>
              </a:p>
              <a:p>
                <a:pPr>
                  <a:spcAft>
                    <a:spcPts val="600"/>
                  </a:spcAft>
                </a:pPr>
                <a:r>
                  <a:rPr lang="fr-FR" sz="1000" dirty="0">
                    <a:solidFill>
                      <a:srgbClr val="FF7900"/>
                    </a:solidFill>
                    <a:cs typeface="Arial" panose="020B0604020202020204" pitchFamily="34" charset="0"/>
                  </a:rPr>
                  <a:t>        Le paiement mobile représente moins de 1% des paiements sans contact</a:t>
                </a:r>
                <a:endParaRPr lang="fr-FR" sz="1000" dirty="0">
                  <a:solidFill>
                    <a:srgbClr val="FFFFFF"/>
                  </a:solidFill>
                  <a:cs typeface="Arial" panose="020B0604020202020204" pitchFamily="34" charset="0"/>
                </a:endParaRPr>
              </a:p>
              <a:p>
                <a:pPr marL="171450" indent="-171450">
                  <a:spcAft>
                    <a:spcPts val="1200"/>
                  </a:spcAft>
                  <a:buFont typeface="Wingdings" panose="05000000000000000000" pitchFamily="2" charset="2"/>
                  <a:buChar char="§"/>
                </a:pPr>
                <a:r>
                  <a:rPr lang="fr-FR" sz="1000" dirty="0">
                    <a:solidFill>
                      <a:srgbClr val="000000"/>
                    </a:solidFill>
                    <a:cs typeface="Arial" panose="020B0604020202020204" pitchFamily="34" charset="0"/>
                  </a:rPr>
                  <a:t>35% des e-achats</a:t>
                </a:r>
                <a:r>
                  <a:rPr lang="fr-FR" sz="1000" dirty="0">
                    <a:solidFill>
                      <a:srgbClr val="000000"/>
                    </a:solidFill>
                    <a:latin typeface="Helvetica 55 Roman" panose="020B0604020202020204" pitchFamily="34" charset="0"/>
                    <a:cs typeface="Arial" panose="020B0604020202020204" pitchFamily="34" charset="0"/>
                  </a:rPr>
                  <a:t> se font cependant avec un smartphone </a:t>
                </a:r>
                <a:r>
                  <a:rPr lang="fr-FR" sz="1000" baseline="30000" dirty="0">
                    <a:solidFill>
                      <a:srgbClr val="000000"/>
                    </a:solidFill>
                    <a:latin typeface="Helvetica 55 Roman" panose="020B0604020202020204" pitchFamily="34" charset="0"/>
                    <a:cs typeface="Arial" panose="020B0604020202020204" pitchFamily="34" charset="0"/>
                  </a:rPr>
                  <a:t>(2)</a:t>
                </a:r>
              </a:p>
              <a:p>
                <a:pPr marL="171450" indent="-171450">
                  <a:spcAft>
                    <a:spcPts val="1200"/>
                  </a:spcAft>
                  <a:buFont typeface="Wingdings" panose="05000000000000000000" pitchFamily="2" charset="2"/>
                  <a:buChar char="§"/>
                </a:pPr>
                <a:r>
                  <a:rPr lang="fr-FR" sz="1000" dirty="0" err="1">
                    <a:solidFill>
                      <a:srgbClr val="000000"/>
                    </a:solidFill>
                    <a:latin typeface="Helvetica 55 Roman" panose="020B0604020202020204" pitchFamily="34" charset="0"/>
                    <a:cs typeface="Arial" panose="020B0604020202020204" pitchFamily="34" charset="0"/>
                  </a:rPr>
                  <a:t>Paylib</a:t>
                </a:r>
                <a:r>
                  <a:rPr lang="fr-FR" sz="1000" dirty="0">
                    <a:solidFill>
                      <a:srgbClr val="000000"/>
                    </a:solidFill>
                    <a:latin typeface="Helvetica 55 Roman" panose="020B0604020202020204" pitchFamily="34" charset="0"/>
                    <a:cs typeface="Arial" panose="020B0604020202020204" pitchFamily="34" charset="0"/>
                  </a:rPr>
                  <a:t> enregistre 2,3 m de clients en sept 2019 (+0,9 m / été 2018)</a:t>
                </a:r>
              </a:p>
              <a:p>
                <a:pPr>
                  <a:spcAft>
                    <a:spcPts val="1200"/>
                  </a:spcAft>
                </a:pPr>
                <a:r>
                  <a:rPr lang="fr-FR" sz="1000" dirty="0">
                    <a:solidFill>
                      <a:srgbClr val="FF6600"/>
                    </a:solidFill>
                    <a:cs typeface="Arial" panose="020B0604020202020204" pitchFamily="34" charset="0"/>
                  </a:rPr>
                  <a:t>        </a:t>
                </a:r>
                <a:r>
                  <a:rPr lang="fr-FR" sz="1000" dirty="0" err="1">
                    <a:solidFill>
                      <a:srgbClr val="FF6600"/>
                    </a:solidFill>
                    <a:cs typeface="Arial" panose="020B0604020202020204" pitchFamily="34" charset="0"/>
                  </a:rPr>
                  <a:t>Boursorma</a:t>
                </a:r>
                <a:r>
                  <a:rPr lang="fr-FR" sz="1000" dirty="0">
                    <a:solidFill>
                      <a:srgbClr val="FF6600"/>
                    </a:solidFill>
                    <a:cs typeface="Arial" panose="020B0604020202020204" pitchFamily="34" charset="0"/>
                  </a:rPr>
                  <a:t> lance </a:t>
                </a:r>
                <a:r>
                  <a:rPr lang="fr-FR" sz="1000" dirty="0" err="1">
                    <a:solidFill>
                      <a:srgbClr val="FF6600"/>
                    </a:solidFill>
                    <a:cs typeface="Arial" panose="020B0604020202020204" pitchFamily="34" charset="0"/>
                  </a:rPr>
                  <a:t>Ultim</a:t>
                </a:r>
                <a:r>
                  <a:rPr lang="fr-FR" sz="1000" dirty="0">
                    <a:solidFill>
                      <a:srgbClr val="FF6600"/>
                    </a:solidFill>
                    <a:cs typeface="Arial" panose="020B0604020202020204" pitchFamily="34" charset="0"/>
                  </a:rPr>
                  <a:t>, une carte Premium gratuite</a:t>
                </a:r>
              </a:p>
              <a:p>
                <a:pPr marL="171450" indent="-171450">
                  <a:buFont typeface="Wingdings" panose="05000000000000000000" pitchFamily="2" charset="2"/>
                  <a:buChar char="§"/>
                </a:pPr>
                <a:r>
                  <a:rPr lang="fr-FR" sz="1000" b="1" dirty="0">
                    <a:solidFill>
                      <a:srgbClr val="000000"/>
                    </a:solidFill>
                    <a:cs typeface="Arial" panose="020B0604020202020204" pitchFamily="34" charset="0"/>
                  </a:rPr>
                  <a:t>50 000 comptes ouverts en ligne en un mois </a:t>
                </a:r>
                <a:r>
                  <a:rPr lang="fr-FR" sz="1000" baseline="30000" dirty="0">
                    <a:solidFill>
                      <a:srgbClr val="000000"/>
                    </a:solidFill>
                    <a:latin typeface="Helvetica 55 Roman" panose="020B0604020202020204" pitchFamily="34" charset="0"/>
                    <a:cs typeface="Arial" panose="020B0604020202020204" pitchFamily="34" charset="0"/>
                  </a:rPr>
                  <a:t>(4)</a:t>
                </a:r>
                <a:endParaRPr lang="fr-FR" sz="1000" dirty="0">
                  <a:solidFill>
                    <a:srgbClr val="000000"/>
                  </a:solidFill>
                  <a:latin typeface="Helvetica 55 Roman" panose="020B0604020202020204" pitchFamily="34" charset="0"/>
                  <a:cs typeface="Arial" panose="020B0604020202020204" pitchFamily="34" charset="0"/>
                </a:endParaRPr>
              </a:p>
            </p:txBody>
          </p:sp>
          <p:sp>
            <p:nvSpPr>
              <p:cNvPr id="11" name="Ellipse 10"/>
              <p:cNvSpPr/>
              <p:nvPr/>
            </p:nvSpPr>
            <p:spPr>
              <a:xfrm>
                <a:off x="243076" y="2077190"/>
                <a:ext cx="162934" cy="175457"/>
              </a:xfrm>
              <a:prstGeom prst="ellipse">
                <a:avLst/>
              </a:prstGeom>
              <a:solidFill>
                <a:srgbClr val="FF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12" name="Ellipse 11"/>
              <p:cNvSpPr/>
              <p:nvPr/>
            </p:nvSpPr>
            <p:spPr>
              <a:xfrm>
                <a:off x="243076" y="801842"/>
                <a:ext cx="162934" cy="175457"/>
              </a:xfrm>
              <a:prstGeom prst="ellipse">
                <a:avLst/>
              </a:prstGeom>
              <a:solidFill>
                <a:srgbClr val="5DC3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grpSp>
        <p:sp>
          <p:nvSpPr>
            <p:cNvPr id="8" name="Rectangle 7"/>
            <p:cNvSpPr/>
            <p:nvPr/>
          </p:nvSpPr>
          <p:spPr>
            <a:xfrm>
              <a:off x="107505" y="935311"/>
              <a:ext cx="2736304" cy="353545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0000"/>
                </a:solidFill>
              </a:endParaRPr>
            </a:p>
          </p:txBody>
        </p:sp>
        <p:sp>
          <p:nvSpPr>
            <p:cNvPr id="18" name="Ellipse 17"/>
            <p:cNvSpPr/>
            <p:nvPr/>
          </p:nvSpPr>
          <p:spPr>
            <a:xfrm>
              <a:off x="217572" y="3450301"/>
              <a:ext cx="162934" cy="175457"/>
            </a:xfrm>
            <a:prstGeom prst="ellipse">
              <a:avLst/>
            </a:prstGeom>
            <a:solidFill>
              <a:srgbClr val="4BB4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grpSp>
      <p:cxnSp>
        <p:nvCxnSpPr>
          <p:cNvPr id="13" name="Connecteur droit 12"/>
          <p:cNvCxnSpPr/>
          <p:nvPr>
            <p:custDataLst>
              <p:tags r:id="rId4"/>
            </p:custDataLst>
          </p:nvPr>
        </p:nvCxnSpPr>
        <p:spPr bwMode="gray">
          <a:xfrm>
            <a:off x="3441700" y="1177925"/>
            <a:ext cx="3938588"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custDataLst>
              <p:tags r:id="rId5"/>
            </p:custDataLst>
          </p:nvPr>
        </p:nvCxnSpPr>
        <p:spPr bwMode="gray">
          <a:xfrm>
            <a:off x="3441700" y="1982788"/>
            <a:ext cx="3938588"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custDataLst>
              <p:tags r:id="rId6"/>
            </p:custDataLst>
          </p:nvPr>
        </p:nvCxnSpPr>
        <p:spPr bwMode="gray">
          <a:xfrm>
            <a:off x="3441700" y="2789238"/>
            <a:ext cx="3938588"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Connecteur droit 25"/>
          <p:cNvCxnSpPr/>
          <p:nvPr>
            <p:custDataLst>
              <p:tags r:id="rId7"/>
            </p:custDataLst>
          </p:nvPr>
        </p:nvCxnSpPr>
        <p:spPr bwMode="gray">
          <a:xfrm>
            <a:off x="3441700" y="3594100"/>
            <a:ext cx="3938588"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Connecteur droit 45"/>
          <p:cNvCxnSpPr/>
          <p:nvPr>
            <p:custDataLst>
              <p:tags r:id="rId8"/>
            </p:custDataLst>
          </p:nvPr>
        </p:nvCxnSpPr>
        <p:spPr bwMode="auto">
          <a:xfrm flipV="1">
            <a:off x="5129213" y="4400550"/>
            <a:ext cx="0" cy="428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Connecteur droit 34"/>
          <p:cNvCxnSpPr/>
          <p:nvPr>
            <p:custDataLst>
              <p:tags r:id="rId9"/>
            </p:custDataLst>
          </p:nvPr>
        </p:nvCxnSpPr>
        <p:spPr bwMode="auto">
          <a:xfrm flipV="1">
            <a:off x="7380288" y="4400550"/>
            <a:ext cx="0" cy="428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Connecteur droit 40"/>
          <p:cNvCxnSpPr/>
          <p:nvPr>
            <p:custDataLst>
              <p:tags r:id="rId10"/>
            </p:custDataLst>
          </p:nvPr>
        </p:nvCxnSpPr>
        <p:spPr bwMode="auto">
          <a:xfrm flipV="1">
            <a:off x="4003675" y="4400550"/>
            <a:ext cx="0" cy="428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Connecteur droit 33"/>
          <p:cNvCxnSpPr/>
          <p:nvPr>
            <p:custDataLst>
              <p:tags r:id="rId11"/>
            </p:custDataLst>
          </p:nvPr>
        </p:nvCxnSpPr>
        <p:spPr bwMode="auto">
          <a:xfrm flipV="1">
            <a:off x="5692775" y="4400550"/>
            <a:ext cx="0" cy="428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Connecteur droit 36"/>
          <p:cNvCxnSpPr/>
          <p:nvPr>
            <p:custDataLst>
              <p:tags r:id="rId12"/>
            </p:custDataLst>
          </p:nvPr>
        </p:nvCxnSpPr>
        <p:spPr bwMode="auto">
          <a:xfrm flipV="1">
            <a:off x="6254750" y="4400550"/>
            <a:ext cx="0" cy="428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Connecteur droit 4"/>
          <p:cNvCxnSpPr/>
          <p:nvPr>
            <p:custDataLst>
              <p:tags r:id="rId13"/>
            </p:custDataLst>
          </p:nvPr>
        </p:nvCxnSpPr>
        <p:spPr bwMode="auto">
          <a:xfrm flipV="1">
            <a:off x="3441700" y="4400550"/>
            <a:ext cx="0" cy="428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Connecteur droit 41"/>
          <p:cNvCxnSpPr/>
          <p:nvPr>
            <p:custDataLst>
              <p:tags r:id="rId14"/>
            </p:custDataLst>
          </p:nvPr>
        </p:nvCxnSpPr>
        <p:spPr bwMode="auto">
          <a:xfrm flipV="1">
            <a:off x="4567238" y="4400550"/>
            <a:ext cx="0" cy="428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Connecteur droit 32"/>
          <p:cNvCxnSpPr/>
          <p:nvPr>
            <p:custDataLst>
              <p:tags r:id="rId15"/>
            </p:custDataLst>
          </p:nvPr>
        </p:nvCxnSpPr>
        <p:spPr bwMode="auto">
          <a:xfrm flipV="1">
            <a:off x="6818313" y="4400550"/>
            <a:ext cx="0" cy="428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91" name="Chart 3"/>
          <p:cNvGraphicFramePr/>
          <p:nvPr>
            <p:custDataLst>
              <p:tags r:id="rId16"/>
            </p:custDataLst>
            <p:extLst>
              <p:ext uri="{D42A27DB-BD31-4B8C-83A1-F6EECF244321}">
                <p14:modId xmlns:p14="http://schemas.microsoft.com/office/powerpoint/2010/main" val="1196898367"/>
              </p:ext>
            </p:extLst>
          </p:nvPr>
        </p:nvGraphicFramePr>
        <p:xfrm>
          <a:off x="3359150" y="1095375"/>
          <a:ext cx="4103688" cy="3387725"/>
        </p:xfrm>
        <a:graphic>
          <a:graphicData uri="http://schemas.openxmlformats.org/drawingml/2006/chart">
            <c:chart xmlns:c="http://schemas.openxmlformats.org/drawingml/2006/chart" xmlns:r="http://schemas.openxmlformats.org/officeDocument/2006/relationships" r:id="rId48"/>
          </a:graphicData>
        </a:graphic>
      </p:graphicFrame>
      <p:sp>
        <p:nvSpPr>
          <p:cNvPr id="92" name="Text Placeholder 2"/>
          <p:cNvSpPr>
            <a:spLocks noGrp="1"/>
          </p:cNvSpPr>
          <p:nvPr>
            <p:custDataLst>
              <p:tags r:id="rId17"/>
            </p:custDataLst>
          </p:nvPr>
        </p:nvSpPr>
        <p:spPr bwMode="gray">
          <a:xfrm>
            <a:off x="3190875" y="4498976"/>
            <a:ext cx="5016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9AD7A2D5-AC1D-4B89-82BF-34B1BB870762}" type="datetime'''''''''''J''''''''an''v.''''-''''''''''''''''''''0''''6'''">
              <a:rPr lang="fr-FR" altLang="en-US" sz="1000" smtClean="0">
                <a:solidFill>
                  <a:srgbClr val="000000"/>
                </a:solidFill>
                <a:latin typeface="Helvetica 65 Medium"/>
                <a:ea typeface="ＭＳ Ｐゴシック"/>
                <a:sym typeface="Helvetica 65 Medium"/>
              </a:rPr>
              <a:pPr marL="0" lvl="1" algn="ctr">
                <a:spcAft>
                  <a:spcPct val="0"/>
                </a:spcAft>
              </a:pPr>
              <a:t>Janv.-06</a:t>
            </a:fld>
            <a:endParaRPr lang="fr-FR" altLang="en-US" sz="1000" dirty="0">
              <a:solidFill>
                <a:srgbClr val="000000"/>
              </a:solidFill>
              <a:latin typeface="Helvetica 65 Medium"/>
              <a:ea typeface="ＭＳ Ｐゴシック"/>
              <a:sym typeface="Helvetica 65 Medium"/>
            </a:endParaRPr>
          </a:p>
        </p:txBody>
      </p:sp>
      <p:sp>
        <p:nvSpPr>
          <p:cNvPr id="93" name="Text Placeholder 2"/>
          <p:cNvSpPr>
            <a:spLocks noGrp="1"/>
          </p:cNvSpPr>
          <p:nvPr>
            <p:custDataLst>
              <p:tags r:id="rId18"/>
            </p:custDataLst>
          </p:nvPr>
        </p:nvSpPr>
        <p:spPr bwMode="gray">
          <a:xfrm>
            <a:off x="3752850" y="4498976"/>
            <a:ext cx="5016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01F00F3F-8FA7-446A-B252-5A87D5699B17}" type="datetime'J''''''a''''''''nv''''''.-''''0''''''8'''''''''''''''''''''''">
              <a:rPr lang="fr-FR" altLang="en-US" sz="1000" smtClean="0">
                <a:solidFill>
                  <a:srgbClr val="000000"/>
                </a:solidFill>
                <a:latin typeface="Helvetica 65 Medium"/>
                <a:ea typeface="ＭＳ Ｐゴシック"/>
                <a:sym typeface="Helvetica 65 Medium"/>
              </a:rPr>
              <a:pPr marL="0" lvl="1" algn="ctr">
                <a:spcAft>
                  <a:spcPct val="0"/>
                </a:spcAft>
              </a:pPr>
              <a:t>Janv.-08</a:t>
            </a:fld>
            <a:endParaRPr lang="fr-FR" altLang="en-US" sz="1000" dirty="0">
              <a:solidFill>
                <a:srgbClr val="000000"/>
              </a:solidFill>
              <a:latin typeface="Helvetica 65 Medium"/>
              <a:ea typeface="ＭＳ Ｐゴシック"/>
              <a:sym typeface="Helvetica 65 Medium"/>
            </a:endParaRPr>
          </a:p>
        </p:txBody>
      </p:sp>
      <p:sp>
        <p:nvSpPr>
          <p:cNvPr id="94" name="Text Placeholder 2"/>
          <p:cNvSpPr>
            <a:spLocks noGrp="1"/>
          </p:cNvSpPr>
          <p:nvPr>
            <p:custDataLst>
              <p:tags r:id="rId19"/>
            </p:custDataLst>
          </p:nvPr>
        </p:nvSpPr>
        <p:spPr bwMode="gray">
          <a:xfrm>
            <a:off x="4316413" y="4498976"/>
            <a:ext cx="5016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401E22B0-753C-480E-B742-74986E71EFC2}" type="datetime'''''''''''''''J''''''an''v''.''''''''''''''-''''10'''''''''''">
              <a:rPr lang="fr-FR" altLang="en-US" sz="1000" smtClean="0">
                <a:solidFill>
                  <a:srgbClr val="000000"/>
                </a:solidFill>
                <a:latin typeface="Helvetica 65 Medium"/>
                <a:ea typeface="ＭＳ Ｐゴシック"/>
                <a:sym typeface="Helvetica 65 Medium"/>
              </a:rPr>
              <a:pPr marL="0" lvl="1" algn="ctr">
                <a:spcAft>
                  <a:spcPct val="0"/>
                </a:spcAft>
              </a:pPr>
              <a:t>Janv.-10</a:t>
            </a:fld>
            <a:endParaRPr lang="fr-FR" altLang="en-US" sz="1000" dirty="0">
              <a:solidFill>
                <a:srgbClr val="000000"/>
              </a:solidFill>
              <a:latin typeface="Helvetica 65 Medium"/>
              <a:ea typeface="ＭＳ Ｐゴシック"/>
              <a:sym typeface="Helvetica 65 Medium"/>
            </a:endParaRPr>
          </a:p>
        </p:txBody>
      </p:sp>
      <p:sp>
        <p:nvSpPr>
          <p:cNvPr id="95" name="Text Placeholder 2"/>
          <p:cNvSpPr>
            <a:spLocks noGrp="1"/>
          </p:cNvSpPr>
          <p:nvPr>
            <p:custDataLst>
              <p:tags r:id="rId20"/>
            </p:custDataLst>
          </p:nvPr>
        </p:nvSpPr>
        <p:spPr bwMode="gray">
          <a:xfrm>
            <a:off x="4878388" y="4498976"/>
            <a:ext cx="5016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D2B717B3-40E7-4443-ACF2-1A7AC560C346}" type="datetime'''J''''''''''''a''''''''''n''''v.''-''''''1''''''''2'''''">
              <a:rPr lang="fr-FR" altLang="en-US" sz="1000" smtClean="0">
                <a:solidFill>
                  <a:srgbClr val="000000"/>
                </a:solidFill>
                <a:latin typeface="Helvetica 65 Medium"/>
                <a:ea typeface="ＭＳ Ｐゴシック"/>
                <a:sym typeface="Helvetica 65 Medium"/>
              </a:rPr>
              <a:pPr marL="0" lvl="1" algn="ctr">
                <a:spcAft>
                  <a:spcPct val="0"/>
                </a:spcAft>
              </a:pPr>
              <a:t>Janv.-12</a:t>
            </a:fld>
            <a:endParaRPr lang="fr-FR" altLang="en-US" sz="1000" dirty="0">
              <a:solidFill>
                <a:srgbClr val="000000"/>
              </a:solidFill>
              <a:latin typeface="Helvetica 65 Medium"/>
              <a:ea typeface="ＭＳ Ｐゴシック"/>
              <a:sym typeface="Helvetica 65 Medium"/>
            </a:endParaRPr>
          </a:p>
        </p:txBody>
      </p:sp>
      <p:sp>
        <p:nvSpPr>
          <p:cNvPr id="61" name="Text Placeholder 2"/>
          <p:cNvSpPr>
            <a:spLocks noGrp="1"/>
          </p:cNvSpPr>
          <p:nvPr>
            <p:custDataLst>
              <p:tags r:id="rId21"/>
            </p:custDataLst>
          </p:nvPr>
        </p:nvSpPr>
        <p:spPr bwMode="gray">
          <a:xfrm>
            <a:off x="5441950" y="4498975"/>
            <a:ext cx="5016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EFF1DF8E-5877-4B36-82EB-C4E09F9BFD11}" type="datetime'Ja''''n''''''''''v''''.-''''''1''''''''''''4'''''">
              <a:rPr lang="fr-FR" altLang="en-US" sz="1000" smtClean="0">
                <a:solidFill>
                  <a:srgbClr val="000000"/>
                </a:solidFill>
                <a:latin typeface="Helvetica 65 Medium"/>
                <a:ea typeface="ＭＳ Ｐゴシック"/>
                <a:sym typeface="Helvetica 65 Medium"/>
              </a:rPr>
              <a:pPr marL="0" lvl="1" algn="ctr">
                <a:spcAft>
                  <a:spcPct val="0"/>
                </a:spcAft>
              </a:pPr>
              <a:t>Janv.-14</a:t>
            </a:fld>
            <a:endParaRPr lang="fr-FR" altLang="en-US" sz="1000" dirty="0">
              <a:solidFill>
                <a:srgbClr val="000000"/>
              </a:solidFill>
              <a:latin typeface="Helvetica 65 Medium"/>
              <a:ea typeface="ＭＳ Ｐゴシック"/>
              <a:sym typeface="Helvetica 65 Medium"/>
            </a:endParaRPr>
          </a:p>
        </p:txBody>
      </p:sp>
      <p:sp>
        <p:nvSpPr>
          <p:cNvPr id="67" name="Text Placeholder 2"/>
          <p:cNvSpPr>
            <a:spLocks noGrp="1"/>
          </p:cNvSpPr>
          <p:nvPr>
            <p:custDataLst>
              <p:tags r:id="rId22"/>
            </p:custDataLst>
          </p:nvPr>
        </p:nvSpPr>
        <p:spPr bwMode="gray">
          <a:xfrm>
            <a:off x="6003925" y="4498975"/>
            <a:ext cx="5016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95434B51-3543-4CA6-A8D9-3F51BE72550B}" type="datetime'''''J''''''''''''''a''n''''''''''''''v.-''''''1''6'''''''''''">
              <a:rPr lang="fr-FR" altLang="en-US" sz="1000" smtClean="0">
                <a:solidFill>
                  <a:srgbClr val="000000"/>
                </a:solidFill>
                <a:latin typeface="Helvetica 65 Medium"/>
                <a:ea typeface="ＭＳ Ｐゴシック"/>
                <a:sym typeface="Helvetica 65 Medium"/>
              </a:rPr>
              <a:pPr marL="0" lvl="1" algn="ctr">
                <a:spcAft>
                  <a:spcPct val="0"/>
                </a:spcAft>
              </a:pPr>
              <a:t>Janv.-16</a:t>
            </a:fld>
            <a:endParaRPr lang="fr-FR" altLang="en-US" sz="1000" dirty="0">
              <a:solidFill>
                <a:srgbClr val="000000"/>
              </a:solidFill>
              <a:latin typeface="Helvetica 65 Medium"/>
              <a:ea typeface="ＭＳ Ｐゴシック"/>
              <a:sym typeface="Helvetica 65 Medium"/>
            </a:endParaRPr>
          </a:p>
        </p:txBody>
      </p:sp>
      <p:sp>
        <p:nvSpPr>
          <p:cNvPr id="45" name="Text Placeholder 2"/>
          <p:cNvSpPr>
            <a:spLocks noGrp="1"/>
          </p:cNvSpPr>
          <p:nvPr>
            <p:custDataLst>
              <p:tags r:id="rId23"/>
            </p:custDataLst>
          </p:nvPr>
        </p:nvSpPr>
        <p:spPr bwMode="gray">
          <a:xfrm>
            <a:off x="2973388" y="2725738"/>
            <a:ext cx="38258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94DC6030-C095-42F1-B83C-C12E3DBE19AA}" type="datetime'''1'' ''''0''''''''''''''''0''''0''''''''''k'''''''">
              <a:rPr lang="fr-FR" altLang="en-US" sz="1000" smtClean="0">
                <a:solidFill>
                  <a:srgbClr val="000000"/>
                </a:solidFill>
                <a:latin typeface="Helvetica 65 Medium"/>
                <a:ea typeface="ＭＳ Ｐゴシック"/>
                <a:sym typeface="Helvetica 65 Medium"/>
              </a:rPr>
              <a:pPr marL="0" lvl="1" algn="r">
                <a:spcAft>
                  <a:spcPct val="0"/>
                </a:spcAft>
              </a:pPr>
              <a:t>1 000k</a:t>
            </a:fld>
            <a:endParaRPr lang="fr-FR" altLang="en-US" sz="1000" dirty="0">
              <a:solidFill>
                <a:srgbClr val="000000"/>
              </a:solidFill>
              <a:latin typeface="Helvetica 65 Medium"/>
              <a:ea typeface="ＭＳ Ｐゴシック"/>
              <a:sym typeface="Helvetica 65 Medium"/>
            </a:endParaRPr>
          </a:p>
        </p:txBody>
      </p:sp>
      <p:sp>
        <p:nvSpPr>
          <p:cNvPr id="44" name="Text Placeholder 2"/>
          <p:cNvSpPr>
            <a:spLocks noGrp="1"/>
          </p:cNvSpPr>
          <p:nvPr>
            <p:custDataLst>
              <p:tags r:id="rId24"/>
            </p:custDataLst>
          </p:nvPr>
        </p:nvSpPr>
        <p:spPr bwMode="gray">
          <a:xfrm>
            <a:off x="3286125" y="4337050"/>
            <a:ext cx="698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r>
              <a:rPr lang="fr-FR" altLang="en-US" sz="1000" dirty="0">
                <a:solidFill>
                  <a:srgbClr val="000000"/>
                </a:solidFill>
                <a:latin typeface="Helvetica 65 Medium"/>
                <a:ea typeface="ＭＳ Ｐゴシック"/>
                <a:sym typeface="Helvetica 65 Medium"/>
              </a:rPr>
              <a:t>0</a:t>
            </a:r>
          </a:p>
        </p:txBody>
      </p:sp>
      <p:sp>
        <p:nvSpPr>
          <p:cNvPr id="48" name="Text Placeholder 2"/>
          <p:cNvSpPr>
            <a:spLocks noGrp="1"/>
          </p:cNvSpPr>
          <p:nvPr>
            <p:custDataLst>
              <p:tags r:id="rId25"/>
            </p:custDataLst>
          </p:nvPr>
        </p:nvSpPr>
        <p:spPr bwMode="gray">
          <a:xfrm>
            <a:off x="3078163" y="3530600"/>
            <a:ext cx="2778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A5697FE2-4E47-4AF2-BCC7-87BFBDA4658B}" type="datetime'''5''''''''''''''''''''0''''''''0k'''''''''''">
              <a:rPr lang="fr-FR" altLang="en-US" sz="1000" smtClean="0">
                <a:solidFill>
                  <a:srgbClr val="000000"/>
                </a:solidFill>
                <a:latin typeface="Helvetica 65 Medium"/>
                <a:ea typeface="ＭＳ Ｐゴシック"/>
                <a:sym typeface="Helvetica 65 Medium"/>
              </a:rPr>
              <a:pPr marL="0" lvl="1" algn="r">
                <a:spcAft>
                  <a:spcPct val="0"/>
                </a:spcAft>
              </a:pPr>
              <a:t>500k</a:t>
            </a:fld>
            <a:endParaRPr lang="fr-FR" altLang="en-US" sz="1000" dirty="0">
              <a:solidFill>
                <a:srgbClr val="000000"/>
              </a:solidFill>
              <a:latin typeface="Helvetica 65 Medium"/>
              <a:ea typeface="ＭＳ Ｐゴシック"/>
              <a:sym typeface="Helvetica 65 Medium"/>
            </a:endParaRPr>
          </a:p>
        </p:txBody>
      </p:sp>
      <p:sp>
        <p:nvSpPr>
          <p:cNvPr id="57" name="Text Placeholder 2"/>
          <p:cNvSpPr>
            <a:spLocks noGrp="1"/>
          </p:cNvSpPr>
          <p:nvPr>
            <p:custDataLst>
              <p:tags r:id="rId26"/>
            </p:custDataLst>
          </p:nvPr>
        </p:nvSpPr>
        <p:spPr bwMode="gray">
          <a:xfrm>
            <a:off x="2973388" y="1919288"/>
            <a:ext cx="38258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E3E78E93-1087-490E-B834-2702782444C5}" type="datetime'1'''''''''''''''''''''''''' ''5''''''''''''00''''''k'">
              <a:rPr lang="fr-FR" altLang="en-US" sz="1000" smtClean="0">
                <a:solidFill>
                  <a:srgbClr val="000000"/>
                </a:solidFill>
                <a:latin typeface="Helvetica 65 Medium"/>
                <a:ea typeface="ＭＳ Ｐゴシック"/>
                <a:sym typeface="Helvetica 65 Medium"/>
              </a:rPr>
              <a:pPr marL="0" lvl="1" algn="r">
                <a:spcAft>
                  <a:spcPct val="0"/>
                </a:spcAft>
              </a:pPr>
              <a:t>1 500k</a:t>
            </a:fld>
            <a:endParaRPr lang="fr-FR" altLang="en-US" sz="1000" dirty="0">
              <a:solidFill>
                <a:srgbClr val="000000"/>
              </a:solidFill>
              <a:latin typeface="Helvetica 65 Medium"/>
              <a:ea typeface="ＭＳ Ｐゴシック"/>
              <a:sym typeface="Helvetica 65 Medium"/>
            </a:endParaRPr>
          </a:p>
        </p:txBody>
      </p:sp>
      <p:sp>
        <p:nvSpPr>
          <p:cNvPr id="58" name="Text Placeholder 2"/>
          <p:cNvSpPr>
            <a:spLocks noGrp="1"/>
          </p:cNvSpPr>
          <p:nvPr>
            <p:custDataLst>
              <p:tags r:id="rId27"/>
            </p:custDataLst>
          </p:nvPr>
        </p:nvSpPr>
        <p:spPr bwMode="gray">
          <a:xfrm>
            <a:off x="7132638" y="4498975"/>
            <a:ext cx="49688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r>
              <a:rPr lang="fr-FR" altLang="en-US" sz="1000" dirty="0">
                <a:solidFill>
                  <a:srgbClr val="000000"/>
                </a:solidFill>
                <a:latin typeface="Helvetica 65 Medium"/>
                <a:ea typeface="ＭＳ Ｐゴシック"/>
                <a:sym typeface="Helvetica 65 Medium"/>
              </a:rPr>
              <a:t>Sept.-19</a:t>
            </a:r>
          </a:p>
        </p:txBody>
      </p:sp>
      <p:sp>
        <p:nvSpPr>
          <p:cNvPr id="84" name="Text Placeholder 2"/>
          <p:cNvSpPr>
            <a:spLocks noGrp="1"/>
          </p:cNvSpPr>
          <p:nvPr>
            <p:custDataLst>
              <p:tags r:id="rId28"/>
            </p:custDataLst>
          </p:nvPr>
        </p:nvSpPr>
        <p:spPr bwMode="gray">
          <a:xfrm>
            <a:off x="2973388" y="1114426"/>
            <a:ext cx="38258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4CB3C7E0-C8FC-45E1-B665-6737CA364C4D}" type="datetime'''''''''''2'''''''' ''0''''00''''''k'">
              <a:rPr lang="fr-FR" altLang="en-US" sz="1000" smtClean="0">
                <a:solidFill>
                  <a:srgbClr val="000000"/>
                </a:solidFill>
                <a:latin typeface="Helvetica 65 Medium"/>
                <a:ea typeface="ＭＳ Ｐゴシック"/>
                <a:sym typeface="Helvetica 65 Medium"/>
              </a:rPr>
              <a:pPr marL="0" lvl="1" algn="r">
                <a:spcAft>
                  <a:spcPct val="0"/>
                </a:spcAft>
              </a:pPr>
              <a:t>2 000k</a:t>
            </a:fld>
            <a:endParaRPr lang="fr-FR" altLang="en-US" sz="1000" dirty="0">
              <a:solidFill>
                <a:srgbClr val="000000"/>
              </a:solidFill>
              <a:latin typeface="Helvetica 65 Medium"/>
              <a:ea typeface="ＭＳ Ｐゴシック"/>
              <a:sym typeface="Helvetica 65 Medium"/>
            </a:endParaRPr>
          </a:p>
        </p:txBody>
      </p:sp>
      <p:sp>
        <p:nvSpPr>
          <p:cNvPr id="43" name="Text Placeholder 2"/>
          <p:cNvSpPr>
            <a:spLocks noGrp="1"/>
          </p:cNvSpPr>
          <p:nvPr>
            <p:custDataLst>
              <p:tags r:id="rId29"/>
            </p:custDataLst>
          </p:nvPr>
        </p:nvSpPr>
        <p:spPr bwMode="gray">
          <a:xfrm>
            <a:off x="6567488" y="4498975"/>
            <a:ext cx="5016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36AB208C-6A16-497F-B883-98FA908993CE}" type="datetime'''''''J''''an''''''''v''''''''''.''-''''''''1''''8'">
              <a:rPr lang="fr-FR" altLang="en-US" sz="1000" smtClean="0">
                <a:solidFill>
                  <a:srgbClr val="000000"/>
                </a:solidFill>
                <a:latin typeface="Helvetica 65 Medium"/>
                <a:ea typeface="ＭＳ Ｐゴシック"/>
                <a:sym typeface="Helvetica 65 Medium"/>
              </a:rPr>
              <a:pPr marL="0" lvl="1" algn="ctr">
                <a:spcAft>
                  <a:spcPct val="0"/>
                </a:spcAft>
              </a:pPr>
              <a:t>Janv.-18</a:t>
            </a:fld>
            <a:endParaRPr lang="fr-FR" altLang="en-US" sz="1000" dirty="0">
              <a:solidFill>
                <a:srgbClr val="000000"/>
              </a:solidFill>
              <a:latin typeface="Helvetica 65 Medium"/>
              <a:ea typeface="ＭＳ Ｐゴシック"/>
              <a:sym typeface="Helvetica 65 Medium"/>
            </a:endParaRPr>
          </a:p>
        </p:txBody>
      </p:sp>
      <p:sp>
        <p:nvSpPr>
          <p:cNvPr id="89" name="Text Placeholder 2"/>
          <p:cNvSpPr>
            <a:spLocks noGrp="1"/>
          </p:cNvSpPr>
          <p:nvPr>
            <p:custDataLst>
              <p:tags r:id="rId30"/>
            </p:custDataLst>
          </p:nvPr>
        </p:nvSpPr>
        <p:spPr bwMode="gray">
          <a:xfrm>
            <a:off x="7316788" y="2141538"/>
            <a:ext cx="417513" cy="136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7463" tIns="0" rIns="17463"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6360C227-3AE1-4A8A-B80E-BFDFD3924FFD}" type="datetime'''1'''''''''''''''' ''3''''''''''''''''60k'''''''''''''">
              <a:rPr lang="fr-FR" altLang="en-US" sz="1000" smtClean="0">
                <a:solidFill>
                  <a:srgbClr val="000000"/>
                </a:solidFill>
                <a:latin typeface="Helvetica 65 Medium"/>
                <a:sym typeface="Helvetica 65 Medium"/>
              </a:rPr>
              <a:pPr marL="0" lvl="1">
                <a:spcAft>
                  <a:spcPct val="0"/>
                </a:spcAft>
              </a:pPr>
              <a:t>1 360k</a:t>
            </a:fld>
            <a:endParaRPr lang="fr-FR" altLang="en-US" sz="1000" dirty="0">
              <a:solidFill>
                <a:srgbClr val="000000"/>
              </a:solidFill>
              <a:latin typeface="Helvetica 65 Medium"/>
              <a:ea typeface="ＭＳ Ｐゴシック"/>
              <a:sym typeface="Helvetica 65 Medium"/>
            </a:endParaRPr>
          </a:p>
        </p:txBody>
      </p:sp>
      <p:sp>
        <p:nvSpPr>
          <p:cNvPr id="75" name="Text Placeholder 2"/>
          <p:cNvSpPr>
            <a:spLocks noGrp="1"/>
          </p:cNvSpPr>
          <p:nvPr>
            <p:custDataLst>
              <p:tags r:id="rId31"/>
            </p:custDataLst>
          </p:nvPr>
        </p:nvSpPr>
        <p:spPr bwMode="gray">
          <a:xfrm>
            <a:off x="7292975" y="2881313"/>
            <a:ext cx="312738" cy="136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7463" tIns="0" rIns="17463"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C14B38C7-4805-42AE-9F63-3CF0BE4C4827}" type="datetime'9''''0''0''''''''''''''''''''''''''''k'''''''">
              <a:rPr lang="fr-FR" altLang="en-US" sz="1000" smtClean="0">
                <a:solidFill>
                  <a:srgbClr val="000000"/>
                </a:solidFill>
                <a:latin typeface="Helvetica 65 Medium"/>
                <a:sym typeface="Helvetica 65 Medium"/>
              </a:rPr>
              <a:pPr marL="0" lvl="1">
                <a:spcAft>
                  <a:spcPct val="0"/>
                </a:spcAft>
              </a:pPr>
              <a:t>900k</a:t>
            </a:fld>
            <a:endParaRPr lang="fr-FR" altLang="en-US" sz="1000" dirty="0">
              <a:solidFill>
                <a:srgbClr val="000000"/>
              </a:solidFill>
              <a:latin typeface="Helvetica 65 Medium"/>
              <a:ea typeface="ＭＳ Ｐゴシック"/>
              <a:sym typeface="Helvetica 65 Medium"/>
            </a:endParaRPr>
          </a:p>
        </p:txBody>
      </p:sp>
      <p:sp>
        <p:nvSpPr>
          <p:cNvPr id="72" name="Text Placeholder 2"/>
          <p:cNvSpPr>
            <a:spLocks noGrp="1"/>
          </p:cNvSpPr>
          <p:nvPr>
            <p:custDataLst>
              <p:tags r:id="rId32"/>
            </p:custDataLst>
          </p:nvPr>
        </p:nvSpPr>
        <p:spPr bwMode="auto">
          <a:xfrm>
            <a:off x="7859713" y="2881313"/>
            <a:ext cx="6159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50EFF7B5-55AF-4D60-8382-8DD2E50BF046}" type="datetime'N''''''''''''2''6'' ''''''(''2''''0''''''''''''1''''7'')'''''">
              <a:rPr lang="fr-FR" altLang="en-US" sz="1000" smtClean="0">
                <a:solidFill>
                  <a:srgbClr val="70AB2E"/>
                </a:solidFill>
                <a:latin typeface="Helvetica 65 Medium"/>
                <a:sym typeface="Helvetica 65 Medium"/>
              </a:rPr>
              <a:pPr marL="0" lvl="1">
                <a:spcAft>
                  <a:spcPct val="0"/>
                </a:spcAft>
              </a:pPr>
              <a:t>N26 (2017)</a:t>
            </a:fld>
            <a:endParaRPr lang="fr-FR" altLang="en-US" sz="1000" dirty="0">
              <a:solidFill>
                <a:srgbClr val="70AB2E"/>
              </a:solidFill>
              <a:latin typeface="Helvetica 65 Medium"/>
              <a:ea typeface="ＭＳ Ｐゴシック"/>
              <a:sym typeface="Helvetica 65 Medium"/>
            </a:endParaRPr>
          </a:p>
        </p:txBody>
      </p:sp>
      <p:sp>
        <p:nvSpPr>
          <p:cNvPr id="76" name="Text Placeholder 2"/>
          <p:cNvSpPr>
            <a:spLocks noGrp="1"/>
          </p:cNvSpPr>
          <p:nvPr>
            <p:custDataLst>
              <p:tags r:id="rId33"/>
            </p:custDataLst>
          </p:nvPr>
        </p:nvSpPr>
        <p:spPr bwMode="gray">
          <a:xfrm>
            <a:off x="7292975" y="3816350"/>
            <a:ext cx="312738" cy="136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7463" tIns="0" rIns="17463"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9393A25A-CA78-4CBC-816F-176650C0BDE0}" type="datetime'3''''''''''2''''''''''''0k'''''''''''''''''''''''''''">
              <a:rPr lang="fr-FR" altLang="en-US" sz="1000" smtClean="0">
                <a:solidFill>
                  <a:srgbClr val="000000"/>
                </a:solidFill>
                <a:latin typeface="Helvetica 65 Medium"/>
                <a:sym typeface="Helvetica 65 Medium"/>
              </a:rPr>
              <a:pPr marL="0" lvl="1">
                <a:spcAft>
                  <a:spcPct val="0"/>
                </a:spcAft>
              </a:pPr>
              <a:t>320k</a:t>
            </a:fld>
            <a:endParaRPr lang="fr-FR" altLang="en-US" sz="1000" dirty="0">
              <a:solidFill>
                <a:srgbClr val="000000"/>
              </a:solidFill>
              <a:latin typeface="Helvetica 65 Medium"/>
              <a:ea typeface="ＭＳ Ｐゴシック"/>
              <a:sym typeface="Helvetica 65 Medium"/>
            </a:endParaRPr>
          </a:p>
        </p:txBody>
      </p:sp>
      <p:sp>
        <p:nvSpPr>
          <p:cNvPr id="73" name="Text Placeholder 2"/>
          <p:cNvSpPr>
            <a:spLocks noGrp="1"/>
          </p:cNvSpPr>
          <p:nvPr>
            <p:custDataLst>
              <p:tags r:id="rId34"/>
            </p:custDataLst>
          </p:nvPr>
        </p:nvSpPr>
        <p:spPr bwMode="auto">
          <a:xfrm>
            <a:off x="7859713" y="3795713"/>
            <a:ext cx="114776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7647F3D0-E2C7-497E-8C4D-AE3CB929B53E}" type="datetime'''Ora''''''''n''ge'' Ba''n''k'''' (201''7'')'''''''''''''''">
              <a:rPr lang="fr-FR" altLang="en-US" sz="1000" smtClean="0">
                <a:solidFill>
                  <a:srgbClr val="FF6600"/>
                </a:solidFill>
                <a:latin typeface="Helvetica 65 Medium"/>
                <a:sym typeface="Helvetica 65 Medium"/>
              </a:rPr>
              <a:pPr marL="0" lvl="1">
                <a:spcAft>
                  <a:spcPct val="0"/>
                </a:spcAft>
              </a:pPr>
              <a:t>Orange Bank (2017)</a:t>
            </a:fld>
            <a:endParaRPr lang="fr-FR" altLang="en-US" sz="1000" dirty="0">
              <a:solidFill>
                <a:srgbClr val="FF6600"/>
              </a:solidFill>
              <a:latin typeface="Helvetica 65 Medium"/>
              <a:ea typeface="ＭＳ Ｐゴシック"/>
              <a:sym typeface="Helvetica 65 Medium"/>
            </a:endParaRPr>
          </a:p>
        </p:txBody>
      </p:sp>
      <p:sp>
        <p:nvSpPr>
          <p:cNvPr id="68" name="Text Placeholder 2"/>
          <p:cNvSpPr>
            <a:spLocks noGrp="1"/>
          </p:cNvSpPr>
          <p:nvPr>
            <p:custDataLst>
              <p:tags r:id="rId35"/>
            </p:custDataLst>
          </p:nvPr>
        </p:nvSpPr>
        <p:spPr bwMode="auto">
          <a:xfrm>
            <a:off x="7859713" y="3983038"/>
            <a:ext cx="93186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D2BB9A7C-EB4E-49F5-8AD5-4D441737FFDB}" type="datetime'''''Bfo''''''''''r''Ba''''nk'''''' ''''(2''015'')'''''''">
              <a:rPr lang="fr-FR" altLang="en-US" sz="1000" smtClean="0">
                <a:solidFill>
                  <a:srgbClr val="663300"/>
                </a:solidFill>
                <a:latin typeface="Helvetica 65 Medium"/>
                <a:sym typeface="Helvetica 65 Medium"/>
              </a:rPr>
              <a:pPr marL="0" lvl="1">
                <a:spcAft>
                  <a:spcPct val="0"/>
                </a:spcAft>
              </a:pPr>
              <a:t>BforBank (2015)</a:t>
            </a:fld>
            <a:endParaRPr lang="fr-FR" altLang="en-US" sz="1000" dirty="0">
              <a:solidFill>
                <a:srgbClr val="663300"/>
              </a:solidFill>
              <a:latin typeface="Helvetica 65 Medium"/>
              <a:ea typeface="ＭＳ Ｐゴシック"/>
              <a:sym typeface="Helvetica 65 Medium"/>
            </a:endParaRPr>
          </a:p>
        </p:txBody>
      </p:sp>
      <p:sp useBgFill="1">
        <p:nvSpPr>
          <p:cNvPr id="88" name="Text Placeholder 2"/>
          <p:cNvSpPr>
            <a:spLocks noGrp="1"/>
          </p:cNvSpPr>
          <p:nvPr>
            <p:custDataLst>
              <p:tags r:id="rId36"/>
            </p:custDataLst>
          </p:nvPr>
        </p:nvSpPr>
        <p:spPr bwMode="gray">
          <a:xfrm>
            <a:off x="7316788" y="3525838"/>
            <a:ext cx="312738" cy="136525"/>
          </a:xfrm>
          <a:prstGeom prst="rect">
            <a:avLst/>
          </a:prstGeom>
          <a:ln>
            <a:noFill/>
          </a:ln>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7463" tIns="0" rIns="17463"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71CBE875-2985-4B1C-9CAA-9C0066B7B6AF}" type="datetime'''''''5''0''''''''''''''''''''0''''k'''''''''''''''''''">
              <a:rPr lang="fr-FR" altLang="en-US" sz="1000" smtClean="0">
                <a:solidFill>
                  <a:srgbClr val="000000"/>
                </a:solidFill>
                <a:latin typeface="Helvetica 65 Medium"/>
                <a:ea typeface="ＭＳ Ｐゴシック"/>
                <a:sym typeface="Helvetica 65 Medium"/>
              </a:rPr>
              <a:pPr marL="0" lvl="1">
                <a:spcAft>
                  <a:spcPct val="0"/>
                </a:spcAft>
              </a:pPr>
              <a:t>500k</a:t>
            </a:fld>
            <a:endParaRPr lang="fr-FR" altLang="en-US" sz="1000" dirty="0">
              <a:solidFill>
                <a:srgbClr val="000000"/>
              </a:solidFill>
              <a:latin typeface="Helvetica 65 Medium"/>
              <a:ea typeface="ＭＳ Ｐゴシック"/>
              <a:sym typeface="Helvetica 65 Medium"/>
            </a:endParaRPr>
          </a:p>
        </p:txBody>
      </p:sp>
      <p:sp>
        <p:nvSpPr>
          <p:cNvPr id="82" name="Text Placeholder 2"/>
          <p:cNvSpPr>
            <a:spLocks noGrp="1"/>
          </p:cNvSpPr>
          <p:nvPr>
            <p:custDataLst>
              <p:tags r:id="rId37"/>
            </p:custDataLst>
          </p:nvPr>
        </p:nvSpPr>
        <p:spPr bwMode="gray">
          <a:xfrm>
            <a:off x="7292975" y="3962400"/>
            <a:ext cx="312738" cy="136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7463" tIns="0" rIns="17463"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3AF08FBD-F2AB-440D-AE70-2505555F941C}" type="datetime'''2''''''''''''3''''''''''''0''''''''''k'''">
              <a:rPr lang="fr-FR" altLang="en-US" sz="1000" smtClean="0">
                <a:solidFill>
                  <a:srgbClr val="000000"/>
                </a:solidFill>
                <a:latin typeface="Helvetica 65 Medium"/>
                <a:sym typeface="Helvetica 65 Medium"/>
              </a:rPr>
              <a:pPr marL="0" lvl="1">
                <a:spcAft>
                  <a:spcPct val="0"/>
                </a:spcAft>
              </a:pPr>
              <a:t>230k</a:t>
            </a:fld>
            <a:endParaRPr lang="fr-FR" altLang="en-US" sz="1000" dirty="0">
              <a:solidFill>
                <a:srgbClr val="000000"/>
              </a:solidFill>
              <a:latin typeface="Helvetica 65 Medium"/>
              <a:ea typeface="ＭＳ Ｐゴシック"/>
              <a:sym typeface="Helvetica 65 Medium"/>
            </a:endParaRPr>
          </a:p>
        </p:txBody>
      </p:sp>
      <p:sp>
        <p:nvSpPr>
          <p:cNvPr id="71" name="Text Placeholder 2"/>
          <p:cNvSpPr>
            <a:spLocks noGrp="1"/>
          </p:cNvSpPr>
          <p:nvPr>
            <p:custDataLst>
              <p:tags r:id="rId38"/>
            </p:custDataLst>
          </p:nvPr>
        </p:nvSpPr>
        <p:spPr bwMode="auto">
          <a:xfrm>
            <a:off x="7859713" y="3284538"/>
            <a:ext cx="83026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582EAD90-52F9-4882-BDE8-D5CA09F37CAF}" type="datetime'R''''''''e''''''''volu''t'''''''''''' (''''201''''''7)'''">
              <a:rPr lang="fr-FR" altLang="en-US" sz="1000" smtClean="0">
                <a:solidFill>
                  <a:srgbClr val="0070C0"/>
                </a:solidFill>
                <a:latin typeface="Helvetica 65 Medium"/>
                <a:sym typeface="Helvetica 65 Medium"/>
              </a:rPr>
              <a:pPr marL="0" lvl="1">
                <a:spcAft>
                  <a:spcPct val="0"/>
                </a:spcAft>
              </a:pPr>
              <a:t>Revolut (2017)</a:t>
            </a:fld>
            <a:endParaRPr lang="fr-FR" altLang="en-US" sz="1000" dirty="0">
              <a:solidFill>
                <a:srgbClr val="0070C0"/>
              </a:solidFill>
              <a:latin typeface="Helvetica 65 Medium"/>
              <a:ea typeface="ＭＳ Ｐゴシック"/>
              <a:sym typeface="Helvetica 65 Medium"/>
            </a:endParaRPr>
          </a:p>
        </p:txBody>
      </p:sp>
      <p:sp>
        <p:nvSpPr>
          <p:cNvPr id="87" name="Text Placeholder 2"/>
          <p:cNvSpPr>
            <a:spLocks noGrp="1"/>
          </p:cNvSpPr>
          <p:nvPr>
            <p:custDataLst>
              <p:tags r:id="rId39"/>
            </p:custDataLst>
          </p:nvPr>
        </p:nvSpPr>
        <p:spPr bwMode="gray">
          <a:xfrm>
            <a:off x="7292975" y="3284538"/>
            <a:ext cx="312738" cy="136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7463" tIns="0" rIns="17463"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14F0B03E-B757-42F5-A82F-446A539193B6}" type="datetime'6''''''''''''''''''''''''''5''0''''''k'''''''''''''''''''''">
              <a:rPr lang="fr-FR" altLang="en-US" sz="1000" smtClean="0">
                <a:solidFill>
                  <a:srgbClr val="000000"/>
                </a:solidFill>
                <a:latin typeface="Helvetica 65 Medium"/>
                <a:ea typeface="ＭＳ Ｐゴシック"/>
                <a:sym typeface="Helvetica 65 Medium"/>
              </a:rPr>
              <a:pPr marL="0" lvl="1">
                <a:spcAft>
                  <a:spcPct val="0"/>
                </a:spcAft>
              </a:pPr>
              <a:t>650k</a:t>
            </a:fld>
            <a:endParaRPr lang="fr-FR" altLang="en-US" sz="1000" dirty="0">
              <a:solidFill>
                <a:srgbClr val="000000"/>
              </a:solidFill>
              <a:latin typeface="Helvetica 65 Medium"/>
              <a:ea typeface="ＭＳ Ｐゴシック"/>
              <a:sym typeface="Helvetica 65 Medium"/>
            </a:endParaRPr>
          </a:p>
        </p:txBody>
      </p:sp>
      <p:sp>
        <p:nvSpPr>
          <p:cNvPr id="69" name="Text Placeholder 2"/>
          <p:cNvSpPr>
            <a:spLocks noGrp="1"/>
          </p:cNvSpPr>
          <p:nvPr>
            <p:custDataLst>
              <p:tags r:id="rId40"/>
            </p:custDataLst>
          </p:nvPr>
        </p:nvSpPr>
        <p:spPr bwMode="auto">
          <a:xfrm>
            <a:off x="7859713" y="1177925"/>
            <a:ext cx="11017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1CB658B2-0099-4D74-A6EF-189E6D652B7A}" type="datetime'''''Bou''r''''s''''or''''''''a''''ma'''''''' (''2''0''05'')'">
              <a:rPr lang="fr-FR" altLang="en-US" sz="1000" smtClean="0">
                <a:solidFill>
                  <a:srgbClr val="FC33DE"/>
                </a:solidFill>
                <a:latin typeface="Helvetica 65 Medium"/>
                <a:sym typeface="Helvetica 65 Medium"/>
              </a:rPr>
              <a:pPr marL="0" lvl="1">
                <a:spcAft>
                  <a:spcPct val="0"/>
                </a:spcAft>
              </a:pPr>
              <a:t>Boursorama (2005)</a:t>
            </a:fld>
            <a:endParaRPr lang="fr-FR" altLang="en-US" sz="1000" dirty="0">
              <a:solidFill>
                <a:srgbClr val="FC33DE"/>
              </a:solidFill>
              <a:latin typeface="Helvetica 65 Medium"/>
              <a:ea typeface="ＭＳ Ｐゴシック"/>
              <a:sym typeface="Helvetica 65 Medium"/>
            </a:endParaRPr>
          </a:p>
        </p:txBody>
      </p:sp>
      <p:sp>
        <p:nvSpPr>
          <p:cNvPr id="70" name="Text Placeholder 2"/>
          <p:cNvSpPr>
            <a:spLocks noGrp="1"/>
          </p:cNvSpPr>
          <p:nvPr>
            <p:custDataLst>
              <p:tags r:id="rId41"/>
            </p:custDataLst>
          </p:nvPr>
        </p:nvSpPr>
        <p:spPr bwMode="auto">
          <a:xfrm>
            <a:off x="7859713" y="3525838"/>
            <a:ext cx="10398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6A5C9E5E-4571-448A-A2B2-413287A361AE}" type="datetime'''''''''H''''ello'''''''''''''' b''''''ank! ''(''''2''013)'''">
              <a:rPr lang="fr-FR" altLang="en-US" sz="1000" smtClean="0">
                <a:solidFill>
                  <a:srgbClr val="000000"/>
                </a:solidFill>
                <a:latin typeface="Helvetica 65 Medium"/>
                <a:sym typeface="Helvetica 65 Medium"/>
              </a:rPr>
              <a:pPr marL="0" lvl="1">
                <a:spcAft>
                  <a:spcPct val="0"/>
                </a:spcAft>
              </a:pPr>
              <a:t>Hello bank! (2013)</a:t>
            </a:fld>
            <a:endParaRPr lang="fr-FR" altLang="en-US" sz="1000" dirty="0">
              <a:solidFill>
                <a:srgbClr val="000000"/>
              </a:solidFill>
              <a:latin typeface="Helvetica 65 Medium"/>
              <a:ea typeface="ＭＳ Ｐゴシック"/>
              <a:sym typeface="Helvetica 65 Medium"/>
            </a:endParaRPr>
          </a:p>
        </p:txBody>
      </p:sp>
      <p:sp useBgFill="1">
        <p:nvSpPr>
          <p:cNvPr id="83" name="Text Placeholder 2"/>
          <p:cNvSpPr>
            <a:spLocks noGrp="1"/>
          </p:cNvSpPr>
          <p:nvPr>
            <p:custDataLst>
              <p:tags r:id="rId42"/>
            </p:custDataLst>
          </p:nvPr>
        </p:nvSpPr>
        <p:spPr bwMode="gray">
          <a:xfrm>
            <a:off x="7340600" y="1109663"/>
            <a:ext cx="417513" cy="136525"/>
          </a:xfrm>
          <a:prstGeom prst="rect">
            <a:avLst/>
          </a:prstGeom>
          <a:ln>
            <a:noFill/>
          </a:ln>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7463" tIns="0" rIns="17463"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356E0278-442E-4376-8243-68C54DF79158}" type="datetime'''''''''''''''''''2'''''''''''' 0''''0''''''0''''''''''''k'">
              <a:rPr lang="fr-FR" altLang="en-US" sz="1000" smtClean="0">
                <a:solidFill>
                  <a:srgbClr val="000000"/>
                </a:solidFill>
                <a:latin typeface="Helvetica 65 Medium"/>
                <a:ea typeface="ＭＳ Ｐゴシック"/>
                <a:sym typeface="Helvetica 65 Medium"/>
              </a:rPr>
              <a:pPr marL="0" lvl="1">
                <a:spcAft>
                  <a:spcPct val="0"/>
                </a:spcAft>
              </a:pPr>
              <a:t>2 000k</a:t>
            </a:fld>
            <a:endParaRPr lang="fr-FR" altLang="en-US" sz="1000" dirty="0">
              <a:solidFill>
                <a:srgbClr val="000000"/>
              </a:solidFill>
              <a:latin typeface="Helvetica 65 Medium"/>
              <a:ea typeface="ＭＳ Ｐゴシック"/>
              <a:sym typeface="Helvetica 65 Medium"/>
            </a:endParaRPr>
          </a:p>
        </p:txBody>
      </p:sp>
      <p:sp>
        <p:nvSpPr>
          <p:cNvPr id="78" name="Text Placeholder 2"/>
          <p:cNvSpPr>
            <a:spLocks noGrp="1"/>
          </p:cNvSpPr>
          <p:nvPr>
            <p:custDataLst>
              <p:tags r:id="rId43"/>
            </p:custDataLst>
          </p:nvPr>
        </p:nvSpPr>
        <p:spPr bwMode="auto">
          <a:xfrm>
            <a:off x="7859713" y="2141538"/>
            <a:ext cx="74453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53C56379-02A5-4FAF-BAA9-892F0D079891}" type="datetime'''''''Nic''''''k''''''''e''''''''''''l'''' ''''(''2014)'''">
              <a:rPr lang="fr-FR" altLang="en-US" sz="1000" smtClean="0">
                <a:solidFill>
                  <a:srgbClr val="F8C701"/>
                </a:solidFill>
                <a:latin typeface="Helvetica 65 Medium"/>
                <a:sym typeface="Helvetica 65 Medium"/>
              </a:rPr>
              <a:pPr marL="0" lvl="1">
                <a:spcAft>
                  <a:spcPct val="0"/>
                </a:spcAft>
              </a:pPr>
              <a:t>Nickel (2014)</a:t>
            </a:fld>
            <a:endParaRPr lang="fr-FR" altLang="en-US" sz="1000" dirty="0">
              <a:solidFill>
                <a:srgbClr val="F8C701"/>
              </a:solidFill>
              <a:latin typeface="Helvetica 65 Medium"/>
              <a:ea typeface="ＭＳ Ｐゴシック"/>
              <a:sym typeface="Helvetica 65 Medium"/>
            </a:endParaRPr>
          </a:p>
        </p:txBody>
      </p:sp>
      <p:sp>
        <p:nvSpPr>
          <p:cNvPr id="126" name="ZoneTexte 125"/>
          <p:cNvSpPr txBox="1"/>
          <p:nvPr/>
        </p:nvSpPr>
        <p:spPr>
          <a:xfrm>
            <a:off x="2987824" y="627534"/>
            <a:ext cx="5688632" cy="307777"/>
          </a:xfrm>
          <a:prstGeom prst="rect">
            <a:avLst/>
          </a:prstGeom>
          <a:noFill/>
        </p:spPr>
        <p:txBody>
          <a:bodyPr wrap="square" rtlCol="0">
            <a:spAutoFit/>
          </a:bodyPr>
          <a:lstStyle/>
          <a:p>
            <a:pPr algn="ctr"/>
            <a:r>
              <a:rPr lang="fr-FR" sz="1400" b="1" dirty="0">
                <a:solidFill>
                  <a:srgbClr val="000000"/>
                </a:solidFill>
              </a:rPr>
              <a:t>Environ 8 millions de clients en France et 18 acteurs</a:t>
            </a:r>
          </a:p>
        </p:txBody>
      </p:sp>
      <p:sp>
        <p:nvSpPr>
          <p:cNvPr id="6" name="ZoneTexte 5"/>
          <p:cNvSpPr txBox="1"/>
          <p:nvPr/>
        </p:nvSpPr>
        <p:spPr>
          <a:xfrm>
            <a:off x="3491880" y="4912668"/>
            <a:ext cx="5652121" cy="230832"/>
          </a:xfrm>
          <a:prstGeom prst="rect">
            <a:avLst/>
          </a:prstGeom>
          <a:noFill/>
        </p:spPr>
        <p:txBody>
          <a:bodyPr wrap="square" lIns="0" rIns="0" rtlCol="0">
            <a:spAutoFit/>
          </a:bodyPr>
          <a:lstStyle/>
          <a:p>
            <a:r>
              <a:rPr lang="fr-FR" sz="900" i="1" dirty="0">
                <a:solidFill>
                  <a:srgbClr val="000000"/>
                </a:solidFill>
                <a:latin typeface="Helvetica 55 Roman" panose="020B0604020202020204" pitchFamily="34" charset="0"/>
              </a:rPr>
              <a:t>Sources : (1) Etude KPMG, (2) </a:t>
            </a:r>
            <a:r>
              <a:rPr lang="fr-FR" sz="900" i="1" dirty="0" err="1">
                <a:solidFill>
                  <a:srgbClr val="000000"/>
                </a:solidFill>
                <a:latin typeface="Helvetica 55 Roman" panose="020B0604020202020204" pitchFamily="34" charset="0"/>
              </a:rPr>
              <a:t>Fevad</a:t>
            </a:r>
            <a:r>
              <a:rPr lang="fr-FR" sz="900" i="1" dirty="0">
                <a:solidFill>
                  <a:srgbClr val="000000"/>
                </a:solidFill>
                <a:latin typeface="Helvetica 55 Roman" panose="020B0604020202020204" pitchFamily="34" charset="0"/>
              </a:rPr>
              <a:t>, ((4) Communiqués de presse des différents acteurs</a:t>
            </a:r>
          </a:p>
        </p:txBody>
      </p:sp>
    </p:spTree>
    <p:extLst>
      <p:ext uri="{BB962C8B-B14F-4D97-AF65-F5344CB8AC3E}">
        <p14:creationId xmlns:p14="http://schemas.microsoft.com/office/powerpoint/2010/main" val="1106802352"/>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2668388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6" name="Diapositive think-cell" r:id="rId31" imgW="360" imgH="360" progId="TCLayout.ActiveDocument.1">
                  <p:embed/>
                </p:oleObj>
              </mc:Choice>
              <mc:Fallback>
                <p:oleObj name="Diapositive think-cell" r:id="rId31" imgW="360" imgH="360"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600" dirty="0">
              <a:latin typeface="Helvetica 75 Bold"/>
              <a:ea typeface="ＭＳ Ｐゴシック"/>
              <a:cs typeface="+mj-cs"/>
              <a:sym typeface="Helvetica 75 Bold"/>
            </a:endParaRPr>
          </a:p>
        </p:txBody>
      </p:sp>
      <p:sp>
        <p:nvSpPr>
          <p:cNvPr id="3" name="Titre 2"/>
          <p:cNvSpPr>
            <a:spLocks noGrp="1"/>
          </p:cNvSpPr>
          <p:nvPr>
            <p:ph type="title"/>
          </p:nvPr>
        </p:nvSpPr>
        <p:spPr>
          <a:xfrm>
            <a:off x="200024" y="339502"/>
            <a:ext cx="8470900" cy="263849"/>
          </a:xfrm>
        </p:spPr>
        <p:txBody>
          <a:bodyPr/>
          <a:lstStyle/>
          <a:p>
            <a:r>
              <a:rPr lang="fr-FR" sz="1600" dirty="0">
                <a:solidFill>
                  <a:srgbClr val="FF7900"/>
                </a:solidFill>
              </a:rPr>
              <a:t>Acquisition clients à iso-années de lancement</a:t>
            </a:r>
          </a:p>
        </p:txBody>
      </p:sp>
      <p:sp>
        <p:nvSpPr>
          <p:cNvPr id="6" name="ZoneTexte 5"/>
          <p:cNvSpPr txBox="1"/>
          <p:nvPr/>
        </p:nvSpPr>
        <p:spPr>
          <a:xfrm>
            <a:off x="4435474" y="4912668"/>
            <a:ext cx="4708526" cy="230832"/>
          </a:xfrm>
          <a:prstGeom prst="rect">
            <a:avLst/>
          </a:prstGeom>
          <a:noFill/>
        </p:spPr>
        <p:txBody>
          <a:bodyPr wrap="square" rtlCol="0">
            <a:spAutoFit/>
          </a:bodyPr>
          <a:lstStyle/>
          <a:p>
            <a:r>
              <a:rPr lang="fr-FR" sz="900" i="1" dirty="0">
                <a:latin typeface="Helvetica 55 Roman" panose="020B0604020202020204" pitchFamily="34" charset="0"/>
              </a:rPr>
              <a:t>Sources : Etude KPMG, </a:t>
            </a:r>
            <a:r>
              <a:rPr lang="fr-FR" sz="900" i="1" dirty="0" err="1">
                <a:latin typeface="Helvetica 55 Roman" panose="020B0604020202020204" pitchFamily="34" charset="0"/>
              </a:rPr>
              <a:t>Techcrunch</a:t>
            </a:r>
            <a:r>
              <a:rPr lang="fr-FR" sz="900" i="1" dirty="0">
                <a:latin typeface="Helvetica 55 Roman" panose="020B0604020202020204" pitchFamily="34" charset="0"/>
              </a:rPr>
              <a:t>, communiqués de presse des différents acteurs</a:t>
            </a:r>
          </a:p>
        </p:txBody>
      </p:sp>
      <p:cxnSp>
        <p:nvCxnSpPr>
          <p:cNvPr id="86" name="Connecteur droit 85"/>
          <p:cNvCxnSpPr/>
          <p:nvPr>
            <p:custDataLst>
              <p:tags r:id="rId4"/>
            </p:custDataLst>
          </p:nvPr>
        </p:nvCxnSpPr>
        <p:spPr bwMode="gray">
          <a:xfrm>
            <a:off x="2405063" y="2990850"/>
            <a:ext cx="4327525"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Connecteur droit 83"/>
          <p:cNvCxnSpPr/>
          <p:nvPr>
            <p:custDataLst>
              <p:tags r:id="rId5"/>
            </p:custDataLst>
          </p:nvPr>
        </p:nvCxnSpPr>
        <p:spPr bwMode="gray">
          <a:xfrm>
            <a:off x="2405063" y="3959225"/>
            <a:ext cx="4327525"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Connecteur droit 84"/>
          <p:cNvCxnSpPr/>
          <p:nvPr>
            <p:custDataLst>
              <p:tags r:id="rId6"/>
            </p:custDataLst>
          </p:nvPr>
        </p:nvCxnSpPr>
        <p:spPr bwMode="gray">
          <a:xfrm>
            <a:off x="2405063" y="3475038"/>
            <a:ext cx="4327525"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Connecteur droit 82"/>
          <p:cNvCxnSpPr/>
          <p:nvPr>
            <p:custDataLst>
              <p:tags r:id="rId7"/>
            </p:custDataLst>
          </p:nvPr>
        </p:nvCxnSpPr>
        <p:spPr bwMode="gray">
          <a:xfrm>
            <a:off x="2405063" y="2506663"/>
            <a:ext cx="4327525"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Connecteur droit 86"/>
          <p:cNvCxnSpPr/>
          <p:nvPr>
            <p:custDataLst>
              <p:tags r:id="rId8"/>
            </p:custDataLst>
          </p:nvPr>
        </p:nvCxnSpPr>
        <p:spPr bwMode="gray">
          <a:xfrm>
            <a:off x="2405063" y="2022475"/>
            <a:ext cx="4327525"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Connecteur droit 87"/>
          <p:cNvCxnSpPr/>
          <p:nvPr>
            <p:custDataLst>
              <p:tags r:id="rId9"/>
            </p:custDataLst>
          </p:nvPr>
        </p:nvCxnSpPr>
        <p:spPr bwMode="gray">
          <a:xfrm>
            <a:off x="2405063" y="1536700"/>
            <a:ext cx="4327525"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Connecteur droit 4"/>
          <p:cNvCxnSpPr/>
          <p:nvPr>
            <p:custDataLst>
              <p:tags r:id="rId10"/>
            </p:custDataLst>
          </p:nvPr>
        </p:nvCxnSpPr>
        <p:spPr bwMode="gray">
          <a:xfrm>
            <a:off x="2405063" y="1052513"/>
            <a:ext cx="4327525" cy="0"/>
          </a:xfrm>
          <a:prstGeom prst="line">
            <a:avLst/>
          </a:prstGeom>
          <a:ln w="3175"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6" name="Chart 3"/>
          <p:cNvGraphicFramePr/>
          <p:nvPr>
            <p:custDataLst>
              <p:tags r:id="rId11"/>
            </p:custDataLst>
            <p:extLst>
              <p:ext uri="{D42A27DB-BD31-4B8C-83A1-F6EECF244321}">
                <p14:modId xmlns:p14="http://schemas.microsoft.com/office/powerpoint/2010/main" val="2313719526"/>
              </p:ext>
            </p:extLst>
          </p:nvPr>
        </p:nvGraphicFramePr>
        <p:xfrm>
          <a:off x="2185988" y="969963"/>
          <a:ext cx="4765675" cy="3756025"/>
        </p:xfrm>
        <a:graphic>
          <a:graphicData uri="http://schemas.openxmlformats.org/drawingml/2006/chart">
            <c:chart xmlns:c="http://schemas.openxmlformats.org/drawingml/2006/chart" xmlns:r="http://schemas.openxmlformats.org/officeDocument/2006/relationships" r:id="rId33"/>
          </a:graphicData>
        </a:graphic>
      </p:graphicFrame>
      <p:sp>
        <p:nvSpPr>
          <p:cNvPr id="90" name="Text Placeholder 2"/>
          <p:cNvSpPr>
            <a:spLocks noGrp="1"/>
          </p:cNvSpPr>
          <p:nvPr>
            <p:custDataLst>
              <p:tags r:id="rId12"/>
            </p:custDataLst>
          </p:nvPr>
        </p:nvSpPr>
        <p:spPr bwMode="gray">
          <a:xfrm>
            <a:off x="2041525" y="3895725"/>
            <a:ext cx="2778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457CD140-ABCD-4E65-B1E1-09B6606D2529}" type="datetime'''''''''2''''''''''''''''''''0''''''0''k'''''''''''''">
              <a:rPr lang="fr-FR" altLang="en-US" sz="1000" smtClean="0">
                <a:latin typeface="Helvetica 65 Medium"/>
                <a:ea typeface="+mn-ea"/>
                <a:sym typeface="Helvetica 65 Medium"/>
              </a:rPr>
              <a:pPr marL="0" lvl="1" algn="r">
                <a:spcAft>
                  <a:spcPct val="0"/>
                </a:spcAft>
              </a:pPr>
              <a:t>200k</a:t>
            </a:fld>
            <a:endParaRPr lang="fr-FR" altLang="en-US" sz="1000" dirty="0">
              <a:latin typeface="Helvetica 65 Medium"/>
              <a:ea typeface="+mn-ea"/>
              <a:sym typeface="Helvetica 65 Medium"/>
            </a:endParaRPr>
          </a:p>
        </p:txBody>
      </p:sp>
      <p:sp>
        <p:nvSpPr>
          <p:cNvPr id="91" name="Text Placeholder 2"/>
          <p:cNvSpPr>
            <a:spLocks noGrp="1"/>
          </p:cNvSpPr>
          <p:nvPr>
            <p:custDataLst>
              <p:tags r:id="rId13"/>
            </p:custDataLst>
          </p:nvPr>
        </p:nvSpPr>
        <p:spPr bwMode="gray">
          <a:xfrm>
            <a:off x="2041525" y="3411538"/>
            <a:ext cx="2778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4CECC7F8-FE94-4933-A5A0-C9F3BE4D9D17}" type="datetime'''''''''''''''''''4''''00''''''''''''''''''''''''''''''k'">
              <a:rPr lang="fr-FR" altLang="en-US" sz="1000" smtClean="0">
                <a:latin typeface="Helvetica 65 Medium"/>
                <a:ea typeface="+mn-ea"/>
                <a:sym typeface="Helvetica 65 Medium"/>
              </a:rPr>
              <a:pPr marL="0" lvl="1" algn="r">
                <a:spcAft>
                  <a:spcPct val="0"/>
                </a:spcAft>
              </a:pPr>
              <a:t>400k</a:t>
            </a:fld>
            <a:endParaRPr lang="fr-FR" altLang="en-US" sz="1000" dirty="0">
              <a:latin typeface="Helvetica 65 Medium"/>
              <a:ea typeface="+mn-ea"/>
              <a:sym typeface="Helvetica 65 Medium"/>
            </a:endParaRPr>
          </a:p>
        </p:txBody>
      </p:sp>
      <p:sp>
        <p:nvSpPr>
          <p:cNvPr id="93" name="Text Placeholder 2"/>
          <p:cNvSpPr>
            <a:spLocks noGrp="1"/>
          </p:cNvSpPr>
          <p:nvPr>
            <p:custDataLst>
              <p:tags r:id="rId14"/>
            </p:custDataLst>
          </p:nvPr>
        </p:nvSpPr>
        <p:spPr bwMode="gray">
          <a:xfrm>
            <a:off x="2041525" y="2443163"/>
            <a:ext cx="2778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BE66DC48-16E6-4C3F-9E18-0E5769A801B6}" type="datetime'''''''''8''''''''''''''''''''0''''0''''''''''''''''''k'''">
              <a:rPr lang="fr-FR" altLang="en-US" sz="1000" smtClean="0">
                <a:latin typeface="Helvetica 65 Medium"/>
                <a:ea typeface="+mn-ea"/>
                <a:sym typeface="Helvetica 65 Medium"/>
              </a:rPr>
              <a:pPr marL="0" lvl="1" algn="r">
                <a:spcAft>
                  <a:spcPct val="0"/>
                </a:spcAft>
              </a:pPr>
              <a:t>800k</a:t>
            </a:fld>
            <a:endParaRPr lang="fr-FR" altLang="en-US" sz="1000" dirty="0">
              <a:latin typeface="Helvetica 65 Medium"/>
              <a:ea typeface="+mn-ea"/>
              <a:sym typeface="Helvetica 65 Medium"/>
            </a:endParaRPr>
          </a:p>
        </p:txBody>
      </p:sp>
      <p:sp>
        <p:nvSpPr>
          <p:cNvPr id="92" name="Text Placeholder 2"/>
          <p:cNvSpPr>
            <a:spLocks noGrp="1"/>
          </p:cNvSpPr>
          <p:nvPr>
            <p:custDataLst>
              <p:tags r:id="rId15"/>
            </p:custDataLst>
          </p:nvPr>
        </p:nvSpPr>
        <p:spPr bwMode="gray">
          <a:xfrm>
            <a:off x="2041525" y="2927350"/>
            <a:ext cx="2778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62F6C0E6-ABC5-4220-BB1B-A4527675058F}" type="datetime'''''''''6''''''0''0''''''''k'''''''''''''''''''">
              <a:rPr lang="fr-FR" altLang="en-US" sz="1000" smtClean="0">
                <a:latin typeface="Helvetica 65 Medium"/>
                <a:ea typeface="+mn-ea"/>
                <a:sym typeface="Helvetica 65 Medium"/>
              </a:rPr>
              <a:pPr marL="0" lvl="1" algn="r">
                <a:spcAft>
                  <a:spcPct val="0"/>
                </a:spcAft>
              </a:pPr>
              <a:t>600k</a:t>
            </a:fld>
            <a:endParaRPr lang="fr-FR" altLang="en-US" sz="1000" dirty="0">
              <a:latin typeface="Helvetica 65 Medium"/>
              <a:ea typeface="+mn-ea"/>
              <a:sym typeface="Helvetica 65 Medium"/>
            </a:endParaRPr>
          </a:p>
        </p:txBody>
      </p:sp>
      <p:sp>
        <p:nvSpPr>
          <p:cNvPr id="94" name="Text Placeholder 2"/>
          <p:cNvSpPr>
            <a:spLocks noGrp="1"/>
          </p:cNvSpPr>
          <p:nvPr>
            <p:custDataLst>
              <p:tags r:id="rId16"/>
            </p:custDataLst>
          </p:nvPr>
        </p:nvSpPr>
        <p:spPr bwMode="gray">
          <a:xfrm>
            <a:off x="1936750" y="1958975"/>
            <a:ext cx="38258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CEA48D54-E291-4C2F-9734-69A5E2693585}" type="datetime'''''''1'''''''''''''''' ''0''''''''0''0''''''''''''''''k'''''">
              <a:rPr lang="fr-FR" altLang="en-US" sz="1000" smtClean="0">
                <a:latin typeface="Helvetica 65 Medium"/>
                <a:ea typeface="+mn-ea"/>
                <a:sym typeface="Helvetica 65 Medium"/>
              </a:rPr>
              <a:pPr marL="0" lvl="1" algn="r">
                <a:spcAft>
                  <a:spcPct val="0"/>
                </a:spcAft>
              </a:pPr>
              <a:t>1 000k</a:t>
            </a:fld>
            <a:endParaRPr lang="fr-FR" altLang="en-US" sz="1000" dirty="0">
              <a:latin typeface="Helvetica 65 Medium"/>
              <a:ea typeface="+mn-ea"/>
              <a:sym typeface="Helvetica 65 Medium"/>
            </a:endParaRPr>
          </a:p>
        </p:txBody>
      </p:sp>
      <p:sp>
        <p:nvSpPr>
          <p:cNvPr id="95" name="Text Placeholder 2"/>
          <p:cNvSpPr>
            <a:spLocks noGrp="1"/>
          </p:cNvSpPr>
          <p:nvPr>
            <p:custDataLst>
              <p:tags r:id="rId17"/>
            </p:custDataLst>
          </p:nvPr>
        </p:nvSpPr>
        <p:spPr bwMode="gray">
          <a:xfrm>
            <a:off x="1936750" y="1473200"/>
            <a:ext cx="38258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7E7C091A-C96C-4FCE-BD32-46FDC23D27B6}" type="datetime'1'''''''''''' ''''2''0''0''''''k'''''''''''''''''''''''''">
              <a:rPr lang="fr-FR" altLang="en-US" sz="1000" smtClean="0">
                <a:latin typeface="Helvetica 65 Medium"/>
                <a:ea typeface="+mn-ea"/>
                <a:sym typeface="Helvetica 65 Medium"/>
              </a:rPr>
              <a:pPr marL="0" lvl="1" algn="r">
                <a:spcAft>
                  <a:spcPct val="0"/>
                </a:spcAft>
              </a:pPr>
              <a:t>1 200k</a:t>
            </a:fld>
            <a:endParaRPr lang="fr-FR" altLang="en-US" sz="1000" dirty="0">
              <a:latin typeface="Helvetica 65 Medium"/>
              <a:ea typeface="+mn-ea"/>
              <a:sym typeface="Helvetica 65 Medium"/>
            </a:endParaRPr>
          </a:p>
        </p:txBody>
      </p:sp>
      <p:sp>
        <p:nvSpPr>
          <p:cNvPr id="51" name="Text Placeholder 2"/>
          <p:cNvSpPr>
            <a:spLocks noGrp="1"/>
          </p:cNvSpPr>
          <p:nvPr>
            <p:custDataLst>
              <p:tags r:id="rId18"/>
            </p:custDataLst>
          </p:nvPr>
        </p:nvSpPr>
        <p:spPr bwMode="gray">
          <a:xfrm>
            <a:off x="1936750" y="989013"/>
            <a:ext cx="38258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r">
              <a:spcAft>
                <a:spcPct val="0"/>
              </a:spcAft>
            </a:pPr>
            <a:fld id="{FADCC103-53B4-4756-A104-5C04D39993FF}" type="datetime'''1'''''''''''''''''''''''''' ''''''''''4''00''k'''''''''''">
              <a:rPr lang="fr-FR" altLang="en-US" sz="1000" smtClean="0">
                <a:latin typeface="Helvetica 65 Medium"/>
                <a:ea typeface="+mn-ea"/>
                <a:sym typeface="Helvetica 65 Medium"/>
              </a:rPr>
              <a:pPr marL="0" lvl="1" algn="r">
                <a:spcAft>
                  <a:spcPct val="0"/>
                </a:spcAft>
              </a:pPr>
              <a:t>1 400k</a:t>
            </a:fld>
            <a:endParaRPr lang="fr-FR" altLang="en-US" sz="1000" dirty="0">
              <a:latin typeface="Helvetica 65 Medium"/>
              <a:ea typeface="+mn-ea"/>
              <a:sym typeface="Helvetica 65 Medium"/>
            </a:endParaRPr>
          </a:p>
        </p:txBody>
      </p:sp>
      <p:sp>
        <p:nvSpPr>
          <p:cNvPr id="41" name="Text Placeholder 2"/>
          <p:cNvSpPr>
            <a:spLocks noGrp="1"/>
          </p:cNvSpPr>
          <p:nvPr>
            <p:custDataLst>
              <p:tags r:id="rId19"/>
            </p:custDataLst>
          </p:nvPr>
        </p:nvSpPr>
        <p:spPr bwMode="gray">
          <a:xfrm>
            <a:off x="5703888" y="3832225"/>
            <a:ext cx="200025" cy="109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4288" tIns="0" rIns="14288"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68DEB6B8-92A4-4268-A0B7-F8F1215B1D62}" type="datetime'''''''''''''''''''''''''''''2''''''3''''''''''0'''''''''''''''">
              <a:rPr lang="fr-FR" altLang="en-US" sz="800" smtClean="0">
                <a:latin typeface="Helvetica 65 Medium"/>
                <a:ea typeface="ＭＳ Ｐゴシック"/>
                <a:sym typeface="Helvetica 65 Medium"/>
              </a:rPr>
              <a:pPr marL="0" lvl="1">
                <a:spcAft>
                  <a:spcPct val="0"/>
                </a:spcAft>
              </a:pPr>
              <a:t>230</a:t>
            </a:fld>
            <a:endParaRPr lang="fr-FR" altLang="en-US" sz="800" dirty="0">
              <a:latin typeface="Helvetica 65 Medium"/>
              <a:ea typeface="ＭＳ Ｐゴシック"/>
              <a:sym typeface="Helvetica 65 Medium"/>
            </a:endParaRPr>
          </a:p>
        </p:txBody>
      </p:sp>
      <p:sp>
        <p:nvSpPr>
          <p:cNvPr id="106" name="Text Placeholder 2"/>
          <p:cNvSpPr>
            <a:spLocks noGrp="1"/>
          </p:cNvSpPr>
          <p:nvPr>
            <p:custDataLst>
              <p:tags r:id="rId20"/>
            </p:custDataLst>
          </p:nvPr>
        </p:nvSpPr>
        <p:spPr bwMode="gray">
          <a:xfrm>
            <a:off x="4468813" y="2101850"/>
            <a:ext cx="200025" cy="109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4288" tIns="0" rIns="14288" bIns="0" numCol="1" spcCol="0" anchor="b"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B072A970-A339-4EB6-B8DD-EAC6AE83D260}" type="datetime'''''''''''''''9''''''''''''''0''''0'''''''''''''''''">
              <a:rPr lang="fr-FR" altLang="en-US" sz="800" smtClean="0">
                <a:latin typeface="Helvetica 65 Medium"/>
                <a:sym typeface="Helvetica 65 Medium"/>
              </a:rPr>
              <a:pPr marL="0" lvl="1" algn="ctr">
                <a:spcAft>
                  <a:spcPct val="0"/>
                </a:spcAft>
              </a:pPr>
              <a:t>900</a:t>
            </a:fld>
            <a:endParaRPr lang="fr-FR" altLang="en-US" sz="800" dirty="0">
              <a:latin typeface="Helvetica 65 Medium"/>
              <a:ea typeface="ＭＳ Ｐゴシック"/>
              <a:sym typeface="Helvetica 65 Medium"/>
            </a:endParaRPr>
          </a:p>
        </p:txBody>
      </p:sp>
      <p:sp useBgFill="1">
        <p:nvSpPr>
          <p:cNvPr id="54" name="Text Placeholder 2"/>
          <p:cNvSpPr>
            <a:spLocks noGrp="1"/>
          </p:cNvSpPr>
          <p:nvPr>
            <p:custDataLst>
              <p:tags r:id="rId21"/>
            </p:custDataLst>
          </p:nvPr>
        </p:nvSpPr>
        <p:spPr bwMode="gray">
          <a:xfrm>
            <a:off x="3746500" y="3506788"/>
            <a:ext cx="200025" cy="109538"/>
          </a:xfrm>
          <a:prstGeom prst="rect">
            <a:avLst/>
          </a:prstGeom>
          <a:ln>
            <a:noFill/>
          </a:ln>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4288" tIns="0" rIns="14288" bIns="0" numCol="1" spcCol="0" anchor="b"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A6AD1DBC-7FDA-4174-AED7-3DC1F2BF073E}" type="datetime'3''2''''''''''''''''''''''''0'''''''''''">
              <a:rPr lang="fr-FR" altLang="en-US" sz="800" smtClean="0">
                <a:latin typeface="Helvetica 65 Medium"/>
                <a:ea typeface="ＭＳ Ｐゴシック"/>
                <a:sym typeface="Helvetica 65 Medium"/>
              </a:rPr>
              <a:pPr marL="0" lvl="1" algn="ctr">
                <a:spcAft>
                  <a:spcPct val="0"/>
                </a:spcAft>
              </a:pPr>
              <a:t>320</a:t>
            </a:fld>
            <a:endParaRPr lang="fr-FR" altLang="en-US" sz="800" dirty="0">
              <a:latin typeface="Helvetica 65 Medium"/>
              <a:ea typeface="ＭＳ Ｐゴシック"/>
              <a:sym typeface="Helvetica 65 Medium"/>
            </a:endParaRPr>
          </a:p>
        </p:txBody>
      </p:sp>
      <p:sp>
        <p:nvSpPr>
          <p:cNvPr id="102" name="Text Placeholder 2"/>
          <p:cNvSpPr>
            <a:spLocks noGrp="1"/>
          </p:cNvSpPr>
          <p:nvPr>
            <p:custDataLst>
              <p:tags r:id="rId22"/>
            </p:custDataLst>
          </p:nvPr>
        </p:nvSpPr>
        <p:spPr bwMode="gray">
          <a:xfrm>
            <a:off x="4622800" y="2816225"/>
            <a:ext cx="200025" cy="109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4288" tIns="0" rIns="14288"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742A3753-A619-4FB2-9D0B-ADB82F495F71}" type="datetime'65''''''''''''''0'''''''''''''''''''''''''''''">
              <a:rPr lang="fr-FR" altLang="en-US" sz="800" smtClean="0">
                <a:latin typeface="Helvetica 65 Medium"/>
                <a:sym typeface="Helvetica 65 Medium"/>
              </a:rPr>
              <a:pPr marL="0" lvl="1">
                <a:spcAft>
                  <a:spcPct val="0"/>
                </a:spcAft>
              </a:pPr>
              <a:t>650</a:t>
            </a:fld>
            <a:endParaRPr lang="fr-FR" altLang="en-US" sz="800" dirty="0">
              <a:latin typeface="Helvetica 65 Medium"/>
              <a:ea typeface="ＭＳ Ｐゴシック"/>
              <a:sym typeface="Helvetica 65 Medium"/>
            </a:endParaRPr>
          </a:p>
        </p:txBody>
      </p:sp>
      <p:sp useBgFill="1">
        <p:nvSpPr>
          <p:cNvPr id="104" name="Text Placeholder 2"/>
          <p:cNvSpPr>
            <a:spLocks noGrp="1"/>
          </p:cNvSpPr>
          <p:nvPr>
            <p:custDataLst>
              <p:tags r:id="rId23"/>
            </p:custDataLst>
          </p:nvPr>
        </p:nvSpPr>
        <p:spPr bwMode="gray">
          <a:xfrm>
            <a:off x="5867400" y="987425"/>
            <a:ext cx="285750" cy="109538"/>
          </a:xfrm>
          <a:prstGeom prst="rect">
            <a:avLst/>
          </a:prstGeom>
          <a:ln>
            <a:noFill/>
          </a:ln>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4288" tIns="0" rIns="14288" bIns="0" numCol="1" spcCol="0" anchor="b"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48E94DCE-8CC2-41D4-ABEF-D1688F1EEE73}" type="datetime'''''''''''1'''''''''''' ''''''3''''''''6''''''''''0'''">
              <a:rPr lang="fr-FR" altLang="en-US" sz="800" smtClean="0">
                <a:latin typeface="Helvetica 65 Medium"/>
                <a:sym typeface="Helvetica 65 Medium"/>
              </a:rPr>
              <a:pPr marL="0" lvl="1" algn="ctr">
                <a:spcAft>
                  <a:spcPct val="0"/>
                </a:spcAft>
              </a:pPr>
              <a:t>1 360</a:t>
            </a:fld>
            <a:endParaRPr lang="fr-FR" altLang="en-US" sz="800" dirty="0">
              <a:latin typeface="Helvetica 65 Medium"/>
              <a:ea typeface="ＭＳ Ｐゴシック"/>
              <a:sym typeface="Helvetica 65 Medium"/>
            </a:endParaRPr>
          </a:p>
        </p:txBody>
      </p:sp>
      <p:sp>
        <p:nvSpPr>
          <p:cNvPr id="96" name="Text Placeholder 2"/>
          <p:cNvSpPr>
            <a:spLocks noGrp="1"/>
          </p:cNvSpPr>
          <p:nvPr>
            <p:custDataLst>
              <p:tags r:id="rId24"/>
            </p:custDataLst>
          </p:nvPr>
        </p:nvSpPr>
        <p:spPr bwMode="gray">
          <a:xfrm>
            <a:off x="6632575" y="3070225"/>
            <a:ext cx="200025"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4288" tIns="0" rIns="14288" bIns="0" numCol="1" spcCol="0" anchor="b"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690C45DA-F02E-4238-A1D4-6B99E31AD06F}" type="datetime'''5''''''''''''''''''''0''''''''0'''''''''''''''">
              <a:rPr lang="fr-FR" altLang="en-US" sz="800" smtClean="0">
                <a:latin typeface="Helvetica 65 Medium"/>
                <a:sym typeface="Helvetica 65 Medium"/>
              </a:rPr>
              <a:pPr marL="0" lvl="1" algn="ctr">
                <a:spcAft>
                  <a:spcPct val="0"/>
                </a:spcAft>
              </a:pPr>
              <a:t>500</a:t>
            </a:fld>
            <a:endParaRPr lang="fr-FR" altLang="en-US" sz="800" dirty="0">
              <a:latin typeface="Helvetica 65 Medium"/>
              <a:sym typeface="Helvetica 65 Medium"/>
            </a:endParaRPr>
          </a:p>
        </p:txBody>
      </p:sp>
      <p:sp>
        <p:nvSpPr>
          <p:cNvPr id="97" name="Text Placeholder 2"/>
          <p:cNvSpPr>
            <a:spLocks noGrp="1"/>
          </p:cNvSpPr>
          <p:nvPr>
            <p:custDataLst>
              <p:tags r:id="rId25"/>
            </p:custDataLst>
          </p:nvPr>
        </p:nvSpPr>
        <p:spPr bwMode="gray">
          <a:xfrm>
            <a:off x="6632575" y="2806700"/>
            <a:ext cx="200025" cy="109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14288" tIns="0" rIns="14288" bIns="0" numCol="1" spcCol="0" anchor="b"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6411AE84-E0A8-4B63-88EF-9091F4BFB1F7}" type="datetime'''''''''''''''''''''''''''''6''09'''''''">
              <a:rPr lang="fr-FR" altLang="en-US" sz="800" smtClean="0">
                <a:latin typeface="Helvetica 65 Medium"/>
                <a:sym typeface="Helvetica 65 Medium"/>
              </a:rPr>
              <a:pPr marL="0" lvl="1" algn="ctr">
                <a:spcAft>
                  <a:spcPct val="0"/>
                </a:spcAft>
              </a:pPr>
              <a:t>609</a:t>
            </a:fld>
            <a:endParaRPr lang="fr-FR" altLang="en-US" sz="800" dirty="0">
              <a:latin typeface="Helvetica 65 Medium"/>
              <a:ea typeface="ＭＳ Ｐゴシック"/>
              <a:sym typeface="Helvetica 65 Medium"/>
            </a:endParaRPr>
          </a:p>
        </p:txBody>
      </p:sp>
      <p:sp>
        <p:nvSpPr>
          <p:cNvPr id="98" name="Text Placeholder 2"/>
          <p:cNvSpPr>
            <a:spLocks noGrp="1"/>
          </p:cNvSpPr>
          <p:nvPr>
            <p:custDataLst>
              <p:tags r:id="rId26"/>
            </p:custDataLst>
          </p:nvPr>
        </p:nvSpPr>
        <p:spPr bwMode="auto">
          <a:xfrm>
            <a:off x="6934200" y="3163888"/>
            <a:ext cx="10398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ct val="0"/>
              </a:spcBef>
              <a:spcAft>
                <a:spcPct val="0"/>
              </a:spcAft>
            </a:pPr>
            <a:fld id="{6921EE5E-415F-43D1-818F-CAC0F544FCC2}" type="datetime'''''H''''ell''o'' ban''''''''''k! (''2''0''''''13)'''''">
              <a:rPr lang="fr-FR" altLang="en-US" sz="1000" smtClean="0">
                <a:solidFill>
                  <a:srgbClr val="454545"/>
                </a:solidFill>
                <a:latin typeface="Helvetica 65 Medium"/>
                <a:sym typeface="Helvetica 65 Medium"/>
              </a:rPr>
              <a:pPr lvl="1">
                <a:spcBef>
                  <a:spcPct val="0"/>
                </a:spcBef>
                <a:spcAft>
                  <a:spcPct val="0"/>
                </a:spcAft>
              </a:pPr>
              <a:t>Hello bank! (2013)</a:t>
            </a:fld>
            <a:endParaRPr lang="fr-FR" sz="1000" noProof="0" dirty="0">
              <a:solidFill>
                <a:srgbClr val="454545"/>
              </a:solidFill>
              <a:latin typeface="Helvetica 65 Medium"/>
              <a:sym typeface="Helvetica 65 Medium"/>
            </a:endParaRPr>
          </a:p>
        </p:txBody>
      </p:sp>
      <p:sp>
        <p:nvSpPr>
          <p:cNvPr id="99" name="Text Placeholder 2"/>
          <p:cNvSpPr>
            <a:spLocks noGrp="1"/>
          </p:cNvSpPr>
          <p:nvPr>
            <p:custDataLst>
              <p:tags r:id="rId27"/>
            </p:custDataLst>
          </p:nvPr>
        </p:nvSpPr>
        <p:spPr bwMode="auto">
          <a:xfrm>
            <a:off x="6934200" y="1081088"/>
            <a:ext cx="744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ct val="0"/>
              </a:spcBef>
              <a:spcAft>
                <a:spcPct val="0"/>
              </a:spcAft>
            </a:pPr>
            <a:fld id="{1205FC53-29A8-429C-9679-F946698DAB1C}" type="datetime'''N''''''i''''c''k''e''''''''l'''''' (20''''''14'''''''')'''''">
              <a:rPr lang="fr-FR" altLang="en-US" sz="1000" smtClean="0">
                <a:solidFill>
                  <a:srgbClr val="FBDE69"/>
                </a:solidFill>
                <a:latin typeface="Helvetica 65 Medium"/>
                <a:sym typeface="Helvetica 65 Medium"/>
              </a:rPr>
              <a:pPr lvl="1">
                <a:spcBef>
                  <a:spcPct val="0"/>
                </a:spcBef>
                <a:spcAft>
                  <a:spcPct val="0"/>
                </a:spcAft>
              </a:pPr>
              <a:t>Nickel (2014)</a:t>
            </a:fld>
            <a:endParaRPr lang="fr-FR" sz="1000" noProof="0" dirty="0">
              <a:solidFill>
                <a:srgbClr val="FBDE69"/>
              </a:solidFill>
              <a:latin typeface="Helvetica 65 Medium"/>
              <a:sym typeface="Helvetica 65 Medium"/>
            </a:endParaRPr>
          </a:p>
        </p:txBody>
      </p:sp>
      <p:sp>
        <p:nvSpPr>
          <p:cNvPr id="105" name="Text Placeholder 2"/>
          <p:cNvSpPr>
            <a:spLocks noGrp="1"/>
          </p:cNvSpPr>
          <p:nvPr>
            <p:custDataLst>
              <p:tags r:id="rId28"/>
            </p:custDataLst>
          </p:nvPr>
        </p:nvSpPr>
        <p:spPr bwMode="auto">
          <a:xfrm>
            <a:off x="6934200" y="2900363"/>
            <a:ext cx="1101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ct val="0"/>
              </a:spcBef>
              <a:spcAft>
                <a:spcPct val="0"/>
              </a:spcAft>
            </a:pPr>
            <a:fld id="{B72AA5C1-6762-40B4-AB0B-B5F1B5E23551}" type="datetime'''''Bou''''''r''''sora''ma ''''''(''''''2''''00''''''''''5)'''">
              <a:rPr lang="fr-FR" altLang="en-US" sz="1000" smtClean="0">
                <a:solidFill>
                  <a:srgbClr val="FC33DE"/>
                </a:solidFill>
                <a:latin typeface="Helvetica 65 Medium"/>
                <a:sym typeface="Helvetica 65 Medium"/>
              </a:rPr>
              <a:pPr lvl="1">
                <a:spcBef>
                  <a:spcPct val="0"/>
                </a:spcBef>
                <a:spcAft>
                  <a:spcPct val="0"/>
                </a:spcAft>
              </a:pPr>
              <a:t>Boursorama (2005)</a:t>
            </a:fld>
            <a:endParaRPr lang="fr-FR" sz="1000" noProof="0" dirty="0">
              <a:solidFill>
                <a:srgbClr val="FC33DE"/>
              </a:solidFill>
              <a:latin typeface="Helvetica 65 Medium"/>
              <a:sym typeface="Helvetica 65 Medium"/>
            </a:endParaRPr>
          </a:p>
        </p:txBody>
      </p:sp>
      <p:sp>
        <p:nvSpPr>
          <p:cNvPr id="117" name="Rectangle 116"/>
          <p:cNvSpPr/>
          <p:nvPr/>
        </p:nvSpPr>
        <p:spPr>
          <a:xfrm>
            <a:off x="4050671" y="1878499"/>
            <a:ext cx="1382233" cy="246221"/>
          </a:xfrm>
          <a:prstGeom prst="rect">
            <a:avLst/>
          </a:prstGeom>
        </p:spPr>
        <p:txBody>
          <a:bodyPr wrap="square">
            <a:spAutoFit/>
          </a:bodyPr>
          <a:lstStyle/>
          <a:p>
            <a:pPr lvl="1">
              <a:spcBef>
                <a:spcPct val="0"/>
              </a:spcBef>
              <a:spcAft>
                <a:spcPct val="0"/>
              </a:spcAft>
            </a:pPr>
            <a:fld id="{3058AA03-7154-4985-8061-CC46C1E25746}" type="datetime'N''''''''''''26 ''''''''(''''''''2''''''01''7'''''''''')'''''">
              <a:rPr lang="fr-FR" altLang="en-US" sz="1000">
                <a:solidFill>
                  <a:srgbClr val="809E5F"/>
                </a:solidFill>
                <a:latin typeface="Helvetica 65 Medium"/>
                <a:sym typeface="Helvetica 65 Medium"/>
              </a:rPr>
              <a:pPr lvl="1">
                <a:spcBef>
                  <a:spcPct val="0"/>
                </a:spcBef>
                <a:spcAft>
                  <a:spcPct val="0"/>
                </a:spcAft>
              </a:pPr>
              <a:t>N26 (2017)</a:t>
            </a:fld>
            <a:endParaRPr lang="fr-FR" sz="1000" dirty="0">
              <a:solidFill>
                <a:srgbClr val="809E5F"/>
              </a:solidFill>
              <a:latin typeface="Helvetica 65 Medium"/>
              <a:sym typeface="Helvetica 65 Medium"/>
            </a:endParaRPr>
          </a:p>
        </p:txBody>
      </p:sp>
      <p:sp>
        <p:nvSpPr>
          <p:cNvPr id="118" name="Rectangle 117"/>
          <p:cNvSpPr/>
          <p:nvPr/>
        </p:nvSpPr>
        <p:spPr>
          <a:xfrm>
            <a:off x="4887936" y="2675895"/>
            <a:ext cx="1111202" cy="261610"/>
          </a:xfrm>
          <a:prstGeom prst="rect">
            <a:avLst/>
          </a:prstGeom>
        </p:spPr>
        <p:txBody>
          <a:bodyPr wrap="none">
            <a:spAutoFit/>
          </a:bodyPr>
          <a:lstStyle/>
          <a:p>
            <a:fld id="{C9798AA4-4857-435C-8312-37E89253CADE}" type="datetime'''''R''''e''''''''''''vol''''ut'''' ''(''''''''''2''01''7'')'">
              <a:rPr lang="fr-FR" altLang="en-US" sz="1050">
                <a:solidFill>
                  <a:srgbClr val="308BCC"/>
                </a:solidFill>
                <a:latin typeface="Helvetica 65 Medium"/>
                <a:sym typeface="Helvetica 65 Medium"/>
              </a:rPr>
              <a:pPr/>
              <a:t>Revolut (2017)</a:t>
            </a:fld>
            <a:endParaRPr lang="fr-FR" dirty="0"/>
          </a:p>
        </p:txBody>
      </p:sp>
      <p:sp>
        <p:nvSpPr>
          <p:cNvPr id="120" name="Rectangle 119"/>
          <p:cNvSpPr/>
          <p:nvPr/>
        </p:nvSpPr>
        <p:spPr>
          <a:xfrm>
            <a:off x="3923928" y="3382681"/>
            <a:ext cx="1467068" cy="261610"/>
          </a:xfrm>
          <a:prstGeom prst="rect">
            <a:avLst/>
          </a:prstGeom>
        </p:spPr>
        <p:txBody>
          <a:bodyPr wrap="none">
            <a:spAutoFit/>
          </a:bodyPr>
          <a:lstStyle/>
          <a:p>
            <a:fld id="{46281460-D188-43D2-8E07-7B7A6F45E04B}" type="datetime'''''O''r''''''''ange'' B''''a''n''k ''(''''2''''0''''17'''')'">
              <a:rPr lang="fr-FR" altLang="en-US" sz="1050">
                <a:solidFill>
                  <a:schemeClr val="accent1"/>
                </a:solidFill>
                <a:latin typeface="Helvetica 65 Medium"/>
                <a:sym typeface="Helvetica 65 Medium"/>
              </a:rPr>
              <a:pPr/>
              <a:t>Orange Bank (2017)</a:t>
            </a:fld>
            <a:endParaRPr lang="fr-FR" dirty="0"/>
          </a:p>
        </p:txBody>
      </p:sp>
      <p:sp>
        <p:nvSpPr>
          <p:cNvPr id="10" name="Rectangle 9"/>
          <p:cNvSpPr/>
          <p:nvPr/>
        </p:nvSpPr>
        <p:spPr>
          <a:xfrm>
            <a:off x="5919775" y="3710071"/>
            <a:ext cx="1180131" cy="253916"/>
          </a:xfrm>
          <a:prstGeom prst="rect">
            <a:avLst/>
          </a:prstGeom>
        </p:spPr>
        <p:txBody>
          <a:bodyPr wrap="none">
            <a:spAutoFit/>
          </a:bodyPr>
          <a:lstStyle/>
          <a:p>
            <a:r>
              <a:rPr lang="fr-FR" altLang="en-US" sz="1050" dirty="0" err="1">
                <a:solidFill>
                  <a:srgbClr val="B26D28"/>
                </a:solidFill>
                <a:latin typeface="Helvetica 65 Medium"/>
                <a:sym typeface="Helvetica 65 Medium"/>
              </a:rPr>
              <a:t>BforBank</a:t>
            </a:r>
            <a:r>
              <a:rPr lang="fr-FR" altLang="en-US" sz="1050" dirty="0">
                <a:solidFill>
                  <a:srgbClr val="B26D28"/>
                </a:solidFill>
                <a:latin typeface="Helvetica 65 Medium"/>
                <a:sym typeface="Helvetica 65 Medium"/>
              </a:rPr>
              <a:t> (2015)</a:t>
            </a:r>
            <a:endParaRPr lang="fr-FR" dirty="0"/>
          </a:p>
        </p:txBody>
      </p:sp>
    </p:spTree>
    <p:extLst>
      <p:ext uri="{BB962C8B-B14F-4D97-AF65-F5344CB8AC3E}">
        <p14:creationId xmlns:p14="http://schemas.microsoft.com/office/powerpoint/2010/main" val="1146954866"/>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216159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0" name="Diapositive think-cell" r:id="rId20" imgW="384" imgH="384" progId="TCLayout.ActiveDocument.1">
                  <p:embed/>
                </p:oleObj>
              </mc:Choice>
              <mc:Fallback>
                <p:oleObj name="Diapositive think-cell" r:id="rId20" imgW="384" imgH="384"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Helvetica 75 Bold"/>
              <a:ea typeface="ＭＳ Ｐゴシック"/>
              <a:cs typeface="+mj-cs"/>
              <a:sym typeface="Helvetica 75 Bold"/>
            </a:endParaRPr>
          </a:p>
        </p:txBody>
      </p:sp>
      <p:sp>
        <p:nvSpPr>
          <p:cNvPr id="17" name="Titre 16"/>
          <p:cNvSpPr>
            <a:spLocks noGrp="1"/>
          </p:cNvSpPr>
          <p:nvPr>
            <p:ph type="title"/>
          </p:nvPr>
        </p:nvSpPr>
        <p:spPr>
          <a:xfrm>
            <a:off x="323528" y="123479"/>
            <a:ext cx="8470900" cy="288032"/>
          </a:xfrm>
        </p:spPr>
        <p:txBody>
          <a:bodyPr/>
          <a:lstStyle/>
          <a:p>
            <a:r>
              <a:rPr lang="en-US" sz="1600" dirty="0">
                <a:solidFill>
                  <a:srgbClr val="FF7900"/>
                </a:solidFill>
              </a:rPr>
              <a:t>Des </a:t>
            </a:r>
            <a:r>
              <a:rPr lang="en-US" sz="1600" dirty="0" err="1">
                <a:solidFill>
                  <a:srgbClr val="FF7900"/>
                </a:solidFill>
              </a:rPr>
              <a:t>investissements</a:t>
            </a:r>
            <a:r>
              <a:rPr lang="en-US" sz="1600" dirty="0">
                <a:solidFill>
                  <a:srgbClr val="FF7900"/>
                </a:solidFill>
              </a:rPr>
              <a:t> </a:t>
            </a:r>
            <a:r>
              <a:rPr lang="en-US" sz="1600" dirty="0" err="1">
                <a:solidFill>
                  <a:srgbClr val="FF7900"/>
                </a:solidFill>
              </a:rPr>
              <a:t>toujours</a:t>
            </a:r>
            <a:r>
              <a:rPr lang="en-US" sz="1600" dirty="0">
                <a:solidFill>
                  <a:srgbClr val="FF7900"/>
                </a:solidFill>
              </a:rPr>
              <a:t> </a:t>
            </a:r>
            <a:r>
              <a:rPr lang="en-US" sz="1600" dirty="0" err="1">
                <a:solidFill>
                  <a:srgbClr val="FF7900"/>
                </a:solidFill>
              </a:rPr>
              <a:t>soutenus</a:t>
            </a:r>
            <a:endParaRPr lang="fr-FR" sz="1600" dirty="0">
              <a:solidFill>
                <a:srgbClr val="FF7900"/>
              </a:solidFill>
            </a:endParaRPr>
          </a:p>
        </p:txBody>
      </p:sp>
      <p:graphicFrame>
        <p:nvGraphicFramePr>
          <p:cNvPr id="68" name="Chart 3"/>
          <p:cNvGraphicFramePr/>
          <p:nvPr>
            <p:custDataLst>
              <p:tags r:id="rId4"/>
            </p:custDataLst>
            <p:extLst>
              <p:ext uri="{D42A27DB-BD31-4B8C-83A1-F6EECF244321}">
                <p14:modId xmlns:p14="http://schemas.microsoft.com/office/powerpoint/2010/main" val="3993986441"/>
              </p:ext>
            </p:extLst>
          </p:nvPr>
        </p:nvGraphicFramePr>
        <p:xfrm>
          <a:off x="206375" y="1122363"/>
          <a:ext cx="3800475" cy="1884362"/>
        </p:xfrm>
        <a:graphic>
          <a:graphicData uri="http://schemas.openxmlformats.org/drawingml/2006/chart">
            <c:chart xmlns:c="http://schemas.openxmlformats.org/drawingml/2006/chart" xmlns:r="http://schemas.openxmlformats.org/officeDocument/2006/relationships" r:id="rId22"/>
          </a:graphicData>
        </a:graphic>
      </p:graphicFrame>
      <p:sp>
        <p:nvSpPr>
          <p:cNvPr id="35" name="Text Placeholder 2"/>
          <p:cNvSpPr>
            <a:spLocks noGrp="1"/>
          </p:cNvSpPr>
          <p:nvPr>
            <p:custDataLst>
              <p:tags r:id="rId5"/>
            </p:custDataLst>
          </p:nvPr>
        </p:nvSpPr>
        <p:spPr bwMode="auto">
          <a:xfrm>
            <a:off x="1495425" y="2974975"/>
            <a:ext cx="1809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B3A0377A-6061-4D6C-95AD-75437C24007C}" type="datetime'''''''''''''''''''''1''''5'''''''''''''''''">
              <a:rPr lang="fr-FR" altLang="en-US" sz="1200" b="1" smtClean="0">
                <a:latin typeface="Helvetica 65 Medium"/>
                <a:sym typeface="Helvetica 65 Medium"/>
              </a:rPr>
              <a:pPr marL="0" lvl="1" algn="ctr">
                <a:spcAft>
                  <a:spcPct val="0"/>
                </a:spcAft>
              </a:pPr>
              <a:t>15</a:t>
            </a:fld>
            <a:endParaRPr lang="fr-FR" altLang="en-US" sz="1200" b="1" dirty="0">
              <a:latin typeface="Helvetica 65 Medium"/>
              <a:ea typeface="ＭＳ Ｐゴシック"/>
              <a:sym typeface="Helvetica 65 Medium"/>
            </a:endParaRPr>
          </a:p>
        </p:txBody>
      </p:sp>
      <p:sp>
        <p:nvSpPr>
          <p:cNvPr id="33" name="Text Placeholder 2"/>
          <p:cNvSpPr>
            <a:spLocks noGrp="1"/>
          </p:cNvSpPr>
          <p:nvPr>
            <p:custDataLst>
              <p:tags r:id="rId6"/>
            </p:custDataLst>
          </p:nvPr>
        </p:nvSpPr>
        <p:spPr bwMode="auto">
          <a:xfrm>
            <a:off x="373063" y="2974975"/>
            <a:ext cx="34925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3F94416A-16C7-42AF-BA46-D3946BE82A53}" type="datetime'''''''2''''''''''''''''''''''''''''0''1''3'''''''''''''''">
              <a:rPr lang="fr-FR" altLang="en-US" sz="1200" b="1" smtClean="0">
                <a:latin typeface="Helvetica 65 Medium"/>
                <a:sym typeface="Helvetica 65 Medium"/>
              </a:rPr>
              <a:pPr marL="0" lvl="1" algn="ctr">
                <a:spcAft>
                  <a:spcPct val="0"/>
                </a:spcAft>
              </a:pPr>
              <a:t>2013</a:t>
            </a:fld>
            <a:endParaRPr lang="fr-FR" altLang="en-US" sz="1200" b="1" dirty="0">
              <a:latin typeface="Helvetica 65 Medium"/>
              <a:ea typeface="ＭＳ Ｐゴシック"/>
              <a:sym typeface="Helvetica 65 Medium"/>
            </a:endParaRPr>
          </a:p>
        </p:txBody>
      </p:sp>
      <p:sp useBgFill="1">
        <p:nvSpPr>
          <p:cNvPr id="203" name="Text Placeholder 2"/>
          <p:cNvSpPr>
            <a:spLocks noGrp="1"/>
          </p:cNvSpPr>
          <p:nvPr>
            <p:custDataLst>
              <p:tags r:id="rId7"/>
            </p:custDataLst>
          </p:nvPr>
        </p:nvSpPr>
        <p:spPr bwMode="gray">
          <a:xfrm>
            <a:off x="960438" y="2574925"/>
            <a:ext cx="212725" cy="165100"/>
          </a:xfrm>
          <a:prstGeom prst="rect">
            <a:avLst/>
          </a:prstGeom>
          <a:ln>
            <a:noFill/>
          </a:ln>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3976FDED-36DC-411C-B445-974B9ABE7A3A}" type="datetime'''''''''''3''''''''0'''''''''''''''''">
              <a:rPr lang="fr-FR" altLang="en-US" sz="1200" smtClean="0">
                <a:solidFill>
                  <a:srgbClr val="4BB4E6"/>
                </a:solidFill>
                <a:latin typeface="Helvetica 65 Medium"/>
                <a:ea typeface="ＭＳ Ｐゴシック"/>
                <a:sym typeface="Helvetica 65 Medium"/>
              </a:rPr>
              <a:pPr marL="0" lvl="1" algn="ctr">
                <a:spcAft>
                  <a:spcPct val="0"/>
                </a:spcAft>
              </a:pPr>
              <a:t>30</a:t>
            </a:fld>
            <a:endParaRPr lang="fr-FR" altLang="en-US" sz="1200" dirty="0">
              <a:solidFill>
                <a:srgbClr val="4BB4E6"/>
              </a:solidFill>
              <a:latin typeface="Helvetica 65 Medium"/>
              <a:ea typeface="ＭＳ Ｐゴシック"/>
              <a:sym typeface="Helvetica 65 Medium"/>
            </a:endParaRPr>
          </a:p>
        </p:txBody>
      </p:sp>
      <p:sp>
        <p:nvSpPr>
          <p:cNvPr id="34" name="Text Placeholder 2"/>
          <p:cNvSpPr>
            <a:spLocks noGrp="1"/>
          </p:cNvSpPr>
          <p:nvPr>
            <p:custDataLst>
              <p:tags r:id="rId8"/>
            </p:custDataLst>
          </p:nvPr>
        </p:nvSpPr>
        <p:spPr bwMode="auto">
          <a:xfrm>
            <a:off x="976313" y="2974975"/>
            <a:ext cx="1809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7101FF0B-D043-4D63-A324-A2F3D932F96C}" type="datetime'''''''''''''''''''''''''''1''''''4'''''''''''''''''''''''">
              <a:rPr lang="fr-FR" altLang="en-US" sz="1200" b="1" smtClean="0">
                <a:latin typeface="Helvetica 65 Medium"/>
                <a:sym typeface="Helvetica 65 Medium"/>
              </a:rPr>
              <a:pPr marL="0" lvl="1" algn="ctr">
                <a:spcAft>
                  <a:spcPct val="0"/>
                </a:spcAft>
              </a:pPr>
              <a:t>14</a:t>
            </a:fld>
            <a:endParaRPr lang="fr-FR" altLang="en-US" sz="1200" b="1" dirty="0">
              <a:latin typeface="Helvetica 65 Medium"/>
              <a:ea typeface="ＭＳ Ｐゴシック"/>
              <a:sym typeface="Helvetica 65 Medium"/>
            </a:endParaRPr>
          </a:p>
        </p:txBody>
      </p:sp>
      <p:sp>
        <p:nvSpPr>
          <p:cNvPr id="46" name="Text Placeholder 2"/>
          <p:cNvSpPr>
            <a:spLocks noGrp="1"/>
          </p:cNvSpPr>
          <p:nvPr>
            <p:custDataLst>
              <p:tags r:id="rId9"/>
            </p:custDataLst>
          </p:nvPr>
        </p:nvSpPr>
        <p:spPr bwMode="auto">
          <a:xfrm>
            <a:off x="2014538" y="2974975"/>
            <a:ext cx="1809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870257F3-0068-4E20-8AD1-258C061BEE0F}" type="datetime'''''''''''''''''''''''''1''''''''''''''''''''''''6'''''''">
              <a:rPr lang="fr-FR" altLang="en-US" sz="1200" b="1" smtClean="0">
                <a:latin typeface="Helvetica 65 Medium"/>
                <a:sym typeface="Helvetica 65 Medium"/>
              </a:rPr>
              <a:pPr marL="0" lvl="1" algn="ctr">
                <a:spcAft>
                  <a:spcPct val="0"/>
                </a:spcAft>
              </a:pPr>
              <a:t>16</a:t>
            </a:fld>
            <a:endParaRPr lang="fr-FR" altLang="en-US" sz="1200" b="1" dirty="0">
              <a:latin typeface="Helvetica 65 Medium"/>
              <a:ea typeface="ＭＳ Ｐゴシック"/>
              <a:sym typeface="Helvetica 65 Medium"/>
            </a:endParaRPr>
          </a:p>
        </p:txBody>
      </p:sp>
      <p:sp>
        <p:nvSpPr>
          <p:cNvPr id="47" name="Text Placeholder 2"/>
          <p:cNvSpPr>
            <a:spLocks noGrp="1"/>
          </p:cNvSpPr>
          <p:nvPr>
            <p:custDataLst>
              <p:tags r:id="rId10"/>
            </p:custDataLst>
          </p:nvPr>
        </p:nvSpPr>
        <p:spPr bwMode="auto">
          <a:xfrm>
            <a:off x="2535238" y="2974975"/>
            <a:ext cx="1809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EC5EADC1-0CA4-4C3E-9E1D-3E4FBE141FAB}" type="datetime'''''''''''''''''''17'''''''''''''''''''''">
              <a:rPr lang="fr-FR" altLang="en-US" sz="1200" b="1" smtClean="0">
                <a:latin typeface="Helvetica 65 Medium"/>
                <a:sym typeface="Helvetica 65 Medium"/>
              </a:rPr>
              <a:pPr marL="0" lvl="1" algn="ctr">
                <a:spcAft>
                  <a:spcPct val="0"/>
                </a:spcAft>
              </a:pPr>
              <a:t>17</a:t>
            </a:fld>
            <a:endParaRPr lang="fr-FR" altLang="en-US" sz="1200" b="1" dirty="0">
              <a:latin typeface="Helvetica 65 Medium"/>
              <a:ea typeface="ＭＳ Ｐゴシック"/>
              <a:sym typeface="Helvetica 65 Medium"/>
            </a:endParaRPr>
          </a:p>
        </p:txBody>
      </p:sp>
      <p:sp>
        <p:nvSpPr>
          <p:cNvPr id="48" name="Text Placeholder 2"/>
          <p:cNvSpPr>
            <a:spLocks noGrp="1"/>
          </p:cNvSpPr>
          <p:nvPr>
            <p:custDataLst>
              <p:tags r:id="rId11"/>
            </p:custDataLst>
          </p:nvPr>
        </p:nvSpPr>
        <p:spPr bwMode="auto">
          <a:xfrm>
            <a:off x="3054350" y="2974975"/>
            <a:ext cx="1809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C80F51DE-F3D8-42C5-B940-89A93296A939}" type="datetime'''''''''1''''''''''''8'''''''">
              <a:rPr lang="fr-FR" altLang="en-US" sz="1200" b="1" smtClean="0">
                <a:latin typeface="Helvetica 65 Medium"/>
                <a:sym typeface="Helvetica 65 Medium"/>
              </a:rPr>
              <a:pPr marL="0" lvl="1" algn="ctr">
                <a:spcAft>
                  <a:spcPct val="0"/>
                </a:spcAft>
              </a:pPr>
              <a:t>18</a:t>
            </a:fld>
            <a:endParaRPr lang="fr-FR" altLang="en-US" sz="1200" b="1" dirty="0">
              <a:latin typeface="Helvetica 65 Medium"/>
              <a:ea typeface="ＭＳ Ｐゴシック"/>
              <a:sym typeface="Helvetica 65 Medium"/>
            </a:endParaRPr>
          </a:p>
        </p:txBody>
      </p:sp>
      <p:sp useBgFill="1">
        <p:nvSpPr>
          <p:cNvPr id="213" name="Text Placeholder 2"/>
          <p:cNvSpPr>
            <a:spLocks noGrp="1"/>
          </p:cNvSpPr>
          <p:nvPr>
            <p:custDataLst>
              <p:tags r:id="rId12"/>
            </p:custDataLst>
          </p:nvPr>
        </p:nvSpPr>
        <p:spPr bwMode="gray">
          <a:xfrm>
            <a:off x="3557588" y="2536825"/>
            <a:ext cx="212725" cy="165100"/>
          </a:xfrm>
          <a:prstGeom prst="rect">
            <a:avLst/>
          </a:prstGeom>
          <a:ln>
            <a:noFill/>
          </a:ln>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23800FCC-D68B-4BA9-AC0D-EE7EBC204FC6}" type="datetime'''''''''''''3''''''''''''''''''''''''''''''''''''9'''''''">
              <a:rPr lang="fr-FR" altLang="en-US" sz="1200" smtClean="0">
                <a:solidFill>
                  <a:srgbClr val="4BB4E6"/>
                </a:solidFill>
                <a:latin typeface="Helvetica 65 Medium"/>
                <a:ea typeface="ＭＳ Ｐゴシック"/>
                <a:sym typeface="Helvetica 65 Medium"/>
              </a:rPr>
              <a:pPr marL="0" lvl="1" algn="ctr">
                <a:spcAft>
                  <a:spcPct val="0"/>
                </a:spcAft>
              </a:pPr>
              <a:t>39</a:t>
            </a:fld>
            <a:endParaRPr lang="fr-FR" altLang="en-US" sz="1200" dirty="0">
              <a:solidFill>
                <a:srgbClr val="4BB4E6"/>
              </a:solidFill>
              <a:latin typeface="Helvetica 65 Medium"/>
              <a:ea typeface="ＭＳ Ｐゴシック"/>
              <a:sym typeface="Helvetica 65 Medium"/>
            </a:endParaRPr>
          </a:p>
        </p:txBody>
      </p:sp>
      <p:sp>
        <p:nvSpPr>
          <p:cNvPr id="50" name="Text Placeholder 2"/>
          <p:cNvSpPr>
            <a:spLocks noGrp="1"/>
          </p:cNvSpPr>
          <p:nvPr>
            <p:custDataLst>
              <p:tags r:id="rId13"/>
            </p:custDataLst>
          </p:nvPr>
        </p:nvSpPr>
        <p:spPr bwMode="auto">
          <a:xfrm>
            <a:off x="3460750" y="2974975"/>
            <a:ext cx="40640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lgn="ctr">
              <a:spcAft>
                <a:spcPct val="0"/>
              </a:spcAft>
            </a:pPr>
            <a:fld id="{0A94AE06-EAE0-4D08-A466-9DB1E4D1456B}" type="datetime'''''''''''''S''1'' 1''''''9'''''''''''''''''''''''''''''''''">
              <a:rPr lang="fr-FR" altLang="en-US" sz="1200" b="1" smtClean="0">
                <a:latin typeface="Helvetica 65 Medium"/>
                <a:sym typeface="Helvetica 65 Medium"/>
              </a:rPr>
              <a:pPr marL="0" lvl="1" algn="ctr">
                <a:spcAft>
                  <a:spcPct val="0"/>
                </a:spcAft>
              </a:pPr>
              <a:t>S1 19</a:t>
            </a:fld>
            <a:endParaRPr lang="fr-FR" altLang="en-US" sz="1200" b="1" dirty="0">
              <a:latin typeface="Helvetica 65 Medium"/>
              <a:ea typeface="ＭＳ Ｐゴシック"/>
              <a:sym typeface="Helvetica 65 Medium"/>
            </a:endParaRPr>
          </a:p>
        </p:txBody>
      </p:sp>
      <p:sp>
        <p:nvSpPr>
          <p:cNvPr id="21" name="Rectangle 20"/>
          <p:cNvSpPr/>
          <p:nvPr>
            <p:custDataLst>
              <p:tags r:id="rId14"/>
            </p:custDataLst>
          </p:nvPr>
        </p:nvSpPr>
        <p:spPr bwMode="auto">
          <a:xfrm>
            <a:off x="349250" y="1412875"/>
            <a:ext cx="214313" cy="1603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2" name="Connecteur droit 21"/>
          <p:cNvCxnSpPr/>
          <p:nvPr>
            <p:custDataLst>
              <p:tags r:id="rId15"/>
            </p:custDataLst>
          </p:nvPr>
        </p:nvCxnSpPr>
        <p:spPr bwMode="gray">
          <a:xfrm>
            <a:off x="369888" y="1708150"/>
            <a:ext cx="171450" cy="0"/>
          </a:xfrm>
          <a:prstGeom prst="line">
            <a:avLst/>
          </a:prstGeom>
          <a:ln w="19050" cap="rnd" cmpd="sng" algn="ctr">
            <a:solidFill>
              <a:srgbClr val="4BB4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 Placeholder 2"/>
          <p:cNvSpPr>
            <a:spLocks noGrp="1"/>
          </p:cNvSpPr>
          <p:nvPr>
            <p:custDataLst>
              <p:tags r:id="rId16"/>
            </p:custDataLst>
          </p:nvPr>
        </p:nvSpPr>
        <p:spPr bwMode="auto">
          <a:xfrm>
            <a:off x="614363" y="1408113"/>
            <a:ext cx="119380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2575EA5C-F14C-4D6C-9272-A8BE561DCB99}" type="datetime'''F''''''''onds'''' ''l''''ev''é''''s'''''' ''(m€)'''''''''">
              <a:rPr lang="fr-FR" altLang="en-US" sz="1200" smtClean="0">
                <a:latin typeface="Helvetica 65 Medium"/>
                <a:sym typeface="Helvetica 65 Medium"/>
              </a:rPr>
              <a:pPr marL="0" lvl="1">
                <a:spcAft>
                  <a:spcPct val="0"/>
                </a:spcAft>
              </a:pPr>
              <a:t>Fonds levés (m€)</a:t>
            </a:fld>
            <a:endParaRPr lang="fr-FR" altLang="en-US" sz="1200" dirty="0">
              <a:latin typeface="Helvetica 65 Medium"/>
              <a:ea typeface="ＭＳ Ｐゴシック"/>
              <a:sym typeface="Helvetica 65 Medium"/>
            </a:endParaRPr>
          </a:p>
        </p:txBody>
      </p:sp>
      <p:sp>
        <p:nvSpPr>
          <p:cNvPr id="70" name="Text Placeholder 2"/>
          <p:cNvSpPr>
            <a:spLocks noGrp="1"/>
          </p:cNvSpPr>
          <p:nvPr>
            <p:custDataLst>
              <p:tags r:id="rId17"/>
            </p:custDataLst>
          </p:nvPr>
        </p:nvSpPr>
        <p:spPr bwMode="auto">
          <a:xfrm>
            <a:off x="614363" y="1624013"/>
            <a:ext cx="985838"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Helvetica 75 Bold" panose="020B080402020202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400" kern="1200">
                <a:solidFill>
                  <a:schemeClr val="tx1"/>
                </a:solidFill>
                <a:latin typeface="Helvetica 75 Bold" panose="020B080402020202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400" kern="1200">
                <a:solidFill>
                  <a:schemeClr val="tx1"/>
                </a:solidFill>
                <a:latin typeface="Helvetica 75 Bold" panose="020B080402020202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a:spcAft>
                <a:spcPct val="0"/>
              </a:spcAft>
            </a:pPr>
            <a:fld id="{11FE15BF-9A2C-468E-B2CF-12AD91E58BCE}" type="datetime'No''''''''''''''''''mb''''''''''r''e'''''' ''''d''''e''als'''">
              <a:rPr lang="fr-FR" altLang="en-US" sz="1200" smtClean="0">
                <a:latin typeface="Helvetica 65 Medium"/>
                <a:ea typeface="ＭＳ Ｐゴシック"/>
                <a:sym typeface="Helvetica 65 Medium"/>
              </a:rPr>
              <a:pPr marL="0" lvl="1">
                <a:spcAft>
                  <a:spcPct val="0"/>
                </a:spcAft>
              </a:pPr>
              <a:t>Nombre deals</a:t>
            </a:fld>
            <a:endParaRPr lang="fr-FR" altLang="en-US" sz="1200" dirty="0">
              <a:latin typeface="Helvetica 65 Medium"/>
              <a:ea typeface="ＭＳ Ｐゴシック"/>
              <a:sym typeface="Helvetica 65 Medium"/>
            </a:endParaRPr>
          </a:p>
        </p:txBody>
      </p:sp>
      <p:sp>
        <p:nvSpPr>
          <p:cNvPr id="23" name="Ellipse 22"/>
          <p:cNvSpPr/>
          <p:nvPr/>
        </p:nvSpPr>
        <p:spPr>
          <a:xfrm>
            <a:off x="349250" y="3140075"/>
            <a:ext cx="396875" cy="295275"/>
          </a:xfrm>
          <a:prstGeom prst="ellipse">
            <a:avLst/>
          </a:prstGeom>
          <a:solidFill>
            <a:schemeClr val="bg1"/>
          </a:solidFill>
          <a:ln>
            <a:solidFill>
              <a:srgbClr val="4BB4E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200" dirty="0">
                <a:latin typeface="Helvetica 65 Medium" panose="020B0604020202020204" pitchFamily="34" charset="0"/>
              </a:rPr>
              <a:t>1,7</a:t>
            </a:r>
          </a:p>
        </p:txBody>
      </p:sp>
      <p:sp>
        <p:nvSpPr>
          <p:cNvPr id="176" name="Ellipse 175"/>
          <p:cNvSpPr/>
          <p:nvPr/>
        </p:nvSpPr>
        <p:spPr>
          <a:xfrm>
            <a:off x="873125" y="3140075"/>
            <a:ext cx="396875" cy="295275"/>
          </a:xfrm>
          <a:prstGeom prst="ellipse">
            <a:avLst/>
          </a:prstGeom>
          <a:solidFill>
            <a:schemeClr val="bg1"/>
          </a:solidFill>
          <a:ln>
            <a:solidFill>
              <a:srgbClr val="4BB4E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200" dirty="0">
                <a:latin typeface="Helvetica 65 Medium" panose="020B0604020202020204" pitchFamily="34" charset="0"/>
              </a:rPr>
              <a:t>1,9</a:t>
            </a:r>
          </a:p>
        </p:txBody>
      </p:sp>
      <p:sp>
        <p:nvSpPr>
          <p:cNvPr id="177" name="Ellipse 176"/>
          <p:cNvSpPr/>
          <p:nvPr/>
        </p:nvSpPr>
        <p:spPr>
          <a:xfrm>
            <a:off x="1395413" y="3140075"/>
            <a:ext cx="396875" cy="295275"/>
          </a:xfrm>
          <a:prstGeom prst="ellipse">
            <a:avLst/>
          </a:prstGeom>
          <a:solidFill>
            <a:schemeClr val="bg1"/>
          </a:solidFill>
          <a:ln>
            <a:solidFill>
              <a:srgbClr val="4BB4E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200" dirty="0">
                <a:latin typeface="Helvetica 65 Medium" panose="020B0604020202020204" pitchFamily="34" charset="0"/>
              </a:rPr>
              <a:t>3,6</a:t>
            </a:r>
          </a:p>
        </p:txBody>
      </p:sp>
      <p:sp>
        <p:nvSpPr>
          <p:cNvPr id="178" name="Ellipse 177"/>
          <p:cNvSpPr/>
          <p:nvPr/>
        </p:nvSpPr>
        <p:spPr>
          <a:xfrm>
            <a:off x="1919288" y="3140075"/>
            <a:ext cx="396875" cy="295275"/>
          </a:xfrm>
          <a:prstGeom prst="ellipse">
            <a:avLst/>
          </a:prstGeom>
          <a:solidFill>
            <a:schemeClr val="bg1"/>
          </a:solidFill>
          <a:ln>
            <a:solidFill>
              <a:srgbClr val="4BB4E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200" dirty="0">
                <a:latin typeface="Helvetica 65 Medium" panose="020B0604020202020204" pitchFamily="34" charset="0"/>
              </a:rPr>
              <a:t>2,7</a:t>
            </a:r>
          </a:p>
        </p:txBody>
      </p:sp>
      <p:sp>
        <p:nvSpPr>
          <p:cNvPr id="179" name="Ellipse 178"/>
          <p:cNvSpPr/>
          <p:nvPr/>
        </p:nvSpPr>
        <p:spPr>
          <a:xfrm>
            <a:off x="2443163" y="3140075"/>
            <a:ext cx="396875" cy="295275"/>
          </a:xfrm>
          <a:prstGeom prst="ellipse">
            <a:avLst/>
          </a:prstGeom>
          <a:solidFill>
            <a:schemeClr val="bg1"/>
          </a:solidFill>
          <a:ln>
            <a:solidFill>
              <a:srgbClr val="4BB4E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200" dirty="0">
                <a:latin typeface="Helvetica 65 Medium" panose="020B0604020202020204" pitchFamily="34" charset="0"/>
              </a:rPr>
              <a:t>5,4</a:t>
            </a:r>
          </a:p>
        </p:txBody>
      </p:sp>
      <p:sp>
        <p:nvSpPr>
          <p:cNvPr id="180" name="Ellipse 179"/>
          <p:cNvSpPr/>
          <p:nvPr/>
        </p:nvSpPr>
        <p:spPr>
          <a:xfrm>
            <a:off x="2965450" y="3140075"/>
            <a:ext cx="398463" cy="295275"/>
          </a:xfrm>
          <a:prstGeom prst="ellipse">
            <a:avLst/>
          </a:prstGeom>
          <a:solidFill>
            <a:schemeClr val="bg1"/>
          </a:solidFill>
          <a:ln>
            <a:solidFill>
              <a:srgbClr val="4BB4E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200" dirty="0">
                <a:latin typeface="Helvetica 65 Medium" panose="020B0604020202020204" pitchFamily="34" charset="0"/>
              </a:rPr>
              <a:t>5,0</a:t>
            </a:r>
          </a:p>
        </p:txBody>
      </p:sp>
      <p:sp>
        <p:nvSpPr>
          <p:cNvPr id="181" name="Ellipse 180"/>
          <p:cNvSpPr/>
          <p:nvPr/>
        </p:nvSpPr>
        <p:spPr>
          <a:xfrm>
            <a:off x="3489325" y="3140075"/>
            <a:ext cx="396875" cy="295275"/>
          </a:xfrm>
          <a:prstGeom prst="ellipse">
            <a:avLst/>
          </a:prstGeom>
          <a:solidFill>
            <a:schemeClr val="bg1"/>
          </a:solidFill>
          <a:ln>
            <a:solidFill>
              <a:srgbClr val="4BB4E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200" dirty="0">
                <a:latin typeface="Helvetica 65 Medium" panose="020B0604020202020204" pitchFamily="34" charset="0"/>
              </a:rPr>
              <a:t>9,1</a:t>
            </a:r>
          </a:p>
        </p:txBody>
      </p:sp>
      <p:sp>
        <p:nvSpPr>
          <p:cNvPr id="195" name="Ellipse 194"/>
          <p:cNvSpPr/>
          <p:nvPr/>
        </p:nvSpPr>
        <p:spPr>
          <a:xfrm>
            <a:off x="347663" y="1184275"/>
            <a:ext cx="225425" cy="150813"/>
          </a:xfrm>
          <a:prstGeom prst="ellipse">
            <a:avLst/>
          </a:prstGeom>
          <a:solidFill>
            <a:schemeClr val="bg1"/>
          </a:solidFill>
          <a:ln>
            <a:solidFill>
              <a:srgbClr val="4BB4E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sz="1200" dirty="0">
              <a:latin typeface="Helvetica 65 Medium" panose="020B0604020202020204" pitchFamily="34" charset="0"/>
            </a:endParaRPr>
          </a:p>
        </p:txBody>
      </p:sp>
      <p:sp>
        <p:nvSpPr>
          <p:cNvPr id="29" name="ZoneTexte 28"/>
          <p:cNvSpPr txBox="1"/>
          <p:nvPr/>
        </p:nvSpPr>
        <p:spPr>
          <a:xfrm>
            <a:off x="515938" y="1122363"/>
            <a:ext cx="1216025" cy="277813"/>
          </a:xfrm>
          <a:prstGeom prst="rect">
            <a:avLst/>
          </a:prstGeom>
          <a:noFill/>
        </p:spPr>
        <p:txBody>
          <a:bodyPr wrap="square" rtlCol="0">
            <a:spAutoFit/>
          </a:bodyPr>
          <a:lstStyle/>
          <a:p>
            <a:r>
              <a:rPr lang="fr-FR" sz="1200" dirty="0">
                <a:latin typeface="Helvetica 65 Medium" panose="020B0604020202020204" pitchFamily="34" charset="0"/>
              </a:rPr>
              <a:t>Ticket moyen</a:t>
            </a:r>
          </a:p>
        </p:txBody>
      </p:sp>
      <p:sp>
        <p:nvSpPr>
          <p:cNvPr id="29696" name="ZoneTexte 29695"/>
          <p:cNvSpPr txBox="1"/>
          <p:nvPr/>
        </p:nvSpPr>
        <p:spPr>
          <a:xfrm>
            <a:off x="5707782" y="4908566"/>
            <a:ext cx="3256706" cy="230832"/>
          </a:xfrm>
          <a:prstGeom prst="rect">
            <a:avLst/>
          </a:prstGeom>
          <a:noFill/>
        </p:spPr>
        <p:txBody>
          <a:bodyPr wrap="square" rtlCol="0">
            <a:spAutoFit/>
          </a:bodyPr>
          <a:lstStyle/>
          <a:p>
            <a:r>
              <a:rPr lang="fr-FR" sz="900" i="1" dirty="0">
                <a:latin typeface="Helvetica 55 Roman" panose="020B0604020202020204" pitchFamily="34" charset="0"/>
              </a:rPr>
              <a:t>Sources : La Tribune, </a:t>
            </a:r>
            <a:r>
              <a:rPr lang="fr-FR" sz="900" b="1" i="1" dirty="0">
                <a:latin typeface="Helvetica 55 Roman" panose="020B0604020202020204" pitchFamily="34" charset="0"/>
              </a:rPr>
              <a:t>KPMG</a:t>
            </a:r>
            <a:r>
              <a:rPr lang="fr-FR" sz="900" i="1" dirty="0">
                <a:latin typeface="Helvetica 55 Roman" panose="020B0604020202020204" pitchFamily="34" charset="0"/>
              </a:rPr>
              <a:t>, Les Echos, Medici </a:t>
            </a:r>
            <a:r>
              <a:rPr lang="fr-FR" sz="900" i="1" dirty="0" err="1">
                <a:latin typeface="Helvetica 55 Roman" panose="020B0604020202020204" pitchFamily="34" charset="0"/>
              </a:rPr>
              <a:t>Research</a:t>
            </a:r>
            <a:endParaRPr lang="fr-FR" sz="900" i="1" dirty="0">
              <a:latin typeface="Helvetica 55 Roman" panose="020B0604020202020204" pitchFamily="34" charset="0"/>
            </a:endParaRPr>
          </a:p>
        </p:txBody>
      </p:sp>
      <p:sp>
        <p:nvSpPr>
          <p:cNvPr id="29697" name="ZoneTexte 29696"/>
          <p:cNvSpPr txBox="1"/>
          <p:nvPr/>
        </p:nvSpPr>
        <p:spPr>
          <a:xfrm>
            <a:off x="347663" y="647700"/>
            <a:ext cx="3519488" cy="522288"/>
          </a:xfrm>
          <a:prstGeom prst="rect">
            <a:avLst/>
          </a:prstGeom>
          <a:noFill/>
        </p:spPr>
        <p:txBody>
          <a:bodyPr wrap="square" rtlCol="0">
            <a:spAutoFit/>
          </a:bodyPr>
          <a:lstStyle/>
          <a:p>
            <a:pPr algn="ctr"/>
            <a:r>
              <a:rPr lang="fr-FR" sz="1400" dirty="0"/>
              <a:t>Les </a:t>
            </a:r>
            <a:r>
              <a:rPr lang="fr-FR" sz="1400" dirty="0" err="1"/>
              <a:t>fintechs</a:t>
            </a:r>
            <a:r>
              <a:rPr lang="fr-FR" sz="1400" dirty="0"/>
              <a:t> françaises conservent leur dynamisme</a:t>
            </a:r>
          </a:p>
        </p:txBody>
      </p:sp>
      <p:cxnSp>
        <p:nvCxnSpPr>
          <p:cNvPr id="29706" name="Connecteur droit avec flèche 29705"/>
          <p:cNvCxnSpPr/>
          <p:nvPr/>
        </p:nvCxnSpPr>
        <p:spPr>
          <a:xfrm flipV="1">
            <a:off x="4068763" y="2058988"/>
            <a:ext cx="0" cy="855663"/>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29709" name="ZoneTexte 29708"/>
          <p:cNvSpPr txBox="1"/>
          <p:nvPr/>
        </p:nvSpPr>
        <p:spPr>
          <a:xfrm>
            <a:off x="4165600" y="2163763"/>
            <a:ext cx="1800225" cy="646113"/>
          </a:xfrm>
          <a:prstGeom prst="rect">
            <a:avLst/>
          </a:prstGeom>
          <a:noFill/>
        </p:spPr>
        <p:txBody>
          <a:bodyPr wrap="square" rtlCol="0">
            <a:spAutoFit/>
          </a:bodyPr>
          <a:lstStyle/>
          <a:p>
            <a:r>
              <a:rPr lang="fr-FR" sz="1200" dirty="0">
                <a:solidFill>
                  <a:srgbClr val="4BB4E6"/>
                </a:solidFill>
              </a:rPr>
              <a:t>54% </a:t>
            </a:r>
            <a:r>
              <a:rPr lang="fr-FR" sz="1200" dirty="0">
                <a:latin typeface="Helvetica 55 Roman" panose="020B0604020202020204" pitchFamily="34" charset="0"/>
              </a:rPr>
              <a:t>des fonds levées se concentrent sur le secteur du paiement</a:t>
            </a:r>
          </a:p>
        </p:txBody>
      </p:sp>
      <p:sp>
        <p:nvSpPr>
          <p:cNvPr id="8" name="Rectangle 7"/>
          <p:cNvSpPr/>
          <p:nvPr/>
        </p:nvSpPr>
        <p:spPr>
          <a:xfrm>
            <a:off x="503324" y="3628181"/>
            <a:ext cx="8209171" cy="936104"/>
          </a:xfrm>
          <a:prstGeom prst="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lstStyle/>
          <a:p>
            <a:pPr algn="ctr"/>
            <a:r>
              <a:rPr lang="fr-FR" sz="1200" dirty="0"/>
              <a:t>En France, les </a:t>
            </a:r>
            <a:r>
              <a:rPr lang="fr-FR" sz="1200" dirty="0" err="1"/>
              <a:t>neobanques</a:t>
            </a:r>
            <a:r>
              <a:rPr lang="fr-FR" sz="1200" dirty="0"/>
              <a:t> ou « services bancaires 2.0 »</a:t>
            </a:r>
          </a:p>
          <a:p>
            <a:pPr marL="285750" indent="-285750">
              <a:buFont typeface="Arial" panose="020B0604020202020204" pitchFamily="34" charset="0"/>
              <a:buChar char="•"/>
            </a:pPr>
            <a:r>
              <a:rPr lang="fr-FR" sz="1200" dirty="0">
                <a:latin typeface="Helvetica 55 Roman" panose="020B0604020202020204" pitchFamily="34" charset="0"/>
              </a:rPr>
              <a:t>Ont reçu  </a:t>
            </a:r>
            <a:r>
              <a:rPr lang="fr-FR" sz="1400" dirty="0"/>
              <a:t>~30m€ </a:t>
            </a:r>
            <a:r>
              <a:rPr lang="fr-FR" sz="1200" dirty="0">
                <a:latin typeface="Helvetica 55 Roman" panose="020B0604020202020204" pitchFamily="34" charset="0"/>
              </a:rPr>
              <a:t>d’investissement au S1 2019</a:t>
            </a:r>
          </a:p>
          <a:p>
            <a:pPr marL="285750" indent="-285750">
              <a:buFont typeface="Arial" panose="020B0604020202020204" pitchFamily="34" charset="0"/>
              <a:buChar char="•"/>
            </a:pPr>
            <a:r>
              <a:rPr lang="fr-FR" sz="1200" dirty="0">
                <a:latin typeface="Helvetica 55 Roman" panose="020B0604020202020204" pitchFamily="34" charset="0"/>
              </a:rPr>
              <a:t>Ont reçu </a:t>
            </a:r>
            <a:r>
              <a:rPr lang="fr-FR" sz="1400" dirty="0"/>
              <a:t>~130m€ </a:t>
            </a:r>
            <a:r>
              <a:rPr lang="fr-FR" sz="1200" dirty="0">
                <a:latin typeface="Helvetica 55 Roman" panose="020B0604020202020204" pitchFamily="34" charset="0"/>
              </a:rPr>
              <a:t>d’investissement</a:t>
            </a:r>
            <a:r>
              <a:rPr lang="fr-FR" sz="1400" dirty="0"/>
              <a:t> </a:t>
            </a:r>
            <a:r>
              <a:rPr lang="fr-FR" sz="1200" dirty="0">
                <a:latin typeface="Helvetica 55 Roman" panose="020B0604020202020204" pitchFamily="34" charset="0"/>
              </a:rPr>
              <a:t>depuis 2010, soit </a:t>
            </a:r>
            <a:r>
              <a:rPr lang="fr-FR" sz="1400" dirty="0"/>
              <a:t>10% </a:t>
            </a:r>
            <a:r>
              <a:rPr lang="fr-FR" sz="1200" dirty="0">
                <a:latin typeface="Helvetica 55 Roman" panose="020B0604020202020204" pitchFamily="34" charset="0"/>
              </a:rPr>
              <a:t>de l’investissement dans les </a:t>
            </a:r>
            <a:r>
              <a:rPr lang="fr-FR" sz="1200" dirty="0" err="1">
                <a:latin typeface="Helvetica 55 Roman" panose="020B0604020202020204" pitchFamily="34" charset="0"/>
              </a:rPr>
              <a:t>fintechs</a:t>
            </a:r>
            <a:endParaRPr lang="fr-FR" sz="1200" dirty="0">
              <a:latin typeface="Helvetica 55 Roman" panose="020B0604020202020204" pitchFamily="34" charset="0"/>
            </a:endParaRPr>
          </a:p>
          <a:p>
            <a:pPr marL="285750" indent="-285750">
              <a:buFont typeface="Arial" panose="020B0604020202020204" pitchFamily="34" charset="0"/>
              <a:buChar char="•"/>
            </a:pPr>
            <a:r>
              <a:rPr lang="fr-FR" sz="1200" dirty="0">
                <a:latin typeface="+mj-lt"/>
              </a:rPr>
              <a:t>Nickel, </a:t>
            </a:r>
            <a:r>
              <a:rPr lang="fr-FR" sz="1200" dirty="0" err="1">
                <a:latin typeface="+mj-lt"/>
              </a:rPr>
              <a:t>Qonto</a:t>
            </a:r>
            <a:r>
              <a:rPr lang="fr-FR" sz="1200" dirty="0">
                <a:latin typeface="+mj-lt"/>
              </a:rPr>
              <a:t>, </a:t>
            </a:r>
            <a:r>
              <a:rPr lang="fr-FR" sz="1200" dirty="0" err="1">
                <a:latin typeface="+mj-lt"/>
              </a:rPr>
              <a:t>Bankin</a:t>
            </a:r>
            <a:r>
              <a:rPr lang="fr-FR" sz="1200" dirty="0">
                <a:latin typeface="+mj-lt"/>
              </a:rPr>
              <a:t>’ et </a:t>
            </a:r>
            <a:r>
              <a:rPr lang="fr-FR" sz="1200" dirty="0" err="1">
                <a:latin typeface="+mj-lt"/>
              </a:rPr>
              <a:t>Linxo</a:t>
            </a:r>
            <a:r>
              <a:rPr lang="fr-FR" sz="1200" dirty="0">
                <a:latin typeface="+mj-lt"/>
              </a:rPr>
              <a:t> </a:t>
            </a:r>
            <a:r>
              <a:rPr lang="fr-FR" sz="1200" dirty="0">
                <a:latin typeface="Helvetica 55 Roman" panose="020B0604020202020204" pitchFamily="34" charset="0"/>
              </a:rPr>
              <a:t>ont levé plus de 20m€ </a:t>
            </a:r>
          </a:p>
        </p:txBody>
      </p:sp>
      <p:sp>
        <p:nvSpPr>
          <p:cNvPr id="3" name="ZoneTexte 2"/>
          <p:cNvSpPr txBox="1"/>
          <p:nvPr/>
        </p:nvSpPr>
        <p:spPr>
          <a:xfrm>
            <a:off x="6156176" y="647700"/>
            <a:ext cx="2736304" cy="523220"/>
          </a:xfrm>
          <a:prstGeom prst="rect">
            <a:avLst/>
          </a:prstGeom>
          <a:noFill/>
        </p:spPr>
        <p:txBody>
          <a:bodyPr wrap="square" rtlCol="0">
            <a:spAutoFit/>
          </a:bodyPr>
          <a:lstStyle/>
          <a:p>
            <a:pPr algn="ctr"/>
            <a:r>
              <a:rPr lang="fr-FR" sz="1400" dirty="0"/>
              <a:t>Quelques levées de fonds emblématiques</a:t>
            </a:r>
          </a:p>
        </p:txBody>
      </p:sp>
      <p:sp>
        <p:nvSpPr>
          <p:cNvPr id="6" name="ZoneTexte 5"/>
          <p:cNvSpPr txBox="1"/>
          <p:nvPr/>
        </p:nvSpPr>
        <p:spPr>
          <a:xfrm>
            <a:off x="6643926" y="1354544"/>
            <a:ext cx="2376264" cy="276999"/>
          </a:xfrm>
          <a:prstGeom prst="rect">
            <a:avLst/>
          </a:prstGeom>
          <a:noFill/>
        </p:spPr>
        <p:txBody>
          <a:bodyPr wrap="square" rtlCol="0">
            <a:spAutoFit/>
          </a:bodyPr>
          <a:lstStyle/>
          <a:p>
            <a:r>
              <a:rPr lang="fr-FR" sz="1200" dirty="0" err="1">
                <a:latin typeface="Helvetica 55 Roman" panose="020B0604020202020204" pitchFamily="34" charset="0"/>
              </a:rPr>
              <a:t>Series</a:t>
            </a:r>
            <a:r>
              <a:rPr lang="fr-FR" sz="1200" dirty="0">
                <a:latin typeface="Helvetica 55 Roman" panose="020B0604020202020204" pitchFamily="34" charset="0"/>
              </a:rPr>
              <a:t> D : 470m$ (juillet 2019)</a:t>
            </a:r>
          </a:p>
        </p:txBody>
      </p:sp>
      <p:sp>
        <p:nvSpPr>
          <p:cNvPr id="39" name="ZoneTexte 38"/>
          <p:cNvSpPr txBox="1"/>
          <p:nvPr/>
        </p:nvSpPr>
        <p:spPr>
          <a:xfrm>
            <a:off x="6643926" y="1690730"/>
            <a:ext cx="2376264" cy="276999"/>
          </a:xfrm>
          <a:prstGeom prst="rect">
            <a:avLst/>
          </a:prstGeom>
          <a:noFill/>
        </p:spPr>
        <p:txBody>
          <a:bodyPr wrap="square" rtlCol="0">
            <a:spAutoFit/>
          </a:bodyPr>
          <a:lstStyle/>
          <a:p>
            <a:r>
              <a:rPr lang="fr-FR" sz="1200" dirty="0" err="1">
                <a:latin typeface="Helvetica 55 Roman" panose="020B0604020202020204" pitchFamily="34" charset="0"/>
              </a:rPr>
              <a:t>Series</a:t>
            </a:r>
            <a:r>
              <a:rPr lang="fr-FR" sz="1200" dirty="0">
                <a:latin typeface="Helvetica 55 Roman" panose="020B0604020202020204" pitchFamily="34" charset="0"/>
              </a:rPr>
              <a:t> F : 400m$ (juillet 2019)</a:t>
            </a:r>
          </a:p>
        </p:txBody>
      </p:sp>
      <p:sp>
        <p:nvSpPr>
          <p:cNvPr id="40" name="ZoneTexte 39"/>
          <p:cNvSpPr txBox="1"/>
          <p:nvPr/>
        </p:nvSpPr>
        <p:spPr>
          <a:xfrm>
            <a:off x="6643926" y="2067948"/>
            <a:ext cx="2376264" cy="276999"/>
          </a:xfrm>
          <a:prstGeom prst="rect">
            <a:avLst/>
          </a:prstGeom>
          <a:noFill/>
        </p:spPr>
        <p:txBody>
          <a:bodyPr wrap="square" rtlCol="0">
            <a:spAutoFit/>
          </a:bodyPr>
          <a:lstStyle/>
          <a:p>
            <a:r>
              <a:rPr lang="fr-FR" sz="1200" dirty="0" err="1">
                <a:latin typeface="Helvetica 55 Roman" panose="020B0604020202020204" pitchFamily="34" charset="0"/>
              </a:rPr>
              <a:t>Series</a:t>
            </a:r>
            <a:r>
              <a:rPr lang="fr-FR" sz="1200" dirty="0">
                <a:latin typeface="Helvetica 55 Roman" panose="020B0604020202020204" pitchFamily="34" charset="0"/>
              </a:rPr>
              <a:t> F : 144m$ (juin 2019)</a:t>
            </a:r>
          </a:p>
        </p:txBody>
      </p:sp>
      <p:sp>
        <p:nvSpPr>
          <p:cNvPr id="41" name="ZoneTexte 40"/>
          <p:cNvSpPr txBox="1"/>
          <p:nvPr/>
        </p:nvSpPr>
        <p:spPr>
          <a:xfrm>
            <a:off x="6643926" y="2463026"/>
            <a:ext cx="2376264" cy="461665"/>
          </a:xfrm>
          <a:prstGeom prst="rect">
            <a:avLst/>
          </a:prstGeom>
          <a:noFill/>
        </p:spPr>
        <p:txBody>
          <a:bodyPr wrap="square" rtlCol="0">
            <a:spAutoFit/>
          </a:bodyPr>
          <a:lstStyle/>
          <a:p>
            <a:r>
              <a:rPr lang="fr-FR" sz="1200" dirty="0" err="1">
                <a:latin typeface="Helvetica 55 Roman" panose="020B0604020202020204" pitchFamily="34" charset="0"/>
              </a:rPr>
              <a:t>Series</a:t>
            </a:r>
            <a:r>
              <a:rPr lang="fr-FR" sz="1200" dirty="0">
                <a:latin typeface="Helvetica 55 Roman" panose="020B0604020202020204" pitchFamily="34" charset="0"/>
              </a:rPr>
              <a:t> F : 131m$ (février 2019)</a:t>
            </a:r>
          </a:p>
          <a:p>
            <a:endParaRPr lang="fr-FR" sz="1200" dirty="0">
              <a:latin typeface="Helvetica 55 Roman" panose="020B0604020202020204" pitchFamily="34" charset="0"/>
            </a:endParaRPr>
          </a:p>
        </p:txBody>
      </p:sp>
      <p:sp>
        <p:nvSpPr>
          <p:cNvPr id="7" name="ZoneTexte 6"/>
          <p:cNvSpPr txBox="1"/>
          <p:nvPr/>
        </p:nvSpPr>
        <p:spPr>
          <a:xfrm>
            <a:off x="5796136" y="1307606"/>
            <a:ext cx="1187722" cy="1985159"/>
          </a:xfrm>
          <a:prstGeom prst="rect">
            <a:avLst/>
          </a:prstGeom>
          <a:noFill/>
        </p:spPr>
        <p:txBody>
          <a:bodyPr wrap="square" rtlCol="0">
            <a:spAutoFit/>
          </a:bodyPr>
          <a:lstStyle/>
          <a:p>
            <a:r>
              <a:rPr lang="fr-FR" sz="1600" dirty="0"/>
              <a:t>N26</a:t>
            </a:r>
            <a:endParaRPr lang="fr-FR" dirty="0"/>
          </a:p>
          <a:p>
            <a:endParaRPr lang="fr-FR" sz="600" dirty="0"/>
          </a:p>
          <a:p>
            <a:r>
              <a:rPr lang="fr-FR" sz="1600" dirty="0" err="1"/>
              <a:t>Nubank</a:t>
            </a:r>
            <a:endParaRPr lang="fr-FR" dirty="0"/>
          </a:p>
          <a:p>
            <a:endParaRPr lang="fr-FR" sz="1000" dirty="0"/>
          </a:p>
          <a:p>
            <a:r>
              <a:rPr lang="fr-FR" sz="1600" dirty="0" err="1"/>
              <a:t>Monzo</a:t>
            </a:r>
            <a:endParaRPr lang="fr-FR" dirty="0"/>
          </a:p>
          <a:p>
            <a:endParaRPr lang="fr-FR" sz="900" dirty="0"/>
          </a:p>
          <a:p>
            <a:r>
              <a:rPr lang="fr-FR" sz="1600" dirty="0" err="1"/>
              <a:t>Starling</a:t>
            </a:r>
            <a:endParaRPr lang="fr-FR" sz="1600" dirty="0"/>
          </a:p>
          <a:p>
            <a:endParaRPr lang="fr-FR" sz="1600" dirty="0"/>
          </a:p>
          <a:p>
            <a:r>
              <a:rPr lang="fr-FR" sz="1600" dirty="0" err="1"/>
              <a:t>Curve</a:t>
            </a:r>
            <a:endParaRPr lang="fr-FR" dirty="0"/>
          </a:p>
        </p:txBody>
      </p:sp>
      <p:sp>
        <p:nvSpPr>
          <p:cNvPr id="42" name="ZoneTexte 41"/>
          <p:cNvSpPr txBox="1"/>
          <p:nvPr/>
        </p:nvSpPr>
        <p:spPr>
          <a:xfrm>
            <a:off x="6643926" y="2914651"/>
            <a:ext cx="2376264" cy="461665"/>
          </a:xfrm>
          <a:prstGeom prst="rect">
            <a:avLst/>
          </a:prstGeom>
          <a:noFill/>
        </p:spPr>
        <p:txBody>
          <a:bodyPr wrap="square" rtlCol="0">
            <a:spAutoFit/>
          </a:bodyPr>
          <a:lstStyle/>
          <a:p>
            <a:r>
              <a:rPr lang="fr-FR" sz="1200" dirty="0" err="1">
                <a:latin typeface="Helvetica 55 Roman" panose="020B0604020202020204" pitchFamily="34" charset="0"/>
              </a:rPr>
              <a:t>Series</a:t>
            </a:r>
            <a:r>
              <a:rPr lang="fr-FR" sz="1200" dirty="0">
                <a:latin typeface="Helvetica 55 Roman" panose="020B0604020202020204" pitchFamily="34" charset="0"/>
              </a:rPr>
              <a:t> B : 55 m$ (juillet 2019)</a:t>
            </a:r>
          </a:p>
          <a:p>
            <a:endParaRPr lang="fr-FR" sz="1200" dirty="0">
              <a:latin typeface="Helvetica 55 Roman" panose="020B0604020202020204" pitchFamily="34" charset="0"/>
            </a:endParaRPr>
          </a:p>
        </p:txBody>
      </p:sp>
    </p:spTree>
    <p:extLst>
      <p:ext uri="{BB962C8B-B14F-4D97-AF65-F5344CB8AC3E}">
        <p14:creationId xmlns:p14="http://schemas.microsoft.com/office/powerpoint/2010/main" val="2075655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2452709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4" name="Diapositive think-cell" r:id="rId6" imgW="384" imgH="384" progId="TCLayout.ActiveDocument.1">
                  <p:embed/>
                </p:oleObj>
              </mc:Choice>
              <mc:Fallback>
                <p:oleObj name="Diapositive think-cell"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600" dirty="0">
              <a:latin typeface="Helvetica 75 Bold"/>
              <a:ea typeface="ＭＳ Ｐゴシック"/>
              <a:cs typeface="+mj-cs"/>
              <a:sym typeface="Helvetica 75 Bold"/>
            </a:endParaRPr>
          </a:p>
        </p:txBody>
      </p:sp>
      <p:grpSp>
        <p:nvGrpSpPr>
          <p:cNvPr id="83" name="Groupe 82"/>
          <p:cNvGrpSpPr/>
          <p:nvPr/>
        </p:nvGrpSpPr>
        <p:grpSpPr>
          <a:xfrm>
            <a:off x="4499992" y="539624"/>
            <a:ext cx="1050240" cy="1600078"/>
            <a:chOff x="7514004" y="539624"/>
            <a:chExt cx="1050240" cy="1600078"/>
          </a:xfrm>
        </p:grpSpPr>
        <p:cxnSp>
          <p:nvCxnSpPr>
            <p:cNvPr id="31" name="Connecteur droit 30"/>
            <p:cNvCxnSpPr>
              <a:stCxn id="41" idx="2"/>
            </p:cNvCxnSpPr>
            <p:nvPr/>
          </p:nvCxnSpPr>
          <p:spPr>
            <a:xfrm flipH="1">
              <a:off x="8035495" y="1421419"/>
              <a:ext cx="314" cy="71828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078" name="Picture 6"/>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5993" t="9028" r="24017" b="12037"/>
            <a:stretch/>
          </p:blipFill>
          <p:spPr bwMode="auto">
            <a:xfrm>
              <a:off x="7878171" y="576234"/>
              <a:ext cx="378254" cy="3872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Rectangle 40"/>
            <p:cNvSpPr/>
            <p:nvPr/>
          </p:nvSpPr>
          <p:spPr>
            <a:xfrm>
              <a:off x="7514004" y="539624"/>
              <a:ext cx="1043609" cy="881795"/>
            </a:xfrm>
            <a:prstGeom prst="rect">
              <a:avLst/>
            </a:prstGeom>
            <a:noFill/>
            <a:ln w="19050">
              <a:solidFill>
                <a:srgbClr val="A885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ZoneTexte 41"/>
            <p:cNvSpPr txBox="1"/>
            <p:nvPr/>
          </p:nvSpPr>
          <p:spPr>
            <a:xfrm>
              <a:off x="7520636" y="922195"/>
              <a:ext cx="1043608" cy="507831"/>
            </a:xfrm>
            <a:prstGeom prst="rect">
              <a:avLst/>
            </a:prstGeom>
            <a:noFill/>
          </p:spPr>
          <p:txBody>
            <a:bodyPr wrap="square" lIns="0" rIns="0" rtlCol="0">
              <a:spAutoFit/>
            </a:bodyPr>
            <a:lstStyle/>
            <a:p>
              <a:pPr algn="ctr"/>
              <a:r>
                <a:rPr lang="fr-FR" sz="900" dirty="0">
                  <a:latin typeface="Helvetica 55 Roman" panose="020B0604020202020204" pitchFamily="34" charset="0"/>
                </a:rPr>
                <a:t>Offre gratuite</a:t>
              </a:r>
            </a:p>
            <a:p>
              <a:pPr algn="ctr"/>
              <a:r>
                <a:rPr lang="fr-FR" sz="900" dirty="0">
                  <a:latin typeface="Helvetica 55 Roman" panose="020B0604020202020204" pitchFamily="34" charset="0"/>
                </a:rPr>
                <a:t>France</a:t>
              </a:r>
            </a:p>
            <a:p>
              <a:pPr algn="ctr"/>
              <a:r>
                <a:rPr lang="fr-FR" sz="900" dirty="0">
                  <a:latin typeface="Helvetica 55 Roman" panose="020B0604020202020204" pitchFamily="34" charset="0"/>
                </a:rPr>
                <a:t>« Simplicité »</a:t>
              </a:r>
            </a:p>
          </p:txBody>
        </p:sp>
      </p:grpSp>
      <p:grpSp>
        <p:nvGrpSpPr>
          <p:cNvPr id="82" name="Groupe 81"/>
          <p:cNvGrpSpPr/>
          <p:nvPr/>
        </p:nvGrpSpPr>
        <p:grpSpPr>
          <a:xfrm>
            <a:off x="5868144" y="539624"/>
            <a:ext cx="1050240" cy="1581129"/>
            <a:chOff x="5626420" y="539624"/>
            <a:chExt cx="1050240" cy="1581129"/>
          </a:xfrm>
        </p:grpSpPr>
        <p:cxnSp>
          <p:nvCxnSpPr>
            <p:cNvPr id="35" name="Connecteur droit 34"/>
            <p:cNvCxnSpPr>
              <a:stCxn id="39" idx="2"/>
            </p:cNvCxnSpPr>
            <p:nvPr/>
          </p:nvCxnSpPr>
          <p:spPr>
            <a:xfrm>
              <a:off x="6148225" y="1419623"/>
              <a:ext cx="0" cy="70113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080" name="Picture 8"/>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9533" b="28644"/>
            <a:stretch/>
          </p:blipFill>
          <p:spPr bwMode="auto">
            <a:xfrm>
              <a:off x="5691397" y="539624"/>
              <a:ext cx="913655" cy="3821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ectangle 38"/>
            <p:cNvSpPr/>
            <p:nvPr/>
          </p:nvSpPr>
          <p:spPr>
            <a:xfrm>
              <a:off x="5626420" y="555527"/>
              <a:ext cx="1043609" cy="864096"/>
            </a:xfrm>
            <a:prstGeom prst="rect">
              <a:avLst/>
            </a:prstGeom>
            <a:noFill/>
            <a:ln w="19050">
              <a:solidFill>
                <a:srgbClr val="A885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ZoneTexte 39"/>
            <p:cNvSpPr txBox="1"/>
            <p:nvPr/>
          </p:nvSpPr>
          <p:spPr>
            <a:xfrm>
              <a:off x="5633052" y="913589"/>
              <a:ext cx="1043608" cy="507831"/>
            </a:xfrm>
            <a:prstGeom prst="rect">
              <a:avLst/>
            </a:prstGeom>
            <a:noFill/>
          </p:spPr>
          <p:txBody>
            <a:bodyPr wrap="square" lIns="0" rIns="0" rtlCol="0">
              <a:spAutoFit/>
            </a:bodyPr>
            <a:lstStyle/>
            <a:p>
              <a:pPr algn="ctr"/>
              <a:r>
                <a:rPr lang="fr-FR" sz="900" dirty="0">
                  <a:latin typeface="Helvetica 55 Roman" panose="020B0604020202020204" pitchFamily="34" charset="0"/>
                </a:rPr>
                <a:t>2,99€ par mois</a:t>
              </a:r>
            </a:p>
            <a:p>
              <a:pPr algn="ctr"/>
              <a:r>
                <a:rPr lang="fr-FR" sz="900" dirty="0">
                  <a:latin typeface="Helvetica 55 Roman" panose="020B0604020202020204" pitchFamily="34" charset="0"/>
                </a:rPr>
                <a:t>France</a:t>
              </a:r>
            </a:p>
            <a:p>
              <a:pPr algn="ctr"/>
              <a:r>
                <a:rPr lang="fr-FR" sz="900" dirty="0">
                  <a:latin typeface="Helvetica 55 Roman" panose="020B0604020202020204" pitchFamily="34" charset="0"/>
                </a:rPr>
                <a:t>« Sécurité »</a:t>
              </a:r>
            </a:p>
          </p:txBody>
        </p:sp>
      </p:grpSp>
      <p:grpSp>
        <p:nvGrpSpPr>
          <p:cNvPr id="79" name="Groupe 78"/>
          <p:cNvGrpSpPr/>
          <p:nvPr/>
        </p:nvGrpSpPr>
        <p:grpSpPr>
          <a:xfrm>
            <a:off x="72007" y="555526"/>
            <a:ext cx="1043609" cy="1584176"/>
            <a:chOff x="72007" y="555526"/>
            <a:chExt cx="1043609" cy="1584176"/>
          </a:xfrm>
        </p:grpSpPr>
        <p:cxnSp>
          <p:nvCxnSpPr>
            <p:cNvPr id="7" name="Connecteur droit 6"/>
            <p:cNvCxnSpPr>
              <a:stCxn id="10" idx="2"/>
            </p:cNvCxnSpPr>
            <p:nvPr/>
          </p:nvCxnSpPr>
          <p:spPr>
            <a:xfrm>
              <a:off x="593812" y="1419623"/>
              <a:ext cx="1397" cy="720079"/>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074" name="Picture 2" descr="Résultat de recherche d'images pour &quot;logo xaalys&quo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0786" y="586881"/>
              <a:ext cx="788845" cy="255015"/>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p:cNvSpPr txBox="1"/>
            <p:nvPr/>
          </p:nvSpPr>
          <p:spPr>
            <a:xfrm>
              <a:off x="72008" y="903840"/>
              <a:ext cx="1043608" cy="507831"/>
            </a:xfrm>
            <a:prstGeom prst="rect">
              <a:avLst/>
            </a:prstGeom>
            <a:noFill/>
          </p:spPr>
          <p:txBody>
            <a:bodyPr wrap="square" lIns="0" rIns="0" rtlCol="0">
              <a:spAutoFit/>
            </a:bodyPr>
            <a:lstStyle/>
            <a:p>
              <a:pPr algn="ctr"/>
              <a:r>
                <a:rPr lang="fr-FR" sz="900" dirty="0">
                  <a:latin typeface="Helvetica 55 Roman" panose="020B0604020202020204" pitchFamily="34" charset="0"/>
                </a:rPr>
                <a:t>2,99€ par mois</a:t>
              </a:r>
            </a:p>
            <a:p>
              <a:pPr algn="ctr"/>
              <a:r>
                <a:rPr lang="fr-FR" sz="900" dirty="0">
                  <a:latin typeface="Helvetica 55 Roman" panose="020B0604020202020204" pitchFamily="34" charset="0"/>
                </a:rPr>
                <a:t>France</a:t>
              </a:r>
            </a:p>
            <a:p>
              <a:pPr algn="ctr"/>
              <a:r>
                <a:rPr lang="fr-FR" sz="900" dirty="0">
                  <a:latin typeface="Helvetica 55 Roman" panose="020B0604020202020204" pitchFamily="34" charset="0"/>
                </a:rPr>
                <a:t>« jeu éducatif »</a:t>
              </a:r>
            </a:p>
          </p:txBody>
        </p:sp>
        <p:sp>
          <p:nvSpPr>
            <p:cNvPr id="10" name="Rectangle 9"/>
            <p:cNvSpPr/>
            <p:nvPr/>
          </p:nvSpPr>
          <p:spPr>
            <a:xfrm>
              <a:off x="72007" y="555526"/>
              <a:ext cx="1043609" cy="864097"/>
            </a:xfrm>
            <a:prstGeom prst="rect">
              <a:avLst/>
            </a:prstGeom>
            <a:noFill/>
            <a:ln w="19050">
              <a:solidFill>
                <a:srgbClr val="A885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78" name="Groupe 77"/>
          <p:cNvGrpSpPr/>
          <p:nvPr/>
        </p:nvGrpSpPr>
        <p:grpSpPr>
          <a:xfrm>
            <a:off x="960405" y="2315522"/>
            <a:ext cx="1043609" cy="2181270"/>
            <a:chOff x="960405" y="2315522"/>
            <a:chExt cx="1043609" cy="2181270"/>
          </a:xfrm>
        </p:grpSpPr>
        <p:cxnSp>
          <p:nvCxnSpPr>
            <p:cNvPr id="30" name="Connecteur droit 29"/>
            <p:cNvCxnSpPr>
              <a:endCxn id="45" idx="0"/>
            </p:cNvCxnSpPr>
            <p:nvPr/>
          </p:nvCxnSpPr>
          <p:spPr>
            <a:xfrm>
              <a:off x="1475656" y="2315522"/>
              <a:ext cx="6554" cy="117508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077" name="Picture 5"/>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5119" t="23178" r="15315" b="21953"/>
            <a:stretch/>
          </p:blipFill>
          <p:spPr bwMode="auto">
            <a:xfrm>
              <a:off x="1117719" y="3526288"/>
              <a:ext cx="715875" cy="2823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ZoneTexte 43"/>
            <p:cNvSpPr txBox="1"/>
            <p:nvPr/>
          </p:nvSpPr>
          <p:spPr>
            <a:xfrm>
              <a:off x="960406" y="3850461"/>
              <a:ext cx="1043608" cy="646331"/>
            </a:xfrm>
            <a:prstGeom prst="rect">
              <a:avLst/>
            </a:prstGeom>
            <a:noFill/>
          </p:spPr>
          <p:txBody>
            <a:bodyPr wrap="square" lIns="0" rIns="0" rtlCol="0">
              <a:spAutoFit/>
            </a:bodyPr>
            <a:lstStyle/>
            <a:p>
              <a:pPr algn="ctr"/>
              <a:r>
                <a:rPr lang="fr-FR" sz="900" dirty="0">
                  <a:latin typeface="Helvetica 55 Roman" panose="020B0604020202020204" pitchFamily="34" charset="0"/>
                </a:rPr>
                <a:t>4 offres : de 0€ à 98€ par mois</a:t>
              </a:r>
            </a:p>
            <a:p>
              <a:pPr algn="ctr"/>
              <a:r>
                <a:rPr lang="fr-FR" sz="900" dirty="0">
                  <a:latin typeface="Helvetica 55 Roman" panose="020B0604020202020204" pitchFamily="34" charset="0"/>
                </a:rPr>
                <a:t>Finlande</a:t>
              </a:r>
            </a:p>
            <a:p>
              <a:pPr algn="ctr"/>
              <a:r>
                <a:rPr lang="fr-FR" sz="900" dirty="0">
                  <a:latin typeface="Helvetica 55 Roman" panose="020B0604020202020204" pitchFamily="34" charset="0"/>
                </a:rPr>
                <a:t>BBVA</a:t>
              </a:r>
            </a:p>
          </p:txBody>
        </p:sp>
        <p:sp>
          <p:nvSpPr>
            <p:cNvPr id="45" name="Rectangle 44"/>
            <p:cNvSpPr/>
            <p:nvPr/>
          </p:nvSpPr>
          <p:spPr>
            <a:xfrm>
              <a:off x="960405" y="3490606"/>
              <a:ext cx="1043609" cy="1006186"/>
            </a:xfrm>
            <a:prstGeom prst="rect">
              <a:avLst/>
            </a:prstGeom>
            <a:noFill/>
            <a:ln w="19050">
              <a:solidFill>
                <a:srgbClr val="5DC3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77" name="Groupe 76"/>
          <p:cNvGrpSpPr/>
          <p:nvPr/>
        </p:nvGrpSpPr>
        <p:grpSpPr>
          <a:xfrm>
            <a:off x="2472373" y="2385073"/>
            <a:ext cx="1046852" cy="1446145"/>
            <a:chOff x="2680197" y="2349741"/>
            <a:chExt cx="1046852" cy="1446145"/>
          </a:xfrm>
        </p:grpSpPr>
        <p:cxnSp>
          <p:nvCxnSpPr>
            <p:cNvPr id="38" name="Connecteur droit 37"/>
            <p:cNvCxnSpPr>
              <a:endCxn id="90" idx="0"/>
            </p:cNvCxnSpPr>
            <p:nvPr/>
          </p:nvCxnSpPr>
          <p:spPr>
            <a:xfrm>
              <a:off x="3202001" y="2349741"/>
              <a:ext cx="1" cy="43996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076" name="Picture 4" descr="Résultat de recherche d'images pour &quot;ma french bank&quot;"/>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7857" t="13680" r="7397" b="14008"/>
            <a:stretch/>
          </p:blipFill>
          <p:spPr bwMode="auto">
            <a:xfrm>
              <a:off x="2996106" y="2829802"/>
              <a:ext cx="415481" cy="354519"/>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2680197" y="2789701"/>
              <a:ext cx="1043609" cy="1006185"/>
            </a:xfrm>
            <a:prstGeom prst="rect">
              <a:avLst/>
            </a:prstGeom>
            <a:noFill/>
            <a:ln w="19050">
              <a:solidFill>
                <a:srgbClr val="FFB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1" name="ZoneTexte 90"/>
            <p:cNvSpPr txBox="1"/>
            <p:nvPr/>
          </p:nvSpPr>
          <p:spPr>
            <a:xfrm>
              <a:off x="2683441" y="3225463"/>
              <a:ext cx="1043608" cy="507831"/>
            </a:xfrm>
            <a:prstGeom prst="rect">
              <a:avLst/>
            </a:prstGeom>
            <a:noFill/>
          </p:spPr>
          <p:txBody>
            <a:bodyPr wrap="square" lIns="0" rIns="0" rtlCol="0">
              <a:spAutoFit/>
            </a:bodyPr>
            <a:lstStyle/>
            <a:p>
              <a:pPr algn="ctr"/>
              <a:r>
                <a:rPr lang="fr-FR" sz="900" dirty="0">
                  <a:latin typeface="Helvetica 55 Roman" panose="020B0604020202020204" pitchFamily="34" charset="0"/>
                </a:rPr>
                <a:t>2€ par mois</a:t>
              </a:r>
            </a:p>
            <a:p>
              <a:pPr algn="ctr"/>
              <a:r>
                <a:rPr lang="fr-FR" sz="900" dirty="0">
                  <a:latin typeface="Helvetica 55 Roman" panose="020B0604020202020204" pitchFamily="34" charset="0"/>
                </a:rPr>
                <a:t>France</a:t>
              </a:r>
            </a:p>
            <a:p>
              <a:pPr algn="ctr"/>
              <a:r>
                <a:rPr lang="fr-FR" sz="900" dirty="0">
                  <a:latin typeface="Helvetica 55 Roman" panose="020B0604020202020204" pitchFamily="34" charset="0"/>
                </a:rPr>
                <a:t>« </a:t>
              </a:r>
              <a:r>
                <a:rPr lang="fr-FR" sz="900" dirty="0" err="1">
                  <a:latin typeface="Helvetica 55 Roman" panose="020B0604020202020204" pitchFamily="34" charset="0"/>
                </a:rPr>
                <a:t>Phygital</a:t>
              </a:r>
              <a:r>
                <a:rPr lang="fr-FR" sz="900" dirty="0">
                  <a:latin typeface="Helvetica 55 Roman" panose="020B0604020202020204" pitchFamily="34" charset="0"/>
                </a:rPr>
                <a:t> »</a:t>
              </a:r>
            </a:p>
          </p:txBody>
        </p:sp>
      </p:grpSp>
      <p:grpSp>
        <p:nvGrpSpPr>
          <p:cNvPr id="76" name="Groupe 75"/>
          <p:cNvGrpSpPr/>
          <p:nvPr/>
        </p:nvGrpSpPr>
        <p:grpSpPr>
          <a:xfrm>
            <a:off x="4263678" y="2349741"/>
            <a:ext cx="1080120" cy="2198409"/>
            <a:chOff x="4391980" y="2308129"/>
            <a:chExt cx="1080120" cy="2198409"/>
          </a:xfrm>
        </p:grpSpPr>
        <p:cxnSp>
          <p:nvCxnSpPr>
            <p:cNvPr id="36" name="Connecteur droit 35"/>
            <p:cNvCxnSpPr>
              <a:endCxn id="60" idx="0"/>
            </p:cNvCxnSpPr>
            <p:nvPr/>
          </p:nvCxnSpPr>
          <p:spPr>
            <a:xfrm>
              <a:off x="4932040" y="2308129"/>
              <a:ext cx="6554" cy="1182477"/>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082" name="Picture 10"/>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28770" b="29229"/>
            <a:stretch/>
          </p:blipFill>
          <p:spPr bwMode="auto">
            <a:xfrm>
              <a:off x="4391980" y="3568401"/>
              <a:ext cx="1080120" cy="2268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9" name="ZoneTexte 58"/>
            <p:cNvSpPr txBox="1"/>
            <p:nvPr/>
          </p:nvSpPr>
          <p:spPr>
            <a:xfrm>
              <a:off x="4416790" y="3860207"/>
              <a:ext cx="1043608" cy="646331"/>
            </a:xfrm>
            <a:prstGeom prst="rect">
              <a:avLst/>
            </a:prstGeom>
            <a:noFill/>
          </p:spPr>
          <p:txBody>
            <a:bodyPr wrap="square" lIns="0" rIns="0" rtlCol="0">
              <a:spAutoFit/>
            </a:bodyPr>
            <a:lstStyle/>
            <a:p>
              <a:pPr algn="ctr"/>
              <a:r>
                <a:rPr lang="fr-FR" sz="900" dirty="0">
                  <a:latin typeface="Helvetica 55 Roman" panose="020B0604020202020204" pitchFamily="34" charset="0"/>
                </a:rPr>
                <a:t>Pas de tarification disponible</a:t>
              </a:r>
            </a:p>
            <a:p>
              <a:pPr algn="ctr"/>
              <a:r>
                <a:rPr lang="fr-FR" sz="900" dirty="0">
                  <a:latin typeface="Helvetica 55 Roman" panose="020B0604020202020204" pitchFamily="34" charset="0"/>
                </a:rPr>
                <a:t>France</a:t>
              </a:r>
            </a:p>
            <a:p>
              <a:pPr algn="ctr"/>
              <a:r>
                <a:rPr lang="fr-FR" sz="900" dirty="0">
                  <a:latin typeface="Helvetica 55 Roman" panose="020B0604020202020204" pitchFamily="34" charset="0"/>
                </a:rPr>
                <a:t>« Conseil »</a:t>
              </a:r>
            </a:p>
          </p:txBody>
        </p:sp>
        <p:sp>
          <p:nvSpPr>
            <p:cNvPr id="60" name="Rectangle 59"/>
            <p:cNvSpPr/>
            <p:nvPr/>
          </p:nvSpPr>
          <p:spPr>
            <a:xfrm>
              <a:off x="4416789" y="3490606"/>
              <a:ext cx="1043609" cy="1006185"/>
            </a:xfrm>
            <a:prstGeom prst="rect">
              <a:avLst/>
            </a:prstGeom>
            <a:noFill/>
            <a:ln w="19050">
              <a:solidFill>
                <a:srgbClr val="5DC3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00" name="Groupe 99"/>
          <p:cNvGrpSpPr/>
          <p:nvPr/>
        </p:nvGrpSpPr>
        <p:grpSpPr>
          <a:xfrm>
            <a:off x="5412240" y="2425427"/>
            <a:ext cx="1048766" cy="1862279"/>
            <a:chOff x="5720884" y="2349741"/>
            <a:chExt cx="1048766" cy="1862279"/>
          </a:xfrm>
        </p:grpSpPr>
        <p:sp>
          <p:nvSpPr>
            <p:cNvPr id="105" name="Rectangle 104"/>
            <p:cNvSpPr/>
            <p:nvPr/>
          </p:nvSpPr>
          <p:spPr>
            <a:xfrm>
              <a:off x="5726041" y="3591760"/>
              <a:ext cx="1043609" cy="620260"/>
            </a:xfrm>
            <a:prstGeom prst="rect">
              <a:avLst/>
            </a:prstGeom>
            <a:noFill/>
            <a:ln w="19050">
              <a:solidFill>
                <a:srgbClr val="5DC3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3" name="Connecteur droit 32"/>
            <p:cNvCxnSpPr>
              <a:endCxn id="81" idx="0"/>
            </p:cNvCxnSpPr>
            <p:nvPr/>
          </p:nvCxnSpPr>
          <p:spPr>
            <a:xfrm>
              <a:off x="6240841" y="2349741"/>
              <a:ext cx="1848" cy="815506"/>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081" name="Picture 9"/>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925648" y="3201965"/>
              <a:ext cx="634081" cy="3251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1" name="Rectangle 80"/>
            <p:cNvSpPr/>
            <p:nvPr/>
          </p:nvSpPr>
          <p:spPr>
            <a:xfrm>
              <a:off x="5720884" y="3165247"/>
              <a:ext cx="1043609" cy="568047"/>
            </a:xfrm>
            <a:prstGeom prst="rect">
              <a:avLst/>
            </a:prstGeom>
            <a:noFill/>
            <a:ln w="19050">
              <a:solidFill>
                <a:srgbClr val="FFB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9" name="ZoneTexte 88"/>
            <p:cNvSpPr txBox="1"/>
            <p:nvPr/>
          </p:nvSpPr>
          <p:spPr>
            <a:xfrm>
              <a:off x="5726041" y="3544992"/>
              <a:ext cx="1031448" cy="646331"/>
            </a:xfrm>
            <a:prstGeom prst="rect">
              <a:avLst/>
            </a:prstGeom>
            <a:solidFill>
              <a:schemeClr val="bg1"/>
            </a:solidFill>
          </p:spPr>
          <p:txBody>
            <a:bodyPr wrap="square" lIns="0" rIns="0" rtlCol="0">
              <a:spAutoFit/>
            </a:bodyPr>
            <a:lstStyle/>
            <a:p>
              <a:pPr algn="ctr"/>
              <a:r>
                <a:rPr lang="fr-FR" sz="900" dirty="0">
                  <a:latin typeface="Helvetica 55 Roman" panose="020B0604020202020204" pitchFamily="34" charset="0"/>
                </a:rPr>
                <a:t>Offre gratuite</a:t>
              </a:r>
            </a:p>
            <a:p>
              <a:pPr algn="ctr"/>
              <a:r>
                <a:rPr lang="fr-FR" sz="900" dirty="0">
                  <a:latin typeface="Helvetica 55 Roman" panose="020B0604020202020204" pitchFamily="34" charset="0"/>
                </a:rPr>
                <a:t>Grande-Bretagne</a:t>
              </a:r>
            </a:p>
            <a:p>
              <a:pPr algn="ctr"/>
              <a:r>
                <a:rPr lang="fr-FR" sz="900" dirty="0">
                  <a:latin typeface="Helvetica 55 Roman" panose="020B0604020202020204" pitchFamily="34" charset="0"/>
                </a:rPr>
                <a:t>En France à la rentrée 2019</a:t>
              </a:r>
            </a:p>
          </p:txBody>
        </p:sp>
      </p:grpSp>
      <p:grpSp>
        <p:nvGrpSpPr>
          <p:cNvPr id="74" name="Groupe 73"/>
          <p:cNvGrpSpPr/>
          <p:nvPr/>
        </p:nvGrpSpPr>
        <p:grpSpPr>
          <a:xfrm>
            <a:off x="6566240" y="2436302"/>
            <a:ext cx="1043609" cy="2243083"/>
            <a:chOff x="6696743" y="2283718"/>
            <a:chExt cx="1043609" cy="2243083"/>
          </a:xfrm>
        </p:grpSpPr>
        <p:cxnSp>
          <p:nvCxnSpPr>
            <p:cNvPr id="37" name="Connecteur droit 36"/>
            <p:cNvCxnSpPr/>
            <p:nvPr/>
          </p:nvCxnSpPr>
          <p:spPr>
            <a:xfrm flipH="1">
              <a:off x="7218548" y="2283718"/>
              <a:ext cx="1846" cy="1206889"/>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079" name="Picture 7"/>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060476" y="3532205"/>
              <a:ext cx="329828" cy="3637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ZoneTexte 63"/>
            <p:cNvSpPr txBox="1"/>
            <p:nvPr/>
          </p:nvSpPr>
          <p:spPr>
            <a:xfrm>
              <a:off x="6696744" y="3880470"/>
              <a:ext cx="1043608" cy="646331"/>
            </a:xfrm>
            <a:prstGeom prst="rect">
              <a:avLst/>
            </a:prstGeom>
            <a:noFill/>
          </p:spPr>
          <p:txBody>
            <a:bodyPr wrap="square" lIns="0" rIns="0" rtlCol="0">
              <a:spAutoFit/>
            </a:bodyPr>
            <a:lstStyle/>
            <a:p>
              <a:pPr algn="ctr"/>
              <a:r>
                <a:rPr lang="fr-FR" sz="900" dirty="0">
                  <a:latin typeface="Helvetica 55 Roman" panose="020B0604020202020204" pitchFamily="34" charset="0"/>
                </a:rPr>
                <a:t>Pas de tarification disponible</a:t>
              </a:r>
            </a:p>
            <a:p>
              <a:pPr algn="ctr"/>
              <a:r>
                <a:rPr lang="fr-FR" sz="900" dirty="0">
                  <a:latin typeface="Helvetica 55 Roman" panose="020B0604020202020204" pitchFamily="34" charset="0"/>
                </a:rPr>
                <a:t>France</a:t>
              </a:r>
            </a:p>
            <a:p>
              <a:pPr algn="ctr"/>
              <a:r>
                <a:rPr lang="fr-FR" sz="900" dirty="0">
                  <a:latin typeface="Helvetica 55 Roman" panose="020B0604020202020204" pitchFamily="34" charset="0"/>
                </a:rPr>
                <a:t>Société Générale</a:t>
              </a:r>
            </a:p>
          </p:txBody>
        </p:sp>
        <p:sp>
          <p:nvSpPr>
            <p:cNvPr id="65" name="Rectangle 64"/>
            <p:cNvSpPr/>
            <p:nvPr/>
          </p:nvSpPr>
          <p:spPr>
            <a:xfrm>
              <a:off x="6696743" y="3390343"/>
              <a:ext cx="1043609" cy="1136458"/>
            </a:xfrm>
            <a:prstGeom prst="rect">
              <a:avLst/>
            </a:prstGeom>
            <a:noFill/>
            <a:ln w="19050">
              <a:solidFill>
                <a:srgbClr val="5DC3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Titre 1"/>
          <p:cNvSpPr>
            <a:spLocks noGrp="1"/>
          </p:cNvSpPr>
          <p:nvPr>
            <p:ph type="title"/>
          </p:nvPr>
        </p:nvSpPr>
        <p:spPr>
          <a:xfrm>
            <a:off x="107504" y="123478"/>
            <a:ext cx="8470900" cy="360040"/>
          </a:xfrm>
        </p:spPr>
        <p:txBody>
          <a:bodyPr/>
          <a:lstStyle/>
          <a:p>
            <a:r>
              <a:rPr lang="fr-FR" sz="1600" dirty="0" err="1">
                <a:solidFill>
                  <a:srgbClr val="FF7900"/>
                </a:solidFill>
              </a:rPr>
              <a:t>Néobanques</a:t>
            </a:r>
            <a:r>
              <a:rPr lang="fr-FR" sz="1600" dirty="0">
                <a:solidFill>
                  <a:srgbClr val="FF7900"/>
                </a:solidFill>
              </a:rPr>
              <a:t> continuent d’investir le marché français</a:t>
            </a:r>
          </a:p>
        </p:txBody>
      </p:sp>
      <p:grpSp>
        <p:nvGrpSpPr>
          <p:cNvPr id="99" name="Groupe 98"/>
          <p:cNvGrpSpPr/>
          <p:nvPr/>
        </p:nvGrpSpPr>
        <p:grpSpPr>
          <a:xfrm>
            <a:off x="7383173" y="228239"/>
            <a:ext cx="1543851" cy="865152"/>
            <a:chOff x="2031696" y="692038"/>
            <a:chExt cx="1543851" cy="865152"/>
          </a:xfrm>
        </p:grpSpPr>
        <p:cxnSp>
          <p:nvCxnSpPr>
            <p:cNvPr id="93" name="Connecteur droit 92"/>
            <p:cNvCxnSpPr/>
            <p:nvPr/>
          </p:nvCxnSpPr>
          <p:spPr>
            <a:xfrm>
              <a:off x="2123728" y="911791"/>
              <a:ext cx="310402" cy="0"/>
            </a:xfrm>
            <a:prstGeom prst="line">
              <a:avLst/>
            </a:prstGeom>
            <a:ln w="19050">
              <a:solidFill>
                <a:srgbClr val="FFB4E6"/>
              </a:solidFill>
            </a:ln>
          </p:spPr>
          <p:style>
            <a:lnRef idx="1">
              <a:schemeClr val="accent1"/>
            </a:lnRef>
            <a:fillRef idx="0">
              <a:schemeClr val="accent1"/>
            </a:fillRef>
            <a:effectRef idx="0">
              <a:schemeClr val="accent1"/>
            </a:effectRef>
            <a:fontRef idx="minor">
              <a:schemeClr val="tx1"/>
            </a:fontRef>
          </p:style>
        </p:cxnSp>
        <p:cxnSp>
          <p:nvCxnSpPr>
            <p:cNvPr id="102" name="Connecteur droit 101"/>
            <p:cNvCxnSpPr/>
            <p:nvPr/>
          </p:nvCxnSpPr>
          <p:spPr>
            <a:xfrm>
              <a:off x="2123728" y="1133678"/>
              <a:ext cx="310402" cy="0"/>
            </a:xfrm>
            <a:prstGeom prst="line">
              <a:avLst/>
            </a:prstGeom>
            <a:ln w="19050">
              <a:solidFill>
                <a:srgbClr val="5DC390"/>
              </a:solidFill>
            </a:ln>
          </p:spPr>
          <p:style>
            <a:lnRef idx="1">
              <a:schemeClr val="accent1"/>
            </a:lnRef>
            <a:fillRef idx="0">
              <a:schemeClr val="accent1"/>
            </a:fillRef>
            <a:effectRef idx="0">
              <a:schemeClr val="accent1"/>
            </a:effectRef>
            <a:fontRef idx="minor">
              <a:schemeClr val="tx1"/>
            </a:fontRef>
          </p:style>
        </p:cxnSp>
        <p:cxnSp>
          <p:nvCxnSpPr>
            <p:cNvPr id="103" name="Connecteur droit 102"/>
            <p:cNvCxnSpPr/>
            <p:nvPr/>
          </p:nvCxnSpPr>
          <p:spPr>
            <a:xfrm>
              <a:off x="2123728" y="1355565"/>
              <a:ext cx="310402" cy="0"/>
            </a:xfrm>
            <a:prstGeom prst="line">
              <a:avLst/>
            </a:prstGeom>
            <a:ln w="19050">
              <a:solidFill>
                <a:srgbClr val="A885D8"/>
              </a:solidFill>
            </a:ln>
          </p:spPr>
          <p:style>
            <a:lnRef idx="1">
              <a:schemeClr val="accent1"/>
            </a:lnRef>
            <a:fillRef idx="0">
              <a:schemeClr val="accent1"/>
            </a:fillRef>
            <a:effectRef idx="0">
              <a:schemeClr val="accent1"/>
            </a:effectRef>
            <a:fontRef idx="minor">
              <a:schemeClr val="tx1"/>
            </a:fontRef>
          </p:style>
        </p:cxnSp>
        <p:sp>
          <p:nvSpPr>
            <p:cNvPr id="94" name="ZoneTexte 93"/>
            <p:cNvSpPr txBox="1"/>
            <p:nvPr/>
          </p:nvSpPr>
          <p:spPr>
            <a:xfrm>
              <a:off x="2492168" y="802141"/>
              <a:ext cx="1083379" cy="230832"/>
            </a:xfrm>
            <a:prstGeom prst="rect">
              <a:avLst/>
            </a:prstGeom>
            <a:noFill/>
          </p:spPr>
          <p:txBody>
            <a:bodyPr wrap="square" rtlCol="0">
              <a:spAutoFit/>
            </a:bodyPr>
            <a:lstStyle/>
            <a:p>
              <a:r>
                <a:rPr lang="fr-FR" sz="900" dirty="0">
                  <a:latin typeface="Helvetica 55 Roman" panose="020B0604020202020204" pitchFamily="34" charset="0"/>
                </a:rPr>
                <a:t>Particuliers</a:t>
              </a:r>
            </a:p>
          </p:txBody>
        </p:sp>
        <p:sp>
          <p:nvSpPr>
            <p:cNvPr id="109" name="ZoneTexte 108"/>
            <p:cNvSpPr txBox="1"/>
            <p:nvPr/>
          </p:nvSpPr>
          <p:spPr>
            <a:xfrm>
              <a:off x="2492168" y="1010311"/>
              <a:ext cx="1075920" cy="230832"/>
            </a:xfrm>
            <a:prstGeom prst="rect">
              <a:avLst/>
            </a:prstGeom>
            <a:noFill/>
          </p:spPr>
          <p:txBody>
            <a:bodyPr wrap="square" rtlCol="0">
              <a:spAutoFit/>
            </a:bodyPr>
            <a:lstStyle/>
            <a:p>
              <a:r>
                <a:rPr lang="fr-FR" sz="900" dirty="0">
                  <a:latin typeface="Helvetica 55 Roman" panose="020B0604020202020204" pitchFamily="34" charset="0"/>
                </a:rPr>
                <a:t>Professionnels</a:t>
              </a:r>
            </a:p>
          </p:txBody>
        </p:sp>
        <p:sp>
          <p:nvSpPr>
            <p:cNvPr id="110" name="ZoneTexte 109"/>
            <p:cNvSpPr txBox="1"/>
            <p:nvPr/>
          </p:nvSpPr>
          <p:spPr>
            <a:xfrm>
              <a:off x="2492168" y="1232198"/>
              <a:ext cx="1075920" cy="230832"/>
            </a:xfrm>
            <a:prstGeom prst="rect">
              <a:avLst/>
            </a:prstGeom>
            <a:noFill/>
          </p:spPr>
          <p:txBody>
            <a:bodyPr wrap="square" rtlCol="0">
              <a:spAutoFit/>
            </a:bodyPr>
            <a:lstStyle/>
            <a:p>
              <a:r>
                <a:rPr lang="fr-FR" sz="900" dirty="0">
                  <a:latin typeface="Helvetica 55 Roman" panose="020B0604020202020204" pitchFamily="34" charset="0"/>
                </a:rPr>
                <a:t>Enfants / ados</a:t>
              </a:r>
            </a:p>
          </p:txBody>
        </p:sp>
        <p:sp>
          <p:nvSpPr>
            <p:cNvPr id="98" name="Rectangle 97"/>
            <p:cNvSpPr/>
            <p:nvPr/>
          </p:nvSpPr>
          <p:spPr>
            <a:xfrm>
              <a:off x="2031696" y="692038"/>
              <a:ext cx="1536392" cy="8651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6" name="Groupe 15"/>
          <p:cNvGrpSpPr/>
          <p:nvPr/>
        </p:nvGrpSpPr>
        <p:grpSpPr>
          <a:xfrm>
            <a:off x="292198" y="1890622"/>
            <a:ext cx="8387593" cy="681128"/>
            <a:chOff x="292198" y="1890622"/>
            <a:chExt cx="8387593" cy="681128"/>
          </a:xfrm>
        </p:grpSpPr>
        <p:grpSp>
          <p:nvGrpSpPr>
            <p:cNvPr id="9" name="Groupe 8"/>
            <p:cNvGrpSpPr/>
            <p:nvPr/>
          </p:nvGrpSpPr>
          <p:grpSpPr>
            <a:xfrm>
              <a:off x="292198" y="1890622"/>
              <a:ext cx="8387593" cy="681128"/>
              <a:chOff x="292198" y="1890622"/>
              <a:chExt cx="8387593" cy="681128"/>
            </a:xfrm>
          </p:grpSpPr>
          <p:grpSp>
            <p:nvGrpSpPr>
              <p:cNvPr id="8" name="Groupe 7"/>
              <p:cNvGrpSpPr/>
              <p:nvPr/>
            </p:nvGrpSpPr>
            <p:grpSpPr>
              <a:xfrm>
                <a:off x="292198" y="1890622"/>
                <a:ext cx="8387593" cy="681128"/>
                <a:chOff x="292198" y="1890622"/>
                <a:chExt cx="8387593" cy="681128"/>
              </a:xfrm>
            </p:grpSpPr>
            <p:grpSp>
              <p:nvGrpSpPr>
                <p:cNvPr id="5" name="Groupe 4"/>
                <p:cNvGrpSpPr/>
                <p:nvPr/>
              </p:nvGrpSpPr>
              <p:grpSpPr>
                <a:xfrm>
                  <a:off x="292198" y="1890622"/>
                  <a:ext cx="8387593" cy="681128"/>
                  <a:chOff x="292198" y="2133119"/>
                  <a:chExt cx="8387593" cy="681128"/>
                </a:xfrm>
              </p:grpSpPr>
              <p:sp>
                <p:nvSpPr>
                  <p:cNvPr id="80" name="Flèche droite 79"/>
                  <p:cNvSpPr/>
                  <p:nvPr/>
                </p:nvSpPr>
                <p:spPr>
                  <a:xfrm>
                    <a:off x="292198" y="2133119"/>
                    <a:ext cx="8387593" cy="681128"/>
                  </a:xfrm>
                  <a:prstGeom prst="rightArrow">
                    <a:avLst>
                      <a:gd name="adj1" fmla="val 50000"/>
                      <a:gd name="adj2" fmla="val 47274"/>
                    </a:avLst>
                  </a:prstGeom>
                  <a:solidFill>
                    <a:srgbClr val="4BB4E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000000"/>
                      </a:solidFill>
                      <a:effectLst/>
                      <a:uLnTx/>
                      <a:uFillTx/>
                      <a:latin typeface="Helvetica 75 Bold"/>
                      <a:ea typeface="+mn-ea"/>
                      <a:cs typeface="+mn-cs"/>
                    </a:endParaRPr>
                  </a:p>
                </p:txBody>
              </p:sp>
              <p:sp>
                <p:nvSpPr>
                  <p:cNvPr id="86" name="ZoneTexte 85"/>
                  <p:cNvSpPr txBox="1"/>
                  <p:nvPr/>
                </p:nvSpPr>
                <p:spPr>
                  <a:xfrm>
                    <a:off x="395536" y="2324379"/>
                    <a:ext cx="438161" cy="307777"/>
                  </a:xfrm>
                  <a:prstGeom prst="rect">
                    <a:avLst/>
                  </a:prstGeom>
                </p:spPr>
                <p:txBody>
                  <a:bodyPr wrap="square" lIns="0" tIns="0" rIns="0" bIns="0" rtlCol="0">
                    <a:spAutoFit/>
                  </a:bodyPr>
                  <a:lstStyle/>
                  <a:p>
                    <a:r>
                      <a:rPr lang="fr-FR" sz="1000" b="1" dirty="0">
                        <a:solidFill>
                          <a:srgbClr val="FFFFFF"/>
                        </a:solidFill>
                        <a:latin typeface="Helvetica 55 Roman" panose="020B0604020202020204" pitchFamily="34" charset="0"/>
                      </a:rPr>
                      <a:t>Avril</a:t>
                    </a:r>
                  </a:p>
                  <a:p>
                    <a:r>
                      <a:rPr lang="fr-FR" sz="1000" b="1" dirty="0">
                        <a:solidFill>
                          <a:srgbClr val="FFFFFF"/>
                        </a:solidFill>
                        <a:latin typeface="Helvetica 55 Roman" panose="020B0604020202020204" pitchFamily="34" charset="0"/>
                      </a:rPr>
                      <a:t>2019</a:t>
                    </a:r>
                    <a:endParaRPr lang="fr-FR" sz="1200" b="1" dirty="0">
                      <a:solidFill>
                        <a:srgbClr val="FFFFFF"/>
                      </a:solidFill>
                      <a:latin typeface="Helvetica 55 Roman" panose="020B0604020202020204" pitchFamily="34" charset="0"/>
                    </a:endParaRPr>
                  </a:p>
                </p:txBody>
              </p:sp>
              <p:sp>
                <p:nvSpPr>
                  <p:cNvPr id="87" name="ZoneTexte 86"/>
                  <p:cNvSpPr txBox="1"/>
                  <p:nvPr/>
                </p:nvSpPr>
                <p:spPr>
                  <a:xfrm>
                    <a:off x="2240970" y="2324379"/>
                    <a:ext cx="386320" cy="307777"/>
                  </a:xfrm>
                  <a:prstGeom prst="rect">
                    <a:avLst/>
                  </a:prstGeom>
                </p:spPr>
                <p:txBody>
                  <a:bodyPr wrap="square" lIns="0" tIns="0" rIns="0" bIns="0" rtlCol="0">
                    <a:spAutoFit/>
                  </a:bodyPr>
                  <a:lstStyle/>
                  <a:p>
                    <a:r>
                      <a:rPr lang="fr-FR" sz="1000" b="1" dirty="0">
                        <a:solidFill>
                          <a:srgbClr val="FFFFFF"/>
                        </a:solidFill>
                        <a:latin typeface="Helvetica 55 Roman" panose="020B0604020202020204" pitchFamily="34" charset="0"/>
                      </a:rPr>
                      <a:t>Juin</a:t>
                    </a:r>
                  </a:p>
                  <a:p>
                    <a:r>
                      <a:rPr lang="fr-FR" sz="1000" b="1" dirty="0">
                        <a:solidFill>
                          <a:srgbClr val="FFFFFF"/>
                        </a:solidFill>
                        <a:latin typeface="Helvetica 55 Roman" panose="020B0604020202020204" pitchFamily="34" charset="0"/>
                      </a:rPr>
                      <a:t>2019</a:t>
                    </a:r>
                    <a:endParaRPr lang="fr-FR" sz="1200" b="1" dirty="0">
                      <a:solidFill>
                        <a:srgbClr val="FFFFFF"/>
                      </a:solidFill>
                      <a:latin typeface="Helvetica 55 Roman" panose="020B0604020202020204" pitchFamily="34" charset="0"/>
                    </a:endParaRPr>
                  </a:p>
                </p:txBody>
              </p:sp>
              <p:sp>
                <p:nvSpPr>
                  <p:cNvPr id="88" name="ZoneTexte 87"/>
                  <p:cNvSpPr txBox="1"/>
                  <p:nvPr/>
                </p:nvSpPr>
                <p:spPr>
                  <a:xfrm>
                    <a:off x="2917411" y="2351920"/>
                    <a:ext cx="333637" cy="307777"/>
                  </a:xfrm>
                  <a:prstGeom prst="rect">
                    <a:avLst/>
                  </a:prstGeom>
                </p:spPr>
                <p:txBody>
                  <a:bodyPr wrap="square" lIns="0" tIns="0" rIns="0" bIns="0" rtlCol="0">
                    <a:spAutoFit/>
                  </a:bodyPr>
                  <a:lstStyle/>
                  <a:p>
                    <a:r>
                      <a:rPr lang="fr-FR" sz="1000" b="1" dirty="0">
                        <a:solidFill>
                          <a:srgbClr val="FFFFFF"/>
                        </a:solidFill>
                        <a:latin typeface="Helvetica 55 Roman" panose="020B0604020202020204" pitchFamily="34" charset="0"/>
                      </a:rPr>
                      <a:t>Juillet</a:t>
                    </a:r>
                  </a:p>
                  <a:p>
                    <a:r>
                      <a:rPr lang="fr-FR" sz="1000" b="1" dirty="0">
                        <a:solidFill>
                          <a:srgbClr val="FFFFFF"/>
                        </a:solidFill>
                        <a:latin typeface="Helvetica 55 Roman" panose="020B0604020202020204" pitchFamily="34" charset="0"/>
                      </a:rPr>
                      <a:t>2019</a:t>
                    </a:r>
                    <a:endParaRPr lang="fr-FR" sz="1200" b="1" dirty="0">
                      <a:solidFill>
                        <a:srgbClr val="FFFFFF"/>
                      </a:solidFill>
                      <a:latin typeface="Helvetica 55 Roman" panose="020B0604020202020204" pitchFamily="34" charset="0"/>
                    </a:endParaRPr>
                  </a:p>
                </p:txBody>
              </p:sp>
              <p:sp>
                <p:nvSpPr>
                  <p:cNvPr id="92" name="ZoneTexte 91"/>
                  <p:cNvSpPr txBox="1"/>
                  <p:nvPr/>
                </p:nvSpPr>
                <p:spPr>
                  <a:xfrm>
                    <a:off x="1318253" y="2324379"/>
                    <a:ext cx="438161" cy="307777"/>
                  </a:xfrm>
                  <a:prstGeom prst="rect">
                    <a:avLst/>
                  </a:prstGeom>
                </p:spPr>
                <p:txBody>
                  <a:bodyPr wrap="square" lIns="0" tIns="0" rIns="0" bIns="0" rtlCol="0">
                    <a:spAutoFit/>
                  </a:bodyPr>
                  <a:lstStyle/>
                  <a:p>
                    <a:r>
                      <a:rPr lang="fr-FR" sz="1000" b="1" dirty="0">
                        <a:solidFill>
                          <a:srgbClr val="FFFFFF"/>
                        </a:solidFill>
                        <a:latin typeface="Helvetica 55 Roman" panose="020B0604020202020204" pitchFamily="34" charset="0"/>
                      </a:rPr>
                      <a:t>Mai</a:t>
                    </a:r>
                  </a:p>
                  <a:p>
                    <a:r>
                      <a:rPr lang="fr-FR" sz="1000" b="1" dirty="0">
                        <a:solidFill>
                          <a:srgbClr val="FFFFFF"/>
                        </a:solidFill>
                        <a:latin typeface="Helvetica 55 Roman" panose="020B0604020202020204" pitchFamily="34" charset="0"/>
                      </a:rPr>
                      <a:t>2019</a:t>
                    </a:r>
                    <a:endParaRPr lang="fr-FR" sz="1200" b="1" dirty="0">
                      <a:solidFill>
                        <a:srgbClr val="FFFFFF"/>
                      </a:solidFill>
                      <a:latin typeface="Helvetica 55 Roman" panose="020B0604020202020204" pitchFamily="34" charset="0"/>
                    </a:endParaRPr>
                  </a:p>
                </p:txBody>
              </p:sp>
            </p:grpSp>
            <p:sp>
              <p:nvSpPr>
                <p:cNvPr id="32" name="ZoneTexte 31"/>
                <p:cNvSpPr txBox="1"/>
                <p:nvPr/>
              </p:nvSpPr>
              <p:spPr>
                <a:xfrm>
                  <a:off x="5148064" y="2154241"/>
                  <a:ext cx="648072" cy="153888"/>
                </a:xfrm>
                <a:prstGeom prst="rect">
                  <a:avLst/>
                </a:prstGeom>
              </p:spPr>
              <p:txBody>
                <a:bodyPr wrap="square" lIns="0" tIns="0" rIns="0" bIns="0" rtlCol="0">
                  <a:spAutoFit/>
                </a:bodyPr>
                <a:lstStyle/>
                <a:p>
                  <a:pPr algn="ctr"/>
                  <a:r>
                    <a:rPr lang="fr-FR" sz="1000" b="1" dirty="0">
                      <a:solidFill>
                        <a:srgbClr val="FFFFFF"/>
                      </a:solidFill>
                      <a:latin typeface="Helvetica 55 Roman" panose="020B0604020202020204" pitchFamily="34" charset="0"/>
                    </a:rPr>
                    <a:t>A venir</a:t>
                  </a:r>
                  <a:endParaRPr lang="fr-FR" sz="1200" b="1" dirty="0">
                    <a:solidFill>
                      <a:srgbClr val="FFFFFF"/>
                    </a:solidFill>
                    <a:latin typeface="Helvetica 55 Roman" panose="020B0604020202020204" pitchFamily="34" charset="0"/>
                  </a:endParaRPr>
                </a:p>
              </p:txBody>
            </p:sp>
          </p:grpSp>
          <p:sp>
            <p:nvSpPr>
              <p:cNvPr id="34" name="ZoneTexte 33"/>
              <p:cNvSpPr txBox="1"/>
              <p:nvPr/>
            </p:nvSpPr>
            <p:spPr>
              <a:xfrm>
                <a:off x="3930041" y="2077296"/>
                <a:ext cx="333637" cy="307777"/>
              </a:xfrm>
              <a:prstGeom prst="rect">
                <a:avLst/>
              </a:prstGeom>
            </p:spPr>
            <p:txBody>
              <a:bodyPr wrap="square" lIns="0" tIns="0" rIns="0" bIns="0" rtlCol="0">
                <a:spAutoFit/>
              </a:bodyPr>
              <a:lstStyle/>
              <a:p>
                <a:r>
                  <a:rPr lang="fr-FR" sz="1000" b="1" dirty="0">
                    <a:solidFill>
                      <a:srgbClr val="FFFFFF"/>
                    </a:solidFill>
                    <a:latin typeface="Helvetica 55 Roman" panose="020B0604020202020204" pitchFamily="34" charset="0"/>
                  </a:rPr>
                  <a:t>Août</a:t>
                </a:r>
              </a:p>
              <a:p>
                <a:r>
                  <a:rPr lang="fr-FR" sz="1000" b="1" dirty="0">
                    <a:solidFill>
                      <a:srgbClr val="FFFFFF"/>
                    </a:solidFill>
                    <a:latin typeface="Helvetica 55 Roman" panose="020B0604020202020204" pitchFamily="34" charset="0"/>
                  </a:rPr>
                  <a:t>2019</a:t>
                </a:r>
                <a:endParaRPr lang="fr-FR" sz="1200" b="1" dirty="0">
                  <a:solidFill>
                    <a:srgbClr val="FFFFFF"/>
                  </a:solidFill>
                  <a:latin typeface="Helvetica 55 Roman" panose="020B0604020202020204" pitchFamily="34" charset="0"/>
                </a:endParaRPr>
              </a:p>
            </p:txBody>
          </p:sp>
        </p:grpSp>
        <p:cxnSp>
          <p:nvCxnSpPr>
            <p:cNvPr id="12" name="Connecteur droit 11"/>
            <p:cNvCxnSpPr/>
            <p:nvPr/>
          </p:nvCxnSpPr>
          <p:spPr>
            <a:xfrm>
              <a:off x="4646816" y="2058079"/>
              <a:ext cx="0" cy="33489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6" name="Groupe 65"/>
          <p:cNvGrpSpPr/>
          <p:nvPr/>
        </p:nvGrpSpPr>
        <p:grpSpPr>
          <a:xfrm>
            <a:off x="3171202" y="2526820"/>
            <a:ext cx="1043609" cy="2450509"/>
            <a:chOff x="5848451" y="2423017"/>
            <a:chExt cx="1043609" cy="2095234"/>
          </a:xfrm>
        </p:grpSpPr>
        <p:cxnSp>
          <p:nvCxnSpPr>
            <p:cNvPr id="68" name="Connecteur droit 67"/>
            <p:cNvCxnSpPr>
              <a:endCxn id="70" idx="0"/>
            </p:cNvCxnSpPr>
            <p:nvPr/>
          </p:nvCxnSpPr>
          <p:spPr>
            <a:xfrm>
              <a:off x="6368408" y="2423017"/>
              <a:ext cx="1848" cy="1161576"/>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5848451" y="3584593"/>
              <a:ext cx="1043609" cy="933658"/>
            </a:xfrm>
            <a:prstGeom prst="rect">
              <a:avLst/>
            </a:prstGeom>
            <a:noFill/>
            <a:ln w="19050">
              <a:solidFill>
                <a:srgbClr val="FFB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ZoneTexte 70"/>
            <p:cNvSpPr txBox="1"/>
            <p:nvPr/>
          </p:nvSpPr>
          <p:spPr>
            <a:xfrm>
              <a:off x="5928297" y="3775797"/>
              <a:ext cx="880222" cy="630942"/>
            </a:xfrm>
            <a:prstGeom prst="rect">
              <a:avLst/>
            </a:prstGeom>
            <a:solidFill>
              <a:schemeClr val="bg1"/>
            </a:solidFill>
          </p:spPr>
          <p:txBody>
            <a:bodyPr wrap="square" lIns="0" rIns="0" rtlCol="0">
              <a:spAutoFit/>
            </a:bodyPr>
            <a:lstStyle/>
            <a:p>
              <a:pPr algn="ctr"/>
              <a:r>
                <a:rPr lang="fr-FR" sz="900" dirty="0">
                  <a:latin typeface="Helvetica 55 Roman" panose="020B0604020202020204" pitchFamily="34" charset="0"/>
                </a:rPr>
                <a:t>Agrégateur</a:t>
              </a:r>
            </a:p>
            <a:p>
              <a:pPr algn="ctr"/>
              <a:r>
                <a:rPr lang="fr-FR" sz="800" dirty="0">
                  <a:latin typeface="Helvetica 55 Roman" panose="020B0604020202020204" pitchFamily="34" charset="0"/>
                </a:rPr>
                <a:t>Grande-Bretagne</a:t>
              </a:r>
            </a:p>
            <a:p>
              <a:pPr algn="ctr"/>
              <a:r>
                <a:rPr lang="fr-FR" sz="900" dirty="0">
                  <a:latin typeface="Helvetica 55 Roman" panose="020B0604020202020204" pitchFamily="34" charset="0"/>
                </a:rPr>
                <a:t>Méga-carte</a:t>
              </a:r>
            </a:p>
            <a:p>
              <a:pPr algn="ctr"/>
              <a:r>
                <a:rPr lang="fr-FR" sz="900" dirty="0">
                  <a:latin typeface="Helvetica 55 Roman" panose="020B0604020202020204" pitchFamily="34" charset="0"/>
                </a:rPr>
                <a:t>Fin année</a:t>
              </a:r>
            </a:p>
          </p:txBody>
        </p:sp>
      </p:grpSp>
      <p:sp>
        <p:nvSpPr>
          <p:cNvPr id="14" name="AutoShape 530" descr="Résultat de recherche d'images pour &quot;curve banque logo&quo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3603" name="Picture 531"/>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278664" y="4022620"/>
            <a:ext cx="661886" cy="1510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7970203"/>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1748" y="123478"/>
            <a:ext cx="7332103" cy="743744"/>
          </a:xfrm>
        </p:spPr>
        <p:txBody>
          <a:bodyPr vert="horz" lIns="0" tIns="0" rIns="0" bIns="0" rtlCol="0" anchor="t" anchorCtr="0">
            <a:normAutofit/>
          </a:bodyPr>
          <a:lstStyle/>
          <a:p>
            <a:r>
              <a:rPr lang="fr-FR" sz="1800" dirty="0"/>
              <a:t>Orange Bank a été élue la meilleure banque en terme </a:t>
            </a:r>
            <a:br>
              <a:rPr lang="fr-FR" sz="1800" dirty="0"/>
            </a:br>
            <a:r>
              <a:rPr lang="fr-FR" sz="1800" dirty="0"/>
              <a:t>de parcours et d’expérience client digitale</a:t>
            </a:r>
          </a:p>
        </p:txBody>
      </p:sp>
      <p:pic>
        <p:nvPicPr>
          <p:cNvPr id="7" name="Hauteur_00160_751.jpg" descr="Hauteur_00160_751.jpg"/>
          <p:cNvPicPr>
            <a:picLocks noChangeAspect="1"/>
          </p:cNvPicPr>
          <p:nvPr/>
        </p:nvPicPr>
        <p:blipFill rotWithShape="1">
          <a:blip r:embed="rId14"/>
          <a:srcRect l="10756" t="39358" r="7279"/>
          <a:stretch/>
        </p:blipFill>
        <p:spPr>
          <a:xfrm>
            <a:off x="-975980" y="0"/>
            <a:ext cx="3910575" cy="5143500"/>
          </a:xfrm>
          <a:prstGeom prst="rect">
            <a:avLst/>
          </a:prstGeom>
          <a:ln w="12700">
            <a:miter lim="400000"/>
          </a:ln>
        </p:spPr>
      </p:pic>
      <p:pic>
        <p:nvPicPr>
          <p:cNvPr id="4" name="Image 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633618" y="869869"/>
            <a:ext cx="635000" cy="635000"/>
          </a:xfrm>
          <a:prstGeom prst="rect">
            <a:avLst/>
          </a:prstGeom>
        </p:spPr>
      </p:pic>
      <p:graphicFrame>
        <p:nvGraphicFramePr>
          <p:cNvPr id="50" name="Chart 66"/>
          <p:cNvGraphicFramePr>
            <a:graphicFrameLocks/>
          </p:cNvGraphicFramePr>
          <p:nvPr>
            <p:custDataLst>
              <p:tags r:id="rId2"/>
            </p:custDataLst>
            <p:extLst>
              <p:ext uri="{D42A27DB-BD31-4B8C-83A1-F6EECF244321}">
                <p14:modId xmlns:p14="http://schemas.microsoft.com/office/powerpoint/2010/main" val="559606728"/>
              </p:ext>
            </p:extLst>
          </p:nvPr>
        </p:nvGraphicFramePr>
        <p:xfrm>
          <a:off x="4755980" y="1750955"/>
          <a:ext cx="1666875" cy="2959100"/>
        </p:xfrm>
        <a:graphic>
          <a:graphicData uri="http://schemas.openxmlformats.org/presentationml/2006/ole">
            <mc:AlternateContent xmlns:mc="http://schemas.openxmlformats.org/markup-compatibility/2006">
              <mc:Choice xmlns:v="urn:schemas-microsoft-com:vml" Requires="v">
                <p:oleObj spid="_x0000_s132105" r:id="rId16" imgW="1664352" imgH="2962913" progId="Excel.Chart.8">
                  <p:embed/>
                </p:oleObj>
              </mc:Choice>
              <mc:Fallback>
                <p:oleObj r:id="rId16" imgW="1664352" imgH="2962913" progId="Excel.Chart.8">
                  <p:embed/>
                  <p:pic>
                    <p:nvPicPr>
                      <p:cNvPr id="0" name=""/>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55980" y="1750955"/>
                        <a:ext cx="1666875" cy="295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 name="ACET"/>
          <p:cNvSpPr>
            <a:spLocks noChangeArrowheads="1"/>
          </p:cNvSpPr>
          <p:nvPr/>
        </p:nvSpPr>
        <p:spPr bwMode="gray">
          <a:xfrm>
            <a:off x="4394473" y="971469"/>
            <a:ext cx="4505276" cy="4308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fr-FR" altLang="fr-FR" sz="1200" dirty="0">
                <a:latin typeface="Helvetica 75 Bold" pitchFamily="34" charset="0"/>
              </a:rPr>
              <a:t>En France, Orange Bank est N° 1 du classement D-Rating  </a:t>
            </a:r>
            <a:r>
              <a:rPr lang="fr-FR" altLang="fr-FR" sz="1000" dirty="0">
                <a:latin typeface="Helvetica 55 Roman" pitchFamily="34" charset="0"/>
              </a:rPr>
              <a:t>Offres et parcours clients digitaux*, Résultat combiné 2018</a:t>
            </a:r>
          </a:p>
        </p:txBody>
      </p:sp>
      <p:pic>
        <p:nvPicPr>
          <p:cNvPr id="52" name="Picture 56" descr="RÃ©sultat de recherche d'images pour &quot;logo orange bank&quot;"/>
          <p:cNvPicPr>
            <a:picLocks noChangeAspect="1" noChangeArrowheads="1"/>
          </p:cNvPicPr>
          <p:nvPr>
            <p:custDataLst>
              <p:tags r:id="rId3"/>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3452643" y="1930342"/>
            <a:ext cx="398462" cy="39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8" descr="RÃ©sultat de recherche d'images pour &quot;logo n26&quot;"/>
          <p:cNvPicPr>
            <a:picLocks noChangeAspect="1" noChangeArrowheads="1"/>
          </p:cNvPicPr>
          <p:nvPr>
            <p:custDataLst>
              <p:tags r:id="rId4"/>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3452643" y="2500255"/>
            <a:ext cx="38735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62" descr="RÃ©sultat de recherche d'images pour &quot;logo boursorama&quot;"/>
          <p:cNvPicPr>
            <a:picLocks noChangeAspect="1" noChangeArrowheads="1"/>
          </p:cNvPicPr>
          <p:nvPr>
            <p:custDataLst>
              <p:tags r:id="rId5"/>
            </p:custDataLst>
          </p:nvPr>
        </p:nvPicPr>
        <p:blipFill>
          <a:blip r:embed="rId20" cstate="print">
            <a:extLst>
              <a:ext uri="{28A0092B-C50C-407E-A947-70E740481C1C}">
                <a14:useLocalDpi xmlns:a14="http://schemas.microsoft.com/office/drawing/2010/main" val="0"/>
              </a:ext>
            </a:extLst>
          </a:blip>
          <a:srcRect/>
          <a:stretch>
            <a:fillRect/>
          </a:stretch>
        </p:blipFill>
        <p:spPr bwMode="auto">
          <a:xfrm>
            <a:off x="3452643" y="3100330"/>
            <a:ext cx="107156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64" descr="RÃ©sultat de recherche d'images pour &quot;logo fortuneo&quot;"/>
          <p:cNvPicPr>
            <a:picLocks noChangeAspect="1" noChangeArrowheads="1"/>
          </p:cNvPicPr>
          <p:nvPr>
            <p:custDataLst>
              <p:tags r:id="rId6"/>
            </p:custDataLst>
          </p:nvPr>
        </p:nvPicPr>
        <p:blipFill>
          <a:blip r:embed="rId21">
            <a:extLst>
              <a:ext uri="{28A0092B-C50C-407E-A947-70E740481C1C}">
                <a14:useLocalDpi xmlns:a14="http://schemas.microsoft.com/office/drawing/2010/main" val="0"/>
              </a:ext>
            </a:extLst>
          </a:blip>
          <a:srcRect t="23080" b="23080"/>
          <a:stretch>
            <a:fillRect/>
          </a:stretch>
        </p:blipFill>
        <p:spPr bwMode="auto">
          <a:xfrm>
            <a:off x="3452643" y="3589280"/>
            <a:ext cx="9969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7" name="Group 75"/>
          <p:cNvGrpSpPr>
            <a:grpSpLocks/>
          </p:cNvGrpSpPr>
          <p:nvPr>
            <p:custDataLst>
              <p:tags r:id="rId7"/>
            </p:custDataLst>
          </p:nvPr>
        </p:nvGrpSpPr>
        <p:grpSpPr bwMode="auto">
          <a:xfrm>
            <a:off x="3452643" y="2427230"/>
            <a:ext cx="2690812" cy="1600200"/>
            <a:chOff x="769938" y="2391408"/>
            <a:chExt cx="4081803" cy="1600200"/>
          </a:xfrm>
        </p:grpSpPr>
        <p:cxnSp>
          <p:nvCxnSpPr>
            <p:cNvPr id="58" name="DividerH Connector">
              <a:extLst>
                <a:ext uri="{FF2B5EF4-FFF2-40B4-BE49-F238E27FC236}">
                  <a16:creationId xmlns:a16="http://schemas.microsoft.com/office/drawing/2014/main" id="{CDF02D76-FE71-422A-ADC8-D43CF96515CF}"/>
                </a:ext>
              </a:extLst>
            </p:cNvPr>
            <p:cNvCxnSpPr>
              <a:cxnSpLocks/>
            </p:cNvCxnSpPr>
            <p:nvPr>
              <p:custDataLst>
                <p:tags r:id="rId8"/>
              </p:custDataLst>
            </p:nvPr>
          </p:nvCxnSpPr>
          <p:spPr>
            <a:xfrm>
              <a:off x="769938" y="2391408"/>
              <a:ext cx="408180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9" name="DividerH Connector">
              <a:extLst>
                <a:ext uri="{FF2B5EF4-FFF2-40B4-BE49-F238E27FC236}">
                  <a16:creationId xmlns:a16="http://schemas.microsoft.com/office/drawing/2014/main" id="{9CB22AE6-7501-46D8-B3C9-BD238B47C216}"/>
                </a:ext>
              </a:extLst>
            </p:cNvPr>
            <p:cNvCxnSpPr>
              <a:cxnSpLocks/>
            </p:cNvCxnSpPr>
            <p:nvPr>
              <p:custDataLst>
                <p:tags r:id="rId9"/>
              </p:custDataLst>
            </p:nvPr>
          </p:nvCxnSpPr>
          <p:spPr>
            <a:xfrm>
              <a:off x="769938" y="2924808"/>
              <a:ext cx="408180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0" name="DividerH Connector">
              <a:extLst>
                <a:ext uri="{FF2B5EF4-FFF2-40B4-BE49-F238E27FC236}">
                  <a16:creationId xmlns:a16="http://schemas.microsoft.com/office/drawing/2014/main" id="{D80D2F01-F2C8-4675-BA53-03D38235424F}"/>
                </a:ext>
              </a:extLst>
            </p:cNvPr>
            <p:cNvCxnSpPr>
              <a:cxnSpLocks/>
            </p:cNvCxnSpPr>
            <p:nvPr>
              <p:custDataLst>
                <p:tags r:id="rId10"/>
              </p:custDataLst>
            </p:nvPr>
          </p:nvCxnSpPr>
          <p:spPr>
            <a:xfrm>
              <a:off x="769938" y="3458208"/>
              <a:ext cx="408180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1" name="DividerH Connector">
              <a:extLst>
                <a:ext uri="{FF2B5EF4-FFF2-40B4-BE49-F238E27FC236}">
                  <a16:creationId xmlns:a16="http://schemas.microsoft.com/office/drawing/2014/main" id="{EED5C40C-4E16-4DDD-A84C-0BFD0484C7AE}"/>
                </a:ext>
              </a:extLst>
            </p:cNvPr>
            <p:cNvCxnSpPr>
              <a:cxnSpLocks/>
            </p:cNvCxnSpPr>
            <p:nvPr>
              <p:custDataLst>
                <p:tags r:id="rId11"/>
              </p:custDataLst>
            </p:nvPr>
          </p:nvCxnSpPr>
          <p:spPr>
            <a:xfrm>
              <a:off x="769938" y="3991608"/>
              <a:ext cx="408180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7308304" y="1779662"/>
            <a:ext cx="144016" cy="1506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63" name="Rectangle 62"/>
          <p:cNvSpPr/>
          <p:nvPr/>
        </p:nvSpPr>
        <p:spPr>
          <a:xfrm>
            <a:off x="7308304" y="2054233"/>
            <a:ext cx="144016" cy="15068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64" name="ACET"/>
          <p:cNvSpPr>
            <a:spLocks noChangeArrowheads="1"/>
          </p:cNvSpPr>
          <p:nvPr/>
        </p:nvSpPr>
        <p:spPr bwMode="gray">
          <a:xfrm>
            <a:off x="7449897" y="1704332"/>
            <a:ext cx="809685" cy="280074"/>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fr-FR" altLang="fr-FR" sz="1200" dirty="0">
                <a:latin typeface="Helvetica 75 Bold" pitchFamily="34" charset="0"/>
              </a:rPr>
              <a:t>Orange </a:t>
            </a:r>
            <a:endParaRPr lang="fr-FR" altLang="fr-FR" sz="1000" dirty="0">
              <a:latin typeface="Helvetica 55 Roman" pitchFamily="34" charset="0"/>
            </a:endParaRPr>
          </a:p>
        </p:txBody>
      </p:sp>
      <p:sp>
        <p:nvSpPr>
          <p:cNvPr id="65" name="ACET"/>
          <p:cNvSpPr>
            <a:spLocks noChangeArrowheads="1"/>
          </p:cNvSpPr>
          <p:nvPr/>
        </p:nvSpPr>
        <p:spPr bwMode="gray">
          <a:xfrm>
            <a:off x="7452320" y="1996769"/>
            <a:ext cx="1224136" cy="276999"/>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fr-FR" altLang="fr-FR" sz="1200" dirty="0">
                <a:latin typeface="Helvetica 75 Bold" pitchFamily="34" charset="0"/>
              </a:rPr>
              <a:t>Concurrents</a:t>
            </a:r>
            <a:endParaRPr lang="fr-FR" altLang="fr-FR" sz="1000" dirty="0">
              <a:latin typeface="Helvetica 55 Roman" pitchFamily="34" charset="0"/>
            </a:endParaRPr>
          </a:p>
        </p:txBody>
      </p:sp>
      <p:pic>
        <p:nvPicPr>
          <p:cNvPr id="25628" name="Picture 28"/>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520093" y="4060583"/>
            <a:ext cx="879463" cy="4639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8533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6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9"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 name="Titre 5"/>
          <p:cNvSpPr txBox="1">
            <a:spLocks/>
          </p:cNvSpPr>
          <p:nvPr/>
        </p:nvSpPr>
        <p:spPr bwMode="auto">
          <a:xfrm>
            <a:off x="431800" y="195486"/>
            <a:ext cx="8277225"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0" rIns="36000" bIns="0"/>
          <a:lstStyle>
            <a:lvl1pPr defTabSz="615950">
              <a:spcAft>
                <a:spcPts val="725"/>
              </a:spcAft>
              <a:buFont typeface="Arial" pitchFamily="34" charset="0"/>
              <a:defRPr sz="1400">
                <a:solidFill>
                  <a:schemeClr val="tx2"/>
                </a:solidFill>
                <a:latin typeface="Helvetica 75 Bold" pitchFamily="34" charset="0"/>
              </a:defRPr>
            </a:lvl1pPr>
            <a:lvl2pPr marL="742950" indent="-285750" defTabSz="615950">
              <a:spcAft>
                <a:spcPts val="725"/>
              </a:spcAft>
              <a:buFont typeface="Arial" pitchFamily="34" charset="0"/>
              <a:defRPr sz="1400">
                <a:solidFill>
                  <a:schemeClr val="tx1"/>
                </a:solidFill>
                <a:latin typeface="Helvetica 75 Bold" pitchFamily="34" charset="0"/>
              </a:defRPr>
            </a:lvl2pPr>
            <a:lvl3pPr marL="1143000" indent="-228600" defTabSz="615950">
              <a:spcAft>
                <a:spcPts val="725"/>
              </a:spcAft>
              <a:buFont typeface="Helvetica 75" pitchFamily="34" charset="0"/>
              <a:buChar char="-"/>
              <a:defRPr sz="1400">
                <a:solidFill>
                  <a:schemeClr val="tx1"/>
                </a:solidFill>
                <a:latin typeface="Helvetica 75 Bold" pitchFamily="34" charset="0"/>
              </a:defRPr>
            </a:lvl3pPr>
            <a:lvl4pPr marL="1600200" indent="-228600" defTabSz="615950">
              <a:spcAft>
                <a:spcPts val="725"/>
              </a:spcAft>
              <a:buFont typeface="Helvetica 75" pitchFamily="34" charset="0"/>
              <a:buChar char="-"/>
              <a:defRPr sz="1400">
                <a:solidFill>
                  <a:schemeClr val="tx1"/>
                </a:solidFill>
                <a:latin typeface="Helvetica 75 Bold" pitchFamily="34" charset="0"/>
              </a:defRPr>
            </a:lvl4pPr>
            <a:lvl5pPr marL="2057400" indent="-228600" defTabSz="615950">
              <a:spcAft>
                <a:spcPts val="725"/>
              </a:spcAft>
              <a:buFont typeface="Helvetica 75" pitchFamily="34" charset="0"/>
              <a:buChar char="-"/>
              <a:defRPr sz="1400">
                <a:solidFill>
                  <a:schemeClr val="tx1"/>
                </a:solidFill>
                <a:latin typeface="Helvetica 75 Bold" pitchFamily="34" charset="0"/>
              </a:defRPr>
            </a:lvl5pPr>
            <a:lvl6pPr marL="2514600" indent="-228600" defTabSz="615950" eaLnBrk="0" fontAlgn="base" hangingPunct="0">
              <a:spcBef>
                <a:spcPct val="0"/>
              </a:spcBef>
              <a:spcAft>
                <a:spcPts val="725"/>
              </a:spcAft>
              <a:buFont typeface="Helvetica 75" pitchFamily="34" charset="0"/>
              <a:buChar char="-"/>
              <a:defRPr sz="1400">
                <a:solidFill>
                  <a:schemeClr val="tx1"/>
                </a:solidFill>
                <a:latin typeface="Helvetica 75 Bold" pitchFamily="34" charset="0"/>
              </a:defRPr>
            </a:lvl6pPr>
            <a:lvl7pPr marL="2971800" indent="-228600" defTabSz="615950" eaLnBrk="0" fontAlgn="base" hangingPunct="0">
              <a:spcBef>
                <a:spcPct val="0"/>
              </a:spcBef>
              <a:spcAft>
                <a:spcPts val="725"/>
              </a:spcAft>
              <a:buFont typeface="Helvetica 75" pitchFamily="34" charset="0"/>
              <a:buChar char="-"/>
              <a:defRPr sz="1400">
                <a:solidFill>
                  <a:schemeClr val="tx1"/>
                </a:solidFill>
                <a:latin typeface="Helvetica 75 Bold" pitchFamily="34" charset="0"/>
              </a:defRPr>
            </a:lvl7pPr>
            <a:lvl8pPr marL="3429000" indent="-228600" defTabSz="615950" eaLnBrk="0" fontAlgn="base" hangingPunct="0">
              <a:spcBef>
                <a:spcPct val="0"/>
              </a:spcBef>
              <a:spcAft>
                <a:spcPts val="725"/>
              </a:spcAft>
              <a:buFont typeface="Helvetica 75" pitchFamily="34" charset="0"/>
              <a:buChar char="-"/>
              <a:defRPr sz="1400">
                <a:solidFill>
                  <a:schemeClr val="tx1"/>
                </a:solidFill>
                <a:latin typeface="Helvetica 75 Bold" pitchFamily="34" charset="0"/>
              </a:defRPr>
            </a:lvl8pPr>
            <a:lvl9pPr marL="3886200" indent="-228600" defTabSz="615950" eaLnBrk="0" fontAlgn="base" hangingPunct="0">
              <a:spcBef>
                <a:spcPct val="0"/>
              </a:spcBef>
              <a:spcAft>
                <a:spcPts val="725"/>
              </a:spcAft>
              <a:buFont typeface="Helvetica 75" pitchFamily="34" charset="0"/>
              <a:buChar char="-"/>
              <a:defRPr sz="1400">
                <a:solidFill>
                  <a:schemeClr val="tx1"/>
                </a:solidFill>
                <a:latin typeface="Helvetica 75 Bold" pitchFamily="34" charset="0"/>
              </a:defRPr>
            </a:lvl9pPr>
          </a:lstStyle>
          <a:p>
            <a:pPr>
              <a:spcAft>
                <a:spcPts val="1438"/>
              </a:spcAft>
              <a:buFontTx/>
              <a:buNone/>
            </a:pPr>
            <a:r>
              <a:rPr lang="fr-FR" altLang="fr-FR" sz="2000" b="1" dirty="0">
                <a:solidFill>
                  <a:srgbClr val="FF7900"/>
                </a:solidFill>
                <a:ea typeface="Helvetica Neue"/>
                <a:cs typeface="Helvetica Neue"/>
              </a:rPr>
              <a:t>Notre positionnement unique nous permet de concurrencer les banques traditionnelles et les acteurs OTT/</a:t>
            </a:r>
            <a:r>
              <a:rPr lang="fr-FR" altLang="fr-FR" sz="2000" b="1" dirty="0" err="1">
                <a:solidFill>
                  <a:srgbClr val="FF7900"/>
                </a:solidFill>
                <a:ea typeface="Helvetica Neue"/>
                <a:cs typeface="Helvetica Neue"/>
              </a:rPr>
              <a:t>Fintech</a:t>
            </a:r>
            <a:endParaRPr lang="fr-FR" altLang="fr-FR" sz="1900" b="1" dirty="0">
              <a:solidFill>
                <a:srgbClr val="FF7900"/>
              </a:solidFill>
            </a:endParaRPr>
          </a:p>
        </p:txBody>
      </p:sp>
      <p:sp>
        <p:nvSpPr>
          <p:cNvPr id="45" name="ZoneTexte 44">
            <a:extLst>
              <a:ext uri="{FF2B5EF4-FFF2-40B4-BE49-F238E27FC236}">
                <a16:creationId xmlns:a16="http://schemas.microsoft.com/office/drawing/2014/main" id="{7F27FBED-20F5-49D4-B3F4-77E943731AB9}"/>
              </a:ext>
            </a:extLst>
          </p:cNvPr>
          <p:cNvSpPr txBox="1"/>
          <p:nvPr>
            <p:custDataLst>
              <p:tags r:id="rId3"/>
            </p:custDataLst>
          </p:nvPr>
        </p:nvSpPr>
        <p:spPr>
          <a:xfrm>
            <a:off x="6521450" y="1327150"/>
            <a:ext cx="1811338" cy="277813"/>
          </a:xfrm>
          <a:prstGeom prst="rect">
            <a:avLst/>
          </a:prstGeom>
          <a:noFill/>
        </p:spPr>
        <p:txBody>
          <a:bodyPr wrap="none">
            <a:spAutoFit/>
          </a:bodyPr>
          <a:lstStyle/>
          <a:p>
            <a:pPr algn="ctr">
              <a:defRPr/>
            </a:pPr>
            <a:r>
              <a:rPr lang="fr-FR" sz="1200" b="1" dirty="0">
                <a:solidFill>
                  <a:srgbClr val="000000">
                    <a:lumMod val="50000"/>
                    <a:lumOff val="50000"/>
                  </a:srgbClr>
                </a:solidFill>
                <a:latin typeface="Helvetica 55 Roman" panose="020B0604020202020204" pitchFamily="34" charset="0"/>
              </a:rPr>
              <a:t>Banques digitales / Fintechs</a:t>
            </a:r>
          </a:p>
        </p:txBody>
      </p:sp>
      <p:sp>
        <p:nvSpPr>
          <p:cNvPr id="46" name="ZoneTexte 45">
            <a:extLst>
              <a:ext uri="{FF2B5EF4-FFF2-40B4-BE49-F238E27FC236}">
                <a16:creationId xmlns:a16="http://schemas.microsoft.com/office/drawing/2014/main" id="{A0026343-CEF2-4EBA-925D-3AB502ACF524}"/>
              </a:ext>
            </a:extLst>
          </p:cNvPr>
          <p:cNvSpPr txBox="1"/>
          <p:nvPr>
            <p:custDataLst>
              <p:tags r:id="rId4"/>
            </p:custDataLst>
          </p:nvPr>
        </p:nvSpPr>
        <p:spPr>
          <a:xfrm>
            <a:off x="1009650" y="1327150"/>
            <a:ext cx="1365250" cy="277813"/>
          </a:xfrm>
          <a:prstGeom prst="rect">
            <a:avLst/>
          </a:prstGeom>
          <a:noFill/>
        </p:spPr>
        <p:txBody>
          <a:bodyPr wrap="none">
            <a:spAutoFit/>
          </a:bodyPr>
          <a:lstStyle/>
          <a:p>
            <a:pPr algn="ctr">
              <a:defRPr/>
            </a:pPr>
            <a:r>
              <a:rPr lang="fr-FR" sz="1200" b="1" dirty="0">
                <a:solidFill>
                  <a:srgbClr val="000000">
                    <a:lumMod val="50000"/>
                    <a:lumOff val="50000"/>
                  </a:srgbClr>
                </a:solidFill>
                <a:latin typeface="Helvetica 55 Roman" panose="020B0604020202020204" pitchFamily="34" charset="0"/>
              </a:rPr>
              <a:t>Banques traditionnelles</a:t>
            </a:r>
          </a:p>
        </p:txBody>
      </p:sp>
      <p:pic>
        <p:nvPicPr>
          <p:cNvPr id="47" name="Picture 56" descr="RÃ©sultat de recherche d'images pour &quot;logo orange bank&quot;"/>
          <p:cNvPicPr>
            <a:picLocks noChangeAspect="1" noChangeArrowheads="1"/>
          </p:cNvPicPr>
          <p:nvPr>
            <p:custDataLst>
              <p:tags r:id="rId5"/>
            </p:custDataLst>
          </p:nvPr>
        </p:nvPicPr>
        <p:blipFill>
          <a:blip r:embed="rId22">
            <a:extLst>
              <a:ext uri="{28A0092B-C50C-407E-A947-70E740481C1C}">
                <a14:useLocalDpi xmlns:a14="http://schemas.microsoft.com/office/drawing/2010/main" val="0"/>
              </a:ext>
            </a:extLst>
          </a:blip>
          <a:srcRect/>
          <a:stretch>
            <a:fillRect/>
          </a:stretch>
        </p:blipFill>
        <p:spPr bwMode="auto">
          <a:xfrm>
            <a:off x="4265116" y="1131590"/>
            <a:ext cx="666924" cy="66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Rectangle 47">
            <a:extLst>
              <a:ext uri="{FF2B5EF4-FFF2-40B4-BE49-F238E27FC236}">
                <a16:creationId xmlns:a16="http://schemas.microsoft.com/office/drawing/2014/main" id="{0F073053-B30D-4722-A334-141E8E9E8496}"/>
              </a:ext>
            </a:extLst>
          </p:cNvPr>
          <p:cNvSpPr/>
          <p:nvPr/>
        </p:nvSpPr>
        <p:spPr>
          <a:xfrm>
            <a:off x="481013" y="1924050"/>
            <a:ext cx="2589212" cy="2808288"/>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568">
              <a:defRPr/>
            </a:pPr>
            <a:endParaRPr lang="fr-FR">
              <a:solidFill>
                <a:srgbClr val="FFFFFF"/>
              </a:solidFill>
            </a:endParaRPr>
          </a:p>
        </p:txBody>
      </p:sp>
      <p:sp>
        <p:nvSpPr>
          <p:cNvPr id="49" name="Rectangle 48">
            <a:extLst>
              <a:ext uri="{FF2B5EF4-FFF2-40B4-BE49-F238E27FC236}">
                <a16:creationId xmlns:a16="http://schemas.microsoft.com/office/drawing/2014/main" id="{C44617DC-6DDD-4190-8975-2CEB41298938}"/>
              </a:ext>
            </a:extLst>
          </p:cNvPr>
          <p:cNvSpPr/>
          <p:nvPr/>
        </p:nvSpPr>
        <p:spPr>
          <a:xfrm>
            <a:off x="3284538" y="1924050"/>
            <a:ext cx="2590800" cy="280828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568">
              <a:defRPr/>
            </a:pPr>
            <a:endParaRPr lang="fr-FR">
              <a:solidFill>
                <a:srgbClr val="FFFFFF"/>
              </a:solidFill>
            </a:endParaRPr>
          </a:p>
        </p:txBody>
      </p:sp>
      <p:sp>
        <p:nvSpPr>
          <p:cNvPr id="50" name="Rectangle 49">
            <a:extLst>
              <a:ext uri="{FF2B5EF4-FFF2-40B4-BE49-F238E27FC236}">
                <a16:creationId xmlns:a16="http://schemas.microsoft.com/office/drawing/2014/main" id="{8D3F84AD-CFEE-4BA9-BB40-64A1A7F679E1}"/>
              </a:ext>
            </a:extLst>
          </p:cNvPr>
          <p:cNvSpPr/>
          <p:nvPr/>
        </p:nvSpPr>
        <p:spPr>
          <a:xfrm>
            <a:off x="6089650" y="1924050"/>
            <a:ext cx="2590800" cy="2808288"/>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568">
              <a:defRPr/>
            </a:pPr>
            <a:endParaRPr lang="fr-FR">
              <a:solidFill>
                <a:srgbClr val="FFFFFF"/>
              </a:solidFill>
            </a:endParaRPr>
          </a:p>
        </p:txBody>
      </p:sp>
      <p:sp>
        <p:nvSpPr>
          <p:cNvPr id="51" name="Rectangle 31"/>
          <p:cNvSpPr>
            <a:spLocks/>
          </p:cNvSpPr>
          <p:nvPr>
            <p:custDataLst>
              <p:tags r:id="rId6"/>
            </p:custDataLst>
          </p:nvPr>
        </p:nvSpPr>
        <p:spPr bwMode="auto">
          <a:xfrm>
            <a:off x="630238" y="3076575"/>
            <a:ext cx="212407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fr-FR" altLang="fr-FR" sz="1400">
                <a:solidFill>
                  <a:srgbClr val="000000"/>
                </a:solidFill>
                <a:latin typeface="Helvetica 55 Roman" pitchFamily="34" charset="0"/>
                <a:ea typeface="Helvetica Neue"/>
                <a:cs typeface="Helvetica Neue"/>
              </a:rPr>
              <a:t>Gamme étendue mais offrant peu d'autonomie aux clients</a:t>
            </a:r>
          </a:p>
        </p:txBody>
      </p:sp>
      <p:sp>
        <p:nvSpPr>
          <p:cNvPr id="52" name="Rectangle 32"/>
          <p:cNvSpPr>
            <a:spLocks/>
          </p:cNvSpPr>
          <p:nvPr>
            <p:custDataLst>
              <p:tags r:id="rId7"/>
            </p:custDataLst>
          </p:nvPr>
        </p:nvSpPr>
        <p:spPr bwMode="auto">
          <a:xfrm>
            <a:off x="654050" y="4041775"/>
            <a:ext cx="212407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fr-FR" altLang="fr-FR" sz="1400">
                <a:solidFill>
                  <a:srgbClr val="000000"/>
                </a:solidFill>
                <a:latin typeface="Helvetica 55 Roman" pitchFamily="34" charset="0"/>
                <a:ea typeface="Helvetica Neue"/>
                <a:cs typeface="Helvetica Neue"/>
              </a:rPr>
              <a:t>Réseau de distribution complet</a:t>
            </a:r>
          </a:p>
        </p:txBody>
      </p:sp>
      <p:sp>
        <p:nvSpPr>
          <p:cNvPr id="53" name="Rectangle 33"/>
          <p:cNvSpPr>
            <a:spLocks/>
          </p:cNvSpPr>
          <p:nvPr>
            <p:custDataLst>
              <p:tags r:id="rId8"/>
            </p:custDataLst>
          </p:nvPr>
        </p:nvSpPr>
        <p:spPr bwMode="auto">
          <a:xfrm>
            <a:off x="630238" y="2127250"/>
            <a:ext cx="212407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fr-FR" altLang="fr-FR" sz="1400">
                <a:solidFill>
                  <a:srgbClr val="000000"/>
                </a:solidFill>
                <a:latin typeface="Helvetica 55 Roman" pitchFamily="34" charset="0"/>
                <a:ea typeface="Helvetica Neue"/>
                <a:cs typeface="Helvetica Neue"/>
              </a:rPr>
              <a:t>Relation basée sur le conseil</a:t>
            </a:r>
          </a:p>
        </p:txBody>
      </p:sp>
      <p:sp>
        <p:nvSpPr>
          <p:cNvPr id="54" name="Rectangle 34"/>
          <p:cNvSpPr>
            <a:spLocks/>
          </p:cNvSpPr>
          <p:nvPr>
            <p:custDataLst>
              <p:tags r:id="rId9"/>
            </p:custDataLst>
          </p:nvPr>
        </p:nvSpPr>
        <p:spPr bwMode="auto">
          <a:xfrm>
            <a:off x="6365875" y="3076575"/>
            <a:ext cx="2122488"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fr-FR" altLang="fr-FR" sz="1400">
                <a:solidFill>
                  <a:srgbClr val="000000"/>
                </a:solidFill>
                <a:latin typeface="Helvetica 55 Roman" pitchFamily="34" charset="0"/>
                <a:ea typeface="Helvetica Neue"/>
                <a:cs typeface="Helvetica Neue"/>
              </a:rPr>
              <a:t>Offre haut de gamme avec des produits à haut risque et au rendement élevé</a:t>
            </a:r>
          </a:p>
        </p:txBody>
      </p:sp>
      <p:sp>
        <p:nvSpPr>
          <p:cNvPr id="55" name="Rectangle 35"/>
          <p:cNvSpPr>
            <a:spLocks/>
          </p:cNvSpPr>
          <p:nvPr>
            <p:custDataLst>
              <p:tags r:id="rId10"/>
            </p:custDataLst>
          </p:nvPr>
        </p:nvSpPr>
        <p:spPr bwMode="auto">
          <a:xfrm>
            <a:off x="6365875" y="3970338"/>
            <a:ext cx="212248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fr-FR" altLang="fr-FR" sz="1400">
                <a:solidFill>
                  <a:srgbClr val="000000"/>
                </a:solidFill>
                <a:latin typeface="Helvetica 55 Roman" pitchFamily="34" charset="0"/>
                <a:ea typeface="Helvetica Neue"/>
                <a:cs typeface="Helvetica Neue"/>
              </a:rPr>
              <a:t>Acquisition client 100 % digitale, sans vivier préexistant</a:t>
            </a:r>
          </a:p>
        </p:txBody>
      </p:sp>
      <p:sp>
        <p:nvSpPr>
          <p:cNvPr id="56" name="Rectangle 36"/>
          <p:cNvSpPr>
            <a:spLocks/>
          </p:cNvSpPr>
          <p:nvPr>
            <p:custDataLst>
              <p:tags r:id="rId11"/>
            </p:custDataLst>
          </p:nvPr>
        </p:nvSpPr>
        <p:spPr bwMode="auto">
          <a:xfrm>
            <a:off x="6365875" y="2055813"/>
            <a:ext cx="212248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fr-FR" altLang="fr-FR" sz="1400">
                <a:solidFill>
                  <a:srgbClr val="000000"/>
                </a:solidFill>
                <a:latin typeface="Helvetica 55 Roman" pitchFamily="34" charset="0"/>
                <a:ea typeface="Helvetica Neue"/>
                <a:cs typeface="Helvetica Neue"/>
              </a:rPr>
              <a:t>Application de banque en ligne haut de gamme pour clients  de niche</a:t>
            </a:r>
          </a:p>
        </p:txBody>
      </p:sp>
      <p:sp>
        <p:nvSpPr>
          <p:cNvPr id="57" name="Rectangle 37"/>
          <p:cNvSpPr>
            <a:spLocks/>
          </p:cNvSpPr>
          <p:nvPr>
            <p:custDataLst>
              <p:tags r:id="rId12"/>
            </p:custDataLst>
          </p:nvPr>
        </p:nvSpPr>
        <p:spPr bwMode="auto">
          <a:xfrm>
            <a:off x="3435572" y="3039511"/>
            <a:ext cx="243976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fr-FR" altLang="fr-FR" sz="1400" dirty="0">
                <a:solidFill>
                  <a:srgbClr val="000000"/>
                </a:solidFill>
                <a:latin typeface="Helvetica 55 Roman" pitchFamily="34" charset="0"/>
                <a:ea typeface="Helvetica Neue"/>
                <a:cs typeface="Helvetica Neue"/>
              </a:rPr>
              <a:t>Une offre simple redonnant aux clients la main sur la </a:t>
            </a:r>
            <a:r>
              <a:rPr lang="fr-FR" altLang="fr-FR" sz="1400" b="1" dirty="0">
                <a:solidFill>
                  <a:srgbClr val="000000"/>
                </a:solidFill>
                <a:latin typeface="Helvetica 55 Roman" pitchFamily="34" charset="0"/>
                <a:ea typeface="Helvetica Neue"/>
                <a:cs typeface="Helvetica Neue"/>
              </a:rPr>
              <a:t>gestion de leur argent</a:t>
            </a:r>
          </a:p>
        </p:txBody>
      </p:sp>
      <p:sp>
        <p:nvSpPr>
          <p:cNvPr id="58" name="Rectangle 38"/>
          <p:cNvSpPr>
            <a:spLocks/>
          </p:cNvSpPr>
          <p:nvPr>
            <p:custDataLst>
              <p:tags r:id="rId13"/>
            </p:custDataLst>
          </p:nvPr>
        </p:nvSpPr>
        <p:spPr bwMode="auto">
          <a:xfrm>
            <a:off x="3491880" y="4013651"/>
            <a:ext cx="219233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fr-FR" altLang="fr-FR" sz="1400" dirty="0">
                <a:solidFill>
                  <a:srgbClr val="000000"/>
                </a:solidFill>
                <a:latin typeface="Helvetica 55 Roman" pitchFamily="34" charset="0"/>
                <a:ea typeface="Helvetica Neue"/>
                <a:cs typeface="Helvetica Neue"/>
              </a:rPr>
              <a:t>Un modèle </a:t>
            </a:r>
            <a:r>
              <a:rPr lang="fr-FR" altLang="fr-FR" sz="1400" i="1" dirty="0" err="1">
                <a:solidFill>
                  <a:srgbClr val="000000"/>
                </a:solidFill>
                <a:latin typeface="Helvetica 55 Roman" pitchFamily="34" charset="0"/>
                <a:ea typeface="Helvetica Neue"/>
                <a:cs typeface="Helvetica Neue"/>
              </a:rPr>
              <a:t>Phygital</a:t>
            </a:r>
            <a:r>
              <a:rPr lang="fr-FR" altLang="fr-FR" sz="1400" dirty="0">
                <a:solidFill>
                  <a:srgbClr val="000000"/>
                </a:solidFill>
                <a:latin typeface="Helvetica 55 Roman" pitchFamily="34" charset="0"/>
                <a:ea typeface="Helvetica Neue"/>
                <a:cs typeface="Helvetica Neue"/>
              </a:rPr>
              <a:t> intégré au </a:t>
            </a:r>
            <a:r>
              <a:rPr lang="fr-FR" altLang="fr-FR" sz="1400" dirty="0" err="1">
                <a:solidFill>
                  <a:srgbClr val="000000"/>
                </a:solidFill>
                <a:latin typeface="Helvetica 55 Roman" pitchFamily="34" charset="0"/>
                <a:ea typeface="Helvetica Neue"/>
                <a:cs typeface="Helvetica Neue"/>
              </a:rPr>
              <a:t>telco</a:t>
            </a:r>
            <a:r>
              <a:rPr lang="fr-FR" altLang="fr-FR" sz="1400" dirty="0">
                <a:solidFill>
                  <a:srgbClr val="000000"/>
                </a:solidFill>
                <a:latin typeface="Helvetica 55 Roman" pitchFamily="34" charset="0"/>
                <a:ea typeface="Helvetica Neue"/>
                <a:cs typeface="Helvetica Neue"/>
              </a:rPr>
              <a:t> qui s'appuie sur ses </a:t>
            </a:r>
            <a:r>
              <a:rPr lang="fr-FR" altLang="fr-FR" sz="1400" b="1" dirty="0">
                <a:solidFill>
                  <a:srgbClr val="000000"/>
                </a:solidFill>
                <a:latin typeface="Helvetica 55 Roman" pitchFamily="34" charset="0"/>
                <a:ea typeface="Helvetica Neue"/>
                <a:cs typeface="Helvetica Neue"/>
              </a:rPr>
              <a:t>données et son réseau</a:t>
            </a:r>
            <a:endParaRPr lang="fr-FR" altLang="fr-FR" sz="1400" dirty="0">
              <a:solidFill>
                <a:srgbClr val="000000"/>
              </a:solidFill>
              <a:latin typeface="Helvetica 55 Roman" pitchFamily="34" charset="0"/>
              <a:ea typeface="Helvetica Neue"/>
              <a:cs typeface="Helvetica Neue"/>
            </a:endParaRPr>
          </a:p>
        </p:txBody>
      </p:sp>
      <p:sp>
        <p:nvSpPr>
          <p:cNvPr id="59" name="Rectangle 39"/>
          <p:cNvSpPr>
            <a:spLocks/>
          </p:cNvSpPr>
          <p:nvPr>
            <p:custDataLst>
              <p:tags r:id="rId14"/>
            </p:custDataLst>
          </p:nvPr>
        </p:nvSpPr>
        <p:spPr bwMode="auto">
          <a:xfrm>
            <a:off x="3497263" y="1923375"/>
            <a:ext cx="2378075"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endParaRPr lang="fr-FR" altLang="fr-FR" sz="1400" b="1" dirty="0">
              <a:solidFill>
                <a:srgbClr val="000000"/>
              </a:solidFill>
              <a:latin typeface="Helvetica 55 Roman" pitchFamily="34" charset="0"/>
              <a:ea typeface="Helvetica Neue"/>
              <a:cs typeface="Helvetica Neue"/>
            </a:endParaRPr>
          </a:p>
          <a:p>
            <a:pPr algn="ctr"/>
            <a:r>
              <a:rPr lang="fr-FR" altLang="fr-FR" sz="1400" b="1" dirty="0">
                <a:solidFill>
                  <a:srgbClr val="000000"/>
                </a:solidFill>
                <a:latin typeface="Helvetica 55 Roman" pitchFamily="34" charset="0"/>
                <a:ea typeface="Helvetica Neue"/>
                <a:cs typeface="Helvetica Neue"/>
              </a:rPr>
              <a:t>Une application de banque en ligne </a:t>
            </a:r>
            <a:r>
              <a:rPr lang="fr-FR" altLang="fr-FR" sz="1400" dirty="0">
                <a:solidFill>
                  <a:srgbClr val="000000"/>
                </a:solidFill>
                <a:latin typeface="Helvetica 55 Roman" pitchFamily="34" charset="0"/>
                <a:ea typeface="Helvetica Neue"/>
                <a:cs typeface="Helvetica Neue"/>
              </a:rPr>
              <a:t>démocratiser une nouvelle expérience client</a:t>
            </a:r>
          </a:p>
        </p:txBody>
      </p:sp>
      <p:sp>
        <p:nvSpPr>
          <p:cNvPr id="60" name="ZoneTexte 3"/>
          <p:cNvSpPr>
            <a:spLocks/>
          </p:cNvSpPr>
          <p:nvPr>
            <p:custDataLst>
              <p:tags r:id="rId15"/>
            </p:custDataLst>
          </p:nvPr>
        </p:nvSpPr>
        <p:spPr bwMode="auto">
          <a:xfrm>
            <a:off x="3152775" y="2239963"/>
            <a:ext cx="277813" cy="277812"/>
          </a:xfrm>
          <a:prstGeom prst="ellipse">
            <a:avLst/>
          </a:prstGeom>
          <a:solidFill>
            <a:schemeClr val="accent2"/>
          </a:solidFill>
          <a:ln>
            <a:noFill/>
          </a:ln>
          <a:extLst>
            <a:ext uri="{91240B29-F687-4F45-9708-019B960494DF}">
              <a14:hiddenLine xmlns:a14="http://schemas.microsoft.com/office/drawing/2010/main" w="19050">
                <a:solidFill>
                  <a:srgbClr val="000000"/>
                </a:solidFill>
                <a:round/>
                <a:headEnd/>
                <a:tailEnd/>
              </a14:hiddenLine>
            </a:ext>
          </a:extLst>
        </p:spPr>
        <p:txBody>
          <a:bodyPr lIns="36000" tIns="0" rIns="36000" bIns="0"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fr-FR" altLang="fr-FR" sz="1600">
                <a:solidFill>
                  <a:srgbClr val="000000"/>
                </a:solidFill>
                <a:latin typeface="Helvetica 75 Bold" pitchFamily="34" charset="0"/>
              </a:rPr>
              <a:t>1</a:t>
            </a:r>
          </a:p>
        </p:txBody>
      </p:sp>
      <p:sp>
        <p:nvSpPr>
          <p:cNvPr id="61" name="ZoneTexte 3">
            <a:extLst>
              <a:ext uri="{FF2B5EF4-FFF2-40B4-BE49-F238E27FC236}">
                <a16:creationId xmlns:a16="http://schemas.microsoft.com/office/drawing/2014/main" id="{A2EBE415-55D6-4E1B-95B2-9C34230B66C5}"/>
              </a:ext>
            </a:extLst>
          </p:cNvPr>
          <p:cNvSpPr txBox="1">
            <a:spLocks/>
          </p:cNvSpPr>
          <p:nvPr>
            <p:custDataLst>
              <p:tags r:id="rId16"/>
            </p:custDataLst>
          </p:nvPr>
        </p:nvSpPr>
        <p:spPr>
          <a:xfrm>
            <a:off x="3152775" y="3189288"/>
            <a:ext cx="277813" cy="277812"/>
          </a:xfrm>
          <a:prstGeom prst="ellipse">
            <a:avLst/>
          </a:prstGeom>
          <a:solidFill>
            <a:schemeClr val="accent4"/>
          </a:solidFill>
          <a:ln w="19050">
            <a:noFill/>
          </a:ln>
        </p:spPr>
        <p:txBody>
          <a:bodyPr lIns="36000" tIns="0" rIns="36000" bIns="0" anchor="ctr"/>
          <a:lstStyle>
            <a:lvl1pPr>
              <a:defRPr>
                <a:solidFill>
                  <a:schemeClr val="tx1"/>
                </a:solidFill>
                <a:latin typeface="Helvetica 75 Bold"/>
              </a:defRPr>
            </a:lvl1pPr>
            <a:lvl2pPr marL="742950" indent="-285750">
              <a:defRPr>
                <a:solidFill>
                  <a:schemeClr val="tx1"/>
                </a:solidFill>
                <a:latin typeface="Helvetica 75 Bold"/>
              </a:defRPr>
            </a:lvl2pPr>
            <a:lvl3pPr marL="1143000" indent="-228600">
              <a:defRPr>
                <a:solidFill>
                  <a:schemeClr val="tx1"/>
                </a:solidFill>
                <a:latin typeface="Helvetica 75 Bold"/>
              </a:defRPr>
            </a:lvl3pPr>
            <a:lvl4pPr marL="1600200" indent="-228600">
              <a:defRPr>
                <a:solidFill>
                  <a:schemeClr val="tx1"/>
                </a:solidFill>
                <a:latin typeface="Helvetica 75 Bold"/>
              </a:defRPr>
            </a:lvl4pPr>
            <a:lvl5pPr marL="2057400" indent="-228600">
              <a:defRPr>
                <a:solidFill>
                  <a:schemeClr val="tx1"/>
                </a:solidFill>
                <a:latin typeface="Helvetica 75 Bold"/>
              </a:defRPr>
            </a:lvl5pPr>
            <a:lvl6pPr marL="2514600" indent="-228600" fontAlgn="base">
              <a:spcBef>
                <a:spcPct val="0"/>
              </a:spcBef>
              <a:spcAft>
                <a:spcPct val="0"/>
              </a:spcAft>
              <a:defRPr>
                <a:solidFill>
                  <a:schemeClr val="tx1"/>
                </a:solidFill>
                <a:latin typeface="Helvetica 75 Bold"/>
              </a:defRPr>
            </a:lvl6pPr>
            <a:lvl7pPr marL="2971800" indent="-228600" fontAlgn="base">
              <a:spcBef>
                <a:spcPct val="0"/>
              </a:spcBef>
              <a:spcAft>
                <a:spcPct val="0"/>
              </a:spcAft>
              <a:defRPr>
                <a:solidFill>
                  <a:schemeClr val="tx1"/>
                </a:solidFill>
                <a:latin typeface="Helvetica 75 Bold"/>
              </a:defRPr>
            </a:lvl7pPr>
            <a:lvl8pPr marL="3429000" indent="-228600" fontAlgn="base">
              <a:spcBef>
                <a:spcPct val="0"/>
              </a:spcBef>
              <a:spcAft>
                <a:spcPct val="0"/>
              </a:spcAft>
              <a:defRPr>
                <a:solidFill>
                  <a:schemeClr val="tx1"/>
                </a:solidFill>
                <a:latin typeface="Helvetica 75 Bold"/>
              </a:defRPr>
            </a:lvl8pPr>
            <a:lvl9pPr marL="3886200" indent="-228600" fontAlgn="base">
              <a:spcBef>
                <a:spcPct val="0"/>
              </a:spcBef>
              <a:spcAft>
                <a:spcPct val="0"/>
              </a:spcAft>
              <a:defRPr>
                <a:solidFill>
                  <a:schemeClr val="tx1"/>
                </a:solidFill>
                <a:latin typeface="Helvetica 75 Bold"/>
              </a:defRPr>
            </a:lvl9pPr>
          </a:lstStyle>
          <a:p>
            <a:pPr algn="ctr">
              <a:defRPr/>
            </a:pPr>
            <a:r>
              <a:rPr lang="fr-FR" altLang="fr-FR" sz="1600">
                <a:solidFill>
                  <a:srgbClr val="000000"/>
                </a:solidFill>
              </a:rPr>
              <a:t>2</a:t>
            </a:r>
          </a:p>
        </p:txBody>
      </p:sp>
      <p:sp>
        <p:nvSpPr>
          <p:cNvPr id="62" name="ZoneTexte 3">
            <a:extLst>
              <a:ext uri="{FF2B5EF4-FFF2-40B4-BE49-F238E27FC236}">
                <a16:creationId xmlns:a16="http://schemas.microsoft.com/office/drawing/2014/main" id="{3E4E7188-3248-4542-92AB-826355781373}"/>
              </a:ext>
            </a:extLst>
          </p:cNvPr>
          <p:cNvSpPr txBox="1">
            <a:spLocks/>
          </p:cNvSpPr>
          <p:nvPr>
            <p:custDataLst>
              <p:tags r:id="rId17"/>
            </p:custDataLst>
          </p:nvPr>
        </p:nvSpPr>
        <p:spPr>
          <a:xfrm>
            <a:off x="3152775" y="4154488"/>
            <a:ext cx="277813" cy="277812"/>
          </a:xfrm>
          <a:prstGeom prst="ellipse">
            <a:avLst/>
          </a:prstGeom>
          <a:solidFill>
            <a:schemeClr val="accent3"/>
          </a:solidFill>
          <a:ln w="19050">
            <a:noFill/>
          </a:ln>
        </p:spPr>
        <p:txBody>
          <a:bodyPr lIns="36000" tIns="0" rIns="36000" bIns="0" anchor="ctr"/>
          <a:lstStyle>
            <a:lvl1pPr>
              <a:defRPr>
                <a:solidFill>
                  <a:schemeClr val="tx1"/>
                </a:solidFill>
                <a:latin typeface="Helvetica 75 Bold"/>
              </a:defRPr>
            </a:lvl1pPr>
            <a:lvl2pPr marL="742950" indent="-285750">
              <a:defRPr>
                <a:solidFill>
                  <a:schemeClr val="tx1"/>
                </a:solidFill>
                <a:latin typeface="Helvetica 75 Bold"/>
              </a:defRPr>
            </a:lvl2pPr>
            <a:lvl3pPr marL="1143000" indent="-228600">
              <a:defRPr>
                <a:solidFill>
                  <a:schemeClr val="tx1"/>
                </a:solidFill>
                <a:latin typeface="Helvetica 75 Bold"/>
              </a:defRPr>
            </a:lvl3pPr>
            <a:lvl4pPr marL="1600200" indent="-228600">
              <a:defRPr>
                <a:solidFill>
                  <a:schemeClr val="tx1"/>
                </a:solidFill>
                <a:latin typeface="Helvetica 75 Bold"/>
              </a:defRPr>
            </a:lvl4pPr>
            <a:lvl5pPr marL="2057400" indent="-228600">
              <a:defRPr>
                <a:solidFill>
                  <a:schemeClr val="tx1"/>
                </a:solidFill>
                <a:latin typeface="Helvetica 75 Bold"/>
              </a:defRPr>
            </a:lvl5pPr>
            <a:lvl6pPr marL="2514600" indent="-228600" fontAlgn="base">
              <a:spcBef>
                <a:spcPct val="0"/>
              </a:spcBef>
              <a:spcAft>
                <a:spcPct val="0"/>
              </a:spcAft>
              <a:defRPr>
                <a:solidFill>
                  <a:schemeClr val="tx1"/>
                </a:solidFill>
                <a:latin typeface="Helvetica 75 Bold"/>
              </a:defRPr>
            </a:lvl6pPr>
            <a:lvl7pPr marL="2971800" indent="-228600" fontAlgn="base">
              <a:spcBef>
                <a:spcPct val="0"/>
              </a:spcBef>
              <a:spcAft>
                <a:spcPct val="0"/>
              </a:spcAft>
              <a:defRPr>
                <a:solidFill>
                  <a:schemeClr val="tx1"/>
                </a:solidFill>
                <a:latin typeface="Helvetica 75 Bold"/>
              </a:defRPr>
            </a:lvl7pPr>
            <a:lvl8pPr marL="3429000" indent="-228600" fontAlgn="base">
              <a:spcBef>
                <a:spcPct val="0"/>
              </a:spcBef>
              <a:spcAft>
                <a:spcPct val="0"/>
              </a:spcAft>
              <a:defRPr>
                <a:solidFill>
                  <a:schemeClr val="tx1"/>
                </a:solidFill>
                <a:latin typeface="Helvetica 75 Bold"/>
              </a:defRPr>
            </a:lvl8pPr>
            <a:lvl9pPr marL="3886200" indent="-228600" fontAlgn="base">
              <a:spcBef>
                <a:spcPct val="0"/>
              </a:spcBef>
              <a:spcAft>
                <a:spcPct val="0"/>
              </a:spcAft>
              <a:defRPr>
                <a:solidFill>
                  <a:schemeClr val="tx1"/>
                </a:solidFill>
                <a:latin typeface="Helvetica 75 Bold"/>
              </a:defRPr>
            </a:lvl9pPr>
          </a:lstStyle>
          <a:p>
            <a:pPr algn="ctr">
              <a:defRPr/>
            </a:pPr>
            <a:r>
              <a:rPr lang="fr-FR" altLang="fr-FR" sz="1600">
                <a:solidFill>
                  <a:srgbClr val="000000"/>
                </a:solidFill>
              </a:rPr>
              <a:t>3</a:t>
            </a:r>
          </a:p>
        </p:txBody>
      </p:sp>
    </p:spTree>
    <p:extLst>
      <p:ext uri="{BB962C8B-B14F-4D97-AF65-F5344CB8AC3E}">
        <p14:creationId xmlns:p14="http://schemas.microsoft.com/office/powerpoint/2010/main" val="3262217719"/>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6018" name="Object 103"/>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53" name="think-cell Slide" r:id="rId26" imgW="360" imgH="360" progId="">
                  <p:embed/>
                </p:oleObj>
              </mc:Choice>
              <mc:Fallback>
                <p:oleObj name="think-cell Slide" r:id="rId26" imgW="360" imgH="360" progId="">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11" hidden="1">
            <a:extLst>
              <a:ext uri="{FF2B5EF4-FFF2-40B4-BE49-F238E27FC236}">
                <a16:creationId xmlns:a16="http://schemas.microsoft.com/office/drawing/2014/main" id="{1A9920E0-9DA8-4316-8FE1-C2682440E8A0}"/>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13568">
              <a:defRPr/>
            </a:pPr>
            <a:endParaRPr lang="fr-FR" sz="1900" dirty="0" err="1">
              <a:solidFill>
                <a:srgbClr val="FFFFFF"/>
              </a:solidFill>
              <a:sym typeface="Helvetica 75 Bold"/>
            </a:endParaRPr>
          </a:p>
        </p:txBody>
      </p:sp>
      <p:grpSp>
        <p:nvGrpSpPr>
          <p:cNvPr id="86020" name="Group 7"/>
          <p:cNvGrpSpPr>
            <a:grpSpLocks/>
          </p:cNvGrpSpPr>
          <p:nvPr>
            <p:custDataLst>
              <p:tags r:id="rId4"/>
            </p:custDataLst>
          </p:nvPr>
        </p:nvGrpSpPr>
        <p:grpSpPr bwMode="auto">
          <a:xfrm>
            <a:off x="674688" y="1499125"/>
            <a:ext cx="2556000" cy="1980000"/>
            <a:chOff x="121491" y="1686399"/>
            <a:chExt cx="2632682" cy="1974511"/>
          </a:xfrm>
        </p:grpSpPr>
        <p:pic>
          <p:nvPicPr>
            <p:cNvPr id="86052" name="Picture 1" descr="img1.p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21491" y="1686399"/>
              <a:ext cx="2632682" cy="1974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53" name="Rectangle"/>
            <p:cNvSpPr txBox="1">
              <a:spLocks noChangeArrowheads="1"/>
            </p:cNvSpPr>
            <p:nvPr>
              <p:custDataLst>
                <p:tags r:id="rId23"/>
              </p:custDataLst>
            </p:nvPr>
          </p:nvSpPr>
          <p:spPr bwMode="auto">
            <a:xfrm>
              <a:off x="161714" y="2751154"/>
              <a:ext cx="576004" cy="32765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lstStyle>
              <a:lvl1pPr defTabSz="895350">
                <a:defRPr>
                  <a:solidFill>
                    <a:schemeClr val="tx1"/>
                  </a:solidFill>
                  <a:latin typeface="Arial" pitchFamily="34" charset="0"/>
                  <a:cs typeface="Arial" pitchFamily="34" charset="0"/>
                </a:defRPr>
              </a:lvl1pPr>
              <a:lvl2pPr marL="742950" indent="-285750" defTabSz="895350">
                <a:defRPr>
                  <a:solidFill>
                    <a:schemeClr val="tx1"/>
                  </a:solidFill>
                  <a:latin typeface="Arial" pitchFamily="34" charset="0"/>
                  <a:cs typeface="Arial" pitchFamily="34" charset="0"/>
                </a:defRPr>
              </a:lvl2pPr>
              <a:lvl3pPr marL="1143000" indent="-228600" defTabSz="895350">
                <a:defRPr>
                  <a:solidFill>
                    <a:schemeClr val="tx1"/>
                  </a:solidFill>
                  <a:latin typeface="Arial" pitchFamily="34" charset="0"/>
                  <a:cs typeface="Arial" pitchFamily="34" charset="0"/>
                </a:defRPr>
              </a:lvl3pPr>
              <a:lvl4pPr marL="1600200" indent="-228600" defTabSz="895350">
                <a:defRPr>
                  <a:solidFill>
                    <a:schemeClr val="tx1"/>
                  </a:solidFill>
                  <a:latin typeface="Arial" pitchFamily="34" charset="0"/>
                  <a:cs typeface="Arial" pitchFamily="34" charset="0"/>
                </a:defRPr>
              </a:lvl4pPr>
              <a:lvl5pPr marL="2057400" indent="-228600" defTabSz="895350">
                <a:defRPr>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cs typeface="Arial" pitchFamily="34" charset="0"/>
                </a:defRPr>
              </a:lvl9pPr>
            </a:lstStyle>
            <a:p>
              <a:pPr>
                <a:buClr>
                  <a:srgbClr val="FFFFFF"/>
                </a:buClr>
                <a:buSzPct val="100000"/>
              </a:pPr>
              <a:endParaRPr lang="fr-FR" altLang="fr-FR" sz="1100">
                <a:solidFill>
                  <a:srgbClr val="FFFFFF"/>
                </a:solidFill>
                <a:latin typeface="Helvetica 75 Bold" pitchFamily="34" charset="0"/>
              </a:endParaRPr>
            </a:p>
          </p:txBody>
        </p:sp>
      </p:grpSp>
      <p:sp>
        <p:nvSpPr>
          <p:cNvPr id="86021" name="RectangleLegend1"/>
          <p:cNvSpPr>
            <a:spLocks noChangeArrowheads="1"/>
          </p:cNvSpPr>
          <p:nvPr>
            <p:custDataLst>
              <p:tags r:id="rId5"/>
            </p:custDataLst>
          </p:nvPr>
        </p:nvSpPr>
        <p:spPr bwMode="gray">
          <a:xfrm>
            <a:off x="2855136" y="3857625"/>
            <a:ext cx="165100" cy="160337"/>
          </a:xfrm>
          <a:prstGeom prst="rect">
            <a:avLst/>
          </a:prstGeom>
          <a:solidFill>
            <a:srgbClr val="FFED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endParaRPr lang="fr-FR" altLang="fr-FR" sz="700">
              <a:solidFill>
                <a:srgbClr val="000000"/>
              </a:solidFill>
            </a:endParaRPr>
          </a:p>
        </p:txBody>
      </p:sp>
      <p:sp>
        <p:nvSpPr>
          <p:cNvPr id="86022" name="Legend1"/>
          <p:cNvSpPr>
            <a:spLocks noChangeArrowheads="1"/>
          </p:cNvSpPr>
          <p:nvPr>
            <p:custDataLst>
              <p:tags r:id="rId6"/>
            </p:custDataLst>
          </p:nvPr>
        </p:nvSpPr>
        <p:spPr bwMode="gray">
          <a:xfrm>
            <a:off x="3109136" y="3884612"/>
            <a:ext cx="33655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a:solidFill>
                  <a:schemeClr val="tx1"/>
                </a:solidFill>
                <a:latin typeface="Arial" pitchFamily="34" charset="0"/>
                <a:cs typeface="Arial" pitchFamily="34" charset="0"/>
              </a:defRPr>
            </a:lvl1pPr>
            <a:lvl2pPr marL="742950" indent="-285750" defTabSz="895350">
              <a:defRPr>
                <a:solidFill>
                  <a:schemeClr val="tx1"/>
                </a:solidFill>
                <a:latin typeface="Arial" pitchFamily="34" charset="0"/>
                <a:cs typeface="Arial" pitchFamily="34" charset="0"/>
              </a:defRPr>
            </a:lvl2pPr>
            <a:lvl3pPr marL="1143000" indent="-228600" defTabSz="895350">
              <a:defRPr>
                <a:solidFill>
                  <a:schemeClr val="tx1"/>
                </a:solidFill>
                <a:latin typeface="Arial" pitchFamily="34" charset="0"/>
                <a:cs typeface="Arial" pitchFamily="34" charset="0"/>
              </a:defRPr>
            </a:lvl3pPr>
            <a:lvl4pPr marL="1600200" indent="-228600" defTabSz="895350">
              <a:defRPr>
                <a:solidFill>
                  <a:schemeClr val="tx1"/>
                </a:solidFill>
                <a:latin typeface="Arial" pitchFamily="34" charset="0"/>
                <a:cs typeface="Arial" pitchFamily="34" charset="0"/>
              </a:defRPr>
            </a:lvl4pPr>
            <a:lvl5pPr marL="2057400" indent="-228600" defTabSz="895350">
              <a:defRPr>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cs typeface="Arial" pitchFamily="34" charset="0"/>
              </a:defRPr>
            </a:lvl9pPr>
          </a:lstStyle>
          <a:p>
            <a:pPr>
              <a:buClr>
                <a:srgbClr val="FF6600"/>
              </a:buClr>
            </a:pPr>
            <a:r>
              <a:rPr lang="fr-FR" altLang="fr-FR" sz="700">
                <a:solidFill>
                  <a:srgbClr val="000000"/>
                </a:solidFill>
              </a:rPr>
              <a:t>[0-0,5 %]</a:t>
            </a:r>
          </a:p>
        </p:txBody>
      </p:sp>
      <p:sp>
        <p:nvSpPr>
          <p:cNvPr id="86023" name="RectangleLegend2"/>
          <p:cNvSpPr>
            <a:spLocks noChangeArrowheads="1"/>
          </p:cNvSpPr>
          <p:nvPr>
            <p:custDataLst>
              <p:tags r:id="rId7"/>
            </p:custDataLst>
          </p:nvPr>
        </p:nvSpPr>
        <p:spPr bwMode="gray">
          <a:xfrm>
            <a:off x="3871136" y="3857625"/>
            <a:ext cx="165100" cy="160337"/>
          </a:xfrm>
          <a:prstGeom prst="rect">
            <a:avLst/>
          </a:prstGeom>
          <a:solidFill>
            <a:srgbClr val="FFD27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endParaRPr lang="fr-FR" altLang="fr-FR" sz="700">
              <a:solidFill>
                <a:srgbClr val="000000"/>
              </a:solidFill>
            </a:endParaRPr>
          </a:p>
        </p:txBody>
      </p:sp>
      <p:sp>
        <p:nvSpPr>
          <p:cNvPr id="86024" name="Legend2"/>
          <p:cNvSpPr>
            <a:spLocks noChangeArrowheads="1"/>
          </p:cNvSpPr>
          <p:nvPr>
            <p:custDataLst>
              <p:tags r:id="rId8"/>
            </p:custDataLst>
          </p:nvPr>
        </p:nvSpPr>
        <p:spPr bwMode="gray">
          <a:xfrm>
            <a:off x="4125136" y="3884612"/>
            <a:ext cx="33655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a:solidFill>
                  <a:schemeClr val="tx1"/>
                </a:solidFill>
                <a:latin typeface="Arial" pitchFamily="34" charset="0"/>
                <a:cs typeface="Arial" pitchFamily="34" charset="0"/>
              </a:defRPr>
            </a:lvl1pPr>
            <a:lvl2pPr marL="742950" indent="-285750" defTabSz="895350">
              <a:defRPr>
                <a:solidFill>
                  <a:schemeClr val="tx1"/>
                </a:solidFill>
                <a:latin typeface="Arial" pitchFamily="34" charset="0"/>
                <a:cs typeface="Arial" pitchFamily="34" charset="0"/>
              </a:defRPr>
            </a:lvl2pPr>
            <a:lvl3pPr marL="1143000" indent="-228600" defTabSz="895350">
              <a:defRPr>
                <a:solidFill>
                  <a:schemeClr val="tx1"/>
                </a:solidFill>
                <a:latin typeface="Arial" pitchFamily="34" charset="0"/>
                <a:cs typeface="Arial" pitchFamily="34" charset="0"/>
              </a:defRPr>
            </a:lvl3pPr>
            <a:lvl4pPr marL="1600200" indent="-228600" defTabSz="895350">
              <a:defRPr>
                <a:solidFill>
                  <a:schemeClr val="tx1"/>
                </a:solidFill>
                <a:latin typeface="Arial" pitchFamily="34" charset="0"/>
                <a:cs typeface="Arial" pitchFamily="34" charset="0"/>
              </a:defRPr>
            </a:lvl4pPr>
            <a:lvl5pPr marL="2057400" indent="-228600" defTabSz="895350">
              <a:defRPr>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cs typeface="Arial" pitchFamily="34" charset="0"/>
              </a:defRPr>
            </a:lvl9pPr>
          </a:lstStyle>
          <a:p>
            <a:pPr>
              <a:buClr>
                <a:srgbClr val="FF6600"/>
              </a:buClr>
            </a:pPr>
            <a:r>
              <a:rPr lang="fr-FR" altLang="fr-FR" sz="700">
                <a:solidFill>
                  <a:srgbClr val="000000"/>
                </a:solidFill>
              </a:rPr>
              <a:t>[0,5-1 %]</a:t>
            </a:r>
          </a:p>
        </p:txBody>
      </p:sp>
      <p:sp>
        <p:nvSpPr>
          <p:cNvPr id="86025" name="RectangleLegend3"/>
          <p:cNvSpPr>
            <a:spLocks noChangeArrowheads="1"/>
          </p:cNvSpPr>
          <p:nvPr>
            <p:custDataLst>
              <p:tags r:id="rId9"/>
            </p:custDataLst>
          </p:nvPr>
        </p:nvSpPr>
        <p:spPr bwMode="gray">
          <a:xfrm>
            <a:off x="4887136" y="3857625"/>
            <a:ext cx="165100" cy="160337"/>
          </a:xfrm>
          <a:prstGeom prst="rect">
            <a:avLst/>
          </a:prstGeom>
          <a:solidFill>
            <a:srgbClr val="FFC04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endParaRPr lang="fr-FR" altLang="fr-FR" sz="700">
              <a:solidFill>
                <a:srgbClr val="000000"/>
              </a:solidFill>
            </a:endParaRPr>
          </a:p>
        </p:txBody>
      </p:sp>
      <p:sp>
        <p:nvSpPr>
          <p:cNvPr id="86026" name="Legend3"/>
          <p:cNvSpPr>
            <a:spLocks noChangeArrowheads="1"/>
          </p:cNvSpPr>
          <p:nvPr>
            <p:custDataLst>
              <p:tags r:id="rId10"/>
            </p:custDataLst>
          </p:nvPr>
        </p:nvSpPr>
        <p:spPr bwMode="gray">
          <a:xfrm>
            <a:off x="5141136" y="3884612"/>
            <a:ext cx="33655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a:solidFill>
                  <a:schemeClr val="tx1"/>
                </a:solidFill>
                <a:latin typeface="Arial" pitchFamily="34" charset="0"/>
                <a:cs typeface="Arial" pitchFamily="34" charset="0"/>
              </a:defRPr>
            </a:lvl1pPr>
            <a:lvl2pPr marL="742950" indent="-285750" defTabSz="895350">
              <a:defRPr>
                <a:solidFill>
                  <a:schemeClr val="tx1"/>
                </a:solidFill>
                <a:latin typeface="Arial" pitchFamily="34" charset="0"/>
                <a:cs typeface="Arial" pitchFamily="34" charset="0"/>
              </a:defRPr>
            </a:lvl2pPr>
            <a:lvl3pPr marL="1143000" indent="-228600" defTabSz="895350">
              <a:defRPr>
                <a:solidFill>
                  <a:schemeClr val="tx1"/>
                </a:solidFill>
                <a:latin typeface="Arial" pitchFamily="34" charset="0"/>
                <a:cs typeface="Arial" pitchFamily="34" charset="0"/>
              </a:defRPr>
            </a:lvl3pPr>
            <a:lvl4pPr marL="1600200" indent="-228600" defTabSz="895350">
              <a:defRPr>
                <a:solidFill>
                  <a:schemeClr val="tx1"/>
                </a:solidFill>
                <a:latin typeface="Arial" pitchFamily="34" charset="0"/>
                <a:cs typeface="Arial" pitchFamily="34" charset="0"/>
              </a:defRPr>
            </a:lvl4pPr>
            <a:lvl5pPr marL="2057400" indent="-228600" defTabSz="895350">
              <a:defRPr>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cs typeface="Arial" pitchFamily="34" charset="0"/>
              </a:defRPr>
            </a:lvl9pPr>
          </a:lstStyle>
          <a:p>
            <a:pPr>
              <a:buClr>
                <a:srgbClr val="FF6600"/>
              </a:buClr>
            </a:pPr>
            <a:r>
              <a:rPr lang="fr-FR" altLang="fr-FR" sz="700">
                <a:solidFill>
                  <a:srgbClr val="000000"/>
                </a:solidFill>
              </a:rPr>
              <a:t>[1-1,5 %]</a:t>
            </a:r>
          </a:p>
        </p:txBody>
      </p:sp>
      <p:sp>
        <p:nvSpPr>
          <p:cNvPr id="86027" name="RectangleLegend4"/>
          <p:cNvSpPr>
            <a:spLocks noChangeArrowheads="1"/>
          </p:cNvSpPr>
          <p:nvPr>
            <p:custDataLst>
              <p:tags r:id="rId11"/>
            </p:custDataLst>
          </p:nvPr>
        </p:nvSpPr>
        <p:spPr bwMode="gray">
          <a:xfrm>
            <a:off x="5903136" y="3857625"/>
            <a:ext cx="165100" cy="160337"/>
          </a:xfrm>
          <a:prstGeom prst="rect">
            <a:avLst/>
          </a:prstGeom>
          <a:solidFill>
            <a:srgbClr val="FFA5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endParaRPr lang="fr-FR" altLang="fr-FR" sz="700">
              <a:solidFill>
                <a:srgbClr val="000000"/>
              </a:solidFill>
            </a:endParaRPr>
          </a:p>
        </p:txBody>
      </p:sp>
      <p:sp>
        <p:nvSpPr>
          <p:cNvPr id="86028" name="Legend4"/>
          <p:cNvSpPr>
            <a:spLocks noChangeArrowheads="1"/>
          </p:cNvSpPr>
          <p:nvPr>
            <p:custDataLst>
              <p:tags r:id="rId12"/>
            </p:custDataLst>
          </p:nvPr>
        </p:nvSpPr>
        <p:spPr bwMode="gray">
          <a:xfrm>
            <a:off x="6157136" y="3884612"/>
            <a:ext cx="57150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a:solidFill>
                  <a:schemeClr val="tx1"/>
                </a:solidFill>
                <a:latin typeface="Arial" pitchFamily="34" charset="0"/>
                <a:cs typeface="Arial" pitchFamily="34" charset="0"/>
              </a:defRPr>
            </a:lvl1pPr>
            <a:lvl2pPr marL="742950" indent="-285750" defTabSz="895350">
              <a:defRPr>
                <a:solidFill>
                  <a:schemeClr val="tx1"/>
                </a:solidFill>
                <a:latin typeface="Arial" pitchFamily="34" charset="0"/>
                <a:cs typeface="Arial" pitchFamily="34" charset="0"/>
              </a:defRPr>
            </a:lvl2pPr>
            <a:lvl3pPr marL="1143000" indent="-228600" defTabSz="895350">
              <a:defRPr>
                <a:solidFill>
                  <a:schemeClr val="tx1"/>
                </a:solidFill>
                <a:latin typeface="Arial" pitchFamily="34" charset="0"/>
                <a:cs typeface="Arial" pitchFamily="34" charset="0"/>
              </a:defRPr>
            </a:lvl3pPr>
            <a:lvl4pPr marL="1600200" indent="-228600" defTabSz="895350">
              <a:defRPr>
                <a:solidFill>
                  <a:schemeClr val="tx1"/>
                </a:solidFill>
                <a:latin typeface="Arial" pitchFamily="34" charset="0"/>
                <a:cs typeface="Arial" pitchFamily="34" charset="0"/>
              </a:defRPr>
            </a:lvl4pPr>
            <a:lvl5pPr marL="2057400" indent="-228600" defTabSz="895350">
              <a:defRPr>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cs typeface="Arial" pitchFamily="34" charset="0"/>
              </a:defRPr>
            </a:lvl9pPr>
          </a:lstStyle>
          <a:p>
            <a:pPr>
              <a:buClr>
                <a:srgbClr val="FF6600"/>
              </a:buClr>
            </a:pPr>
            <a:r>
              <a:rPr lang="fr-FR" altLang="fr-FR" sz="700">
                <a:solidFill>
                  <a:srgbClr val="000000"/>
                </a:solidFill>
              </a:rPr>
              <a:t>[1,5 % &amp; plus]</a:t>
            </a:r>
          </a:p>
        </p:txBody>
      </p:sp>
      <p:grpSp>
        <p:nvGrpSpPr>
          <p:cNvPr id="86029" name="Group 12"/>
          <p:cNvGrpSpPr>
            <a:grpSpLocks/>
          </p:cNvGrpSpPr>
          <p:nvPr>
            <p:custDataLst>
              <p:tags r:id="rId13"/>
            </p:custDataLst>
          </p:nvPr>
        </p:nvGrpSpPr>
        <p:grpSpPr bwMode="auto">
          <a:xfrm>
            <a:off x="5491089" y="1499125"/>
            <a:ext cx="2556000" cy="1980000"/>
            <a:chOff x="3041155" y="1751024"/>
            <a:chExt cx="2609097" cy="1924493"/>
          </a:xfrm>
        </p:grpSpPr>
        <p:pic>
          <p:nvPicPr>
            <p:cNvPr id="86050" name="Picture 1" descr="img0.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084261" y="1751024"/>
              <a:ext cx="2565991" cy="1924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51" name="Rectangle"/>
            <p:cNvSpPr txBox="1">
              <a:spLocks noChangeArrowheads="1"/>
            </p:cNvSpPr>
            <p:nvPr>
              <p:custDataLst>
                <p:tags r:id="rId22"/>
              </p:custDataLst>
            </p:nvPr>
          </p:nvSpPr>
          <p:spPr bwMode="auto">
            <a:xfrm>
              <a:off x="3041155" y="2862660"/>
              <a:ext cx="576004" cy="32765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lstStyle>
              <a:lvl1pPr defTabSz="895350">
                <a:defRPr>
                  <a:solidFill>
                    <a:schemeClr val="tx1"/>
                  </a:solidFill>
                  <a:latin typeface="Arial" pitchFamily="34" charset="0"/>
                  <a:cs typeface="Arial" pitchFamily="34" charset="0"/>
                </a:defRPr>
              </a:lvl1pPr>
              <a:lvl2pPr marL="742950" indent="-285750" defTabSz="895350">
                <a:defRPr>
                  <a:solidFill>
                    <a:schemeClr val="tx1"/>
                  </a:solidFill>
                  <a:latin typeface="Arial" pitchFamily="34" charset="0"/>
                  <a:cs typeface="Arial" pitchFamily="34" charset="0"/>
                </a:defRPr>
              </a:lvl2pPr>
              <a:lvl3pPr marL="1143000" indent="-228600" defTabSz="895350">
                <a:defRPr>
                  <a:solidFill>
                    <a:schemeClr val="tx1"/>
                  </a:solidFill>
                  <a:latin typeface="Arial" pitchFamily="34" charset="0"/>
                  <a:cs typeface="Arial" pitchFamily="34" charset="0"/>
                </a:defRPr>
              </a:lvl3pPr>
              <a:lvl4pPr marL="1600200" indent="-228600" defTabSz="895350">
                <a:defRPr>
                  <a:solidFill>
                    <a:schemeClr val="tx1"/>
                  </a:solidFill>
                  <a:latin typeface="Arial" pitchFamily="34" charset="0"/>
                  <a:cs typeface="Arial" pitchFamily="34" charset="0"/>
                </a:defRPr>
              </a:lvl4pPr>
              <a:lvl5pPr marL="2057400" indent="-228600" defTabSz="895350">
                <a:defRPr>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cs typeface="Arial" pitchFamily="34" charset="0"/>
                </a:defRPr>
              </a:lvl9pPr>
            </a:lstStyle>
            <a:p>
              <a:pPr>
                <a:buClr>
                  <a:srgbClr val="FFFFFF"/>
                </a:buClr>
                <a:buSzPct val="100000"/>
              </a:pPr>
              <a:endParaRPr lang="fr-FR" altLang="fr-FR" sz="1100">
                <a:solidFill>
                  <a:srgbClr val="FFFFFF"/>
                </a:solidFill>
                <a:latin typeface="Helvetica 75 Bold" pitchFamily="34" charset="0"/>
              </a:endParaRPr>
            </a:p>
          </p:txBody>
        </p:sp>
      </p:grpSp>
      <p:sp>
        <p:nvSpPr>
          <p:cNvPr id="86030" name="RectangleLegend1"/>
          <p:cNvSpPr>
            <a:spLocks noChangeArrowheads="1"/>
          </p:cNvSpPr>
          <p:nvPr>
            <p:custDataLst>
              <p:tags r:id="rId14"/>
            </p:custDataLst>
          </p:nvPr>
        </p:nvSpPr>
        <p:spPr bwMode="gray">
          <a:xfrm>
            <a:off x="2680511" y="3857625"/>
            <a:ext cx="165100" cy="160337"/>
          </a:xfrm>
          <a:prstGeom prst="rect">
            <a:avLst/>
          </a:prstGeom>
          <a:solidFill>
            <a:srgbClr val="DFF2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endParaRPr lang="fr-FR" altLang="fr-FR" sz="700">
              <a:solidFill>
                <a:srgbClr val="000000"/>
              </a:solidFill>
            </a:endParaRPr>
          </a:p>
        </p:txBody>
      </p:sp>
      <p:sp>
        <p:nvSpPr>
          <p:cNvPr id="86031" name="RectangleLegend2"/>
          <p:cNvSpPr>
            <a:spLocks noChangeArrowheads="1"/>
          </p:cNvSpPr>
          <p:nvPr>
            <p:custDataLst>
              <p:tags r:id="rId15"/>
            </p:custDataLst>
          </p:nvPr>
        </p:nvSpPr>
        <p:spPr bwMode="gray">
          <a:xfrm>
            <a:off x="3696511" y="3857625"/>
            <a:ext cx="165100" cy="160337"/>
          </a:xfrm>
          <a:prstGeom prst="rect">
            <a:avLst/>
          </a:prstGeom>
          <a:solidFill>
            <a:srgbClr val="77B5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endParaRPr lang="fr-FR" altLang="fr-FR" sz="700">
              <a:solidFill>
                <a:srgbClr val="000000"/>
              </a:solidFill>
            </a:endParaRPr>
          </a:p>
        </p:txBody>
      </p:sp>
      <p:sp>
        <p:nvSpPr>
          <p:cNvPr id="86032" name="RectangleLegend3"/>
          <p:cNvSpPr>
            <a:spLocks noChangeArrowheads="1"/>
          </p:cNvSpPr>
          <p:nvPr>
            <p:custDataLst>
              <p:tags r:id="rId16"/>
            </p:custDataLst>
          </p:nvPr>
        </p:nvSpPr>
        <p:spPr bwMode="gray">
          <a:xfrm>
            <a:off x="4712511" y="3857625"/>
            <a:ext cx="165100" cy="160337"/>
          </a:xfrm>
          <a:prstGeom prst="rect">
            <a:avLst/>
          </a:prstGeom>
          <a:solidFill>
            <a:srgbClr val="318CE7"/>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endParaRPr lang="fr-FR" altLang="fr-FR" sz="700">
              <a:solidFill>
                <a:srgbClr val="000000"/>
              </a:solidFill>
            </a:endParaRPr>
          </a:p>
        </p:txBody>
      </p:sp>
      <p:sp>
        <p:nvSpPr>
          <p:cNvPr id="86033" name="RectangleLegend4"/>
          <p:cNvSpPr>
            <a:spLocks noChangeArrowheads="1"/>
          </p:cNvSpPr>
          <p:nvPr>
            <p:custDataLst>
              <p:tags r:id="rId17"/>
            </p:custDataLst>
          </p:nvPr>
        </p:nvSpPr>
        <p:spPr bwMode="gray">
          <a:xfrm>
            <a:off x="5728511" y="3857625"/>
            <a:ext cx="165100" cy="160337"/>
          </a:xfrm>
          <a:prstGeom prst="rect">
            <a:avLst/>
          </a:prstGeom>
          <a:solidFill>
            <a:srgbClr val="1560B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endParaRPr lang="fr-FR" altLang="fr-FR" sz="700">
              <a:solidFill>
                <a:srgbClr val="000000"/>
              </a:solidFill>
            </a:endParaRPr>
          </a:p>
        </p:txBody>
      </p:sp>
      <p:sp>
        <p:nvSpPr>
          <p:cNvPr id="49" name="TextBox 48">
            <a:extLst>
              <a:ext uri="{FF2B5EF4-FFF2-40B4-BE49-F238E27FC236}">
                <a16:creationId xmlns:a16="http://schemas.microsoft.com/office/drawing/2014/main" id="{80D748B3-5B5D-4542-86B5-3381372AFAB0}"/>
              </a:ext>
            </a:extLst>
          </p:cNvPr>
          <p:cNvSpPr txBox="1"/>
          <p:nvPr/>
        </p:nvSpPr>
        <p:spPr>
          <a:xfrm>
            <a:off x="493712" y="4205288"/>
            <a:ext cx="8110736" cy="681037"/>
          </a:xfrm>
          <a:prstGeom prst="rect">
            <a:avLst/>
          </a:prstGeom>
          <a:solidFill>
            <a:schemeClr val="bg1">
              <a:lumMod val="85000"/>
            </a:schemeClr>
          </a:solidFill>
        </p:spPr>
        <p:txBody>
          <a:bodyPr lIns="72000" tIns="72000" rIns="72000" bIns="72000" anchor="ctr"/>
          <a:lstStyle>
            <a:lvl1pPr marL="0" lvl="0" indent="0" defTabSz="913542" eaLnBrk="1" latinLnBrk="0" hangingPunct="1">
              <a:buClr>
                <a:schemeClr val="tx2"/>
              </a:buClr>
              <a:buSzPct val="100000"/>
              <a:defRPr lang="x-none" sz="1600" baseline="0">
                <a:latin typeface="+mn-lt"/>
              </a:defRPr>
            </a:lvl1pPr>
            <a:lvl2pPr marL="192024" lvl="1" indent="-192024" defTabSz="913542" eaLnBrk="1" latinLnBrk="0" hangingPunct="1">
              <a:buClr>
                <a:schemeClr val="tx2"/>
              </a:buClr>
              <a:buSzPct val="125000"/>
              <a:buFont typeface="Arial" charset="0"/>
              <a:buChar char="▪"/>
              <a:defRPr lang="x-none" sz="1600" baseline="0">
                <a:latin typeface="+mn-lt"/>
              </a:defRPr>
            </a:lvl2pPr>
            <a:lvl3pPr marL="457200" lvl="2" indent="-265176" defTabSz="913542" eaLnBrk="1" latinLnBrk="0" hangingPunct="1">
              <a:buClr>
                <a:schemeClr val="tx2"/>
              </a:buClr>
              <a:buSzPct val="120000"/>
              <a:buFont typeface="Arial" charset="0"/>
              <a:buChar char="–"/>
              <a:defRPr lang="x-none" sz="1600" baseline="0">
                <a:latin typeface="+mn-lt"/>
              </a:defRPr>
            </a:lvl3pPr>
            <a:lvl4pPr marL="626846" lvl="3" indent="-155448" defTabSz="913542" eaLnBrk="1" latinLnBrk="0" hangingPunct="1">
              <a:buClr>
                <a:schemeClr val="tx2"/>
              </a:buClr>
              <a:buSzPct val="120000"/>
              <a:buFont typeface="Arial" charset="0"/>
              <a:buChar char="▫"/>
              <a:defRPr lang="x-none" sz="1600" baseline="0">
                <a:latin typeface="+mn-lt"/>
              </a:defRPr>
            </a:lvl4pPr>
            <a:lvl5pPr marL="749808" lvl="4" indent="-128016" defTabSz="913542" eaLnBrk="1" latinLnBrk="0" hangingPunct="1">
              <a:buClr>
                <a:schemeClr val="tx2"/>
              </a:buClr>
              <a:buSzPct val="89000"/>
              <a:buFont typeface="Arial" charset="0"/>
              <a:buChar char="-"/>
              <a:defRPr lang="x-none" sz="1600" baseline="0">
                <a:latin typeface="+mn-lt"/>
              </a:defRPr>
            </a:lvl5pPr>
            <a:lvl6pPr marL="765042" indent="-132820" defTabSz="913542" fontAlgn="base">
              <a:spcBef>
                <a:spcPct val="0"/>
              </a:spcBef>
              <a:spcAft>
                <a:spcPct val="0"/>
              </a:spcAft>
              <a:buClr>
                <a:schemeClr val="tx2"/>
              </a:buClr>
              <a:buSzPct val="89000"/>
              <a:buFont typeface="Arial" charset="0"/>
              <a:buChar char="-"/>
              <a:defRPr lang="x-none" sz="1632" baseline="0">
                <a:latin typeface="+mn-lt"/>
              </a:defRPr>
            </a:lvl6pPr>
            <a:lvl7pPr marL="765042" indent="-132820" defTabSz="913542" fontAlgn="base">
              <a:spcBef>
                <a:spcPct val="0"/>
              </a:spcBef>
              <a:spcAft>
                <a:spcPct val="0"/>
              </a:spcAft>
              <a:buClr>
                <a:schemeClr val="tx2"/>
              </a:buClr>
              <a:buSzPct val="89000"/>
              <a:buFont typeface="Arial" charset="0"/>
              <a:buChar char="-"/>
              <a:defRPr lang="x-none" sz="1632" baseline="0">
                <a:latin typeface="+mn-lt"/>
              </a:defRPr>
            </a:lvl7pPr>
            <a:lvl8pPr marL="765042" indent="-132820" defTabSz="913542" fontAlgn="base">
              <a:spcBef>
                <a:spcPct val="0"/>
              </a:spcBef>
              <a:spcAft>
                <a:spcPct val="0"/>
              </a:spcAft>
              <a:buClr>
                <a:schemeClr val="tx2"/>
              </a:buClr>
              <a:buSzPct val="89000"/>
              <a:buFont typeface="Arial" charset="0"/>
              <a:buChar char="-"/>
              <a:defRPr lang="x-none" sz="1632" baseline="0">
                <a:latin typeface="+mn-lt"/>
              </a:defRPr>
            </a:lvl8pPr>
            <a:lvl9pPr marL="765042" indent="-132820" defTabSz="913542" fontAlgn="base">
              <a:spcBef>
                <a:spcPct val="0"/>
              </a:spcBef>
              <a:spcAft>
                <a:spcPct val="0"/>
              </a:spcAft>
              <a:buClr>
                <a:schemeClr val="tx2"/>
              </a:buClr>
              <a:buSzPct val="89000"/>
              <a:buFont typeface="Arial" charset="0"/>
              <a:buChar char="-"/>
              <a:defRPr lang="x-none" sz="1632" baseline="0">
                <a:latin typeface="+mn-lt"/>
              </a:defRPr>
            </a:lvl9pPr>
          </a:lstStyle>
          <a:p>
            <a:pPr>
              <a:buClr>
                <a:srgbClr val="FFFFFF"/>
              </a:buClr>
              <a:defRPr/>
            </a:pPr>
            <a:r>
              <a:rPr lang="fr-FR" sz="1100" dirty="0">
                <a:solidFill>
                  <a:srgbClr val="000000"/>
                </a:solidFill>
                <a:latin typeface="Helvetica 55 Roman" panose="020B0604020202020204" pitchFamily="34" charset="0"/>
              </a:rPr>
              <a:t>Contrairement aux néobanques qui ne ciblent que les jeunes et les zones urbaines, Orange Bank répond à tous les segments du marché français, grâce à un réseau de distribution au maillage extrêmement dense.</a:t>
            </a:r>
          </a:p>
        </p:txBody>
      </p:sp>
      <p:sp>
        <p:nvSpPr>
          <p:cNvPr id="86035" name="TextBox 73"/>
          <p:cNvSpPr txBox="1">
            <a:spLocks noChangeArrowheads="1"/>
          </p:cNvSpPr>
          <p:nvPr>
            <p:custDataLst>
              <p:tags r:id="rId18"/>
            </p:custDataLst>
          </p:nvPr>
        </p:nvSpPr>
        <p:spPr bwMode="auto">
          <a:xfrm>
            <a:off x="1217340" y="1087362"/>
            <a:ext cx="1829073" cy="169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ctr">
              <a:buClr>
                <a:srgbClr val="FFFFFF"/>
              </a:buClr>
              <a:buSzPct val="100000"/>
            </a:pPr>
            <a:r>
              <a:rPr lang="fr-FR" altLang="fr-FR" sz="1100" dirty="0">
                <a:solidFill>
                  <a:srgbClr val="000000"/>
                </a:solidFill>
                <a:latin typeface="Helvetica 75 Bold" pitchFamily="34" charset="0"/>
              </a:rPr>
              <a:t>Densité de la population</a:t>
            </a:r>
          </a:p>
        </p:txBody>
      </p:sp>
      <p:sp>
        <p:nvSpPr>
          <p:cNvPr id="86036" name="TextBox 74"/>
          <p:cNvSpPr txBox="1">
            <a:spLocks noChangeArrowheads="1"/>
          </p:cNvSpPr>
          <p:nvPr>
            <p:custDataLst>
              <p:tags r:id="rId19"/>
            </p:custDataLst>
          </p:nvPr>
        </p:nvSpPr>
        <p:spPr bwMode="auto">
          <a:xfrm>
            <a:off x="5903136" y="1003225"/>
            <a:ext cx="180816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ctr">
              <a:buClr>
                <a:srgbClr val="FFFFFF"/>
              </a:buClr>
              <a:buSzPct val="100000"/>
            </a:pPr>
            <a:r>
              <a:rPr lang="fr-FR" altLang="fr-FR" sz="1100" dirty="0">
                <a:solidFill>
                  <a:srgbClr val="000000"/>
                </a:solidFill>
                <a:latin typeface="Helvetica 75 Bold" pitchFamily="34" charset="0"/>
              </a:rPr>
              <a:t>Densité de la base clients Orange Bank</a:t>
            </a:r>
          </a:p>
        </p:txBody>
      </p:sp>
      <p:sp>
        <p:nvSpPr>
          <p:cNvPr id="4" name="Arrow: Left-Right 3">
            <a:extLst>
              <a:ext uri="{FF2B5EF4-FFF2-40B4-BE49-F238E27FC236}">
                <a16:creationId xmlns:a16="http://schemas.microsoft.com/office/drawing/2014/main" id="{C0AA3447-A3B3-49DA-8323-14C01E84A6A3}"/>
              </a:ext>
            </a:extLst>
          </p:cNvPr>
          <p:cNvSpPr/>
          <p:nvPr>
            <p:custDataLst>
              <p:tags r:id="rId20"/>
            </p:custDataLst>
          </p:nvPr>
        </p:nvSpPr>
        <p:spPr>
          <a:xfrm>
            <a:off x="3993356" y="2265521"/>
            <a:ext cx="799550" cy="356162"/>
          </a:xfrm>
          <a:prstGeom prst="leftRightArrow">
            <a:avLst/>
          </a:prstGeom>
          <a:solidFill>
            <a:schemeClr val="tx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568">
              <a:defRPr/>
            </a:pPr>
            <a:endParaRPr lang="fr-FR" sz="1100" dirty="0" err="1">
              <a:solidFill>
                <a:srgbClr val="FFFFFF"/>
              </a:solidFill>
            </a:endParaRPr>
          </a:p>
        </p:txBody>
      </p:sp>
      <p:sp>
        <p:nvSpPr>
          <p:cNvPr id="56" name="Arrow: Left-Right 55">
            <a:extLst>
              <a:ext uri="{FF2B5EF4-FFF2-40B4-BE49-F238E27FC236}">
                <a16:creationId xmlns:a16="http://schemas.microsoft.com/office/drawing/2014/main" id="{92B0286F-24E7-43B2-975F-FDA3F4B2EB73}"/>
              </a:ext>
            </a:extLst>
          </p:cNvPr>
          <p:cNvSpPr/>
          <p:nvPr>
            <p:custDataLst>
              <p:tags r:id="rId21"/>
            </p:custDataLst>
          </p:nvPr>
        </p:nvSpPr>
        <p:spPr>
          <a:xfrm>
            <a:off x="4019235" y="2286787"/>
            <a:ext cx="763038" cy="302187"/>
          </a:xfrm>
          <a:prstGeom prst="leftRightArrow">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568">
              <a:defRPr/>
            </a:pPr>
            <a:endParaRPr lang="fr-FR" sz="1100" dirty="0" err="1">
              <a:solidFill>
                <a:srgbClr val="FFFFFF"/>
              </a:solidFill>
            </a:endParaRPr>
          </a:p>
        </p:txBody>
      </p:sp>
      <p:sp>
        <p:nvSpPr>
          <p:cNvPr id="46" name="Titre 5">
            <a:extLst>
              <a:ext uri="{FF2B5EF4-FFF2-40B4-BE49-F238E27FC236}">
                <a16:creationId xmlns:a16="http://schemas.microsoft.com/office/drawing/2014/main" id="{960F23BE-E8E5-4FB3-A857-04203DFB6289}"/>
              </a:ext>
            </a:extLst>
          </p:cNvPr>
          <p:cNvSpPr txBox="1">
            <a:spLocks/>
          </p:cNvSpPr>
          <p:nvPr/>
        </p:nvSpPr>
        <p:spPr>
          <a:xfrm>
            <a:off x="282648" y="124116"/>
            <a:ext cx="8172450" cy="649288"/>
          </a:xfrm>
          <a:prstGeom prst="rect">
            <a:avLst/>
          </a:prstGeom>
        </p:spPr>
        <p:txBody>
          <a:bodyPr lIns="36000" tIns="0" rIns="36000" bIns="0"/>
          <a:lstStyle>
            <a:lvl1pPr algn="l" defTabSz="617220" rtl="0" eaLnBrk="1" latinLnBrk="0" hangingPunct="1">
              <a:lnSpc>
                <a:spcPct val="100000"/>
              </a:lnSpc>
              <a:spcBef>
                <a:spcPts val="0"/>
              </a:spcBef>
              <a:spcAft>
                <a:spcPts val="1440"/>
              </a:spcAft>
              <a:buNone/>
              <a:defRPr sz="1900" kern="1200">
                <a:solidFill>
                  <a:schemeClr val="tx2"/>
                </a:solidFill>
                <a:latin typeface="+mj-lt"/>
                <a:ea typeface="+mj-ea"/>
                <a:cs typeface="+mj-cs"/>
              </a:defRPr>
            </a:lvl1pPr>
          </a:lstStyle>
          <a:p>
            <a:pPr>
              <a:defRPr/>
            </a:pPr>
            <a:r>
              <a:rPr lang="fr-FR" sz="2000" b="1" dirty="0">
                <a:solidFill>
                  <a:srgbClr val="FF7900"/>
                </a:solidFill>
              </a:rPr>
              <a:t>Contrairement aux néobanques, Orange Bank s'adresse à tous les segments</a:t>
            </a:r>
            <a:endParaRPr lang="fr-FR" sz="2000" b="1" kern="0" dirty="0">
              <a:solidFill>
                <a:srgbClr val="FF7900"/>
              </a:solidFill>
            </a:endParaRPr>
          </a:p>
        </p:txBody>
      </p:sp>
    </p:spTree>
    <p:extLst>
      <p:ext uri="{BB962C8B-B14F-4D97-AF65-F5344CB8AC3E}">
        <p14:creationId xmlns:p14="http://schemas.microsoft.com/office/powerpoint/2010/main" val="59319845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8" name="Picture 9" descr="U301366_medium.jpg"/>
          <p:cNvPicPr>
            <a:picLocks noChangeAspect="1"/>
          </p:cNvPicPr>
          <p:nvPr/>
        </p:nvPicPr>
        <p:blipFill rotWithShape="1">
          <a:blip r:embed="rId3">
            <a:extLst>
              <a:ext uri="{28A0092B-C50C-407E-A947-70E740481C1C}">
                <a14:useLocalDpi xmlns:a14="http://schemas.microsoft.com/office/drawing/2010/main" val="0"/>
              </a:ext>
            </a:extLst>
          </a:blip>
          <a:srcRect l="10097" t="18564" r="31374" b="41316"/>
          <a:stretch/>
        </p:blipFill>
        <p:spPr bwMode="auto">
          <a:xfrm>
            <a:off x="-51705" y="-70843"/>
            <a:ext cx="4337076" cy="5285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12300" name="Rectangle 14"/>
          <p:cNvSpPr>
            <a:spLocks/>
          </p:cNvSpPr>
          <p:nvPr/>
        </p:nvSpPr>
        <p:spPr bwMode="auto">
          <a:xfrm>
            <a:off x="157673" y="-173734"/>
            <a:ext cx="3768328" cy="2393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4289" tIns="34289" rIns="34289" bIns="34289" anchor="ct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ct val="0"/>
              </a:spcBef>
              <a:spcAft>
                <a:spcPct val="0"/>
              </a:spcAft>
              <a:buSzTx/>
              <a:buFont typeface="Arial" charset="0"/>
              <a:buNone/>
            </a:pPr>
            <a:r>
              <a:rPr lang="fr-FR" altLang="fr-FR" sz="1900" b="1" dirty="0">
                <a:solidFill>
                  <a:srgbClr val="FFFFFF"/>
                </a:solidFill>
                <a:latin typeface="Helvetica" charset="0"/>
                <a:cs typeface="Helvetica" charset="0"/>
                <a:sym typeface="Helvetica" charset="0"/>
              </a:rPr>
              <a:t>L’offre Orange Bank apporte aux clients un degré d’autonomie et de flexibilité inédits, en banque au quotidien…</a:t>
            </a:r>
          </a:p>
        </p:txBody>
      </p:sp>
      <p:sp>
        <p:nvSpPr>
          <p:cNvPr id="18" name="Rectangle 1"/>
          <p:cNvSpPr>
            <a:spLocks/>
          </p:cNvSpPr>
          <p:nvPr/>
        </p:nvSpPr>
        <p:spPr bwMode="auto">
          <a:xfrm>
            <a:off x="4637817" y="283186"/>
            <a:ext cx="202940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2775"/>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Ouverture 100% mobile</a:t>
            </a:r>
          </a:p>
        </p:txBody>
      </p:sp>
      <p:grpSp>
        <p:nvGrpSpPr>
          <p:cNvPr id="22" name="Group 11"/>
          <p:cNvGrpSpPr>
            <a:grpSpLocks/>
          </p:cNvGrpSpPr>
          <p:nvPr/>
        </p:nvGrpSpPr>
        <p:grpSpPr bwMode="auto">
          <a:xfrm>
            <a:off x="4047247" y="2008390"/>
            <a:ext cx="476250" cy="476250"/>
            <a:chOff x="0" y="0"/>
            <a:chExt cx="1270000" cy="1270000"/>
          </a:xfrm>
        </p:grpSpPr>
        <p:sp>
          <p:nvSpPr>
            <p:cNvPr id="23" name="Oval 12"/>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24" name="Picture 13" descr="calendar_3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4244" y="264244"/>
              <a:ext cx="741512" cy="74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grpSp>
        <p:nvGrpSpPr>
          <p:cNvPr id="25" name="Group 14"/>
          <p:cNvGrpSpPr>
            <a:grpSpLocks/>
          </p:cNvGrpSpPr>
          <p:nvPr/>
        </p:nvGrpSpPr>
        <p:grpSpPr bwMode="auto">
          <a:xfrm>
            <a:off x="4047247" y="799708"/>
            <a:ext cx="476250" cy="476250"/>
            <a:chOff x="0" y="0"/>
            <a:chExt cx="1270000" cy="1270000"/>
          </a:xfrm>
        </p:grpSpPr>
        <p:sp>
          <p:nvSpPr>
            <p:cNvPr id="26" name="Oval 15"/>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27" name="Picture 16" descr="Currency_euro.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0460" y="230460"/>
              <a:ext cx="809080" cy="809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grpSp>
        <p:nvGrpSpPr>
          <p:cNvPr id="29" name="Group 18"/>
          <p:cNvGrpSpPr>
            <a:grpSpLocks/>
          </p:cNvGrpSpPr>
          <p:nvPr/>
        </p:nvGrpSpPr>
        <p:grpSpPr bwMode="auto">
          <a:xfrm>
            <a:off x="4047247" y="203917"/>
            <a:ext cx="476250" cy="476250"/>
            <a:chOff x="0" y="0"/>
            <a:chExt cx="1270000" cy="1270000"/>
          </a:xfrm>
        </p:grpSpPr>
        <p:sp>
          <p:nvSpPr>
            <p:cNvPr id="30" name="Oval 19"/>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31" name="Picture 20" descr="Euro.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7472" y="257472"/>
              <a:ext cx="755056" cy="755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grpSp>
        <p:nvGrpSpPr>
          <p:cNvPr id="32" name="Group 21"/>
          <p:cNvGrpSpPr>
            <a:grpSpLocks/>
          </p:cNvGrpSpPr>
          <p:nvPr/>
        </p:nvGrpSpPr>
        <p:grpSpPr bwMode="auto">
          <a:xfrm>
            <a:off x="4047247" y="1411491"/>
            <a:ext cx="476250" cy="476250"/>
            <a:chOff x="0" y="0"/>
            <a:chExt cx="1270000" cy="1270000"/>
          </a:xfrm>
        </p:grpSpPr>
        <p:sp>
          <p:nvSpPr>
            <p:cNvPr id="33" name="Oval 22"/>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34" name="Picture 23" descr="Orange_Signa.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3977" y="253977"/>
              <a:ext cx="762046" cy="76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sp>
        <p:nvSpPr>
          <p:cNvPr id="36" name="Oval 25"/>
          <p:cNvSpPr>
            <a:spLocks/>
          </p:cNvSpPr>
          <p:nvPr/>
        </p:nvSpPr>
        <p:spPr bwMode="auto">
          <a:xfrm>
            <a:off x="4064512" y="2599556"/>
            <a:ext cx="476250" cy="47625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lIns="34289" tIns="34289" rIns="34289" bIns="34289"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37" name="Picture 26" descr="accessibility_dexterity.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38332" y="2674164"/>
            <a:ext cx="329803" cy="330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8" name="Rectangle 1"/>
          <p:cNvSpPr>
            <a:spLocks/>
          </p:cNvSpPr>
          <p:nvPr/>
        </p:nvSpPr>
        <p:spPr bwMode="auto">
          <a:xfrm>
            <a:off x="4637817" y="1529715"/>
            <a:ext cx="353782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2775"/>
              </a:spcBef>
              <a:spcAft>
                <a:spcPct val="0"/>
              </a:spcAft>
              <a:buSzTx/>
              <a:buFont typeface="Arial" charset="0"/>
              <a:buNone/>
            </a:pPr>
            <a:r>
              <a:rPr lang="fr-FR" altLang="fr-FR" sz="1400" b="1" dirty="0" err="1">
                <a:solidFill>
                  <a:srgbClr val="FF7900"/>
                </a:solidFill>
                <a:latin typeface="Helvetica" charset="0"/>
                <a:cs typeface="Helvetica" charset="0"/>
                <a:sym typeface="Helvetica" charset="0"/>
              </a:rPr>
              <a:t>Conﬁguration</a:t>
            </a:r>
            <a:r>
              <a:rPr lang="fr-FR" altLang="fr-FR" sz="1400" b="1" dirty="0">
                <a:solidFill>
                  <a:srgbClr val="FF7900"/>
                </a:solidFill>
                <a:latin typeface="Helvetica" charset="0"/>
                <a:cs typeface="Helvetica" charset="0"/>
                <a:sym typeface="Helvetica" charset="0"/>
              </a:rPr>
              <a:t> des paramètres du compte</a:t>
            </a:r>
          </a:p>
        </p:txBody>
      </p:sp>
      <p:sp>
        <p:nvSpPr>
          <p:cNvPr id="39" name="Rectangle 1"/>
          <p:cNvSpPr>
            <a:spLocks/>
          </p:cNvSpPr>
          <p:nvPr/>
        </p:nvSpPr>
        <p:spPr bwMode="auto">
          <a:xfrm>
            <a:off x="4637817" y="903721"/>
            <a:ext cx="253595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2775"/>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Paiement par carte ou mobile</a:t>
            </a:r>
          </a:p>
        </p:txBody>
      </p:sp>
      <p:sp>
        <p:nvSpPr>
          <p:cNvPr id="40" name="Rectangle 1"/>
          <p:cNvSpPr>
            <a:spLocks/>
          </p:cNvSpPr>
          <p:nvPr/>
        </p:nvSpPr>
        <p:spPr bwMode="auto">
          <a:xfrm>
            <a:off x="4637817" y="2087658"/>
            <a:ext cx="316407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2775"/>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Transfert immédiat d’argent par SMS</a:t>
            </a:r>
          </a:p>
        </p:txBody>
      </p:sp>
      <p:sp>
        <p:nvSpPr>
          <p:cNvPr id="41" name="Rectangle 1"/>
          <p:cNvSpPr>
            <a:spLocks/>
          </p:cNvSpPr>
          <p:nvPr/>
        </p:nvSpPr>
        <p:spPr bwMode="auto">
          <a:xfrm>
            <a:off x="4637817" y="2698083"/>
            <a:ext cx="446917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2775"/>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Blocage ou déblocage de la carte à la main du client</a:t>
            </a:r>
          </a:p>
        </p:txBody>
      </p:sp>
      <p:sp>
        <p:nvSpPr>
          <p:cNvPr id="44" name="Rectangle à coins arrondis 43"/>
          <p:cNvSpPr/>
          <p:nvPr/>
        </p:nvSpPr>
        <p:spPr>
          <a:xfrm>
            <a:off x="4860032" y="3502414"/>
            <a:ext cx="1529485" cy="841728"/>
          </a:xfrm>
          <a:prstGeom prst="roundRect">
            <a:avLst>
              <a:gd name="adj" fmla="val 11935"/>
            </a:avLst>
          </a:prstGeom>
          <a:solidFill>
            <a:srgbClr val="FF7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fr-FR" sz="1600" b="1" dirty="0">
                <a:solidFill>
                  <a:srgbClr val="FFFFFF"/>
                </a:solidFill>
                <a:latin typeface="Helvetica 75 Bold" panose="020B0804020202020204" pitchFamily="34" charset="0"/>
              </a:rPr>
              <a:t>2,8 M </a:t>
            </a:r>
            <a:r>
              <a:rPr lang="fr-FR" sz="1000" b="1" dirty="0">
                <a:solidFill>
                  <a:srgbClr val="000000"/>
                </a:solidFill>
                <a:latin typeface="Helvetica 75 Bold" panose="020B0804020202020204" pitchFamily="34" charset="0"/>
              </a:rPr>
              <a:t>transactions paiement mobile NFC</a:t>
            </a:r>
          </a:p>
        </p:txBody>
      </p:sp>
      <p:sp>
        <p:nvSpPr>
          <p:cNvPr id="45" name="ZoneTexte 2"/>
          <p:cNvSpPr txBox="1">
            <a:spLocks noChangeArrowheads="1"/>
          </p:cNvSpPr>
          <p:nvPr/>
        </p:nvSpPr>
        <p:spPr bwMode="auto">
          <a:xfrm>
            <a:off x="4849399" y="4306749"/>
            <a:ext cx="1636934"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50000"/>
              </a:spcAft>
              <a:buClr>
                <a:schemeClr val="tx2"/>
              </a:buClr>
              <a:buSzPct val="70000"/>
              <a:buFont typeface="Wingdings" pitchFamily="2" charset="2"/>
              <a:defRPr sz="2000">
                <a:solidFill>
                  <a:schemeClr val="tx1"/>
                </a:solidFill>
                <a:latin typeface="Helvetica 45 Light" pitchFamily="34" charset="0"/>
                <a:ea typeface="MS PGothic" pitchFamily="34" charset="-128"/>
              </a:defRPr>
            </a:lvl1pPr>
            <a:lvl2pPr marL="742950" indent="-285750" eaLnBrk="0" hangingPunct="0">
              <a:spcAft>
                <a:spcPct val="25000"/>
              </a:spcAft>
              <a:buClr>
                <a:schemeClr val="tx1"/>
              </a:buClr>
              <a:buFont typeface="Helvetica 45 Light" pitchFamily="34" charset="0"/>
              <a:buChar char="–"/>
              <a:defRPr>
                <a:solidFill>
                  <a:schemeClr val="tx1"/>
                </a:solidFill>
                <a:latin typeface="Helvetica 45 Light" pitchFamily="34" charset="0"/>
                <a:ea typeface="MS PGothic" pitchFamily="34" charset="-128"/>
              </a:defRPr>
            </a:lvl2pPr>
            <a:lvl3pPr marL="1143000" indent="-228600" eaLnBrk="0" hangingPunct="0">
              <a:spcAft>
                <a:spcPct val="25000"/>
              </a:spcAft>
              <a:buClr>
                <a:schemeClr val="tx1"/>
              </a:buClr>
              <a:buFont typeface="Helvetica 45 Light" pitchFamily="34" charset="0"/>
              <a:buChar char="–"/>
              <a:defRPr>
                <a:solidFill>
                  <a:schemeClr val="tx1"/>
                </a:solidFill>
                <a:latin typeface="Helvetica 45 Light" pitchFamily="34" charset="0"/>
                <a:ea typeface="MS PGothic" pitchFamily="34" charset="-128"/>
              </a:defRPr>
            </a:lvl3pPr>
            <a:lvl4pPr marL="1600200" indent="-228600" eaLnBrk="0" hangingPunct="0">
              <a:spcAft>
                <a:spcPct val="25000"/>
              </a:spcAft>
              <a:buClr>
                <a:schemeClr val="tx1"/>
              </a:buClr>
              <a:buFont typeface="Helvetica 45 Light" pitchFamily="34" charset="0"/>
              <a:buChar char="–"/>
              <a:defRPr>
                <a:solidFill>
                  <a:schemeClr val="tx1"/>
                </a:solidFill>
                <a:latin typeface="Helvetica 45 Light" pitchFamily="34" charset="0"/>
                <a:ea typeface="MS PGothic" pitchFamily="34" charset="-128"/>
              </a:defRPr>
            </a:lvl4pPr>
            <a:lvl5pPr marL="2057400" indent="-228600" eaLnBrk="0" hangingPunct="0">
              <a:spcAft>
                <a:spcPct val="25000"/>
              </a:spcAft>
              <a:buClr>
                <a:schemeClr val="tx1"/>
              </a:buClr>
              <a:buFont typeface="Helvetica 45 Light" pitchFamily="34" charset="0"/>
              <a:buChar char="–"/>
              <a:defRPr sz="1600">
                <a:solidFill>
                  <a:schemeClr val="tx1"/>
                </a:solidFill>
                <a:latin typeface="Helvetica 45 Light" pitchFamily="34" charset="0"/>
                <a:ea typeface="MS PGothic" pitchFamily="34" charset="-128"/>
              </a:defRPr>
            </a:lvl5pPr>
            <a:lvl6pPr marL="2514600" indent="-228600" eaLnBrk="0" fontAlgn="base" hangingPunct="0">
              <a:spcBef>
                <a:spcPct val="0"/>
              </a:spcBef>
              <a:spcAft>
                <a:spcPct val="25000"/>
              </a:spcAft>
              <a:buClr>
                <a:schemeClr val="tx1"/>
              </a:buClr>
              <a:buFont typeface="Helvetica 45 Light" pitchFamily="34" charset="0"/>
              <a:buChar char="–"/>
              <a:defRPr sz="1600">
                <a:solidFill>
                  <a:schemeClr val="tx1"/>
                </a:solidFill>
                <a:latin typeface="Helvetica 45 Light" pitchFamily="34" charset="0"/>
                <a:ea typeface="MS PGothic" pitchFamily="34" charset="-128"/>
              </a:defRPr>
            </a:lvl6pPr>
            <a:lvl7pPr marL="2971800" indent="-228600" eaLnBrk="0" fontAlgn="base" hangingPunct="0">
              <a:spcBef>
                <a:spcPct val="0"/>
              </a:spcBef>
              <a:spcAft>
                <a:spcPct val="25000"/>
              </a:spcAft>
              <a:buClr>
                <a:schemeClr val="tx1"/>
              </a:buClr>
              <a:buFont typeface="Helvetica 45 Light" pitchFamily="34" charset="0"/>
              <a:buChar char="–"/>
              <a:defRPr sz="1600">
                <a:solidFill>
                  <a:schemeClr val="tx1"/>
                </a:solidFill>
                <a:latin typeface="Helvetica 45 Light" pitchFamily="34" charset="0"/>
                <a:ea typeface="MS PGothic" pitchFamily="34" charset="-128"/>
              </a:defRPr>
            </a:lvl7pPr>
            <a:lvl8pPr marL="3429000" indent="-228600" eaLnBrk="0" fontAlgn="base" hangingPunct="0">
              <a:spcBef>
                <a:spcPct val="0"/>
              </a:spcBef>
              <a:spcAft>
                <a:spcPct val="25000"/>
              </a:spcAft>
              <a:buClr>
                <a:schemeClr val="tx1"/>
              </a:buClr>
              <a:buFont typeface="Helvetica 45 Light" pitchFamily="34" charset="0"/>
              <a:buChar char="–"/>
              <a:defRPr sz="1600">
                <a:solidFill>
                  <a:schemeClr val="tx1"/>
                </a:solidFill>
                <a:latin typeface="Helvetica 45 Light" pitchFamily="34" charset="0"/>
                <a:ea typeface="MS PGothic" pitchFamily="34" charset="-128"/>
              </a:defRPr>
            </a:lvl8pPr>
            <a:lvl9pPr marL="3886200" indent="-228600" eaLnBrk="0" fontAlgn="base" hangingPunct="0">
              <a:spcBef>
                <a:spcPct val="0"/>
              </a:spcBef>
              <a:spcAft>
                <a:spcPct val="25000"/>
              </a:spcAft>
              <a:buClr>
                <a:schemeClr val="tx1"/>
              </a:buClr>
              <a:buFont typeface="Helvetica 45 Light" pitchFamily="34" charset="0"/>
              <a:buChar char="–"/>
              <a:defRPr sz="1600">
                <a:solidFill>
                  <a:schemeClr val="tx1"/>
                </a:solidFill>
                <a:latin typeface="Helvetica 45 Light" pitchFamily="34" charset="0"/>
                <a:ea typeface="MS PGothic" pitchFamily="34" charset="-128"/>
              </a:defRPr>
            </a:lvl9pPr>
          </a:lstStyle>
          <a:p>
            <a:pPr algn="ctr" eaLnBrk="1" hangingPunct="1">
              <a:spcAft>
                <a:spcPct val="0"/>
              </a:spcAft>
              <a:buClrTx/>
              <a:buSzTx/>
              <a:buFontTx/>
              <a:buNone/>
            </a:pPr>
            <a:r>
              <a:rPr lang="fr-FR" altLang="fr-FR" sz="800" b="1" dirty="0">
                <a:solidFill>
                  <a:srgbClr val="000000"/>
                </a:solidFill>
                <a:latin typeface="Helvetica 55 Roman" pitchFamily="34" charset="0"/>
              </a:rPr>
              <a:t>soit</a:t>
            </a:r>
          </a:p>
          <a:p>
            <a:pPr algn="ctr" eaLnBrk="1" hangingPunct="1">
              <a:spcAft>
                <a:spcPct val="0"/>
              </a:spcAft>
              <a:buClrTx/>
              <a:buSzTx/>
              <a:buFontTx/>
              <a:buNone/>
            </a:pPr>
            <a:r>
              <a:rPr lang="fr-FR" altLang="fr-FR" b="1" dirty="0">
                <a:solidFill>
                  <a:srgbClr val="FF7900"/>
                </a:solidFill>
                <a:latin typeface="Helvetica 55 Roman" pitchFamily="34" charset="0"/>
              </a:rPr>
              <a:t>28%</a:t>
            </a:r>
          </a:p>
          <a:p>
            <a:pPr algn="ctr" eaLnBrk="1" hangingPunct="1">
              <a:spcAft>
                <a:spcPct val="0"/>
              </a:spcAft>
              <a:buClrTx/>
              <a:buSzTx/>
              <a:buFontTx/>
              <a:buNone/>
            </a:pPr>
            <a:r>
              <a:rPr lang="fr-FR" altLang="fr-FR" sz="800" b="1" dirty="0">
                <a:solidFill>
                  <a:srgbClr val="000000"/>
                </a:solidFill>
                <a:latin typeface="Helvetica 75 Bold" panose="020B0804020202020204" pitchFamily="34" charset="0"/>
              </a:rPr>
              <a:t>des transactions en France réalisés par les clients Orange Bank ou Cash</a:t>
            </a:r>
          </a:p>
        </p:txBody>
      </p:sp>
      <p:sp>
        <p:nvSpPr>
          <p:cNvPr id="46" name="Rectangle à coins arrondis 45"/>
          <p:cNvSpPr/>
          <p:nvPr/>
        </p:nvSpPr>
        <p:spPr>
          <a:xfrm>
            <a:off x="6722726" y="3516725"/>
            <a:ext cx="1530000" cy="842400"/>
          </a:xfrm>
          <a:prstGeom prst="roundRect">
            <a:avLst>
              <a:gd name="adj" fmla="val 11935"/>
            </a:avLst>
          </a:prstGeom>
          <a:solidFill>
            <a:srgbClr val="FF7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600" b="1" dirty="0" err="1">
                <a:solidFill>
                  <a:srgbClr val="FFFFFF"/>
                </a:solidFill>
                <a:latin typeface="Helvetica 75 Bold" panose="020B0804020202020204" pitchFamily="34" charset="0"/>
              </a:rPr>
              <a:t>Djingo</a:t>
            </a:r>
            <a:endParaRPr lang="fr-FR" sz="1600" b="1" dirty="0">
              <a:solidFill>
                <a:srgbClr val="FFFFFF"/>
              </a:solidFill>
              <a:latin typeface="Helvetica 75 Bold" panose="020B0804020202020204" pitchFamily="34" charset="0"/>
            </a:endParaRPr>
          </a:p>
          <a:p>
            <a:pPr algn="ctr">
              <a:defRPr/>
            </a:pPr>
            <a:endParaRPr lang="fr-FR" sz="1000" b="1" dirty="0">
              <a:solidFill>
                <a:srgbClr val="FFFFFF"/>
              </a:solidFill>
              <a:latin typeface="Helvetica 75 Bold" panose="020B0804020202020204" pitchFamily="34" charset="0"/>
            </a:endParaRPr>
          </a:p>
          <a:p>
            <a:pPr algn="ctr">
              <a:defRPr/>
            </a:pPr>
            <a:r>
              <a:rPr lang="fr-FR" sz="1000" b="1" dirty="0">
                <a:solidFill>
                  <a:srgbClr val="000000"/>
                </a:solidFill>
                <a:latin typeface="Helvetica 75 Bold" panose="020B0804020202020204" pitchFamily="34" charset="0"/>
              </a:rPr>
              <a:t>24/24  7/7</a:t>
            </a:r>
          </a:p>
        </p:txBody>
      </p:sp>
      <p:sp>
        <p:nvSpPr>
          <p:cNvPr id="47" name="ZoneTexte 19"/>
          <p:cNvSpPr txBox="1">
            <a:spLocks noChangeArrowheads="1"/>
          </p:cNvSpPr>
          <p:nvPr/>
        </p:nvSpPr>
        <p:spPr bwMode="auto">
          <a:xfrm>
            <a:off x="6850411" y="4450472"/>
            <a:ext cx="126523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50000"/>
              </a:spcAft>
              <a:buClr>
                <a:schemeClr val="tx2"/>
              </a:buClr>
              <a:buSzPct val="70000"/>
              <a:buFont typeface="Wingdings" pitchFamily="2" charset="2"/>
              <a:defRPr sz="2000">
                <a:solidFill>
                  <a:schemeClr val="tx1"/>
                </a:solidFill>
                <a:latin typeface="Helvetica 45 Light" pitchFamily="34" charset="0"/>
                <a:ea typeface="MS PGothic" pitchFamily="34" charset="-128"/>
              </a:defRPr>
            </a:lvl1pPr>
            <a:lvl2pPr marL="742950" indent="-285750" eaLnBrk="0" hangingPunct="0">
              <a:spcAft>
                <a:spcPct val="25000"/>
              </a:spcAft>
              <a:buClr>
                <a:schemeClr val="tx1"/>
              </a:buClr>
              <a:buFont typeface="Helvetica 45 Light" pitchFamily="34" charset="0"/>
              <a:buChar char="–"/>
              <a:defRPr>
                <a:solidFill>
                  <a:schemeClr val="tx1"/>
                </a:solidFill>
                <a:latin typeface="Helvetica 45 Light" pitchFamily="34" charset="0"/>
                <a:ea typeface="MS PGothic" pitchFamily="34" charset="-128"/>
              </a:defRPr>
            </a:lvl2pPr>
            <a:lvl3pPr marL="1143000" indent="-228600" eaLnBrk="0" hangingPunct="0">
              <a:spcAft>
                <a:spcPct val="25000"/>
              </a:spcAft>
              <a:buClr>
                <a:schemeClr val="tx1"/>
              </a:buClr>
              <a:buFont typeface="Helvetica 45 Light" pitchFamily="34" charset="0"/>
              <a:buChar char="–"/>
              <a:defRPr>
                <a:solidFill>
                  <a:schemeClr val="tx1"/>
                </a:solidFill>
                <a:latin typeface="Helvetica 45 Light" pitchFamily="34" charset="0"/>
                <a:ea typeface="MS PGothic" pitchFamily="34" charset="-128"/>
              </a:defRPr>
            </a:lvl3pPr>
            <a:lvl4pPr marL="1600200" indent="-228600" eaLnBrk="0" hangingPunct="0">
              <a:spcAft>
                <a:spcPct val="25000"/>
              </a:spcAft>
              <a:buClr>
                <a:schemeClr val="tx1"/>
              </a:buClr>
              <a:buFont typeface="Helvetica 45 Light" pitchFamily="34" charset="0"/>
              <a:buChar char="–"/>
              <a:defRPr>
                <a:solidFill>
                  <a:schemeClr val="tx1"/>
                </a:solidFill>
                <a:latin typeface="Helvetica 45 Light" pitchFamily="34" charset="0"/>
                <a:ea typeface="MS PGothic" pitchFamily="34" charset="-128"/>
              </a:defRPr>
            </a:lvl4pPr>
            <a:lvl5pPr marL="2057400" indent="-228600" eaLnBrk="0" hangingPunct="0">
              <a:spcAft>
                <a:spcPct val="25000"/>
              </a:spcAft>
              <a:buClr>
                <a:schemeClr val="tx1"/>
              </a:buClr>
              <a:buFont typeface="Helvetica 45 Light" pitchFamily="34" charset="0"/>
              <a:buChar char="–"/>
              <a:defRPr sz="1600">
                <a:solidFill>
                  <a:schemeClr val="tx1"/>
                </a:solidFill>
                <a:latin typeface="Helvetica 45 Light" pitchFamily="34" charset="0"/>
                <a:ea typeface="MS PGothic" pitchFamily="34" charset="-128"/>
              </a:defRPr>
            </a:lvl5pPr>
            <a:lvl6pPr marL="2514600" indent="-228600" eaLnBrk="0" fontAlgn="base" hangingPunct="0">
              <a:spcBef>
                <a:spcPct val="0"/>
              </a:spcBef>
              <a:spcAft>
                <a:spcPct val="25000"/>
              </a:spcAft>
              <a:buClr>
                <a:schemeClr val="tx1"/>
              </a:buClr>
              <a:buFont typeface="Helvetica 45 Light" pitchFamily="34" charset="0"/>
              <a:buChar char="–"/>
              <a:defRPr sz="1600">
                <a:solidFill>
                  <a:schemeClr val="tx1"/>
                </a:solidFill>
                <a:latin typeface="Helvetica 45 Light" pitchFamily="34" charset="0"/>
                <a:ea typeface="MS PGothic" pitchFamily="34" charset="-128"/>
              </a:defRPr>
            </a:lvl6pPr>
            <a:lvl7pPr marL="2971800" indent="-228600" eaLnBrk="0" fontAlgn="base" hangingPunct="0">
              <a:spcBef>
                <a:spcPct val="0"/>
              </a:spcBef>
              <a:spcAft>
                <a:spcPct val="25000"/>
              </a:spcAft>
              <a:buClr>
                <a:schemeClr val="tx1"/>
              </a:buClr>
              <a:buFont typeface="Helvetica 45 Light" pitchFamily="34" charset="0"/>
              <a:buChar char="–"/>
              <a:defRPr sz="1600">
                <a:solidFill>
                  <a:schemeClr val="tx1"/>
                </a:solidFill>
                <a:latin typeface="Helvetica 45 Light" pitchFamily="34" charset="0"/>
                <a:ea typeface="MS PGothic" pitchFamily="34" charset="-128"/>
              </a:defRPr>
            </a:lvl7pPr>
            <a:lvl8pPr marL="3429000" indent="-228600" eaLnBrk="0" fontAlgn="base" hangingPunct="0">
              <a:spcBef>
                <a:spcPct val="0"/>
              </a:spcBef>
              <a:spcAft>
                <a:spcPct val="25000"/>
              </a:spcAft>
              <a:buClr>
                <a:schemeClr val="tx1"/>
              </a:buClr>
              <a:buFont typeface="Helvetica 45 Light" pitchFamily="34" charset="0"/>
              <a:buChar char="–"/>
              <a:defRPr sz="1600">
                <a:solidFill>
                  <a:schemeClr val="tx1"/>
                </a:solidFill>
                <a:latin typeface="Helvetica 45 Light" pitchFamily="34" charset="0"/>
                <a:ea typeface="MS PGothic" pitchFamily="34" charset="-128"/>
              </a:defRPr>
            </a:lvl8pPr>
            <a:lvl9pPr marL="3886200" indent="-228600" eaLnBrk="0" fontAlgn="base" hangingPunct="0">
              <a:spcBef>
                <a:spcPct val="0"/>
              </a:spcBef>
              <a:spcAft>
                <a:spcPct val="25000"/>
              </a:spcAft>
              <a:buClr>
                <a:schemeClr val="tx1"/>
              </a:buClr>
              <a:buFont typeface="Helvetica 45 Light" pitchFamily="34" charset="0"/>
              <a:buChar char="–"/>
              <a:defRPr sz="1600">
                <a:solidFill>
                  <a:schemeClr val="tx1"/>
                </a:solidFill>
                <a:latin typeface="Helvetica 45 Light" pitchFamily="34" charset="0"/>
                <a:ea typeface="MS PGothic" pitchFamily="34" charset="-128"/>
              </a:defRPr>
            </a:lvl9pPr>
          </a:lstStyle>
          <a:p>
            <a:pPr algn="ctr" eaLnBrk="1" hangingPunct="1">
              <a:spcAft>
                <a:spcPct val="0"/>
              </a:spcAft>
              <a:buClrTx/>
              <a:buSzTx/>
              <a:buFontTx/>
              <a:buNone/>
            </a:pPr>
            <a:r>
              <a:rPr lang="fr-FR" altLang="fr-FR" sz="800" b="1" dirty="0">
                <a:solidFill>
                  <a:srgbClr val="000000"/>
                </a:solidFill>
                <a:latin typeface="Helvetica 55 Roman" pitchFamily="34" charset="0"/>
              </a:rPr>
              <a:t>soit</a:t>
            </a:r>
          </a:p>
          <a:p>
            <a:pPr algn="ctr" eaLnBrk="1" hangingPunct="1">
              <a:spcAft>
                <a:spcPct val="0"/>
              </a:spcAft>
              <a:buClrTx/>
              <a:buSzTx/>
              <a:buFontTx/>
              <a:buNone/>
            </a:pPr>
            <a:r>
              <a:rPr lang="fr-FR" altLang="fr-FR" b="1" dirty="0">
                <a:solidFill>
                  <a:srgbClr val="FF7900"/>
                </a:solidFill>
                <a:latin typeface="Helvetica 55 Roman" pitchFamily="34" charset="0"/>
              </a:rPr>
              <a:t>3400</a:t>
            </a:r>
          </a:p>
          <a:p>
            <a:pPr algn="ctr" eaLnBrk="1" hangingPunct="1">
              <a:spcAft>
                <a:spcPct val="0"/>
              </a:spcAft>
              <a:buClrTx/>
              <a:buSzTx/>
            </a:pPr>
            <a:r>
              <a:rPr lang="fr-FR" altLang="fr-FR" sz="800" b="1" dirty="0">
                <a:solidFill>
                  <a:srgbClr val="000000"/>
                </a:solidFill>
                <a:latin typeface="Helvetica 75 Bold" panose="020B0804020202020204" pitchFamily="34" charset="0"/>
              </a:rPr>
              <a:t>Conversations / jour</a:t>
            </a:r>
          </a:p>
        </p:txBody>
      </p:sp>
      <p:pic>
        <p:nvPicPr>
          <p:cNvPr id="2" name="Imag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6215411" y="2951999"/>
            <a:ext cx="635000" cy="635000"/>
          </a:xfrm>
          <a:prstGeom prst="rect">
            <a:avLst/>
          </a:prstGeom>
        </p:spPr>
      </p:pic>
    </p:spTree>
    <p:extLst>
      <p:ext uri="{BB962C8B-B14F-4D97-AF65-F5344CB8AC3E}">
        <p14:creationId xmlns:p14="http://schemas.microsoft.com/office/powerpoint/2010/main" val="3006527023"/>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5143211"/>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000000"/>
          </a:solidFill>
        </p:spPr>
        <p:txBody>
          <a:bodyPr wrap="square" lIns="0" tIns="0" rIns="0" bIns="0" rtlCol="0"/>
          <a:lstStyle/>
          <a:p>
            <a:endParaRPr/>
          </a:p>
        </p:txBody>
      </p:sp>
      <p:sp>
        <p:nvSpPr>
          <p:cNvPr id="3" name="object 3"/>
          <p:cNvSpPr txBox="1"/>
          <p:nvPr/>
        </p:nvSpPr>
        <p:spPr>
          <a:xfrm>
            <a:off x="3327294" y="970849"/>
            <a:ext cx="4920315" cy="2411756"/>
          </a:xfrm>
          <a:prstGeom prst="rect">
            <a:avLst/>
          </a:prstGeom>
        </p:spPr>
        <p:txBody>
          <a:bodyPr vert="horz" wrap="square" lIns="0" tIns="120140" rIns="0" bIns="0" rtlCol="0">
            <a:spAutoFit/>
          </a:bodyPr>
          <a:lstStyle/>
          <a:p>
            <a:pPr marL="5776" marR="2310">
              <a:lnSpc>
                <a:spcPts val="4498"/>
              </a:lnSpc>
              <a:spcBef>
                <a:spcPts val="946"/>
              </a:spcBef>
            </a:pPr>
            <a:r>
              <a:rPr sz="4500" b="1" spc="-2" dirty="0">
                <a:solidFill>
                  <a:srgbClr val="FF7900"/>
                </a:solidFill>
                <a:latin typeface="Helvetica Neue"/>
                <a:cs typeface="Helvetica Neue"/>
              </a:rPr>
              <a:t>Les nouveaux  comportements  de</a:t>
            </a:r>
            <a:r>
              <a:rPr sz="4500" b="1" spc="-41" dirty="0">
                <a:solidFill>
                  <a:srgbClr val="FF7900"/>
                </a:solidFill>
                <a:latin typeface="Helvetica Neue"/>
                <a:cs typeface="Helvetica Neue"/>
              </a:rPr>
              <a:t> </a:t>
            </a:r>
            <a:r>
              <a:rPr sz="4500" b="1" spc="-2" dirty="0">
                <a:solidFill>
                  <a:srgbClr val="FF7900"/>
                </a:solidFill>
                <a:latin typeface="Helvetica Neue"/>
                <a:cs typeface="Helvetica Neue"/>
              </a:rPr>
              <a:t>consommation  avec le</a:t>
            </a:r>
            <a:r>
              <a:rPr sz="4500" b="1" spc="-11" dirty="0">
                <a:solidFill>
                  <a:srgbClr val="FF7900"/>
                </a:solidFill>
                <a:latin typeface="Helvetica Neue"/>
                <a:cs typeface="Helvetica Neue"/>
              </a:rPr>
              <a:t> </a:t>
            </a:r>
            <a:r>
              <a:rPr sz="4500" b="1" spc="-2" dirty="0">
                <a:solidFill>
                  <a:srgbClr val="FF7900"/>
                </a:solidFill>
                <a:latin typeface="Helvetica Neue"/>
                <a:cs typeface="Helvetica Neue"/>
              </a:rPr>
              <a:t>mobile</a:t>
            </a:r>
            <a:endParaRPr sz="4500" dirty="0">
              <a:latin typeface="Helvetica Neue"/>
              <a:cs typeface="Helvetica Neue"/>
            </a:endParaRPr>
          </a:p>
        </p:txBody>
      </p:sp>
      <p:sp>
        <p:nvSpPr>
          <p:cNvPr id="4" name="object 4"/>
          <p:cNvSpPr/>
          <p:nvPr/>
        </p:nvSpPr>
        <p:spPr>
          <a:xfrm>
            <a:off x="283206" y="0"/>
            <a:ext cx="2890837" cy="5143139"/>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97420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1"/>
          <p:cNvSpPr>
            <a:spLocks/>
          </p:cNvSpPr>
          <p:nvPr/>
        </p:nvSpPr>
        <p:spPr bwMode="auto">
          <a:xfrm>
            <a:off x="4444604" y="695460"/>
            <a:ext cx="3824765" cy="42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2775"/>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La possibilité d’emprunter de 500 à 75 000 € </a:t>
            </a:r>
            <a:br>
              <a:rPr lang="fr-FR" altLang="fr-FR" sz="1400" b="1" dirty="0">
                <a:solidFill>
                  <a:srgbClr val="FF7900"/>
                </a:solidFill>
                <a:latin typeface="Helvetica" charset="0"/>
                <a:cs typeface="Helvetica" charset="0"/>
                <a:sym typeface="Helvetica" charset="0"/>
              </a:rPr>
            </a:br>
            <a:r>
              <a:rPr lang="fr-FR" altLang="fr-FR" sz="1100" dirty="0">
                <a:latin typeface="Helvetica" charset="0"/>
                <a:cs typeface="Helvetica" charset="0"/>
                <a:sym typeface="Helvetica" charset="0"/>
              </a:rPr>
              <a:t>avec un taux fixe sur une durée de 12 à 120 mois</a:t>
            </a:r>
            <a:endParaRPr lang="fr-FR" altLang="fr-FR" sz="1400" b="1" dirty="0">
              <a:latin typeface="Helvetica" charset="0"/>
              <a:cs typeface="Helvetica" charset="0"/>
              <a:sym typeface="Helvetica" charset="0"/>
            </a:endParaRPr>
          </a:p>
        </p:txBody>
      </p:sp>
      <p:sp>
        <p:nvSpPr>
          <p:cNvPr id="13315" name="Rectangle 2"/>
          <p:cNvSpPr>
            <a:spLocks/>
          </p:cNvSpPr>
          <p:nvPr/>
        </p:nvSpPr>
        <p:spPr bwMode="auto">
          <a:xfrm>
            <a:off x="4416624" y="2291692"/>
            <a:ext cx="4408258" cy="42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2775"/>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Jusqu’à 6 mois à compter de la signature </a:t>
            </a:r>
            <a:br>
              <a:rPr lang="fr-FR" altLang="fr-FR" sz="1400" b="1" dirty="0">
                <a:latin typeface="Helvetica" charset="0"/>
                <a:cs typeface="Helvetica" charset="0"/>
                <a:sym typeface="Helvetica" charset="0"/>
              </a:rPr>
            </a:br>
            <a:r>
              <a:rPr lang="fr-FR" altLang="fr-FR" sz="1100" dirty="0">
                <a:latin typeface="Helvetica" charset="0"/>
                <a:cs typeface="Helvetica" charset="0"/>
                <a:sym typeface="Helvetica" charset="0"/>
              </a:rPr>
              <a:t>pour débloquer son prêt, modifier son montant à la baisse ou l’annuler</a:t>
            </a:r>
            <a:endParaRPr lang="fr-FR" altLang="fr-FR" sz="1400" b="1" dirty="0">
              <a:latin typeface="Helvetica" charset="0"/>
              <a:cs typeface="Helvetica" charset="0"/>
              <a:sym typeface="Helvetica" charset="0"/>
            </a:endParaRPr>
          </a:p>
        </p:txBody>
      </p:sp>
      <p:sp>
        <p:nvSpPr>
          <p:cNvPr id="13316" name="Rectangle 3"/>
          <p:cNvSpPr>
            <a:spLocks/>
          </p:cNvSpPr>
          <p:nvPr/>
        </p:nvSpPr>
        <p:spPr bwMode="auto">
          <a:xfrm>
            <a:off x="4416029" y="3121410"/>
            <a:ext cx="3956211" cy="42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2775"/>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La possibilité de différer ses remboursements</a:t>
            </a:r>
            <a:br>
              <a:rPr lang="fr-FR" altLang="fr-FR" sz="1400" b="1" dirty="0">
                <a:latin typeface="Helvetica" charset="0"/>
                <a:cs typeface="Helvetica" charset="0"/>
                <a:sym typeface="Helvetica" charset="0"/>
              </a:rPr>
            </a:br>
            <a:r>
              <a:rPr lang="fr-FR" altLang="fr-FR" sz="1100" dirty="0">
                <a:latin typeface="Helvetica" charset="0"/>
                <a:cs typeface="Helvetica" charset="0"/>
                <a:sym typeface="Helvetica" charset="0"/>
              </a:rPr>
              <a:t>jusqu’à 3 mois après le déblocage</a:t>
            </a:r>
            <a:endParaRPr lang="fr-FR" altLang="fr-FR" sz="1400" b="1" dirty="0">
              <a:latin typeface="Helvetica" charset="0"/>
              <a:cs typeface="Helvetica" charset="0"/>
              <a:sym typeface="Helvetica" charset="0"/>
            </a:endParaRPr>
          </a:p>
        </p:txBody>
      </p:sp>
      <p:sp>
        <p:nvSpPr>
          <p:cNvPr id="13317" name="Rectangle 4"/>
          <p:cNvSpPr>
            <a:spLocks/>
          </p:cNvSpPr>
          <p:nvPr/>
        </p:nvSpPr>
        <p:spPr bwMode="auto">
          <a:xfrm>
            <a:off x="4423172" y="1503911"/>
            <a:ext cx="4183838" cy="42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2775"/>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Des fonds disponibles sous 8 jours</a:t>
            </a:r>
            <a:br>
              <a:rPr lang="fr-FR" altLang="fr-FR" sz="1400" b="1" dirty="0">
                <a:solidFill>
                  <a:srgbClr val="FF7900"/>
                </a:solidFill>
                <a:latin typeface="Helvetica" charset="0"/>
                <a:cs typeface="Helvetica" charset="0"/>
                <a:sym typeface="Helvetica" charset="0"/>
              </a:rPr>
            </a:br>
            <a:r>
              <a:rPr lang="fr-FR" altLang="fr-FR" sz="1100" dirty="0">
                <a:latin typeface="Helvetica" charset="0"/>
                <a:cs typeface="Helvetica" charset="0"/>
                <a:sym typeface="Helvetica" charset="0"/>
              </a:rPr>
              <a:t>sans avoir besoin d’attendre le délai légal de rétraction de 14 jours</a:t>
            </a:r>
            <a:endParaRPr lang="fr-FR" altLang="fr-FR" sz="1400" b="1" dirty="0">
              <a:latin typeface="Helvetica" charset="0"/>
              <a:cs typeface="Helvetica" charset="0"/>
              <a:sym typeface="Helvetica" charset="0"/>
            </a:endParaRPr>
          </a:p>
        </p:txBody>
      </p:sp>
      <p:pic>
        <p:nvPicPr>
          <p:cNvPr id="13318" name="Picture 5" descr="U301392_medium.jpg"/>
          <p:cNvPicPr>
            <a:picLocks noChangeAspect="1"/>
          </p:cNvPicPr>
          <p:nvPr/>
        </p:nvPicPr>
        <p:blipFill>
          <a:blip r:embed="rId3" cstate="print">
            <a:extLst>
              <a:ext uri="{28A0092B-C50C-407E-A947-70E740481C1C}">
                <a14:useLocalDpi xmlns:a14="http://schemas.microsoft.com/office/drawing/2010/main" val="0"/>
              </a:ext>
            </a:extLst>
          </a:blip>
          <a:srcRect l="705" t="27753" r="830" b="235"/>
          <a:stretch>
            <a:fillRect/>
          </a:stretch>
        </p:blipFill>
        <p:spPr bwMode="auto">
          <a:xfrm>
            <a:off x="-17859" y="-19050"/>
            <a:ext cx="3985617"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13319" name="Rectangle 6"/>
          <p:cNvSpPr>
            <a:spLocks noGrp="1" noChangeArrowheads="1"/>
          </p:cNvSpPr>
          <p:nvPr>
            <p:ph type="title"/>
          </p:nvPr>
        </p:nvSpPr>
        <p:spPr>
          <a:xfrm>
            <a:off x="291704" y="264914"/>
            <a:ext cx="3365897" cy="1282898"/>
          </a:xfrm>
        </p:spPr>
        <p:txBody>
          <a:bodyPr anchor="t"/>
          <a:lstStyle/>
          <a:p>
            <a:pPr eaLnBrk="1">
              <a:lnSpc>
                <a:spcPct val="100000"/>
              </a:lnSpc>
            </a:pPr>
            <a:r>
              <a:rPr lang="fr-FR" altLang="fr-FR" sz="1900" b="1" dirty="0">
                <a:solidFill>
                  <a:srgbClr val="FFFFFF"/>
                </a:solidFill>
                <a:latin typeface="Helvetica" charset="0"/>
                <a:cs typeface="Helvetica" charset="0"/>
                <a:sym typeface="Helvetica" charset="0"/>
              </a:rPr>
              <a:t>… que ce soit en crédit </a:t>
            </a:r>
            <a:br>
              <a:rPr lang="fr-FR" altLang="fr-FR" sz="1900" b="1" dirty="0">
                <a:solidFill>
                  <a:srgbClr val="FFFFFF"/>
                </a:solidFill>
                <a:latin typeface="Helvetica" charset="0"/>
                <a:cs typeface="Helvetica" charset="0"/>
                <a:sym typeface="Helvetica" charset="0"/>
              </a:rPr>
            </a:br>
            <a:r>
              <a:rPr lang="fr-FR" altLang="fr-FR" sz="1900" b="1" dirty="0">
                <a:solidFill>
                  <a:srgbClr val="FFFFFF"/>
                </a:solidFill>
                <a:latin typeface="Helvetica" charset="0"/>
                <a:cs typeface="Helvetica" charset="0"/>
                <a:sym typeface="Helvetica" charset="0"/>
              </a:rPr>
              <a:t>consommation </a:t>
            </a:r>
          </a:p>
        </p:txBody>
      </p:sp>
      <p:grpSp>
        <p:nvGrpSpPr>
          <p:cNvPr id="13322" name="Group 11"/>
          <p:cNvGrpSpPr>
            <a:grpSpLocks/>
          </p:cNvGrpSpPr>
          <p:nvPr/>
        </p:nvGrpSpPr>
        <p:grpSpPr bwMode="auto">
          <a:xfrm>
            <a:off x="3745706" y="3090117"/>
            <a:ext cx="476250" cy="476250"/>
            <a:chOff x="0" y="0"/>
            <a:chExt cx="1270000" cy="1270000"/>
          </a:xfrm>
        </p:grpSpPr>
        <p:sp>
          <p:nvSpPr>
            <p:cNvPr id="14348" name="Oval 12"/>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13337" name="Picture 13" descr="calendar_3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4244" y="264244"/>
              <a:ext cx="741512" cy="74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grpSp>
        <p:nvGrpSpPr>
          <p:cNvPr id="13323" name="Group 14"/>
          <p:cNvGrpSpPr>
            <a:grpSpLocks/>
          </p:cNvGrpSpPr>
          <p:nvPr/>
        </p:nvGrpSpPr>
        <p:grpSpPr bwMode="auto">
          <a:xfrm>
            <a:off x="3745706" y="1477381"/>
            <a:ext cx="476250" cy="476250"/>
            <a:chOff x="0" y="0"/>
            <a:chExt cx="1270000" cy="1270000"/>
          </a:xfrm>
        </p:grpSpPr>
        <p:sp>
          <p:nvSpPr>
            <p:cNvPr id="14351" name="Oval 15"/>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13335" name="Picture 16" descr="Currency_euro.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0460" y="230460"/>
              <a:ext cx="809080" cy="809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sp>
        <p:nvSpPr>
          <p:cNvPr id="13324" name="Rectangle 17"/>
          <p:cNvSpPr>
            <a:spLocks/>
          </p:cNvSpPr>
          <p:nvPr/>
        </p:nvSpPr>
        <p:spPr bwMode="auto">
          <a:xfrm>
            <a:off x="8787289" y="4544822"/>
            <a:ext cx="18466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34289" tIns="34289" rIns="34289" bIns="34289"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algn="r" defTabSz="685783" eaLnBrk="1" fontAlgn="base" hangingPunct="0">
              <a:lnSpc>
                <a:spcPct val="100000"/>
              </a:lnSpc>
              <a:spcBef>
                <a:spcPct val="0"/>
              </a:spcBef>
              <a:spcAft>
                <a:spcPct val="0"/>
              </a:spcAft>
              <a:buSzTx/>
              <a:buFont typeface="Arial" charset="0"/>
              <a:buNone/>
            </a:pPr>
            <a:fld id="{DCE69DD9-B868-4686-AC5D-3B6D8FAC61F2}" type="slidenum">
              <a:rPr lang="fr-FR" altLang="fr-FR" sz="900">
                <a:solidFill>
                  <a:srgbClr val="888888"/>
                </a:solidFill>
              </a:rPr>
              <a:pPr algn="r" defTabSz="685783" eaLnBrk="1" fontAlgn="base" hangingPunct="0">
                <a:lnSpc>
                  <a:spcPct val="100000"/>
                </a:lnSpc>
                <a:spcBef>
                  <a:spcPct val="0"/>
                </a:spcBef>
                <a:spcAft>
                  <a:spcPct val="0"/>
                </a:spcAft>
                <a:buSzTx/>
                <a:buFont typeface="Arial" charset="0"/>
                <a:buNone/>
              </a:pPr>
              <a:t>40</a:t>
            </a:fld>
            <a:endParaRPr lang="fr-FR" altLang="fr-FR" sz="900">
              <a:solidFill>
                <a:srgbClr val="888888"/>
              </a:solidFill>
            </a:endParaRPr>
          </a:p>
        </p:txBody>
      </p:sp>
      <p:grpSp>
        <p:nvGrpSpPr>
          <p:cNvPr id="13325" name="Group 18"/>
          <p:cNvGrpSpPr>
            <a:grpSpLocks/>
          </p:cNvGrpSpPr>
          <p:nvPr/>
        </p:nvGrpSpPr>
        <p:grpSpPr bwMode="auto">
          <a:xfrm>
            <a:off x="3745706" y="668930"/>
            <a:ext cx="476250" cy="476250"/>
            <a:chOff x="0" y="0"/>
            <a:chExt cx="1270000" cy="1270000"/>
          </a:xfrm>
        </p:grpSpPr>
        <p:sp>
          <p:nvSpPr>
            <p:cNvPr id="14355" name="Oval 19"/>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13333" name="Picture 20" descr="Euro.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7472" y="257472"/>
              <a:ext cx="755056" cy="755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grpSp>
        <p:nvGrpSpPr>
          <p:cNvPr id="13326" name="Group 21"/>
          <p:cNvGrpSpPr>
            <a:grpSpLocks/>
          </p:cNvGrpSpPr>
          <p:nvPr/>
        </p:nvGrpSpPr>
        <p:grpSpPr bwMode="auto">
          <a:xfrm>
            <a:off x="3745706" y="2269925"/>
            <a:ext cx="476250" cy="476250"/>
            <a:chOff x="0" y="0"/>
            <a:chExt cx="1270000" cy="1270000"/>
          </a:xfrm>
        </p:grpSpPr>
        <p:sp>
          <p:nvSpPr>
            <p:cNvPr id="14358" name="Oval 22"/>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13331" name="Picture 23" descr="Orange_Signa.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3977" y="253977"/>
              <a:ext cx="762046" cy="76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sp>
        <p:nvSpPr>
          <p:cNvPr id="13327" name="Rectangle 24"/>
          <p:cNvSpPr>
            <a:spLocks/>
          </p:cNvSpPr>
          <p:nvPr/>
        </p:nvSpPr>
        <p:spPr bwMode="auto">
          <a:xfrm>
            <a:off x="4432698" y="3923047"/>
            <a:ext cx="3935611" cy="42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2775"/>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Le déblocage des fonds à la main du client   </a:t>
            </a:r>
            <a:br>
              <a:rPr lang="fr-FR" altLang="fr-FR" sz="1400" b="1" dirty="0">
                <a:latin typeface="Helvetica" charset="0"/>
                <a:cs typeface="Helvetica" charset="0"/>
                <a:sym typeface="Helvetica" charset="0"/>
              </a:rPr>
            </a:br>
            <a:r>
              <a:rPr lang="fr-FR" altLang="fr-FR" sz="1100" dirty="0">
                <a:latin typeface="Helvetica" charset="0"/>
                <a:cs typeface="Helvetica" charset="0"/>
                <a:sym typeface="Helvetica" charset="0"/>
              </a:rPr>
              <a:t>en 1 seul clic depuis son appli</a:t>
            </a:r>
            <a:endParaRPr lang="fr-FR" altLang="fr-FR" sz="1400" b="1" dirty="0">
              <a:latin typeface="Helvetica" charset="0"/>
              <a:cs typeface="Helvetica" charset="0"/>
              <a:sym typeface="Helvetica" charset="0"/>
            </a:endParaRPr>
          </a:p>
        </p:txBody>
      </p:sp>
      <p:sp>
        <p:nvSpPr>
          <p:cNvPr id="14361" name="Oval 25"/>
          <p:cNvSpPr>
            <a:spLocks/>
          </p:cNvSpPr>
          <p:nvPr/>
        </p:nvSpPr>
        <p:spPr bwMode="auto">
          <a:xfrm>
            <a:off x="3762971" y="3891755"/>
            <a:ext cx="476250" cy="47625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lIns="34289" tIns="34289" rIns="34289" bIns="34289"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13329" name="Picture 26" descr="accessibility_dexterity.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36791" y="3968551"/>
            <a:ext cx="329803" cy="330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Tree>
    <p:extLst>
      <p:ext uri="{BB962C8B-B14F-4D97-AF65-F5344CB8AC3E}">
        <p14:creationId xmlns:p14="http://schemas.microsoft.com/office/powerpoint/2010/main" val="3435193695"/>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5196" r="9279"/>
          <a:stretch/>
        </p:blipFill>
        <p:spPr bwMode="auto">
          <a:xfrm>
            <a:off x="-1" y="0"/>
            <a:ext cx="3983831"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
          <p:cNvSpPr>
            <a:spLocks/>
          </p:cNvSpPr>
          <p:nvPr/>
        </p:nvSpPr>
        <p:spPr bwMode="auto">
          <a:xfrm>
            <a:off x="4317388" y="721987"/>
            <a:ext cx="2959143" cy="42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0"/>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Plafond de paiements plus élevé : </a:t>
            </a:r>
          </a:p>
          <a:p>
            <a:pPr defTabSz="685783" eaLnBrk="1" fontAlgn="base" hangingPunct="0">
              <a:lnSpc>
                <a:spcPct val="100000"/>
              </a:lnSpc>
              <a:spcBef>
                <a:spcPts val="0"/>
              </a:spcBef>
              <a:spcAft>
                <a:spcPct val="0"/>
              </a:spcAft>
              <a:buSzTx/>
              <a:buFont typeface="Arial" charset="0"/>
              <a:buNone/>
            </a:pPr>
            <a:r>
              <a:rPr lang="fr-FR" altLang="fr-FR" sz="1100" dirty="0">
                <a:latin typeface="Helvetica" charset="0"/>
                <a:cs typeface="Helvetica" charset="0"/>
                <a:sym typeface="Helvetica" charset="0"/>
              </a:rPr>
              <a:t>jusqu’à 150% des revenus déclarés</a:t>
            </a:r>
            <a:endParaRPr lang="fr-FR" altLang="fr-FR" sz="1400" b="1" dirty="0">
              <a:latin typeface="Helvetica" charset="0"/>
              <a:cs typeface="Helvetica" charset="0"/>
              <a:sym typeface="Helvetica" charset="0"/>
            </a:endParaRPr>
          </a:p>
        </p:txBody>
      </p:sp>
      <p:sp>
        <p:nvSpPr>
          <p:cNvPr id="13315" name="Rectangle 2"/>
          <p:cNvSpPr>
            <a:spLocks/>
          </p:cNvSpPr>
          <p:nvPr/>
        </p:nvSpPr>
        <p:spPr bwMode="auto">
          <a:xfrm>
            <a:off x="4289408" y="2291691"/>
            <a:ext cx="4873129" cy="42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0"/>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Sécurité renforcée grâce au CVV Dynamique : </a:t>
            </a:r>
          </a:p>
          <a:p>
            <a:pPr defTabSz="685783" eaLnBrk="1" fontAlgn="base" hangingPunct="0">
              <a:lnSpc>
                <a:spcPct val="100000"/>
              </a:lnSpc>
              <a:spcBef>
                <a:spcPts val="0"/>
              </a:spcBef>
              <a:spcAft>
                <a:spcPct val="0"/>
              </a:spcAft>
              <a:buSzTx/>
              <a:buFont typeface="Arial" charset="0"/>
              <a:buNone/>
            </a:pPr>
            <a:r>
              <a:rPr lang="fr-FR" altLang="fr-FR" sz="1100" dirty="0">
                <a:latin typeface="Helvetica" charset="0"/>
                <a:cs typeface="Helvetica" charset="0"/>
                <a:sym typeface="Helvetica" charset="0"/>
              </a:rPr>
              <a:t>les 3 derniers chiffres au dos de votre carte qui se modifient toutes les heures</a:t>
            </a:r>
          </a:p>
        </p:txBody>
      </p:sp>
      <p:sp>
        <p:nvSpPr>
          <p:cNvPr id="13316" name="Rectangle 3"/>
          <p:cNvSpPr>
            <a:spLocks/>
          </p:cNvSpPr>
          <p:nvPr/>
        </p:nvSpPr>
        <p:spPr bwMode="auto">
          <a:xfrm>
            <a:off x="4288813" y="3121409"/>
            <a:ext cx="3645229" cy="42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0"/>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Assurances &amp; Assistance </a:t>
            </a:r>
          </a:p>
          <a:p>
            <a:pPr defTabSz="685783" eaLnBrk="1" fontAlgn="base" hangingPunct="0">
              <a:lnSpc>
                <a:spcPct val="100000"/>
              </a:lnSpc>
              <a:spcBef>
                <a:spcPts val="0"/>
              </a:spcBef>
              <a:spcAft>
                <a:spcPct val="0"/>
              </a:spcAft>
              <a:buSzTx/>
              <a:buFont typeface="Arial" charset="0"/>
              <a:buNone/>
            </a:pPr>
            <a:r>
              <a:rPr lang="fr-FR" altLang="fr-FR" sz="1100" dirty="0">
                <a:latin typeface="Helvetica" charset="0"/>
                <a:cs typeface="Helvetica" charset="0"/>
                <a:sym typeface="Helvetica" charset="0"/>
              </a:rPr>
              <a:t>pour vos voyages, location de voiture, séjours au ski, etc. </a:t>
            </a:r>
          </a:p>
        </p:txBody>
      </p:sp>
      <p:sp>
        <p:nvSpPr>
          <p:cNvPr id="13317" name="Rectangle 4"/>
          <p:cNvSpPr>
            <a:spLocks/>
          </p:cNvSpPr>
          <p:nvPr/>
        </p:nvSpPr>
        <p:spPr bwMode="auto">
          <a:xfrm>
            <a:off x="4295956" y="1503910"/>
            <a:ext cx="4574970" cy="42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0"/>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Paiements/ retraits hors zone euro sans commission </a:t>
            </a:r>
          </a:p>
          <a:p>
            <a:pPr defTabSz="685783" eaLnBrk="1" fontAlgn="base" hangingPunct="0">
              <a:lnSpc>
                <a:spcPct val="100000"/>
              </a:lnSpc>
              <a:spcBef>
                <a:spcPts val="0"/>
              </a:spcBef>
              <a:spcAft>
                <a:spcPct val="0"/>
              </a:spcAft>
              <a:buSzTx/>
              <a:buFont typeface="Arial" charset="0"/>
              <a:buNone/>
            </a:pPr>
            <a:r>
              <a:rPr lang="fr-FR" altLang="fr-FR" sz="1100" dirty="0">
                <a:latin typeface="Helvetica" charset="0"/>
                <a:cs typeface="Helvetica" charset="0"/>
                <a:sym typeface="Helvetica" charset="0"/>
              </a:rPr>
              <a:t>que le paiement soit réalisé avec votre carte ou votre mobile</a:t>
            </a:r>
          </a:p>
        </p:txBody>
      </p:sp>
      <p:sp>
        <p:nvSpPr>
          <p:cNvPr id="13319" name="Rectangle 6"/>
          <p:cNvSpPr>
            <a:spLocks noGrp="1" noChangeArrowheads="1"/>
          </p:cNvSpPr>
          <p:nvPr>
            <p:ph type="title"/>
          </p:nvPr>
        </p:nvSpPr>
        <p:spPr>
          <a:xfrm>
            <a:off x="291704" y="264914"/>
            <a:ext cx="3365897" cy="1282898"/>
          </a:xfrm>
        </p:spPr>
        <p:txBody>
          <a:bodyPr anchor="t"/>
          <a:lstStyle/>
          <a:p>
            <a:pPr eaLnBrk="1">
              <a:lnSpc>
                <a:spcPct val="100000"/>
              </a:lnSpc>
            </a:pPr>
            <a:r>
              <a:rPr lang="fr-FR" altLang="fr-FR" sz="1900" b="1" dirty="0">
                <a:solidFill>
                  <a:srgbClr val="FFFFFF"/>
                </a:solidFill>
                <a:latin typeface="Helvetica" charset="0"/>
                <a:cs typeface="Helvetica" charset="0"/>
                <a:sym typeface="Helvetica" charset="0"/>
              </a:rPr>
              <a:t>… mais également grâce à la carte premium</a:t>
            </a:r>
          </a:p>
        </p:txBody>
      </p:sp>
      <p:grpSp>
        <p:nvGrpSpPr>
          <p:cNvPr id="13322" name="Group 11"/>
          <p:cNvGrpSpPr>
            <a:grpSpLocks/>
          </p:cNvGrpSpPr>
          <p:nvPr/>
        </p:nvGrpSpPr>
        <p:grpSpPr bwMode="auto">
          <a:xfrm>
            <a:off x="3745706" y="3090117"/>
            <a:ext cx="476250" cy="476250"/>
            <a:chOff x="0" y="0"/>
            <a:chExt cx="1270000" cy="1270000"/>
          </a:xfrm>
        </p:grpSpPr>
        <p:sp>
          <p:nvSpPr>
            <p:cNvPr id="14348" name="Oval 12"/>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13337" name="Picture 13" descr="calendar_3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4244" y="264244"/>
              <a:ext cx="741512" cy="74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grpSp>
        <p:nvGrpSpPr>
          <p:cNvPr id="13323" name="Group 14"/>
          <p:cNvGrpSpPr>
            <a:grpSpLocks/>
          </p:cNvGrpSpPr>
          <p:nvPr/>
        </p:nvGrpSpPr>
        <p:grpSpPr bwMode="auto">
          <a:xfrm>
            <a:off x="3745706" y="1477381"/>
            <a:ext cx="476250" cy="476250"/>
            <a:chOff x="0" y="0"/>
            <a:chExt cx="1270000" cy="1270000"/>
          </a:xfrm>
        </p:grpSpPr>
        <p:sp>
          <p:nvSpPr>
            <p:cNvPr id="14351" name="Oval 15"/>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13335" name="Picture 16" descr="Currency_euro.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0460" y="230460"/>
              <a:ext cx="809080" cy="809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sp>
        <p:nvSpPr>
          <p:cNvPr id="13324" name="Rectangle 17"/>
          <p:cNvSpPr>
            <a:spLocks/>
          </p:cNvSpPr>
          <p:nvPr/>
        </p:nvSpPr>
        <p:spPr bwMode="auto">
          <a:xfrm>
            <a:off x="8787289" y="4544822"/>
            <a:ext cx="18466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34289" tIns="34289" rIns="34289" bIns="34289"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algn="r" defTabSz="685783" eaLnBrk="1" fontAlgn="base" hangingPunct="0">
              <a:lnSpc>
                <a:spcPct val="100000"/>
              </a:lnSpc>
              <a:spcBef>
                <a:spcPct val="0"/>
              </a:spcBef>
              <a:spcAft>
                <a:spcPct val="0"/>
              </a:spcAft>
              <a:buSzTx/>
              <a:buFont typeface="Arial" charset="0"/>
              <a:buNone/>
            </a:pPr>
            <a:fld id="{DCE69DD9-B868-4686-AC5D-3B6D8FAC61F2}" type="slidenum">
              <a:rPr lang="fr-FR" altLang="fr-FR" sz="900">
                <a:solidFill>
                  <a:srgbClr val="888888"/>
                </a:solidFill>
              </a:rPr>
              <a:pPr algn="r" defTabSz="685783" eaLnBrk="1" fontAlgn="base" hangingPunct="0">
                <a:lnSpc>
                  <a:spcPct val="100000"/>
                </a:lnSpc>
                <a:spcBef>
                  <a:spcPct val="0"/>
                </a:spcBef>
                <a:spcAft>
                  <a:spcPct val="0"/>
                </a:spcAft>
                <a:buSzTx/>
                <a:buFont typeface="Arial" charset="0"/>
                <a:buNone/>
              </a:pPr>
              <a:t>41</a:t>
            </a:fld>
            <a:endParaRPr lang="fr-FR" altLang="fr-FR" sz="900">
              <a:solidFill>
                <a:srgbClr val="888888"/>
              </a:solidFill>
            </a:endParaRPr>
          </a:p>
        </p:txBody>
      </p:sp>
      <p:grpSp>
        <p:nvGrpSpPr>
          <p:cNvPr id="13325" name="Group 18"/>
          <p:cNvGrpSpPr>
            <a:grpSpLocks/>
          </p:cNvGrpSpPr>
          <p:nvPr/>
        </p:nvGrpSpPr>
        <p:grpSpPr bwMode="auto">
          <a:xfrm>
            <a:off x="3745706" y="668930"/>
            <a:ext cx="476250" cy="476250"/>
            <a:chOff x="0" y="0"/>
            <a:chExt cx="1270000" cy="1270000"/>
          </a:xfrm>
        </p:grpSpPr>
        <p:sp>
          <p:nvSpPr>
            <p:cNvPr id="14355" name="Oval 19"/>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13333" name="Picture 20" descr="Euro.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7472" y="257472"/>
              <a:ext cx="755056" cy="755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grpSp>
        <p:nvGrpSpPr>
          <p:cNvPr id="13326" name="Group 21"/>
          <p:cNvGrpSpPr>
            <a:grpSpLocks/>
          </p:cNvGrpSpPr>
          <p:nvPr/>
        </p:nvGrpSpPr>
        <p:grpSpPr bwMode="auto">
          <a:xfrm>
            <a:off x="3745706" y="2269925"/>
            <a:ext cx="476250" cy="476250"/>
            <a:chOff x="0" y="0"/>
            <a:chExt cx="1270000" cy="1270000"/>
          </a:xfrm>
        </p:grpSpPr>
        <p:sp>
          <p:nvSpPr>
            <p:cNvPr id="14358" name="Oval 22"/>
            <p:cNvSpPr>
              <a:spLocks/>
            </p:cNvSpPr>
            <p:nvPr/>
          </p:nvSpPr>
          <p:spPr bwMode="auto">
            <a:xfrm>
              <a:off x="0" y="0"/>
              <a:ext cx="1270000" cy="127000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tIns="91440" bIns="91440"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13331" name="Picture 23" descr="Orange_Signa.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3977" y="253977"/>
              <a:ext cx="762046" cy="76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sp>
        <p:nvSpPr>
          <p:cNvPr id="13327" name="Rectangle 24"/>
          <p:cNvSpPr>
            <a:spLocks/>
          </p:cNvSpPr>
          <p:nvPr/>
        </p:nvSpPr>
        <p:spPr bwMode="auto">
          <a:xfrm>
            <a:off x="4305482" y="3923047"/>
            <a:ext cx="4838518" cy="42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19050" tIns="19050" rIns="19050" bIns="19050" anchor="ctr">
            <a:spAutoFit/>
          </a:bodyPr>
          <a:lstStyle>
            <a:lvl1pPr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2pPr>
            <a:lvl3pPr marL="1554163" indent="-639763"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3pPr>
            <a:lvl4pPr marL="20828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4pPr>
            <a:lvl5pPr marL="2540000" indent="-711200" eaLnBrk="0">
              <a:lnSpc>
                <a:spcPct val="90000"/>
              </a:lnSpc>
              <a:spcBef>
                <a:spcPts val="2000"/>
              </a:spcBef>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5pPr>
            <a:lvl6pPr marL="29972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6pPr>
            <a:lvl7pPr marL="34544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7pPr>
            <a:lvl8pPr marL="39116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8pPr>
            <a:lvl9pPr marL="4368800" indent="-711200" defTabSz="1828800" eaLnBrk="0" fontAlgn="base" hangingPunct="0">
              <a:lnSpc>
                <a:spcPct val="90000"/>
              </a:lnSpc>
              <a:spcBef>
                <a:spcPts val="2000"/>
              </a:spcBef>
              <a:spcAft>
                <a:spcPct val="0"/>
              </a:spcAft>
              <a:buSzPct val="100000"/>
              <a:buFont typeface="Arial" charset="0"/>
              <a:buChar char="•"/>
              <a:defRPr sz="5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lnSpc>
                <a:spcPct val="100000"/>
              </a:lnSpc>
              <a:spcBef>
                <a:spcPts val="0"/>
              </a:spcBef>
              <a:spcAft>
                <a:spcPct val="0"/>
              </a:spcAft>
              <a:buSzTx/>
              <a:buFont typeface="Arial" charset="0"/>
              <a:buNone/>
            </a:pPr>
            <a:r>
              <a:rPr lang="fr-FR" altLang="fr-FR" sz="1400" b="1" dirty="0">
                <a:solidFill>
                  <a:srgbClr val="FF7900"/>
                </a:solidFill>
                <a:latin typeface="Helvetica" charset="0"/>
                <a:cs typeface="Helvetica" charset="0"/>
                <a:sym typeface="Helvetica" charset="0"/>
              </a:rPr>
              <a:t>Carte de remplacement livrée hors domicile </a:t>
            </a:r>
          </a:p>
          <a:p>
            <a:pPr defTabSz="685783" eaLnBrk="1" fontAlgn="base" hangingPunct="0">
              <a:lnSpc>
                <a:spcPct val="100000"/>
              </a:lnSpc>
              <a:spcBef>
                <a:spcPts val="0"/>
              </a:spcBef>
              <a:spcAft>
                <a:spcPct val="0"/>
              </a:spcAft>
              <a:buSzTx/>
              <a:buFont typeface="Arial" charset="0"/>
              <a:buNone/>
            </a:pPr>
            <a:r>
              <a:rPr lang="fr-FR" altLang="fr-FR" sz="1100" dirty="0">
                <a:latin typeface="Helvetica" charset="0"/>
                <a:cs typeface="Helvetica" charset="0"/>
                <a:sym typeface="Helvetica" charset="0"/>
              </a:rPr>
              <a:t>partout dans le monde en 72h (en cas de perte, de vol ou fraude)</a:t>
            </a:r>
          </a:p>
        </p:txBody>
      </p:sp>
      <p:sp>
        <p:nvSpPr>
          <p:cNvPr id="14361" name="Oval 25"/>
          <p:cNvSpPr>
            <a:spLocks/>
          </p:cNvSpPr>
          <p:nvPr/>
        </p:nvSpPr>
        <p:spPr bwMode="auto">
          <a:xfrm>
            <a:off x="3762971" y="3891755"/>
            <a:ext cx="476250" cy="476250"/>
          </a:xfrm>
          <a:prstGeom prst="ellipse">
            <a:avLst/>
          </a:prstGeom>
          <a:solidFill>
            <a:srgbClr val="FFFFFF"/>
          </a:solidFill>
          <a:ln>
            <a:noFill/>
          </a:ln>
          <a:effectLst>
            <a:outerShdw blurRad="114300" dist="25400" dir="9600031" algn="ctr" rotWithShape="0">
              <a:srgbClr val="808080">
                <a:alpha val="64861"/>
              </a:srgbClr>
            </a:outerShdw>
          </a:effectLst>
          <a:extLst>
            <a:ext uri="{91240B29-F687-4F45-9708-019B960494DF}">
              <a14:hiddenLine xmlns:a14="http://schemas.microsoft.com/office/drawing/2010/main" w="12700">
                <a:solidFill>
                  <a:srgbClr val="000000"/>
                </a:solidFill>
                <a:miter lim="400000"/>
                <a:headEnd/>
                <a:tailEnd/>
              </a14:hiddenLine>
            </a:ext>
          </a:extLst>
        </p:spPr>
        <p:txBody>
          <a:bodyPr lIns="34289" tIns="34289" rIns="34289" bIns="34289" anchor="ctr"/>
          <a:lstStyle>
            <a:lvl1pPr eaLnBrk="0">
              <a:defRPr sz="3600">
                <a:solidFill>
                  <a:srgbClr val="000000"/>
                </a:solidFill>
                <a:latin typeface="Calibri" pitchFamily="34" charset="0"/>
                <a:ea typeface="Calibri" pitchFamily="34" charset="0"/>
                <a:cs typeface="Calibri" pitchFamily="34" charset="0"/>
                <a:sym typeface="Calibri" pitchFamily="34" charset="0"/>
              </a:defRPr>
            </a:lvl1pPr>
            <a:lvl2pPr marL="37931725" indent="-37474525" eaLnBrk="0">
              <a:defRPr sz="3600">
                <a:solidFill>
                  <a:srgbClr val="000000"/>
                </a:solidFill>
                <a:latin typeface="Calibri" pitchFamily="34" charset="0"/>
                <a:ea typeface="Calibri" pitchFamily="34" charset="0"/>
                <a:cs typeface="Calibri" pitchFamily="34" charset="0"/>
                <a:sym typeface="Calibri" pitchFamily="34" charset="0"/>
              </a:defRPr>
            </a:lvl2pPr>
            <a:lvl3pPr eaLnBrk="0">
              <a:defRPr sz="3600">
                <a:solidFill>
                  <a:srgbClr val="000000"/>
                </a:solidFill>
                <a:latin typeface="Calibri" pitchFamily="34" charset="0"/>
                <a:ea typeface="Calibri" pitchFamily="34" charset="0"/>
                <a:cs typeface="Calibri" pitchFamily="34" charset="0"/>
                <a:sym typeface="Calibri" pitchFamily="34" charset="0"/>
              </a:defRPr>
            </a:lvl3pPr>
            <a:lvl4pPr eaLnBrk="0">
              <a:defRPr sz="3600">
                <a:solidFill>
                  <a:srgbClr val="000000"/>
                </a:solidFill>
                <a:latin typeface="Calibri" pitchFamily="34" charset="0"/>
                <a:ea typeface="Calibri" pitchFamily="34" charset="0"/>
                <a:cs typeface="Calibri" pitchFamily="34" charset="0"/>
                <a:sym typeface="Calibri" pitchFamily="34" charset="0"/>
              </a:defRPr>
            </a:lvl4pPr>
            <a:lvl5pPr eaLnBrk="0">
              <a:defRPr sz="3600">
                <a:solidFill>
                  <a:srgbClr val="000000"/>
                </a:solidFill>
                <a:latin typeface="Calibri" pitchFamily="34" charset="0"/>
                <a:ea typeface="Calibri" pitchFamily="34" charset="0"/>
                <a:cs typeface="Calibri" pitchFamily="34" charset="0"/>
                <a:sym typeface="Calibri" pitchFamily="34" charset="0"/>
              </a:defRPr>
            </a:lvl5pPr>
            <a:lvl6pPr marL="4572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6pPr>
            <a:lvl7pPr marL="9144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7pPr>
            <a:lvl8pPr marL="13716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8pPr>
            <a:lvl9pPr marL="1828800" eaLnBrk="0" fontAlgn="base" hangingPunct="0">
              <a:spcBef>
                <a:spcPct val="0"/>
              </a:spcBef>
              <a:spcAft>
                <a:spcPct val="0"/>
              </a:spcAft>
              <a:defRPr sz="3600">
                <a:solidFill>
                  <a:srgbClr val="000000"/>
                </a:solidFill>
                <a:latin typeface="Calibri" pitchFamily="34" charset="0"/>
                <a:ea typeface="Calibri" pitchFamily="34" charset="0"/>
                <a:cs typeface="Calibri" pitchFamily="34" charset="0"/>
                <a:sym typeface="Calibri" pitchFamily="34" charset="0"/>
              </a:defRPr>
            </a:lvl9pPr>
          </a:lstStyle>
          <a:p>
            <a:pPr defTabSz="685783" eaLnBrk="1" fontAlgn="base" hangingPunct="0">
              <a:spcBef>
                <a:spcPct val="0"/>
              </a:spcBef>
              <a:spcAft>
                <a:spcPct val="0"/>
              </a:spcAft>
              <a:defRPr/>
            </a:pPr>
            <a:endParaRPr lang="fr-FR" altLang="fr-FR"/>
          </a:p>
        </p:txBody>
      </p:sp>
      <p:pic>
        <p:nvPicPr>
          <p:cNvPr id="13329" name="Picture 26" descr="accessibility_dexterity.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36791" y="3968551"/>
            <a:ext cx="329803" cy="330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Tree>
    <p:extLst>
      <p:ext uri="{BB962C8B-B14F-4D97-AF65-F5344CB8AC3E}">
        <p14:creationId xmlns:p14="http://schemas.microsoft.com/office/powerpoint/2010/main" val="804745527"/>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535281" y="109931"/>
            <a:ext cx="4900816" cy="1669731"/>
          </a:xfrm>
        </p:spPr>
        <p:txBody>
          <a:bodyPr/>
          <a:lstStyle/>
          <a:p>
            <a:r>
              <a:rPr lang="fr-FR" dirty="0"/>
              <a:t>N26, </a:t>
            </a:r>
            <a:r>
              <a:rPr lang="fr-FR" dirty="0" err="1"/>
              <a:t>Revolut</a:t>
            </a:r>
            <a:r>
              <a:rPr lang="fr-FR" dirty="0"/>
              <a:t>, Ma French Bank</a:t>
            </a:r>
          </a:p>
        </p:txBody>
      </p:sp>
      <p:pic>
        <p:nvPicPr>
          <p:cNvPr id="11" name="Image 10" descr="Une image contenant extérieur, bâtiment&#10;&#10;Description générée automatiquement">
            <a:extLst>
              <a:ext uri="{FF2B5EF4-FFF2-40B4-BE49-F238E27FC236}">
                <a16:creationId xmlns:a16="http://schemas.microsoft.com/office/drawing/2014/main" id="{49A7B877-62BC-D84A-8695-47272CC0E9B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08104" y="267494"/>
            <a:ext cx="1842420" cy="1374791"/>
          </a:xfrm>
          <a:prstGeom prst="rect">
            <a:avLst/>
          </a:prstGeom>
        </p:spPr>
      </p:pic>
      <p:pic>
        <p:nvPicPr>
          <p:cNvPr id="12" name="Image 11">
            <a:extLst>
              <a:ext uri="{FF2B5EF4-FFF2-40B4-BE49-F238E27FC236}">
                <a16:creationId xmlns:a16="http://schemas.microsoft.com/office/drawing/2014/main" id="{98C40751-374E-E84D-B815-B3E947FEB3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2156" y="3418521"/>
            <a:ext cx="1930164" cy="1422982"/>
          </a:xfrm>
          <a:prstGeom prst="rect">
            <a:avLst/>
          </a:prstGeom>
        </p:spPr>
      </p:pic>
      <p:pic>
        <p:nvPicPr>
          <p:cNvPr id="13" name="Image 12" descr="Une image contenant rouge, intérieur, table&#10;&#10;Description générée automatiquement">
            <a:extLst>
              <a:ext uri="{FF2B5EF4-FFF2-40B4-BE49-F238E27FC236}">
                <a16:creationId xmlns:a16="http://schemas.microsoft.com/office/drawing/2014/main" id="{0B6A6A63-FE17-6D43-985E-6A0F2280EC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8104" y="1779662"/>
            <a:ext cx="1842420" cy="1502623"/>
          </a:xfrm>
          <a:prstGeom prst="rect">
            <a:avLst/>
          </a:prstGeom>
        </p:spPr>
      </p:pic>
      <p:pic>
        <p:nvPicPr>
          <p:cNvPr id="15" name="Image 14">
            <a:extLst>
              <a:ext uri="{FF2B5EF4-FFF2-40B4-BE49-F238E27FC236}">
                <a16:creationId xmlns:a16="http://schemas.microsoft.com/office/drawing/2014/main" id="{10B66628-B5FF-7249-BDFF-DABC760AF27C}"/>
              </a:ext>
            </a:extLst>
          </p:cNvPr>
          <p:cNvPicPr>
            <a:picLocks noChangeAspect="1"/>
          </p:cNvPicPr>
          <p:nvPr/>
        </p:nvPicPr>
        <p:blipFill>
          <a:blip r:embed="rId5"/>
          <a:stretch>
            <a:fillRect/>
          </a:stretch>
        </p:blipFill>
        <p:spPr>
          <a:xfrm>
            <a:off x="7584724" y="267494"/>
            <a:ext cx="1515794" cy="2146804"/>
          </a:xfrm>
          <a:prstGeom prst="rect">
            <a:avLst/>
          </a:prstGeom>
        </p:spPr>
      </p:pic>
      <p:pic>
        <p:nvPicPr>
          <p:cNvPr id="16" name="Image 15">
            <a:extLst>
              <a:ext uri="{FF2B5EF4-FFF2-40B4-BE49-F238E27FC236}">
                <a16:creationId xmlns:a16="http://schemas.microsoft.com/office/drawing/2014/main" id="{A0F98C1A-C2F9-664C-BC49-7DD408072858}"/>
              </a:ext>
            </a:extLst>
          </p:cNvPr>
          <p:cNvPicPr>
            <a:picLocks noChangeAspect="1"/>
          </p:cNvPicPr>
          <p:nvPr/>
        </p:nvPicPr>
        <p:blipFill>
          <a:blip r:embed="rId6"/>
          <a:stretch>
            <a:fillRect/>
          </a:stretch>
        </p:blipFill>
        <p:spPr>
          <a:xfrm>
            <a:off x="7491444" y="2530974"/>
            <a:ext cx="1609074" cy="2274646"/>
          </a:xfrm>
          <a:prstGeom prst="rect">
            <a:avLst/>
          </a:prstGeom>
        </p:spPr>
      </p:pic>
      <p:pic>
        <p:nvPicPr>
          <p:cNvPr id="58371" name="Picture 3" descr="C:\Users\CYOG6310\AppData\Local\Microsoft\Windows\Temporary Internet Files\Content.Outlook\V7L9R7CZ\IMG_2274.PNG"/>
          <p:cNvPicPr>
            <a:picLocks noChangeAspect="1" noChangeArrowheads="1"/>
          </p:cNvPicPr>
          <p:nvPr/>
        </p:nvPicPr>
        <p:blipFill rotWithShape="1">
          <a:blip r:embed="rId7">
            <a:extLst>
              <a:ext uri="{28A0092B-C50C-407E-A947-70E740481C1C}">
                <a14:useLocalDpi xmlns:a14="http://schemas.microsoft.com/office/drawing/2010/main" val="0"/>
              </a:ext>
            </a:extLst>
          </a:blip>
          <a:srcRect b="23032"/>
          <a:stretch/>
        </p:blipFill>
        <p:spPr bwMode="auto">
          <a:xfrm>
            <a:off x="755576" y="1840834"/>
            <a:ext cx="1687740" cy="2315801"/>
          </a:xfrm>
          <a:prstGeom prst="rect">
            <a:avLst/>
          </a:prstGeom>
          <a:noFill/>
          <a:extLst>
            <a:ext uri="{909E8E84-426E-40DD-AFC4-6F175D3DCCD1}">
              <a14:hiddenFill xmlns:a14="http://schemas.microsoft.com/office/drawing/2010/main">
                <a:solidFill>
                  <a:srgbClr val="FFFFFF"/>
                </a:solidFill>
              </a14:hiddenFill>
            </a:ext>
          </a:extLst>
        </p:spPr>
      </p:pic>
      <p:pic>
        <p:nvPicPr>
          <p:cNvPr id="18" name="B2FCE3B3-4E40-4E66-B7FD-CD9AF31EC7FC" descr="image1.png"/>
          <p:cNvPicPr>
            <a:picLocks noChangeAspect="1" noChangeArrowheads="1"/>
          </p:cNvPicPr>
          <p:nvPr/>
        </p:nvPicPr>
        <p:blipFill rotWithShape="1">
          <a:blip r:embed="rId8">
            <a:extLst>
              <a:ext uri="{28A0092B-C50C-407E-A947-70E740481C1C}">
                <a14:useLocalDpi xmlns:a14="http://schemas.microsoft.com/office/drawing/2010/main" val="0"/>
              </a:ext>
            </a:extLst>
          </a:blip>
          <a:srcRect t="19446" b="8912"/>
          <a:stretch/>
        </p:blipFill>
        <p:spPr bwMode="auto">
          <a:xfrm>
            <a:off x="2987824" y="1840834"/>
            <a:ext cx="1724441" cy="2202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1183199"/>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2"/>
            </p:custDataLst>
            <p:extLst>
              <p:ext uri="{D42A27DB-BD31-4B8C-83A1-F6EECF244321}">
                <p14:modId xmlns:p14="http://schemas.microsoft.com/office/powerpoint/2010/main" val="57464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8" name="Diapositive think-cell" r:id="rId8" imgW="384" imgH="384" progId="TCLayout.ActiveDocument.1">
                  <p:embed/>
                </p:oleObj>
              </mc:Choice>
              <mc:Fallback>
                <p:oleObj name="Diapositive think-cell" r:id="rId8" imgW="384" imgH="38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1" name="Rectangle 3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600" dirty="0">
              <a:latin typeface="Helvetica 75 Bold"/>
              <a:ea typeface="ＭＳ Ｐゴシック"/>
              <a:cs typeface="+mj-cs"/>
              <a:sym typeface="Helvetica 75 Bold"/>
            </a:endParaRPr>
          </a:p>
        </p:txBody>
      </p:sp>
      <p:sp>
        <p:nvSpPr>
          <p:cNvPr id="2" name="Titre 1"/>
          <p:cNvSpPr>
            <a:spLocks noGrp="1"/>
          </p:cNvSpPr>
          <p:nvPr>
            <p:ph type="title"/>
          </p:nvPr>
        </p:nvSpPr>
        <p:spPr>
          <a:xfrm>
            <a:off x="129441" y="150221"/>
            <a:ext cx="8470900" cy="261289"/>
          </a:xfrm>
        </p:spPr>
        <p:txBody>
          <a:bodyPr/>
          <a:lstStyle/>
          <a:p>
            <a:r>
              <a:rPr lang="fr-FR" sz="1600" dirty="0">
                <a:solidFill>
                  <a:srgbClr val="FF7900"/>
                </a:solidFill>
              </a:rPr>
              <a:t>Ma French Bank à l’assaut du </a:t>
            </a:r>
            <a:r>
              <a:rPr lang="fr-FR" sz="1600" dirty="0" err="1">
                <a:solidFill>
                  <a:srgbClr val="FF7900"/>
                </a:solidFill>
              </a:rPr>
              <a:t>phygital</a:t>
            </a:r>
            <a:endParaRPr lang="fr-FR" sz="1600" dirty="0">
              <a:solidFill>
                <a:srgbClr val="FF7900"/>
              </a:solidFill>
            </a:endParaRPr>
          </a:p>
        </p:txBody>
      </p:sp>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1600" dirty="0">
              <a:latin typeface="Helvetica 75 Bold"/>
              <a:ea typeface="ＭＳ Ｐゴシック"/>
              <a:cs typeface="+mj-cs"/>
              <a:sym typeface="Helvetica 75 Bold"/>
            </a:endParaRPr>
          </a:p>
        </p:txBody>
      </p:sp>
      <p:sp>
        <p:nvSpPr>
          <p:cNvPr id="24" name="Rectangle 23"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1600" dirty="0">
              <a:latin typeface="Helvetica 75 Bold"/>
              <a:ea typeface="ＭＳ Ｐゴシック"/>
              <a:cs typeface="+mj-cs"/>
              <a:sym typeface="Helvetica 75 Bold"/>
            </a:endParaRPr>
          </a:p>
        </p:txBody>
      </p:sp>
      <p:sp>
        <p:nvSpPr>
          <p:cNvPr id="29" name="Rectangle 28" hidden="1"/>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1600" dirty="0">
              <a:latin typeface="Helvetica 75 Bold"/>
              <a:ea typeface="ＭＳ Ｐゴシック"/>
              <a:cs typeface="+mj-cs"/>
              <a:sym typeface="Helvetica 75 Bold"/>
            </a:endParaRPr>
          </a:p>
        </p:txBody>
      </p:sp>
      <p:sp>
        <p:nvSpPr>
          <p:cNvPr id="4" name="Rectangle 3"/>
          <p:cNvSpPr/>
          <p:nvPr/>
        </p:nvSpPr>
        <p:spPr>
          <a:xfrm>
            <a:off x="323528" y="1059582"/>
            <a:ext cx="700812" cy="700812"/>
          </a:xfrm>
          <a:prstGeom prst="rect">
            <a:avLst/>
          </a:prstGeom>
          <a:solidFill>
            <a:srgbClr val="4BB4E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2000" dirty="0">
                <a:solidFill>
                  <a:schemeClr val="bg1"/>
                </a:solidFill>
              </a:rPr>
              <a:t>1m</a:t>
            </a:r>
            <a:endParaRPr lang="fr-FR" sz="2400" dirty="0">
              <a:solidFill>
                <a:schemeClr val="bg1"/>
              </a:solidFill>
            </a:endParaRPr>
          </a:p>
        </p:txBody>
      </p:sp>
      <p:sp>
        <p:nvSpPr>
          <p:cNvPr id="23" name="Rectangle 22"/>
          <p:cNvSpPr/>
          <p:nvPr/>
        </p:nvSpPr>
        <p:spPr>
          <a:xfrm>
            <a:off x="323528" y="1760394"/>
            <a:ext cx="700812" cy="700812"/>
          </a:xfrm>
          <a:prstGeom prst="rect">
            <a:avLst/>
          </a:prstGeom>
          <a:solidFill>
            <a:srgbClr val="FFDC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2000" dirty="0">
                <a:solidFill>
                  <a:schemeClr val="bg1"/>
                </a:solidFill>
              </a:rPr>
              <a:t>2k</a:t>
            </a:r>
          </a:p>
        </p:txBody>
      </p:sp>
      <p:sp>
        <p:nvSpPr>
          <p:cNvPr id="25" name="Rectangle 24"/>
          <p:cNvSpPr/>
          <p:nvPr/>
        </p:nvSpPr>
        <p:spPr>
          <a:xfrm>
            <a:off x="323528" y="3862830"/>
            <a:ext cx="700812" cy="7008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2000" dirty="0">
                <a:solidFill>
                  <a:schemeClr val="bg1"/>
                </a:solidFill>
              </a:rPr>
              <a:t>2</a:t>
            </a:r>
          </a:p>
        </p:txBody>
      </p:sp>
      <p:sp>
        <p:nvSpPr>
          <p:cNvPr id="26" name="Rectangle 25"/>
          <p:cNvSpPr/>
          <p:nvPr/>
        </p:nvSpPr>
        <p:spPr>
          <a:xfrm>
            <a:off x="323528" y="2461206"/>
            <a:ext cx="700812" cy="700812"/>
          </a:xfrm>
          <a:prstGeom prst="rect">
            <a:avLst/>
          </a:prstGeom>
          <a:solidFill>
            <a:srgbClr val="FFB4E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2000" dirty="0">
                <a:solidFill>
                  <a:schemeClr val="bg1"/>
                </a:solidFill>
              </a:rPr>
              <a:t>100m</a:t>
            </a:r>
          </a:p>
        </p:txBody>
      </p:sp>
      <p:sp>
        <p:nvSpPr>
          <p:cNvPr id="27" name="Rectangle 26"/>
          <p:cNvSpPr/>
          <p:nvPr/>
        </p:nvSpPr>
        <p:spPr>
          <a:xfrm>
            <a:off x="323528" y="3162018"/>
            <a:ext cx="700812" cy="700812"/>
          </a:xfrm>
          <a:prstGeom prst="rect">
            <a:avLst/>
          </a:prstGeom>
          <a:solidFill>
            <a:srgbClr val="A885D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2000" dirty="0">
                <a:solidFill>
                  <a:schemeClr val="bg1"/>
                </a:solidFill>
              </a:rPr>
              <a:t>95</a:t>
            </a:r>
          </a:p>
        </p:txBody>
      </p:sp>
      <p:sp>
        <p:nvSpPr>
          <p:cNvPr id="5" name="ZoneTexte 4"/>
          <p:cNvSpPr txBox="1"/>
          <p:nvPr/>
        </p:nvSpPr>
        <p:spPr>
          <a:xfrm>
            <a:off x="899592" y="555526"/>
            <a:ext cx="1800200" cy="369332"/>
          </a:xfrm>
          <a:prstGeom prst="rect">
            <a:avLst/>
          </a:prstGeom>
          <a:noFill/>
        </p:spPr>
        <p:txBody>
          <a:bodyPr wrap="square" rtlCol="0">
            <a:spAutoFit/>
          </a:bodyPr>
          <a:lstStyle/>
          <a:p>
            <a:pPr algn="ctr"/>
            <a:r>
              <a:rPr lang="fr-FR" dirty="0"/>
              <a:t>5 chiffres clés</a:t>
            </a:r>
          </a:p>
        </p:txBody>
      </p:sp>
      <p:sp>
        <p:nvSpPr>
          <p:cNvPr id="10" name="ZoneTexte 9"/>
          <p:cNvSpPr txBox="1"/>
          <p:nvPr/>
        </p:nvSpPr>
        <p:spPr>
          <a:xfrm>
            <a:off x="1187624" y="1148378"/>
            <a:ext cx="3132348" cy="523220"/>
          </a:xfrm>
          <a:prstGeom prst="rect">
            <a:avLst/>
          </a:prstGeom>
          <a:noFill/>
        </p:spPr>
        <p:txBody>
          <a:bodyPr wrap="square" rtlCol="0">
            <a:spAutoFit/>
          </a:bodyPr>
          <a:lstStyle/>
          <a:p>
            <a:r>
              <a:rPr lang="fr-FR" sz="1400" dirty="0">
                <a:latin typeface="Helvetica 65 Medium" panose="020B0604020202020204" pitchFamily="34" charset="0"/>
              </a:rPr>
              <a:t>Objectif de clients en 2025 pour atteindre la rentabilité</a:t>
            </a:r>
          </a:p>
        </p:txBody>
      </p:sp>
      <p:sp>
        <p:nvSpPr>
          <p:cNvPr id="30" name="ZoneTexte 29"/>
          <p:cNvSpPr txBox="1"/>
          <p:nvPr/>
        </p:nvSpPr>
        <p:spPr>
          <a:xfrm>
            <a:off x="1187624" y="1849190"/>
            <a:ext cx="3132348" cy="523220"/>
          </a:xfrm>
          <a:prstGeom prst="rect">
            <a:avLst/>
          </a:prstGeom>
          <a:noFill/>
        </p:spPr>
        <p:txBody>
          <a:bodyPr wrap="square" rtlCol="0">
            <a:spAutoFit/>
          </a:bodyPr>
          <a:lstStyle/>
          <a:p>
            <a:r>
              <a:rPr lang="fr-FR" sz="1400" dirty="0">
                <a:latin typeface="Helvetica 65 Medium" panose="020B0604020202020204" pitchFamily="34" charset="0"/>
              </a:rPr>
              <a:t>Bureaux de Poste où la souscription est possible</a:t>
            </a:r>
          </a:p>
        </p:txBody>
      </p:sp>
      <p:sp>
        <p:nvSpPr>
          <p:cNvPr id="33" name="ZoneTexte 32"/>
          <p:cNvSpPr txBox="1"/>
          <p:nvPr/>
        </p:nvSpPr>
        <p:spPr>
          <a:xfrm>
            <a:off x="1187624" y="2550002"/>
            <a:ext cx="3132348" cy="523220"/>
          </a:xfrm>
          <a:prstGeom prst="rect">
            <a:avLst/>
          </a:prstGeom>
          <a:noFill/>
        </p:spPr>
        <p:txBody>
          <a:bodyPr wrap="square" rtlCol="0">
            <a:spAutoFit/>
          </a:bodyPr>
          <a:lstStyle/>
          <a:p>
            <a:r>
              <a:rPr lang="fr-FR" sz="1400" dirty="0">
                <a:latin typeface="Helvetica 65 Medium" panose="020B0604020202020204" pitchFamily="34" charset="0"/>
              </a:rPr>
              <a:t>Investissement en euros pour construire Ma French Bank</a:t>
            </a:r>
          </a:p>
        </p:txBody>
      </p:sp>
      <p:sp>
        <p:nvSpPr>
          <p:cNvPr id="34" name="ZoneTexte 33"/>
          <p:cNvSpPr txBox="1"/>
          <p:nvPr/>
        </p:nvSpPr>
        <p:spPr>
          <a:xfrm>
            <a:off x="1187624" y="3250814"/>
            <a:ext cx="3132348" cy="523220"/>
          </a:xfrm>
          <a:prstGeom prst="rect">
            <a:avLst/>
          </a:prstGeom>
          <a:noFill/>
        </p:spPr>
        <p:txBody>
          <a:bodyPr wrap="square" rtlCol="0">
            <a:spAutoFit/>
          </a:bodyPr>
          <a:lstStyle/>
          <a:p>
            <a:r>
              <a:rPr lang="fr-FR" sz="1400" dirty="0">
                <a:latin typeface="Helvetica 65 Medium" panose="020B0604020202020204" pitchFamily="34" charset="0"/>
              </a:rPr>
              <a:t>Effectif de Ma French Bank au lancement</a:t>
            </a:r>
          </a:p>
        </p:txBody>
      </p:sp>
      <p:sp>
        <p:nvSpPr>
          <p:cNvPr id="35" name="ZoneTexte 34"/>
          <p:cNvSpPr txBox="1"/>
          <p:nvPr/>
        </p:nvSpPr>
        <p:spPr>
          <a:xfrm>
            <a:off x="1187624" y="3951626"/>
            <a:ext cx="3132348" cy="523220"/>
          </a:xfrm>
          <a:prstGeom prst="rect">
            <a:avLst/>
          </a:prstGeom>
          <a:noFill/>
        </p:spPr>
        <p:txBody>
          <a:bodyPr wrap="square" rtlCol="0">
            <a:spAutoFit/>
          </a:bodyPr>
          <a:lstStyle/>
          <a:p>
            <a:r>
              <a:rPr lang="fr-FR" sz="1400" dirty="0">
                <a:latin typeface="Helvetica 65 Medium" panose="020B0604020202020204" pitchFamily="34" charset="0"/>
              </a:rPr>
              <a:t>Prix mensuel en euros de l’abonnement à Ma French Bank</a:t>
            </a:r>
          </a:p>
        </p:txBody>
      </p:sp>
      <p:grpSp>
        <p:nvGrpSpPr>
          <p:cNvPr id="6" name="Groupe 5"/>
          <p:cNvGrpSpPr/>
          <p:nvPr/>
        </p:nvGrpSpPr>
        <p:grpSpPr>
          <a:xfrm>
            <a:off x="4572000" y="699542"/>
            <a:ext cx="3030824" cy="3986810"/>
            <a:chOff x="4572000" y="385140"/>
            <a:chExt cx="3030824" cy="3986810"/>
          </a:xfrm>
        </p:grpSpPr>
        <p:pic>
          <p:nvPicPr>
            <p:cNvPr id="4214" name="Picture 11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10226" y="1643330"/>
              <a:ext cx="250221" cy="250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15" name="Picture 11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95599" y="3379579"/>
              <a:ext cx="279475" cy="279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139" descr="Résultat de recherche d'images pour &quot;icone montres&quo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744216" y="2025589"/>
              <a:ext cx="182240" cy="359747"/>
            </a:xfrm>
            <a:prstGeom prst="rect">
              <a:avLst/>
            </a:prstGeom>
            <a:noFill/>
            <a:extLst>
              <a:ext uri="{909E8E84-426E-40DD-AFC4-6F175D3DCCD1}">
                <a14:hiddenFill xmlns:a14="http://schemas.microsoft.com/office/drawing/2010/main">
                  <a:solidFill>
                    <a:srgbClr val="FFFFFF"/>
                  </a:solidFill>
                </a14:hiddenFill>
              </a:ext>
            </a:extLst>
          </p:spPr>
        </p:pic>
        <p:pic>
          <p:nvPicPr>
            <p:cNvPr id="4219" name="Picture 12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5599" y="2968066"/>
              <a:ext cx="279475" cy="279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20" name="Picture 124"/>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76009" y="2517374"/>
              <a:ext cx="318654" cy="318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21" name="Picture 125"/>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5331" t="21097" r="78001" b="62499"/>
            <a:stretch/>
          </p:blipFill>
          <p:spPr bwMode="auto">
            <a:xfrm>
              <a:off x="4652264" y="1150939"/>
              <a:ext cx="366145" cy="3603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ZoneTexte 20"/>
            <p:cNvSpPr txBox="1"/>
            <p:nvPr/>
          </p:nvSpPr>
          <p:spPr>
            <a:xfrm>
              <a:off x="5112161" y="3419543"/>
              <a:ext cx="2088232" cy="307777"/>
            </a:xfrm>
            <a:prstGeom prst="rect">
              <a:avLst/>
            </a:prstGeom>
            <a:noFill/>
          </p:spPr>
          <p:txBody>
            <a:bodyPr wrap="square" rtlCol="0">
              <a:spAutoFit/>
            </a:bodyPr>
            <a:lstStyle/>
            <a:p>
              <a:r>
                <a:rPr lang="fr-FR" sz="1400" dirty="0">
                  <a:latin typeface="Helvetica 55 Roman" panose="020B0604020202020204" pitchFamily="34" charset="0"/>
                </a:rPr>
                <a:t>Ø découvert</a:t>
              </a:r>
            </a:p>
          </p:txBody>
        </p:sp>
        <p:sp>
          <p:nvSpPr>
            <p:cNvPr id="49" name="ZoneTexte 48"/>
            <p:cNvSpPr txBox="1"/>
            <p:nvPr/>
          </p:nvSpPr>
          <p:spPr>
            <a:xfrm>
              <a:off x="5112161" y="1625691"/>
              <a:ext cx="2088232" cy="307777"/>
            </a:xfrm>
            <a:prstGeom prst="rect">
              <a:avLst/>
            </a:prstGeom>
            <a:noFill/>
          </p:spPr>
          <p:txBody>
            <a:bodyPr wrap="square" rtlCol="0">
              <a:spAutoFit/>
            </a:bodyPr>
            <a:lstStyle/>
            <a:p>
              <a:r>
                <a:rPr lang="fr-FR" sz="1400" dirty="0">
                  <a:latin typeface="Helvetica 55 Roman" panose="020B0604020202020204" pitchFamily="34" charset="0"/>
                </a:rPr>
                <a:t>Catégorisation</a:t>
              </a:r>
            </a:p>
          </p:txBody>
        </p:sp>
        <p:sp>
          <p:nvSpPr>
            <p:cNvPr id="50" name="ZoneTexte 49"/>
            <p:cNvSpPr txBox="1"/>
            <p:nvPr/>
          </p:nvSpPr>
          <p:spPr>
            <a:xfrm>
              <a:off x="5112161" y="2522617"/>
              <a:ext cx="2088232" cy="307777"/>
            </a:xfrm>
            <a:prstGeom prst="rect">
              <a:avLst/>
            </a:prstGeom>
            <a:noFill/>
          </p:spPr>
          <p:txBody>
            <a:bodyPr wrap="square" rtlCol="0">
              <a:spAutoFit/>
            </a:bodyPr>
            <a:lstStyle/>
            <a:p>
              <a:r>
                <a:rPr lang="fr-FR" sz="1400" dirty="0">
                  <a:latin typeface="Helvetica 55 Roman" panose="020B0604020202020204" pitchFamily="34" charset="0"/>
                </a:rPr>
                <a:t>Ø frais à l’étranger</a:t>
              </a:r>
            </a:p>
          </p:txBody>
        </p:sp>
        <p:sp>
          <p:nvSpPr>
            <p:cNvPr id="51" name="ZoneTexte 50"/>
            <p:cNvSpPr txBox="1"/>
            <p:nvPr/>
          </p:nvSpPr>
          <p:spPr>
            <a:xfrm>
              <a:off x="5112161" y="2971080"/>
              <a:ext cx="2490663" cy="307777"/>
            </a:xfrm>
            <a:prstGeom prst="rect">
              <a:avLst/>
            </a:prstGeom>
            <a:noFill/>
          </p:spPr>
          <p:txBody>
            <a:bodyPr wrap="square" lIns="90000" rIns="0" rtlCol="0">
              <a:spAutoFit/>
            </a:bodyPr>
            <a:lstStyle/>
            <a:p>
              <a:r>
                <a:rPr lang="fr-FR" sz="1400" dirty="0">
                  <a:latin typeface="Helvetica 55 Roman" panose="020B0604020202020204" pitchFamily="34" charset="0"/>
                </a:rPr>
                <a:t>Garanties et assistances Visa</a:t>
              </a:r>
            </a:p>
          </p:txBody>
        </p:sp>
        <p:sp>
          <p:nvSpPr>
            <p:cNvPr id="52" name="ZoneTexte 51"/>
            <p:cNvSpPr txBox="1"/>
            <p:nvPr/>
          </p:nvSpPr>
          <p:spPr>
            <a:xfrm>
              <a:off x="5112161" y="1177228"/>
              <a:ext cx="2088232" cy="307777"/>
            </a:xfrm>
            <a:prstGeom prst="rect">
              <a:avLst/>
            </a:prstGeom>
            <a:noFill/>
          </p:spPr>
          <p:txBody>
            <a:bodyPr wrap="square" rtlCol="0">
              <a:spAutoFit/>
            </a:bodyPr>
            <a:lstStyle/>
            <a:p>
              <a:r>
                <a:rPr lang="fr-FR" sz="1400" dirty="0">
                  <a:latin typeface="Helvetica 55 Roman" panose="020B0604020202020204" pitchFamily="34" charset="0"/>
                </a:rPr>
                <a:t>Carte paramétrable</a:t>
              </a:r>
            </a:p>
          </p:txBody>
        </p:sp>
        <p:sp>
          <p:nvSpPr>
            <p:cNvPr id="53" name="ZoneTexte 52"/>
            <p:cNvSpPr txBox="1"/>
            <p:nvPr/>
          </p:nvSpPr>
          <p:spPr>
            <a:xfrm>
              <a:off x="5112161" y="2074154"/>
              <a:ext cx="2088232" cy="307777"/>
            </a:xfrm>
            <a:prstGeom prst="rect">
              <a:avLst/>
            </a:prstGeom>
            <a:noFill/>
          </p:spPr>
          <p:txBody>
            <a:bodyPr wrap="square" rtlCol="0">
              <a:spAutoFit/>
            </a:bodyPr>
            <a:lstStyle/>
            <a:p>
              <a:r>
                <a:rPr lang="fr-FR" sz="1400" dirty="0">
                  <a:latin typeface="Helvetica 55 Roman" panose="020B0604020202020204" pitchFamily="34" charset="0"/>
                </a:rPr>
                <a:t>Solde en temps réel</a:t>
              </a:r>
            </a:p>
          </p:txBody>
        </p:sp>
        <p:sp>
          <p:nvSpPr>
            <p:cNvPr id="54" name="ZoneTexte 53"/>
            <p:cNvSpPr txBox="1"/>
            <p:nvPr/>
          </p:nvSpPr>
          <p:spPr>
            <a:xfrm>
              <a:off x="4580256" y="458889"/>
              <a:ext cx="3022568" cy="646331"/>
            </a:xfrm>
            <a:prstGeom prst="rect">
              <a:avLst/>
            </a:prstGeom>
            <a:noFill/>
          </p:spPr>
          <p:txBody>
            <a:bodyPr wrap="square" rtlCol="0">
              <a:spAutoFit/>
            </a:bodyPr>
            <a:lstStyle/>
            <a:p>
              <a:pPr algn="ctr"/>
              <a:r>
                <a:rPr lang="fr-FR" dirty="0"/>
                <a:t>Les ingrédients standards d’une </a:t>
              </a:r>
              <a:r>
                <a:rPr lang="fr-FR" dirty="0" err="1"/>
                <a:t>neobanque</a:t>
              </a:r>
              <a:endParaRPr lang="fr-FR" dirty="0"/>
            </a:p>
          </p:txBody>
        </p:sp>
        <p:sp>
          <p:nvSpPr>
            <p:cNvPr id="36" name="Rectangle 35"/>
            <p:cNvSpPr/>
            <p:nvPr/>
          </p:nvSpPr>
          <p:spPr>
            <a:xfrm>
              <a:off x="4572000" y="385140"/>
              <a:ext cx="3030824" cy="3986810"/>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7652" name="Picture 4" descr="Résultat de recherche d'images pour &quot;icone smartphone&quot;"/>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672313" y="3791091"/>
              <a:ext cx="326047" cy="461606"/>
            </a:xfrm>
            <a:prstGeom prst="rect">
              <a:avLst/>
            </a:prstGeom>
            <a:noFill/>
            <a:extLst>
              <a:ext uri="{909E8E84-426E-40DD-AFC4-6F175D3DCCD1}">
                <a14:hiddenFill xmlns:a14="http://schemas.microsoft.com/office/drawing/2010/main">
                  <a:solidFill>
                    <a:srgbClr val="FFFFFF"/>
                  </a:solidFill>
                </a14:hiddenFill>
              </a:ext>
            </a:extLst>
          </p:spPr>
        </p:pic>
        <p:sp>
          <p:nvSpPr>
            <p:cNvPr id="38" name="ZoneTexte 37"/>
            <p:cNvSpPr txBox="1"/>
            <p:nvPr/>
          </p:nvSpPr>
          <p:spPr>
            <a:xfrm>
              <a:off x="5112161" y="3868006"/>
              <a:ext cx="2088232" cy="307777"/>
            </a:xfrm>
            <a:prstGeom prst="rect">
              <a:avLst/>
            </a:prstGeom>
            <a:noFill/>
          </p:spPr>
          <p:txBody>
            <a:bodyPr wrap="square" rtlCol="0">
              <a:spAutoFit/>
            </a:bodyPr>
            <a:lstStyle/>
            <a:p>
              <a:r>
                <a:rPr lang="fr-FR" sz="1400" dirty="0">
                  <a:latin typeface="Helvetica 55 Roman" panose="020B0604020202020204" pitchFamily="34" charset="0"/>
                </a:rPr>
                <a:t>Virement par SMS</a:t>
              </a:r>
            </a:p>
          </p:txBody>
        </p:sp>
      </p:grpSp>
      <p:pic>
        <p:nvPicPr>
          <p:cNvPr id="40" name="Picture 102" descr="Résultat de recherche d'images pour &quot;ma french bank&quot;"/>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100392" y="0"/>
            <a:ext cx="1043608" cy="1043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9940620"/>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2"/>
            </p:custDataLst>
            <p:extLst>
              <p:ext uri="{D42A27DB-BD31-4B8C-83A1-F6EECF244321}">
                <p14:modId xmlns:p14="http://schemas.microsoft.com/office/powerpoint/2010/main" val="165891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2" name="Diapositive think-cell" r:id="rId9" imgW="384" imgH="384" progId="TCLayout.ActiveDocument.1">
                  <p:embed/>
                </p:oleObj>
              </mc:Choice>
              <mc:Fallback>
                <p:oleObj name="Diapositive think-cell" r:id="rId9" imgW="384" imgH="38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1" name="Rectangle 3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600" dirty="0">
              <a:latin typeface="Helvetica 75 Bold"/>
              <a:ea typeface="ＭＳ Ｐゴシック"/>
              <a:cs typeface="+mj-cs"/>
              <a:sym typeface="Helvetica 75 Bold"/>
            </a:endParaRPr>
          </a:p>
        </p:txBody>
      </p:sp>
      <p:sp>
        <p:nvSpPr>
          <p:cNvPr id="2" name="Titre 1"/>
          <p:cNvSpPr>
            <a:spLocks noGrp="1"/>
          </p:cNvSpPr>
          <p:nvPr>
            <p:ph type="title"/>
          </p:nvPr>
        </p:nvSpPr>
        <p:spPr>
          <a:xfrm>
            <a:off x="129441" y="150221"/>
            <a:ext cx="8470900" cy="261289"/>
          </a:xfrm>
        </p:spPr>
        <p:txBody>
          <a:bodyPr/>
          <a:lstStyle/>
          <a:p>
            <a:r>
              <a:rPr lang="fr-FR" sz="1600" dirty="0">
                <a:solidFill>
                  <a:srgbClr val="FF7900"/>
                </a:solidFill>
              </a:rPr>
              <a:t>Des fonctionnalités </a:t>
            </a:r>
            <a:r>
              <a:rPr lang="fr-FR" sz="1600" dirty="0" err="1">
                <a:solidFill>
                  <a:srgbClr val="FF7900"/>
                </a:solidFill>
              </a:rPr>
              <a:t>différenciantes</a:t>
            </a:r>
            <a:endParaRPr lang="fr-FR" sz="1600" dirty="0">
              <a:solidFill>
                <a:srgbClr val="FF7900"/>
              </a:solidFill>
            </a:endParaRPr>
          </a:p>
        </p:txBody>
      </p:sp>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1600" dirty="0">
              <a:latin typeface="Helvetica 75 Bold"/>
              <a:ea typeface="ＭＳ Ｐゴシック"/>
              <a:cs typeface="+mj-cs"/>
              <a:sym typeface="Helvetica 75 Bold"/>
            </a:endParaRPr>
          </a:p>
        </p:txBody>
      </p:sp>
      <p:sp>
        <p:nvSpPr>
          <p:cNvPr id="24" name="Rectangle 23"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1600" dirty="0">
              <a:latin typeface="Helvetica 75 Bold"/>
              <a:ea typeface="ＭＳ Ｐゴシック"/>
              <a:cs typeface="+mj-cs"/>
              <a:sym typeface="Helvetica 75 Bold"/>
            </a:endParaRPr>
          </a:p>
        </p:txBody>
      </p:sp>
      <p:sp>
        <p:nvSpPr>
          <p:cNvPr id="29" name="Rectangle 28" hidden="1"/>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1600" dirty="0">
              <a:latin typeface="Helvetica 75 Bold"/>
              <a:ea typeface="ＭＳ Ｐゴシック"/>
              <a:cs typeface="+mj-cs"/>
              <a:sym typeface="Helvetica 75 Bold"/>
            </a:endParaRPr>
          </a:p>
        </p:txBody>
      </p:sp>
      <p:pic>
        <p:nvPicPr>
          <p:cNvPr id="4198" name="Picture 102" descr="Résultat de recherche d'images pour &quot;ma french bank&quo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100392" y="0"/>
            <a:ext cx="1043608" cy="1043609"/>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e 58"/>
          <p:cNvGrpSpPr/>
          <p:nvPr/>
        </p:nvGrpSpPr>
        <p:grpSpPr>
          <a:xfrm>
            <a:off x="4305582" y="843558"/>
            <a:ext cx="3902822" cy="2049016"/>
            <a:chOff x="3981546" y="689106"/>
            <a:chExt cx="3902822" cy="2049016"/>
          </a:xfrm>
        </p:grpSpPr>
        <p:sp>
          <p:nvSpPr>
            <p:cNvPr id="61" name="Rectangle 60"/>
            <p:cNvSpPr/>
            <p:nvPr/>
          </p:nvSpPr>
          <p:spPr>
            <a:xfrm>
              <a:off x="5233086" y="699542"/>
              <a:ext cx="1399742" cy="307777"/>
            </a:xfrm>
            <a:prstGeom prst="rect">
              <a:avLst/>
            </a:prstGeom>
          </p:spPr>
          <p:txBody>
            <a:bodyPr wrap="none">
              <a:spAutoFit/>
            </a:bodyPr>
            <a:lstStyle/>
            <a:p>
              <a:r>
                <a:rPr lang="fr-FR" sz="1400" dirty="0">
                  <a:latin typeface="Helvetica 65 Medium" panose="020B0604020202020204" pitchFamily="34" charset="0"/>
                </a:rPr>
                <a:t>Mon extra prêt</a:t>
              </a:r>
            </a:p>
          </p:txBody>
        </p:sp>
        <p:sp>
          <p:nvSpPr>
            <p:cNvPr id="47" name="Rectangle 46"/>
            <p:cNvSpPr/>
            <p:nvPr/>
          </p:nvSpPr>
          <p:spPr>
            <a:xfrm>
              <a:off x="3981546" y="1064730"/>
              <a:ext cx="3902822" cy="1200329"/>
            </a:xfrm>
            <a:prstGeom prst="rect">
              <a:avLst/>
            </a:prstGeom>
          </p:spPr>
          <p:txBody>
            <a:bodyPr wrap="square">
              <a:spAutoFit/>
            </a:bodyPr>
            <a:lstStyle/>
            <a:p>
              <a:pPr marL="171450" indent="-171450">
                <a:buFont typeface="Arial" panose="020B0604020202020204" pitchFamily="34" charset="0"/>
                <a:buChar char="•"/>
              </a:pPr>
              <a:r>
                <a:rPr lang="fr-FR" sz="1200" dirty="0">
                  <a:latin typeface="Helvetica 55 Roman" panose="020B0604020202020204" pitchFamily="34" charset="0"/>
                </a:rPr>
                <a:t>J'active mon Crédit Renouvelable </a:t>
              </a:r>
              <a:r>
                <a:rPr lang="fr-FR" sz="1200" b="1" dirty="0">
                  <a:solidFill>
                    <a:srgbClr val="00B0F0"/>
                  </a:solidFill>
                  <a:latin typeface="Helvetica 55 Roman" panose="020B0604020202020204" pitchFamily="34" charset="0"/>
                </a:rPr>
                <a:t>quand j'en ai besoin</a:t>
              </a:r>
              <a:r>
                <a:rPr lang="fr-FR" sz="1200" dirty="0">
                  <a:latin typeface="Helvetica 55 Roman" panose="020B0604020202020204" pitchFamily="34" charset="0"/>
                </a:rPr>
                <a:t>, pour le </a:t>
              </a:r>
              <a:r>
                <a:rPr lang="fr-FR" sz="1200" b="1" dirty="0">
                  <a:solidFill>
                    <a:srgbClr val="00B0F0"/>
                  </a:solidFill>
                  <a:latin typeface="Helvetica 55 Roman" panose="020B0604020202020204" pitchFamily="34" charset="0"/>
                </a:rPr>
                <a:t>montant que j'ai choisi</a:t>
              </a:r>
              <a:endParaRPr lang="fr-FR" sz="1200" dirty="0">
                <a:latin typeface="Helvetica 55 Roman" panose="020B0604020202020204" pitchFamily="34" charset="0"/>
              </a:endParaRPr>
            </a:p>
            <a:p>
              <a:pPr marL="171450" indent="-171450">
                <a:buFont typeface="Arial" panose="020B0604020202020204" pitchFamily="34" charset="0"/>
                <a:buChar char="•"/>
              </a:pPr>
              <a:r>
                <a:rPr lang="fr-FR" sz="1200" dirty="0">
                  <a:latin typeface="Helvetica 55 Roman" panose="020B0604020202020204" pitchFamily="34" charset="0"/>
                </a:rPr>
                <a:t>Je </a:t>
              </a:r>
              <a:r>
                <a:rPr lang="fr-FR" sz="1200" b="1" dirty="0">
                  <a:solidFill>
                    <a:srgbClr val="00B0F0"/>
                  </a:solidFill>
                  <a:latin typeface="Helvetica 55 Roman" panose="020B0604020202020204" pitchFamily="34" charset="0"/>
                </a:rPr>
                <a:t>visualise</a:t>
              </a:r>
              <a:r>
                <a:rPr lang="fr-FR" sz="1200" dirty="0">
                  <a:latin typeface="Helvetica 55 Roman" panose="020B0604020202020204" pitchFamily="34" charset="0"/>
                </a:rPr>
                <a:t> mes options : montant disponible, mensualités et durée du remboursement</a:t>
              </a:r>
            </a:p>
            <a:p>
              <a:pPr marL="171450" indent="-171450">
                <a:buFont typeface="Arial" panose="020B0604020202020204" pitchFamily="34" charset="0"/>
                <a:buChar char="•"/>
              </a:pPr>
              <a:r>
                <a:rPr lang="fr-FR" sz="1200" dirty="0">
                  <a:latin typeface="Helvetica 55 Roman" panose="020B0604020202020204" pitchFamily="34" charset="0"/>
                </a:rPr>
                <a:t>A tout moment, je peux </a:t>
              </a:r>
              <a:r>
                <a:rPr lang="fr-FR" sz="1200" b="1" dirty="0">
                  <a:solidFill>
                    <a:srgbClr val="00B0F0"/>
                  </a:solidFill>
                  <a:latin typeface="Helvetica 55 Roman" panose="020B0604020202020204" pitchFamily="34" charset="0"/>
                </a:rPr>
                <a:t>modifier ma mensualité </a:t>
              </a:r>
              <a:r>
                <a:rPr lang="fr-FR" sz="1200" dirty="0">
                  <a:latin typeface="Helvetica 55 Roman" panose="020B0604020202020204" pitchFamily="34" charset="0"/>
                </a:rPr>
                <a:t>ou faire un </a:t>
              </a:r>
              <a:r>
                <a:rPr lang="fr-FR" sz="1200" b="1" dirty="0">
                  <a:solidFill>
                    <a:srgbClr val="00B0F0"/>
                  </a:solidFill>
                  <a:latin typeface="Helvetica 55 Roman" panose="020B0604020202020204" pitchFamily="34" charset="0"/>
                </a:rPr>
                <a:t>remboursement anticipé</a:t>
              </a:r>
              <a:r>
                <a:rPr lang="fr-FR" sz="1200" dirty="0">
                  <a:latin typeface="Helvetica 55 Roman" panose="020B0604020202020204" pitchFamily="34" charset="0"/>
                </a:rPr>
                <a:t>, sans frais</a:t>
              </a:r>
            </a:p>
          </p:txBody>
        </p:sp>
        <p:sp>
          <p:nvSpPr>
            <p:cNvPr id="74" name="Rectangle à coins arrondis 73"/>
            <p:cNvSpPr/>
            <p:nvPr/>
          </p:nvSpPr>
          <p:spPr>
            <a:xfrm>
              <a:off x="3981546" y="689106"/>
              <a:ext cx="3902822" cy="2049016"/>
            </a:xfrm>
            <a:prstGeom prst="roundRect">
              <a:avLst/>
            </a:prstGeom>
            <a:noFill/>
            <a:ln w="19050">
              <a:solidFill>
                <a:srgbClr val="FFD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5" name="Groupe 64"/>
          <p:cNvGrpSpPr/>
          <p:nvPr/>
        </p:nvGrpSpPr>
        <p:grpSpPr>
          <a:xfrm>
            <a:off x="4269578" y="3014234"/>
            <a:ext cx="3974830" cy="1395449"/>
            <a:chOff x="4485602" y="3056060"/>
            <a:chExt cx="3974830" cy="1395449"/>
          </a:xfrm>
        </p:grpSpPr>
        <p:sp>
          <p:nvSpPr>
            <p:cNvPr id="60" name="Rectangle 59"/>
            <p:cNvSpPr/>
            <p:nvPr/>
          </p:nvSpPr>
          <p:spPr>
            <a:xfrm>
              <a:off x="5969512" y="3096170"/>
              <a:ext cx="1007007" cy="307777"/>
            </a:xfrm>
            <a:prstGeom prst="rect">
              <a:avLst/>
            </a:prstGeom>
          </p:spPr>
          <p:txBody>
            <a:bodyPr wrap="none">
              <a:spAutoFit/>
            </a:bodyPr>
            <a:lstStyle/>
            <a:p>
              <a:r>
                <a:rPr lang="fr-FR" sz="1400" dirty="0">
                  <a:latin typeface="Helvetica 65 Medium" panose="020B0604020202020204" pitchFamily="34" charset="0"/>
                </a:rPr>
                <a:t>Ma tirelire</a:t>
              </a:r>
            </a:p>
          </p:txBody>
        </p:sp>
        <p:sp>
          <p:nvSpPr>
            <p:cNvPr id="67" name="Rectangle 66"/>
            <p:cNvSpPr/>
            <p:nvPr/>
          </p:nvSpPr>
          <p:spPr>
            <a:xfrm>
              <a:off x="4513928" y="3435846"/>
              <a:ext cx="3946504" cy="1015663"/>
            </a:xfrm>
            <a:prstGeom prst="rect">
              <a:avLst/>
            </a:prstGeom>
          </p:spPr>
          <p:txBody>
            <a:bodyPr wrap="square">
              <a:spAutoFit/>
            </a:bodyPr>
            <a:lstStyle/>
            <a:p>
              <a:pPr marL="171450" indent="-171450">
                <a:buFont typeface="Arial" panose="020B0604020202020204" pitchFamily="34" charset="0"/>
                <a:buChar char="•"/>
              </a:pPr>
              <a:r>
                <a:rPr lang="fr-FR" sz="1200" dirty="0">
                  <a:latin typeface="Helvetica 55 Roman" panose="020B0604020202020204" pitchFamily="34" charset="0"/>
                </a:rPr>
                <a:t>Economiser sans y penser avec 3 paramétrages </a:t>
              </a:r>
            </a:p>
            <a:p>
              <a:pPr marL="171450" indent="-171450" algn="ctr">
                <a:buFont typeface="Wingdings" panose="05000000000000000000" pitchFamily="2" charset="2"/>
                <a:buChar char="ü"/>
              </a:pPr>
              <a:r>
                <a:rPr lang="fr-FR" sz="1200" b="1" dirty="0">
                  <a:solidFill>
                    <a:srgbClr val="00B0F0"/>
                  </a:solidFill>
                  <a:latin typeface="Helvetica 55 Roman" panose="020B0604020202020204" pitchFamily="34" charset="0"/>
                </a:rPr>
                <a:t>Arrondir</a:t>
              </a:r>
              <a:r>
                <a:rPr lang="fr-FR" sz="1200" dirty="0">
                  <a:latin typeface="Helvetica 55 Roman" panose="020B0604020202020204" pitchFamily="34" charset="0"/>
                </a:rPr>
                <a:t> à la dizaine les paiements supérieurs à 15€</a:t>
              </a:r>
            </a:p>
            <a:p>
              <a:pPr marL="171450" indent="-171450">
                <a:buFont typeface="Wingdings" panose="05000000000000000000" pitchFamily="2" charset="2"/>
                <a:buChar char="ü"/>
              </a:pPr>
              <a:r>
                <a:rPr lang="fr-FR" sz="1200" dirty="0">
                  <a:latin typeface="Helvetica 55 Roman" panose="020B0604020202020204" pitchFamily="34" charset="0"/>
                </a:rPr>
                <a:t>Prélever un </a:t>
              </a:r>
              <a:r>
                <a:rPr lang="fr-FR" sz="1200" b="1" dirty="0">
                  <a:solidFill>
                    <a:srgbClr val="00B0F0"/>
                  </a:solidFill>
                  <a:latin typeface="Helvetica 55 Roman" panose="020B0604020202020204" pitchFamily="34" charset="0"/>
                </a:rPr>
                <a:t>pourcentage</a:t>
              </a:r>
              <a:r>
                <a:rPr lang="fr-FR" sz="1200" dirty="0">
                  <a:latin typeface="Helvetica 55 Roman" panose="020B0604020202020204" pitchFamily="34" charset="0"/>
                </a:rPr>
                <a:t> du montant de chaque paiement</a:t>
              </a:r>
            </a:p>
            <a:p>
              <a:pPr marL="171450" indent="-171450">
                <a:buFont typeface="Wingdings" panose="05000000000000000000" pitchFamily="2" charset="2"/>
                <a:buChar char="ü"/>
              </a:pPr>
              <a:r>
                <a:rPr lang="fr-FR" sz="1200" dirty="0">
                  <a:latin typeface="Helvetica 55 Roman" panose="020B0604020202020204" pitchFamily="34" charset="0"/>
                </a:rPr>
                <a:t>Prélever un </a:t>
              </a:r>
              <a:r>
                <a:rPr lang="fr-FR" sz="1200" b="1" dirty="0">
                  <a:solidFill>
                    <a:srgbClr val="00B0F0"/>
                  </a:solidFill>
                  <a:latin typeface="Helvetica 55 Roman" panose="020B0604020202020204" pitchFamily="34" charset="0"/>
                </a:rPr>
                <a:t>montant fixe</a:t>
              </a:r>
              <a:r>
                <a:rPr lang="fr-FR" sz="1200" dirty="0">
                  <a:latin typeface="Helvetica 55 Roman" panose="020B0604020202020204" pitchFamily="34" charset="0"/>
                </a:rPr>
                <a:t> à chaque dépense</a:t>
              </a:r>
            </a:p>
          </p:txBody>
        </p:sp>
        <p:sp>
          <p:nvSpPr>
            <p:cNvPr id="75" name="Rectangle à coins arrondis 74"/>
            <p:cNvSpPr/>
            <p:nvPr/>
          </p:nvSpPr>
          <p:spPr>
            <a:xfrm>
              <a:off x="4485602" y="3056060"/>
              <a:ext cx="3974830" cy="1387897"/>
            </a:xfrm>
            <a:prstGeom prst="roundRect">
              <a:avLst/>
            </a:prstGeom>
            <a:noFill/>
            <a:ln w="19050">
              <a:solidFill>
                <a:srgbClr val="5DC3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4" name="Groupe 63"/>
          <p:cNvGrpSpPr/>
          <p:nvPr/>
        </p:nvGrpSpPr>
        <p:grpSpPr>
          <a:xfrm>
            <a:off x="193931" y="3014234"/>
            <a:ext cx="3974830" cy="1387897"/>
            <a:chOff x="0" y="3056059"/>
            <a:chExt cx="3974830" cy="1387897"/>
          </a:xfrm>
        </p:grpSpPr>
        <p:sp>
          <p:nvSpPr>
            <p:cNvPr id="41" name="Rectangle 40"/>
            <p:cNvSpPr/>
            <p:nvPr/>
          </p:nvSpPr>
          <p:spPr>
            <a:xfrm>
              <a:off x="1412905" y="3096170"/>
              <a:ext cx="1149674" cy="307777"/>
            </a:xfrm>
            <a:prstGeom prst="rect">
              <a:avLst/>
            </a:prstGeom>
          </p:spPr>
          <p:txBody>
            <a:bodyPr wrap="none">
              <a:spAutoFit/>
            </a:bodyPr>
            <a:lstStyle/>
            <a:p>
              <a:r>
                <a:rPr lang="fr-FR" sz="1400" dirty="0" err="1">
                  <a:latin typeface="Helvetica 65 Medium" panose="020B0604020202020204" pitchFamily="34" charset="0"/>
                </a:rPr>
                <a:t>We</a:t>
              </a:r>
              <a:r>
                <a:rPr lang="fr-FR" sz="1400" dirty="0">
                  <a:latin typeface="Helvetica 65 Medium" panose="020B0604020202020204" pitchFamily="34" charset="0"/>
                </a:rPr>
                <a:t> Partage</a:t>
              </a:r>
            </a:p>
          </p:txBody>
        </p:sp>
        <p:sp>
          <p:nvSpPr>
            <p:cNvPr id="46" name="Rectangle 45"/>
            <p:cNvSpPr/>
            <p:nvPr/>
          </p:nvSpPr>
          <p:spPr>
            <a:xfrm>
              <a:off x="251520" y="3435846"/>
              <a:ext cx="3473836" cy="830997"/>
            </a:xfrm>
            <a:prstGeom prst="rect">
              <a:avLst/>
            </a:prstGeom>
          </p:spPr>
          <p:txBody>
            <a:bodyPr wrap="square">
              <a:spAutoFit/>
            </a:bodyPr>
            <a:lstStyle/>
            <a:p>
              <a:pPr marL="171450" indent="-171450">
                <a:buFont typeface="Arial" panose="020B0604020202020204" pitchFamily="34" charset="0"/>
                <a:buChar char="•"/>
              </a:pPr>
              <a:r>
                <a:rPr lang="fr-FR" sz="1200" dirty="0">
                  <a:latin typeface="Helvetica 55 Roman" panose="020B0604020202020204" pitchFamily="34" charset="0"/>
                </a:rPr>
                <a:t>Des </a:t>
              </a:r>
              <a:r>
                <a:rPr lang="fr-FR" sz="1200" b="1" dirty="0">
                  <a:solidFill>
                    <a:srgbClr val="00B0F0"/>
                  </a:solidFill>
                  <a:latin typeface="Helvetica 55 Roman" panose="020B0604020202020204" pitchFamily="34" charset="0"/>
                </a:rPr>
                <a:t>dépenses communes </a:t>
              </a:r>
              <a:r>
                <a:rPr lang="fr-FR" sz="1200" dirty="0">
                  <a:latin typeface="Helvetica 55 Roman" panose="020B0604020202020204" pitchFamily="34" charset="0"/>
                </a:rPr>
                <a:t>? C'est géré !</a:t>
              </a:r>
            </a:p>
            <a:p>
              <a:pPr marL="171450" indent="-171450">
                <a:buFont typeface="Arial" panose="020B0604020202020204" pitchFamily="34" charset="0"/>
                <a:buChar char="•"/>
              </a:pPr>
              <a:r>
                <a:rPr lang="fr-FR" sz="1200" dirty="0">
                  <a:latin typeface="Helvetica 55 Roman" panose="020B0604020202020204" pitchFamily="34" charset="0"/>
                </a:rPr>
                <a:t>Des</a:t>
              </a:r>
              <a:r>
                <a:rPr lang="fr-FR" sz="1200" b="1" dirty="0">
                  <a:solidFill>
                    <a:srgbClr val="00B0F0"/>
                  </a:solidFill>
                  <a:latin typeface="Helvetica 55 Roman" panose="020B0604020202020204" pitchFamily="34" charset="0"/>
                </a:rPr>
                <a:t> calculs </a:t>
              </a:r>
              <a:r>
                <a:rPr lang="fr-FR" sz="1200" dirty="0">
                  <a:latin typeface="Helvetica 55 Roman" panose="020B0604020202020204" pitchFamily="34" charset="0"/>
                </a:rPr>
                <a:t>tordus ? C'est géré ! </a:t>
              </a:r>
            </a:p>
            <a:p>
              <a:pPr marL="171450" indent="-171450">
                <a:buFont typeface="Arial" panose="020B0604020202020204" pitchFamily="34" charset="0"/>
                <a:buChar char="•"/>
              </a:pPr>
              <a:r>
                <a:rPr lang="fr-FR" sz="1200" b="1" dirty="0">
                  <a:latin typeface="Helvetica 55 Roman" panose="020B0604020202020204" pitchFamily="34" charset="0"/>
                </a:rPr>
                <a:t> </a:t>
              </a:r>
              <a:r>
                <a:rPr lang="fr-FR" sz="1200" b="1" dirty="0">
                  <a:solidFill>
                    <a:srgbClr val="00B0F0"/>
                  </a:solidFill>
                  <a:latin typeface="Helvetica 55 Roman" panose="020B0604020202020204" pitchFamily="34" charset="0"/>
                </a:rPr>
                <a:t>Qui doit combien à qui </a:t>
              </a:r>
              <a:r>
                <a:rPr lang="fr-FR" sz="1200" dirty="0">
                  <a:latin typeface="Helvetica 55 Roman" panose="020B0604020202020204" pitchFamily="34" charset="0"/>
                </a:rPr>
                <a:t>? C'est géré !</a:t>
              </a:r>
            </a:p>
            <a:p>
              <a:pPr marL="171450" indent="-171450">
                <a:buFont typeface="Arial" panose="020B0604020202020204" pitchFamily="34" charset="0"/>
                <a:buChar char="•"/>
              </a:pPr>
              <a:r>
                <a:rPr lang="fr-FR" sz="1200" b="1" dirty="0">
                  <a:latin typeface="Helvetica 55 Roman" panose="020B0604020202020204" pitchFamily="34" charset="0"/>
                </a:rPr>
                <a:t> </a:t>
              </a:r>
              <a:r>
                <a:rPr lang="fr-FR" sz="1200" b="1" dirty="0">
                  <a:solidFill>
                    <a:srgbClr val="00B0F0"/>
                  </a:solidFill>
                  <a:latin typeface="Helvetica 55 Roman" panose="020B0604020202020204" pitchFamily="34" charset="0"/>
                </a:rPr>
                <a:t>Remboursement</a:t>
              </a:r>
              <a:r>
                <a:rPr lang="fr-FR" sz="1200" dirty="0">
                  <a:latin typeface="Helvetica 55 Roman" panose="020B0604020202020204" pitchFamily="34" charset="0"/>
                </a:rPr>
                <a:t> par SMS</a:t>
              </a:r>
            </a:p>
          </p:txBody>
        </p:sp>
        <p:sp>
          <p:nvSpPr>
            <p:cNvPr id="78" name="Rectangle à coins arrondis 77"/>
            <p:cNvSpPr/>
            <p:nvPr/>
          </p:nvSpPr>
          <p:spPr>
            <a:xfrm>
              <a:off x="0" y="3056059"/>
              <a:ext cx="3974830" cy="1387897"/>
            </a:xfrm>
            <a:prstGeom prst="roundRect">
              <a:avLst/>
            </a:prstGeom>
            <a:noFill/>
            <a:ln w="19050">
              <a:solidFill>
                <a:srgbClr val="FFB4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3" name="Groupe 62"/>
          <p:cNvGrpSpPr/>
          <p:nvPr/>
        </p:nvGrpSpPr>
        <p:grpSpPr>
          <a:xfrm>
            <a:off x="229935" y="843558"/>
            <a:ext cx="3902822" cy="2049016"/>
            <a:chOff x="38061" y="640386"/>
            <a:chExt cx="3902822" cy="2049016"/>
          </a:xfrm>
        </p:grpSpPr>
        <p:sp>
          <p:nvSpPr>
            <p:cNvPr id="39" name="Rectangle 38"/>
            <p:cNvSpPr/>
            <p:nvPr/>
          </p:nvSpPr>
          <p:spPr>
            <a:xfrm>
              <a:off x="1279645" y="699542"/>
              <a:ext cx="1418978" cy="307777"/>
            </a:xfrm>
            <a:prstGeom prst="rect">
              <a:avLst/>
            </a:prstGeom>
          </p:spPr>
          <p:txBody>
            <a:bodyPr wrap="none">
              <a:spAutoFit/>
            </a:bodyPr>
            <a:lstStyle/>
            <a:p>
              <a:r>
                <a:rPr lang="fr-FR" sz="1400" dirty="0" err="1">
                  <a:latin typeface="Helvetica 65 Medium" panose="020B0604020202020204" pitchFamily="34" charset="0"/>
                </a:rPr>
                <a:t>Let’s</a:t>
              </a:r>
              <a:r>
                <a:rPr lang="fr-FR" sz="1400" dirty="0">
                  <a:latin typeface="Helvetica 65 Medium" panose="020B0604020202020204" pitchFamily="34" charset="0"/>
                </a:rPr>
                <a:t> cagnotte </a:t>
              </a:r>
            </a:p>
          </p:txBody>
        </p:sp>
        <p:sp>
          <p:nvSpPr>
            <p:cNvPr id="45" name="Rectangle 44"/>
            <p:cNvSpPr/>
            <p:nvPr/>
          </p:nvSpPr>
          <p:spPr>
            <a:xfrm>
              <a:off x="251520" y="1045951"/>
              <a:ext cx="3473836" cy="1569660"/>
            </a:xfrm>
            <a:prstGeom prst="rect">
              <a:avLst/>
            </a:prstGeom>
          </p:spPr>
          <p:txBody>
            <a:bodyPr wrap="square">
              <a:spAutoFit/>
            </a:bodyPr>
            <a:lstStyle/>
            <a:p>
              <a:pPr marL="171450" indent="-171450">
                <a:buFont typeface="Arial" panose="020B0604020202020204" pitchFamily="34" charset="0"/>
                <a:buChar char="•"/>
              </a:pPr>
              <a:r>
                <a:rPr lang="fr-FR" sz="1200" dirty="0" err="1">
                  <a:latin typeface="Helvetica 55 Roman" panose="020B0604020202020204" pitchFamily="34" charset="0"/>
                </a:rPr>
                <a:t>Let's</a:t>
              </a:r>
              <a:r>
                <a:rPr lang="fr-FR" sz="1200" dirty="0">
                  <a:latin typeface="Helvetica 55 Roman" panose="020B0604020202020204" pitchFamily="34" charset="0"/>
                </a:rPr>
                <a:t> Cagnotte est un service </a:t>
              </a:r>
              <a:r>
                <a:rPr lang="fr-FR" sz="1200" b="1" dirty="0">
                  <a:solidFill>
                    <a:srgbClr val="00B0F0"/>
                  </a:solidFill>
                  <a:latin typeface="Helvetica 55 Roman" panose="020B0604020202020204" pitchFamily="34" charset="0"/>
                </a:rPr>
                <a:t>100% gratuit </a:t>
              </a:r>
              <a:r>
                <a:rPr lang="fr-FR" sz="1200" dirty="0">
                  <a:latin typeface="Helvetica 55 Roman" panose="020B0604020202020204" pitchFamily="34" charset="0"/>
                </a:rPr>
                <a:t>et sans commission</a:t>
              </a:r>
            </a:p>
            <a:p>
              <a:pPr marL="171450" indent="-171450">
                <a:buFont typeface="Arial" panose="020B0604020202020204" pitchFamily="34" charset="0"/>
                <a:buChar char="•"/>
              </a:pPr>
              <a:r>
                <a:rPr lang="fr-FR" sz="1200" dirty="0">
                  <a:latin typeface="Helvetica 55 Roman" panose="020B0604020202020204" pitchFamily="34" charset="0"/>
                </a:rPr>
                <a:t>Ouverte à </a:t>
              </a:r>
              <a:r>
                <a:rPr lang="fr-FR" sz="1200" b="1" dirty="0">
                  <a:solidFill>
                    <a:srgbClr val="00B0F0"/>
                  </a:solidFill>
                  <a:latin typeface="Helvetica 55 Roman" panose="020B0604020202020204" pitchFamily="34" charset="0"/>
                </a:rPr>
                <a:t>tous</a:t>
              </a:r>
              <a:r>
                <a:rPr lang="fr-FR" sz="1200" dirty="0">
                  <a:latin typeface="Helvetica 55 Roman" panose="020B0604020202020204" pitchFamily="34" charset="0"/>
                </a:rPr>
                <a:t>, peu importe sa banque</a:t>
              </a:r>
              <a:endParaRPr lang="fr-FR" sz="1200" b="1" dirty="0">
                <a:latin typeface="Helvetica 55 Roman" panose="020B0604020202020204" pitchFamily="34" charset="0"/>
              </a:endParaRPr>
            </a:p>
            <a:p>
              <a:pPr marL="171450" indent="-171450">
                <a:buFont typeface="Arial" panose="020B0604020202020204" pitchFamily="34" charset="0"/>
                <a:buChar char="•"/>
              </a:pPr>
              <a:r>
                <a:rPr lang="fr-FR" sz="1200" dirty="0">
                  <a:latin typeface="Helvetica 55 Roman" panose="020B0604020202020204" pitchFamily="34" charset="0"/>
                </a:rPr>
                <a:t>Pilotez jusqu'à </a:t>
              </a:r>
              <a:r>
                <a:rPr lang="fr-FR" sz="1200" b="1" dirty="0">
                  <a:solidFill>
                    <a:srgbClr val="00B0F0"/>
                  </a:solidFill>
                  <a:latin typeface="Helvetica 55 Roman" panose="020B0604020202020204" pitchFamily="34" charset="0"/>
                </a:rPr>
                <a:t>5 cagnottes</a:t>
              </a:r>
              <a:r>
                <a:rPr lang="fr-FR" sz="1200" dirty="0">
                  <a:latin typeface="Helvetica 55 Roman" panose="020B0604020202020204" pitchFamily="34" charset="0"/>
                </a:rPr>
                <a:t> en même temps</a:t>
              </a:r>
            </a:p>
            <a:p>
              <a:pPr marL="171450" indent="-171450">
                <a:buFont typeface="Arial" panose="020B0604020202020204" pitchFamily="34" charset="0"/>
                <a:buChar char="•"/>
              </a:pPr>
              <a:r>
                <a:rPr lang="fr-FR" sz="1200" b="1" dirty="0">
                  <a:latin typeface="Helvetica 55 Roman" panose="020B0604020202020204" pitchFamily="34" charset="0"/>
                </a:rPr>
                <a:t> </a:t>
              </a:r>
              <a:r>
                <a:rPr lang="fr-FR" sz="1200" b="1" dirty="0">
                  <a:solidFill>
                    <a:srgbClr val="00B0F0"/>
                  </a:solidFill>
                  <a:latin typeface="Helvetica 55 Roman" panose="020B0604020202020204" pitchFamily="34" charset="0"/>
                </a:rPr>
                <a:t>Annulez</a:t>
              </a:r>
              <a:r>
                <a:rPr lang="fr-FR" sz="1200" dirty="0">
                  <a:latin typeface="Helvetica 55 Roman" panose="020B0604020202020204" pitchFamily="34" charset="0"/>
                </a:rPr>
                <a:t> votre cagnotte quand vous le voulez et sans frais</a:t>
              </a:r>
            </a:p>
            <a:p>
              <a:pPr marL="171450" indent="-171450">
                <a:buFont typeface="Arial" panose="020B0604020202020204" pitchFamily="34" charset="0"/>
                <a:buChar char="•"/>
              </a:pPr>
              <a:r>
                <a:rPr lang="fr-FR" sz="1200" dirty="0">
                  <a:latin typeface="Helvetica 55 Roman" panose="020B0604020202020204" pitchFamily="34" charset="0"/>
                </a:rPr>
                <a:t>Vos données et celles des participants sont totalement </a:t>
              </a:r>
              <a:r>
                <a:rPr lang="fr-FR" sz="1200" b="1" dirty="0">
                  <a:solidFill>
                    <a:srgbClr val="00B0F0"/>
                  </a:solidFill>
                  <a:latin typeface="Helvetica 55 Roman" panose="020B0604020202020204" pitchFamily="34" charset="0"/>
                </a:rPr>
                <a:t>sécurisées</a:t>
              </a:r>
              <a:endParaRPr lang="fr-FR" sz="1200" b="1" i="0" u="none" strike="noStrike" dirty="0">
                <a:solidFill>
                  <a:srgbClr val="00B0F0"/>
                </a:solidFill>
                <a:effectLst/>
                <a:latin typeface="Helvetica 55 Roman" panose="020B0604020202020204" pitchFamily="34" charset="0"/>
              </a:endParaRPr>
            </a:p>
          </p:txBody>
        </p:sp>
        <p:sp>
          <p:nvSpPr>
            <p:cNvPr id="79" name="Rectangle à coins arrondis 78"/>
            <p:cNvSpPr/>
            <p:nvPr/>
          </p:nvSpPr>
          <p:spPr>
            <a:xfrm>
              <a:off x="38061" y="640386"/>
              <a:ext cx="3902822" cy="2049016"/>
            </a:xfrm>
            <a:prstGeom prst="roundRect">
              <a:avLst/>
            </a:prstGeom>
            <a:noFill/>
            <a:ln w="19050">
              <a:solidFill>
                <a:srgbClr val="A885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785572682"/>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2"/>
            </p:custDataLst>
            <p:extLst>
              <p:ext uri="{D42A27DB-BD31-4B8C-83A1-F6EECF244321}">
                <p14:modId xmlns:p14="http://schemas.microsoft.com/office/powerpoint/2010/main" val="110401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6" name="Diapositive think-cell" r:id="rId8" imgW="384" imgH="384" progId="TCLayout.ActiveDocument.1">
                  <p:embed/>
                </p:oleObj>
              </mc:Choice>
              <mc:Fallback>
                <p:oleObj name="Diapositive think-cell" r:id="rId8" imgW="384" imgH="38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1" name="Rectangle 3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600" dirty="0">
              <a:latin typeface="Helvetica 75 Bold"/>
              <a:ea typeface="ＭＳ Ｐゴシック"/>
              <a:cs typeface="+mj-cs"/>
              <a:sym typeface="Helvetica 75 Bold"/>
            </a:endParaRPr>
          </a:p>
        </p:txBody>
      </p:sp>
      <p:pic>
        <p:nvPicPr>
          <p:cNvPr id="40005" name="Picture 69"/>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2101" t="16296" r="37908" b="12880"/>
          <a:stretch/>
        </p:blipFill>
        <p:spPr bwMode="auto">
          <a:xfrm>
            <a:off x="3555039" y="477832"/>
            <a:ext cx="3105193" cy="30933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939" name="Picture 3"/>
          <p:cNvPicPr>
            <a:picLocks noChangeAspect="1" noChangeArrowheads="1"/>
          </p:cNvPicPr>
          <p:nvPr/>
        </p:nvPicPr>
        <p:blipFill rotWithShape="1">
          <a:blip r:embed="rId11">
            <a:extLst>
              <a:ext uri="{28A0092B-C50C-407E-A947-70E740481C1C}">
                <a14:useLocalDpi xmlns:a14="http://schemas.microsoft.com/office/drawing/2010/main" val="0"/>
              </a:ext>
            </a:extLst>
          </a:blip>
          <a:srcRect l="62963" t="36552" r="22912" b="47307"/>
          <a:stretch/>
        </p:blipFill>
        <p:spPr bwMode="auto">
          <a:xfrm>
            <a:off x="863430" y="562208"/>
            <a:ext cx="2566284" cy="1649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re 1"/>
          <p:cNvSpPr>
            <a:spLocks noGrp="1"/>
          </p:cNvSpPr>
          <p:nvPr>
            <p:ph type="title"/>
          </p:nvPr>
        </p:nvSpPr>
        <p:spPr>
          <a:xfrm>
            <a:off x="129441" y="150221"/>
            <a:ext cx="7826935" cy="549321"/>
          </a:xfrm>
        </p:spPr>
        <p:txBody>
          <a:bodyPr/>
          <a:lstStyle/>
          <a:p>
            <a:r>
              <a:rPr lang="fr-FR" sz="1600" dirty="0">
                <a:solidFill>
                  <a:srgbClr val="FF7900"/>
                </a:solidFill>
              </a:rPr>
              <a:t>Une communication sur les réseaux sociaux décalée et ciblée, partenariat avec </a:t>
            </a:r>
            <a:r>
              <a:rPr lang="fr-FR" sz="1600" dirty="0" err="1">
                <a:solidFill>
                  <a:srgbClr val="FF7900"/>
                </a:solidFill>
              </a:rPr>
              <a:t>Topito</a:t>
            </a:r>
            <a:endParaRPr lang="fr-FR" sz="1600" dirty="0">
              <a:solidFill>
                <a:srgbClr val="FF7900"/>
              </a:solidFill>
            </a:endParaRPr>
          </a:p>
        </p:txBody>
      </p:sp>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1600" dirty="0">
              <a:latin typeface="Helvetica 75 Bold"/>
              <a:ea typeface="ＭＳ Ｐゴシック"/>
              <a:cs typeface="+mj-cs"/>
              <a:sym typeface="Helvetica 75 Bold"/>
            </a:endParaRPr>
          </a:p>
        </p:txBody>
      </p:sp>
      <p:sp>
        <p:nvSpPr>
          <p:cNvPr id="24" name="Rectangle 23"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1600" dirty="0">
              <a:latin typeface="Helvetica 75 Bold"/>
              <a:ea typeface="ＭＳ Ｐゴシック"/>
              <a:cs typeface="+mj-cs"/>
              <a:sym typeface="Helvetica 75 Bold"/>
            </a:endParaRPr>
          </a:p>
        </p:txBody>
      </p:sp>
      <p:sp>
        <p:nvSpPr>
          <p:cNvPr id="29" name="Rectangle 28" hidden="1"/>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1600" dirty="0">
              <a:latin typeface="Helvetica 75 Bold"/>
              <a:ea typeface="ＭＳ Ｐゴシック"/>
              <a:cs typeface="+mj-cs"/>
              <a:sym typeface="Helvetica 75 Bold"/>
            </a:endParaRPr>
          </a:p>
        </p:txBody>
      </p:sp>
      <p:pic>
        <p:nvPicPr>
          <p:cNvPr id="4198" name="Picture 102" descr="Résultat de recherche d'images pour &quot;ma french bank&quo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100392" y="0"/>
            <a:ext cx="1043608" cy="1043609"/>
          </a:xfrm>
          <a:prstGeom prst="rect">
            <a:avLst/>
          </a:prstGeom>
          <a:noFill/>
          <a:extLst>
            <a:ext uri="{909E8E84-426E-40DD-AFC4-6F175D3DCCD1}">
              <a14:hiddenFill xmlns:a14="http://schemas.microsoft.com/office/drawing/2010/main">
                <a:solidFill>
                  <a:srgbClr val="FFFFFF"/>
                </a:solidFill>
              </a14:hiddenFill>
            </a:ext>
          </a:extLst>
        </p:spPr>
      </p:pic>
      <p:pic>
        <p:nvPicPr>
          <p:cNvPr id="39938"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1326" t="14640" r="37544" b="11464"/>
          <a:stretch/>
        </p:blipFill>
        <p:spPr bwMode="auto">
          <a:xfrm>
            <a:off x="6242916" y="2216665"/>
            <a:ext cx="2901084" cy="29317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ZoneTexte 3"/>
          <p:cNvSpPr txBox="1"/>
          <p:nvPr/>
        </p:nvSpPr>
        <p:spPr>
          <a:xfrm>
            <a:off x="-36512" y="2306399"/>
            <a:ext cx="2304256" cy="276999"/>
          </a:xfrm>
          <a:prstGeom prst="rect">
            <a:avLst/>
          </a:prstGeom>
          <a:noFill/>
        </p:spPr>
        <p:txBody>
          <a:bodyPr wrap="square" rtlCol="0">
            <a:spAutoFit/>
          </a:bodyPr>
          <a:lstStyle/>
          <a:p>
            <a:pPr algn="ctr"/>
            <a:r>
              <a:rPr lang="fr-FR" sz="1200" dirty="0" err="1">
                <a:latin typeface="Helvetica 65 Medium" panose="020B0604020202020204" pitchFamily="34" charset="0"/>
              </a:rPr>
              <a:t>Topito</a:t>
            </a:r>
            <a:r>
              <a:rPr lang="fr-FR" sz="1200" dirty="0">
                <a:latin typeface="Helvetica 65 Medium" panose="020B0604020202020204" pitchFamily="34" charset="0"/>
              </a:rPr>
              <a:t> en quelques chiffres</a:t>
            </a:r>
          </a:p>
        </p:txBody>
      </p:sp>
      <p:grpSp>
        <p:nvGrpSpPr>
          <p:cNvPr id="10" name="Groupe 9"/>
          <p:cNvGrpSpPr/>
          <p:nvPr/>
        </p:nvGrpSpPr>
        <p:grpSpPr>
          <a:xfrm>
            <a:off x="159705" y="4233407"/>
            <a:ext cx="3656876" cy="426575"/>
            <a:chOff x="4860032" y="3048587"/>
            <a:chExt cx="3656876" cy="426575"/>
          </a:xfrm>
        </p:grpSpPr>
        <p:sp>
          <p:nvSpPr>
            <p:cNvPr id="5" name="Ellipse 4"/>
            <p:cNvSpPr/>
            <p:nvPr/>
          </p:nvSpPr>
          <p:spPr>
            <a:xfrm>
              <a:off x="4860032" y="3048587"/>
              <a:ext cx="469232" cy="426575"/>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600" dirty="0"/>
                <a:t>2,5</a:t>
              </a:r>
              <a:endParaRPr lang="fr-FR" dirty="0"/>
            </a:p>
          </p:txBody>
        </p:sp>
        <p:sp>
          <p:nvSpPr>
            <p:cNvPr id="6" name="ZoneTexte 5"/>
            <p:cNvSpPr txBox="1"/>
            <p:nvPr/>
          </p:nvSpPr>
          <p:spPr>
            <a:xfrm>
              <a:off x="5436095" y="3123374"/>
              <a:ext cx="3080813" cy="276999"/>
            </a:xfrm>
            <a:prstGeom prst="rect">
              <a:avLst/>
            </a:prstGeom>
            <a:noFill/>
          </p:spPr>
          <p:txBody>
            <a:bodyPr wrap="square" rtlCol="0">
              <a:spAutoFit/>
            </a:bodyPr>
            <a:lstStyle/>
            <a:p>
              <a:r>
                <a:rPr lang="fr-FR" sz="1200" dirty="0">
                  <a:latin typeface="Helvetica 55 Roman" panose="020B0604020202020204" pitchFamily="34" charset="0"/>
                </a:rPr>
                <a:t>Millions de </a:t>
              </a:r>
              <a:r>
                <a:rPr lang="fr-FR" sz="1200" dirty="0" err="1">
                  <a:latin typeface="Helvetica 55 Roman" panose="020B0604020202020204" pitchFamily="34" charset="0"/>
                </a:rPr>
                <a:t>likes</a:t>
              </a:r>
              <a:r>
                <a:rPr lang="fr-FR" sz="1200" dirty="0">
                  <a:latin typeface="Helvetica 55 Roman" panose="020B0604020202020204" pitchFamily="34" charset="0"/>
                </a:rPr>
                <a:t> sur Facebook</a:t>
              </a:r>
            </a:p>
          </p:txBody>
        </p:sp>
      </p:grpSp>
      <p:grpSp>
        <p:nvGrpSpPr>
          <p:cNvPr id="9" name="Groupe 8"/>
          <p:cNvGrpSpPr/>
          <p:nvPr/>
        </p:nvGrpSpPr>
        <p:grpSpPr>
          <a:xfrm>
            <a:off x="159705" y="3169710"/>
            <a:ext cx="3672406" cy="426575"/>
            <a:chOff x="4860032" y="3579862"/>
            <a:chExt cx="3672406" cy="426575"/>
          </a:xfrm>
        </p:grpSpPr>
        <p:sp>
          <p:nvSpPr>
            <p:cNvPr id="30" name="Ellipse 29"/>
            <p:cNvSpPr/>
            <p:nvPr/>
          </p:nvSpPr>
          <p:spPr>
            <a:xfrm>
              <a:off x="4860032" y="3579862"/>
              <a:ext cx="469232" cy="426575"/>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600" dirty="0"/>
                <a:t>8,5</a:t>
              </a:r>
              <a:endParaRPr lang="fr-FR" dirty="0"/>
            </a:p>
          </p:txBody>
        </p:sp>
        <p:sp>
          <p:nvSpPr>
            <p:cNvPr id="33" name="ZoneTexte 32"/>
            <p:cNvSpPr txBox="1"/>
            <p:nvPr/>
          </p:nvSpPr>
          <p:spPr>
            <a:xfrm>
              <a:off x="5436095" y="3654649"/>
              <a:ext cx="3096343" cy="276999"/>
            </a:xfrm>
            <a:prstGeom prst="rect">
              <a:avLst/>
            </a:prstGeom>
            <a:noFill/>
          </p:spPr>
          <p:txBody>
            <a:bodyPr wrap="square" rtlCol="0">
              <a:spAutoFit/>
            </a:bodyPr>
            <a:lstStyle/>
            <a:p>
              <a:r>
                <a:rPr lang="fr-FR" sz="1200" dirty="0">
                  <a:latin typeface="Helvetica 55 Roman" panose="020B0604020202020204" pitchFamily="34" charset="0"/>
                </a:rPr>
                <a:t>Millions de lecteurs mensuels</a:t>
              </a:r>
            </a:p>
          </p:txBody>
        </p:sp>
      </p:grpSp>
      <p:grpSp>
        <p:nvGrpSpPr>
          <p:cNvPr id="8" name="Groupe 7"/>
          <p:cNvGrpSpPr/>
          <p:nvPr/>
        </p:nvGrpSpPr>
        <p:grpSpPr>
          <a:xfrm>
            <a:off x="159705" y="3684014"/>
            <a:ext cx="3671076" cy="461665"/>
            <a:chOff x="4861363" y="4104098"/>
            <a:chExt cx="3671076" cy="461665"/>
          </a:xfrm>
        </p:grpSpPr>
        <p:sp>
          <p:nvSpPr>
            <p:cNvPr id="34" name="Ellipse 33"/>
            <p:cNvSpPr/>
            <p:nvPr/>
          </p:nvSpPr>
          <p:spPr>
            <a:xfrm>
              <a:off x="4861363" y="4121644"/>
              <a:ext cx="469232" cy="426575"/>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600" dirty="0"/>
                <a:t>4,7</a:t>
              </a:r>
              <a:endParaRPr lang="fr-FR" dirty="0"/>
            </a:p>
          </p:txBody>
        </p:sp>
        <p:sp>
          <p:nvSpPr>
            <p:cNvPr id="35" name="ZoneTexte 34"/>
            <p:cNvSpPr txBox="1"/>
            <p:nvPr/>
          </p:nvSpPr>
          <p:spPr>
            <a:xfrm>
              <a:off x="5437426" y="4104098"/>
              <a:ext cx="3095013" cy="461665"/>
            </a:xfrm>
            <a:prstGeom prst="rect">
              <a:avLst/>
            </a:prstGeom>
            <a:noFill/>
          </p:spPr>
          <p:txBody>
            <a:bodyPr wrap="square" rtlCol="0">
              <a:spAutoFit/>
            </a:bodyPr>
            <a:lstStyle/>
            <a:p>
              <a:r>
                <a:rPr lang="fr-FR" sz="1200" dirty="0">
                  <a:latin typeface="Helvetica 55 Roman" panose="020B0604020202020204" pitchFamily="34" charset="0"/>
                </a:rPr>
                <a:t>Millions d’interactions sur les réseaux tous les mois (commentaires, partages…)</a:t>
              </a:r>
            </a:p>
          </p:txBody>
        </p:sp>
      </p:grpSp>
      <p:grpSp>
        <p:nvGrpSpPr>
          <p:cNvPr id="7" name="Groupe 6"/>
          <p:cNvGrpSpPr/>
          <p:nvPr/>
        </p:nvGrpSpPr>
        <p:grpSpPr>
          <a:xfrm>
            <a:off x="159705" y="2655406"/>
            <a:ext cx="3692215" cy="426575"/>
            <a:chOff x="4860033" y="4699381"/>
            <a:chExt cx="3692215" cy="426575"/>
          </a:xfrm>
        </p:grpSpPr>
        <p:sp>
          <p:nvSpPr>
            <p:cNvPr id="36" name="Ellipse 35"/>
            <p:cNvSpPr/>
            <p:nvPr/>
          </p:nvSpPr>
          <p:spPr>
            <a:xfrm>
              <a:off x="4860033" y="4699381"/>
              <a:ext cx="469232" cy="426575"/>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600" dirty="0"/>
                <a:t>20</a:t>
              </a:r>
              <a:endParaRPr lang="fr-FR" dirty="0"/>
            </a:p>
          </p:txBody>
        </p:sp>
        <p:sp>
          <p:nvSpPr>
            <p:cNvPr id="37" name="ZoneTexte 36"/>
            <p:cNvSpPr txBox="1"/>
            <p:nvPr/>
          </p:nvSpPr>
          <p:spPr>
            <a:xfrm>
              <a:off x="5436096" y="4774168"/>
              <a:ext cx="3116152" cy="276999"/>
            </a:xfrm>
            <a:prstGeom prst="rect">
              <a:avLst/>
            </a:prstGeom>
            <a:noFill/>
          </p:spPr>
          <p:txBody>
            <a:bodyPr wrap="square" rtlCol="0">
              <a:spAutoFit/>
            </a:bodyPr>
            <a:lstStyle/>
            <a:p>
              <a:r>
                <a:rPr lang="fr-FR" sz="1200" dirty="0">
                  <a:latin typeface="Helvetica 55 Roman" panose="020B0604020202020204" pitchFamily="34" charset="0"/>
                </a:rPr>
                <a:t>Millions de vues vidéos chaque mois</a:t>
              </a:r>
            </a:p>
          </p:txBody>
        </p:sp>
      </p:grpSp>
      <p:sp>
        <p:nvSpPr>
          <p:cNvPr id="11" name="Rectangle 10"/>
          <p:cNvSpPr/>
          <p:nvPr/>
        </p:nvSpPr>
        <p:spPr>
          <a:xfrm>
            <a:off x="3995936" y="3681239"/>
            <a:ext cx="2016223" cy="1368152"/>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1300" dirty="0">
                <a:latin typeface="Helvetica 55 Roman" panose="020B0604020202020204" pitchFamily="34" charset="0"/>
              </a:rPr>
              <a:t>En travaillant avec des sites humoristiques décalés, Ma French Bank vise une image jeune et dynamique… adaptée à sa cible</a:t>
            </a:r>
          </a:p>
        </p:txBody>
      </p:sp>
    </p:spTree>
    <p:extLst>
      <p:ext uri="{BB962C8B-B14F-4D97-AF65-F5344CB8AC3E}">
        <p14:creationId xmlns:p14="http://schemas.microsoft.com/office/powerpoint/2010/main" val="1732817331"/>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p:custDataLst>
              <p:tags r:id="rId2"/>
            </p:custDataLst>
            <p:extLst>
              <p:ext uri="{D42A27DB-BD31-4B8C-83A1-F6EECF244321}">
                <p14:modId xmlns:p14="http://schemas.microsoft.com/office/powerpoint/2010/main" val="212890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2" name="Diapositive think-cell" r:id="rId6" imgW="421" imgH="423" progId="TCLayout.ActiveDocument.1">
                  <p:embed/>
                </p:oleObj>
              </mc:Choice>
              <mc:Fallback>
                <p:oleObj name="Diapositive think-cell"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600" dirty="0">
              <a:latin typeface="Helvetica 75 Bold"/>
              <a:ea typeface="ＭＳ Ｐゴシック"/>
              <a:cs typeface="+mj-cs"/>
              <a:sym typeface="Helvetica 75 Bold"/>
            </a:endParaRPr>
          </a:p>
        </p:txBody>
      </p:sp>
      <p:sp>
        <p:nvSpPr>
          <p:cNvPr id="12" name="Rectangle 11"/>
          <p:cNvSpPr/>
          <p:nvPr/>
        </p:nvSpPr>
        <p:spPr>
          <a:xfrm>
            <a:off x="237821" y="4648078"/>
            <a:ext cx="144016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p:nvPr>
        </p:nvSpPr>
        <p:spPr>
          <a:xfrm>
            <a:off x="135763" y="195486"/>
            <a:ext cx="8470900" cy="216024"/>
          </a:xfrm>
        </p:spPr>
        <p:txBody>
          <a:bodyPr/>
          <a:lstStyle/>
          <a:p>
            <a:r>
              <a:rPr lang="fr-FR" sz="1600" dirty="0">
                <a:solidFill>
                  <a:srgbClr val="FF7900"/>
                </a:solidFill>
              </a:rPr>
              <a:t>Quelques sources d’inspirations…</a:t>
            </a:r>
          </a:p>
        </p:txBody>
      </p:sp>
      <p:pic>
        <p:nvPicPr>
          <p:cNvPr id="12297" name="Picture 9"/>
          <p:cNvPicPr>
            <a:picLocks noChangeAspect="1" noChangeArrowheads="1"/>
          </p:cNvPicPr>
          <p:nvPr/>
        </p:nvPicPr>
        <p:blipFill rotWithShape="1">
          <a:blip r:embed="rId8">
            <a:clrChange>
              <a:clrFrom>
                <a:srgbClr val="061842"/>
              </a:clrFrom>
              <a:clrTo>
                <a:srgbClr val="061842">
                  <a:alpha val="0"/>
                </a:srgbClr>
              </a:clrTo>
            </a:clrChange>
            <a:extLst>
              <a:ext uri="{BEBA8EAE-BF5A-486C-A8C5-ECC9F3942E4B}">
                <a14:imgProps xmlns:a14="http://schemas.microsoft.com/office/drawing/2010/main">
                  <a14:imgLayer r:embed="rId9">
                    <a14:imgEffect>
                      <a14:backgroundRemoval t="45443" b="87500" l="13324" r="29795"/>
                    </a14:imgEffect>
                  </a14:imgLayer>
                </a14:imgProps>
              </a:ext>
              <a:ext uri="{28A0092B-C50C-407E-A947-70E740481C1C}">
                <a14:useLocalDpi xmlns:a14="http://schemas.microsoft.com/office/drawing/2010/main" val="0"/>
              </a:ext>
            </a:extLst>
          </a:blip>
          <a:srcRect l="13263" t="44139" r="70075" b="14120"/>
          <a:stretch/>
        </p:blipFill>
        <p:spPr bwMode="auto">
          <a:xfrm>
            <a:off x="7099885" y="21253"/>
            <a:ext cx="1497199" cy="21086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e 8"/>
          <p:cNvGrpSpPr/>
          <p:nvPr/>
        </p:nvGrpSpPr>
        <p:grpSpPr>
          <a:xfrm>
            <a:off x="251520" y="627534"/>
            <a:ext cx="5832648" cy="1380157"/>
            <a:chOff x="251520" y="661552"/>
            <a:chExt cx="5832648" cy="1380157"/>
          </a:xfrm>
        </p:grpSpPr>
        <p:pic>
          <p:nvPicPr>
            <p:cNvPr id="12301" name="Picture 13"/>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30272" b="29156"/>
            <a:stretch/>
          </p:blipFill>
          <p:spPr bwMode="auto">
            <a:xfrm>
              <a:off x="251520" y="663671"/>
              <a:ext cx="1235133" cy="3674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ZoneTexte 2"/>
            <p:cNvSpPr txBox="1"/>
            <p:nvPr/>
          </p:nvSpPr>
          <p:spPr>
            <a:xfrm>
              <a:off x="683568" y="987574"/>
              <a:ext cx="5112568" cy="1054135"/>
            </a:xfrm>
            <a:prstGeom prst="rect">
              <a:avLst/>
            </a:prstGeom>
            <a:noFill/>
          </p:spPr>
          <p:txBody>
            <a:bodyPr wrap="square" lIns="36000" rIns="0" rtlCol="0">
              <a:spAutoFit/>
            </a:bodyPr>
            <a:lstStyle/>
            <a:p>
              <a:pPr marL="285750" indent="-285750">
                <a:buFont typeface="Arial" panose="020B0604020202020204" pitchFamily="34" charset="0"/>
                <a:buChar char="•"/>
              </a:pPr>
              <a:r>
                <a:rPr lang="fr-FR" sz="1000" dirty="0">
                  <a:latin typeface="Helvetica 55 Roman" panose="020B0604020202020204" pitchFamily="34" charset="0"/>
                </a:rPr>
                <a:t>Entreprise </a:t>
              </a:r>
              <a:r>
                <a:rPr lang="fr-FR" sz="1050" dirty="0">
                  <a:solidFill>
                    <a:srgbClr val="4BB4E6"/>
                  </a:solidFill>
                  <a:latin typeface="Helvetica 55 Roman" panose="020B0604020202020204" pitchFamily="34" charset="0"/>
                </a:rPr>
                <a:t>australienne</a:t>
              </a:r>
              <a:r>
                <a:rPr lang="fr-FR" sz="1000" dirty="0">
                  <a:latin typeface="Helvetica 55 Roman" panose="020B0604020202020204" pitchFamily="34" charset="0"/>
                </a:rPr>
                <a:t> sans licence bancaire, fondée en 2015</a:t>
              </a:r>
            </a:p>
            <a:p>
              <a:pPr marL="285750" indent="-285750">
                <a:buFont typeface="Arial" panose="020B0604020202020204" pitchFamily="34" charset="0"/>
                <a:buChar char="•"/>
              </a:pPr>
              <a:r>
                <a:rPr lang="fr-FR" sz="1000" dirty="0">
                  <a:latin typeface="Helvetica 55 Roman" panose="020B0604020202020204" pitchFamily="34" charset="0"/>
                </a:rPr>
                <a:t>2,50$ / mois / enfant</a:t>
              </a:r>
            </a:p>
            <a:p>
              <a:pPr marL="285750" indent="-285750">
                <a:buFont typeface="Arial" panose="020B0604020202020204" pitchFamily="34" charset="0"/>
                <a:buChar char="•"/>
              </a:pPr>
              <a:r>
                <a:rPr lang="fr-FR" sz="1000" dirty="0">
                  <a:latin typeface="Helvetica 55 Roman" panose="020B0604020202020204" pitchFamily="34" charset="0"/>
                </a:rPr>
                <a:t>Une carte de débit </a:t>
              </a:r>
              <a:r>
                <a:rPr lang="fr-FR" sz="1050" dirty="0">
                  <a:solidFill>
                    <a:srgbClr val="4BB4E6"/>
                  </a:solidFill>
                  <a:latin typeface="Helvetica 55 Roman" panose="020B0604020202020204" pitchFamily="34" charset="0"/>
                </a:rPr>
                <a:t>personnalisable</a:t>
              </a:r>
              <a:r>
                <a:rPr lang="fr-FR" sz="1000" dirty="0">
                  <a:latin typeface="Helvetica 55 Roman" panose="020B0604020202020204" pitchFamily="34" charset="0"/>
                </a:rPr>
                <a:t> et paramétrable</a:t>
              </a:r>
            </a:p>
            <a:p>
              <a:pPr marL="285750" indent="-285750">
                <a:buFont typeface="Arial" panose="020B0604020202020204" pitchFamily="34" charset="0"/>
                <a:buChar char="•"/>
              </a:pPr>
              <a:r>
                <a:rPr lang="fr-FR" sz="1000" dirty="0">
                  <a:latin typeface="Helvetica 55 Roman" panose="020B0604020202020204" pitchFamily="34" charset="0"/>
                </a:rPr>
                <a:t>Une </a:t>
              </a:r>
              <a:r>
                <a:rPr lang="fr-FR" sz="1050" dirty="0">
                  <a:solidFill>
                    <a:srgbClr val="4BB4E6"/>
                  </a:solidFill>
                  <a:latin typeface="Helvetica 55 Roman" panose="020B0604020202020204" pitchFamily="34" charset="0"/>
                </a:rPr>
                <a:t>application miroir </a:t>
              </a:r>
              <a:r>
                <a:rPr lang="fr-FR" sz="1000" dirty="0">
                  <a:latin typeface="Helvetica 55 Roman" panose="020B0604020202020204" pitchFamily="34" charset="0"/>
                </a:rPr>
                <a:t>pour les parents (comprenant chaque enfant)</a:t>
              </a:r>
            </a:p>
            <a:p>
              <a:pPr marL="285750" indent="-285750">
                <a:buFont typeface="Arial" panose="020B0604020202020204" pitchFamily="34" charset="0"/>
                <a:buChar char="•"/>
              </a:pPr>
              <a:r>
                <a:rPr lang="fr-FR" sz="1000" dirty="0">
                  <a:latin typeface="Helvetica 55 Roman" panose="020B0604020202020204" pitchFamily="34" charset="0"/>
                </a:rPr>
                <a:t>Une option « </a:t>
              </a:r>
              <a:r>
                <a:rPr lang="fr-FR" sz="1050" dirty="0" err="1">
                  <a:solidFill>
                    <a:srgbClr val="4BB4E6"/>
                  </a:solidFill>
                  <a:latin typeface="Helvetica 55 Roman" panose="020B0604020202020204" pitchFamily="34" charset="0"/>
                </a:rPr>
                <a:t>Spriggy</a:t>
              </a:r>
              <a:r>
                <a:rPr lang="fr-FR" sz="1050" dirty="0">
                  <a:solidFill>
                    <a:srgbClr val="4BB4E6"/>
                  </a:solidFill>
                  <a:latin typeface="Helvetica 55 Roman" panose="020B0604020202020204" pitchFamily="34" charset="0"/>
                </a:rPr>
                <a:t> jobs</a:t>
              </a:r>
              <a:r>
                <a:rPr lang="fr-FR" sz="1000" dirty="0">
                  <a:latin typeface="Helvetica 55 Roman" panose="020B0604020202020204" pitchFamily="34" charset="0"/>
                </a:rPr>
                <a:t> » pour demander à son enfant de réaliser des tâches contre un peu d’argent de poche</a:t>
              </a:r>
            </a:p>
          </p:txBody>
        </p:sp>
        <p:sp>
          <p:nvSpPr>
            <p:cNvPr id="6" name="Rectangle 5"/>
            <p:cNvSpPr/>
            <p:nvPr/>
          </p:nvSpPr>
          <p:spPr>
            <a:xfrm>
              <a:off x="251520" y="661552"/>
              <a:ext cx="5832648" cy="138015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llipse 7"/>
            <p:cNvSpPr/>
            <p:nvPr/>
          </p:nvSpPr>
          <p:spPr>
            <a:xfrm>
              <a:off x="4967233" y="775112"/>
              <a:ext cx="763260" cy="763260"/>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400" dirty="0">
                  <a:solidFill>
                    <a:schemeClr val="bg1"/>
                  </a:solidFill>
                  <a:latin typeface="Helvetica 65 Medium" panose="020B0604020202020204" pitchFamily="34" charset="0"/>
                </a:rPr>
                <a:t>100k clients</a:t>
              </a:r>
            </a:p>
          </p:txBody>
        </p:sp>
      </p:grpSp>
      <p:grpSp>
        <p:nvGrpSpPr>
          <p:cNvPr id="7" name="Groupe 6"/>
          <p:cNvGrpSpPr/>
          <p:nvPr/>
        </p:nvGrpSpPr>
        <p:grpSpPr>
          <a:xfrm>
            <a:off x="2915816" y="2155604"/>
            <a:ext cx="5832648" cy="1381832"/>
            <a:chOff x="2051720" y="2931789"/>
            <a:chExt cx="5832648" cy="1381832"/>
          </a:xfrm>
        </p:grpSpPr>
        <p:sp>
          <p:nvSpPr>
            <p:cNvPr id="11" name="Rectangle 10"/>
            <p:cNvSpPr/>
            <p:nvPr/>
          </p:nvSpPr>
          <p:spPr>
            <a:xfrm>
              <a:off x="2051720" y="2931789"/>
              <a:ext cx="5832648" cy="13788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307" name="Picture 1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110804" y="2986474"/>
              <a:ext cx="941732" cy="320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Ellipse 13"/>
            <p:cNvSpPr/>
            <p:nvPr/>
          </p:nvSpPr>
          <p:spPr>
            <a:xfrm>
              <a:off x="6984389" y="3004541"/>
              <a:ext cx="763260" cy="763260"/>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400" dirty="0">
                  <a:solidFill>
                    <a:schemeClr val="bg1"/>
                  </a:solidFill>
                  <a:latin typeface="Helvetica 65 Medium" panose="020B0604020202020204" pitchFamily="34" charset="0"/>
                </a:rPr>
                <a:t>100k clients</a:t>
              </a:r>
            </a:p>
          </p:txBody>
        </p:sp>
        <p:sp>
          <p:nvSpPr>
            <p:cNvPr id="15" name="ZoneTexte 14"/>
            <p:cNvSpPr txBox="1"/>
            <p:nvPr/>
          </p:nvSpPr>
          <p:spPr>
            <a:xfrm>
              <a:off x="2472031" y="3259486"/>
              <a:ext cx="4824246" cy="1054135"/>
            </a:xfrm>
            <a:prstGeom prst="rect">
              <a:avLst/>
            </a:prstGeom>
            <a:noFill/>
          </p:spPr>
          <p:txBody>
            <a:bodyPr wrap="square" rtlCol="0">
              <a:spAutoFit/>
            </a:bodyPr>
            <a:lstStyle/>
            <a:p>
              <a:pPr marL="285750" indent="-285750">
                <a:buFont typeface="Arial" panose="020B0604020202020204" pitchFamily="34" charset="0"/>
                <a:buChar char="•"/>
              </a:pPr>
              <a:r>
                <a:rPr lang="fr-FR" sz="1000" dirty="0">
                  <a:latin typeface="Helvetica 55 Roman" panose="020B0604020202020204" pitchFamily="34" charset="0"/>
                </a:rPr>
                <a:t>Entreprise </a:t>
              </a:r>
              <a:r>
                <a:rPr lang="fr-FR" sz="1050" dirty="0">
                  <a:solidFill>
                    <a:srgbClr val="4BB4E6"/>
                  </a:solidFill>
                  <a:latin typeface="Helvetica 55 Roman" panose="020B0604020202020204" pitchFamily="34" charset="0"/>
                </a:rPr>
                <a:t>britannique</a:t>
              </a:r>
              <a:r>
                <a:rPr lang="fr-FR" sz="1000" dirty="0">
                  <a:latin typeface="Helvetica 55 Roman" panose="020B0604020202020204" pitchFamily="34" charset="0"/>
                </a:rPr>
                <a:t> sans licence bancaire, fondée en 2012</a:t>
              </a:r>
            </a:p>
            <a:p>
              <a:pPr marL="285750" indent="-285750">
                <a:buFont typeface="Arial" panose="020B0604020202020204" pitchFamily="34" charset="0"/>
                <a:buChar char="•"/>
              </a:pPr>
              <a:r>
                <a:rPr lang="fr-FR" sz="1000" dirty="0">
                  <a:latin typeface="Helvetica 55 Roman" panose="020B0604020202020204" pitchFamily="34" charset="0"/>
                </a:rPr>
                <a:t>2,99£ / mois / enfant</a:t>
              </a:r>
            </a:p>
            <a:p>
              <a:pPr marL="285750" indent="-285750">
                <a:buFont typeface="Arial" panose="020B0604020202020204" pitchFamily="34" charset="0"/>
                <a:buChar char="•"/>
              </a:pPr>
              <a:r>
                <a:rPr lang="fr-FR" sz="1000" dirty="0">
                  <a:latin typeface="Helvetica 55 Roman" panose="020B0604020202020204" pitchFamily="34" charset="0"/>
                </a:rPr>
                <a:t>Une carte de débit </a:t>
              </a:r>
              <a:r>
                <a:rPr lang="fr-FR" sz="1050" dirty="0">
                  <a:solidFill>
                    <a:srgbClr val="4BB4E6"/>
                  </a:solidFill>
                  <a:latin typeface="Helvetica 55 Roman" panose="020B0604020202020204" pitchFamily="34" charset="0"/>
                </a:rPr>
                <a:t>personnalisable</a:t>
              </a:r>
              <a:r>
                <a:rPr lang="fr-FR" sz="1000" dirty="0">
                  <a:latin typeface="Helvetica 55 Roman" panose="020B0604020202020204" pitchFamily="34" charset="0"/>
                </a:rPr>
                <a:t> et paramétrable</a:t>
              </a:r>
            </a:p>
            <a:p>
              <a:pPr marL="285750" indent="-285750">
                <a:buFont typeface="Arial" panose="020B0604020202020204" pitchFamily="34" charset="0"/>
                <a:buChar char="•"/>
              </a:pPr>
              <a:r>
                <a:rPr lang="fr-FR" sz="1000" dirty="0">
                  <a:latin typeface="Helvetica 55 Roman" panose="020B0604020202020204" pitchFamily="34" charset="0"/>
                </a:rPr>
                <a:t>Une </a:t>
              </a:r>
              <a:r>
                <a:rPr lang="fr-FR" sz="1050" dirty="0">
                  <a:solidFill>
                    <a:srgbClr val="4BB4E6"/>
                  </a:solidFill>
                  <a:latin typeface="Helvetica 55 Roman" panose="020B0604020202020204" pitchFamily="34" charset="0"/>
                </a:rPr>
                <a:t>application miroir </a:t>
              </a:r>
              <a:r>
                <a:rPr lang="fr-FR" sz="1000" dirty="0">
                  <a:latin typeface="Helvetica 55 Roman" panose="020B0604020202020204" pitchFamily="34" charset="0"/>
                </a:rPr>
                <a:t>pour les parents</a:t>
              </a:r>
            </a:p>
            <a:p>
              <a:pPr marL="285750" indent="-285750">
                <a:buFont typeface="Arial" panose="020B0604020202020204" pitchFamily="34" charset="0"/>
                <a:buChar char="•"/>
              </a:pPr>
              <a:r>
                <a:rPr lang="fr-FR" sz="1000" dirty="0">
                  <a:latin typeface="Helvetica 55 Roman" panose="020B0604020202020204" pitchFamily="34" charset="0"/>
                </a:rPr>
                <a:t>Une option « </a:t>
              </a:r>
              <a:r>
                <a:rPr lang="fr-FR" sz="1050" dirty="0">
                  <a:solidFill>
                    <a:srgbClr val="4BB4E6"/>
                  </a:solidFill>
                  <a:latin typeface="Helvetica 55 Roman" panose="020B0604020202020204" pitchFamily="34" charset="0"/>
                </a:rPr>
                <a:t>List jobs</a:t>
              </a:r>
              <a:r>
                <a:rPr lang="fr-FR" sz="1000" dirty="0">
                  <a:latin typeface="Helvetica 55 Roman" panose="020B0604020202020204" pitchFamily="34" charset="0"/>
                </a:rPr>
                <a:t> » pour demander à son enfant de réaliser des tâches contre un peu d’argent de poche</a:t>
              </a:r>
            </a:p>
          </p:txBody>
        </p:sp>
      </p:grpSp>
      <p:pic>
        <p:nvPicPr>
          <p:cNvPr id="12314" name="Picture 26"/>
          <p:cNvPicPr>
            <a:picLocks noChangeAspect="1" noChangeArrowheads="1"/>
          </p:cNvPicPr>
          <p:nvPr/>
        </p:nvPicPr>
        <p:blipFill rotWithShape="1">
          <a:blip r:embed="rId12" cstate="print">
            <a:extLst>
              <a:ext uri="{BEBA8EAE-BF5A-486C-A8C5-ECC9F3942E4B}">
                <a14:imgProps xmlns:a14="http://schemas.microsoft.com/office/drawing/2010/main">
                  <a14:imgLayer r:embed="rId13">
                    <a14:imgEffect>
                      <a14:backgroundRemoval t="27214" b="91927" l="20791" r="39092"/>
                    </a14:imgEffect>
                  </a14:imgLayer>
                </a14:imgProps>
              </a:ext>
              <a:ext uri="{28A0092B-C50C-407E-A947-70E740481C1C}">
                <a14:useLocalDpi xmlns:a14="http://schemas.microsoft.com/office/drawing/2010/main" val="0"/>
              </a:ext>
            </a:extLst>
          </a:blip>
          <a:srcRect l="19993" t="26046" r="59850" b="6607"/>
          <a:stretch/>
        </p:blipFill>
        <p:spPr bwMode="auto">
          <a:xfrm>
            <a:off x="387497" y="1924052"/>
            <a:ext cx="963177" cy="18092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72" name="Picture 84"/>
          <p:cNvPicPr>
            <a:picLocks noChangeAspect="1" noChangeArrowheads="1"/>
          </p:cNvPicPr>
          <p:nvPr/>
        </p:nvPicPr>
        <p:blipFill rotWithShape="1">
          <a:blip r:embed="rId14">
            <a:extLst>
              <a:ext uri="{BEBA8EAE-BF5A-486C-A8C5-ECC9F3942E4B}">
                <a14:imgProps xmlns:a14="http://schemas.microsoft.com/office/drawing/2010/main">
                  <a14:imgLayer r:embed="rId15">
                    <a14:imgEffect>
                      <a14:backgroundRemoval t="36852" b="50648" l="35729" r="48125">
                        <a14:foregroundMark x1="38177" y1="38796" x2="41250" y2="39259"/>
                        <a14:foregroundMark x1="39531" y1="44722" x2="41250" y2="45093"/>
                        <a14:foregroundMark x1="42135" y1="44815" x2="42448" y2="44815"/>
                        <a14:foregroundMark x1="43958" y1="47500" x2="46823" y2="47685"/>
                        <a14:foregroundMark x1="44323" y1="46574" x2="46927" y2="46852"/>
                        <a14:foregroundMark x1="44271" y1="48148" x2="47240" y2="48611"/>
                      </a14:backgroundRemoval>
                    </a14:imgEffect>
                  </a14:imgLayer>
                </a14:imgProps>
              </a:ext>
              <a:ext uri="{28A0092B-C50C-407E-A947-70E740481C1C}">
                <a14:useLocalDpi xmlns:a14="http://schemas.microsoft.com/office/drawing/2010/main" val="0"/>
              </a:ext>
            </a:extLst>
          </a:blip>
          <a:srcRect l="35575" t="36436" r="51599" b="48931"/>
          <a:stretch/>
        </p:blipFill>
        <p:spPr bwMode="auto">
          <a:xfrm>
            <a:off x="1317367" y="2620762"/>
            <a:ext cx="1598449" cy="10258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75" name="Picture 87" descr="Résultat de recherche d'images pour &quot;logo morning jump&quot;"/>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18093" b="17204"/>
          <a:stretch/>
        </p:blipFill>
        <p:spPr bwMode="auto">
          <a:xfrm>
            <a:off x="6538308" y="3646566"/>
            <a:ext cx="2210156" cy="1453592"/>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e 12"/>
          <p:cNvGrpSpPr/>
          <p:nvPr/>
        </p:nvGrpSpPr>
        <p:grpSpPr>
          <a:xfrm>
            <a:off x="467544" y="3704029"/>
            <a:ext cx="5832648" cy="1378800"/>
            <a:chOff x="467544" y="3704029"/>
            <a:chExt cx="5832648" cy="1378800"/>
          </a:xfrm>
        </p:grpSpPr>
        <p:sp>
          <p:nvSpPr>
            <p:cNvPr id="19" name="Rectangle 18"/>
            <p:cNvSpPr/>
            <p:nvPr/>
          </p:nvSpPr>
          <p:spPr>
            <a:xfrm>
              <a:off x="467544" y="3704029"/>
              <a:ext cx="5832648" cy="13788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ZoneTexte 21"/>
            <p:cNvSpPr txBox="1"/>
            <p:nvPr/>
          </p:nvSpPr>
          <p:spPr>
            <a:xfrm>
              <a:off x="887855" y="4155926"/>
              <a:ext cx="4824246" cy="892552"/>
            </a:xfrm>
            <a:prstGeom prst="rect">
              <a:avLst/>
            </a:prstGeom>
            <a:noFill/>
          </p:spPr>
          <p:txBody>
            <a:bodyPr wrap="square" rtlCol="0">
              <a:spAutoFit/>
            </a:bodyPr>
            <a:lstStyle/>
            <a:p>
              <a:pPr marL="285750" indent="-285750">
                <a:buFont typeface="Arial" panose="020B0604020202020204" pitchFamily="34" charset="0"/>
                <a:buChar char="•"/>
              </a:pPr>
              <a:r>
                <a:rPr lang="fr-FR" sz="1000" dirty="0">
                  <a:latin typeface="Helvetica 55 Roman" panose="020B0604020202020204" pitchFamily="34" charset="0"/>
                </a:rPr>
                <a:t>Entreprise </a:t>
              </a:r>
              <a:r>
                <a:rPr lang="fr-FR" sz="1050" dirty="0">
                  <a:solidFill>
                    <a:srgbClr val="4BB4E6"/>
                  </a:solidFill>
                  <a:latin typeface="Helvetica 55 Roman" panose="020B0604020202020204" pitchFamily="34" charset="0"/>
                </a:rPr>
                <a:t>française</a:t>
              </a:r>
              <a:r>
                <a:rPr lang="fr-FR" sz="1000" dirty="0">
                  <a:latin typeface="Helvetica 55 Roman" panose="020B0604020202020204" pitchFamily="34" charset="0"/>
                </a:rPr>
                <a:t> avec une licence bancaire, fondée en 2013</a:t>
              </a:r>
            </a:p>
            <a:p>
              <a:pPr marL="285750" indent="-285750">
                <a:buFont typeface="Arial" panose="020B0604020202020204" pitchFamily="34" charset="0"/>
                <a:buChar char="•"/>
              </a:pPr>
              <a:r>
                <a:rPr lang="fr-FR" sz="1000" dirty="0">
                  <a:latin typeface="Helvetica 55 Roman" panose="020B0604020202020204" pitchFamily="34" charset="0"/>
                </a:rPr>
                <a:t>8€ par carte, puis offre </a:t>
              </a:r>
              <a:r>
                <a:rPr lang="fr-FR" sz="1050" dirty="0">
                  <a:solidFill>
                    <a:srgbClr val="4BB4E6"/>
                  </a:solidFill>
                  <a:latin typeface="Helvetica 55 Roman" panose="020B0604020202020204" pitchFamily="34" charset="0"/>
                </a:rPr>
                <a:t>gratuite</a:t>
              </a:r>
            </a:p>
            <a:p>
              <a:pPr marL="285750" indent="-285750">
                <a:buFont typeface="Arial" panose="020B0604020202020204" pitchFamily="34" charset="0"/>
                <a:buChar char="•"/>
              </a:pPr>
              <a:r>
                <a:rPr lang="fr-FR" sz="1000" dirty="0">
                  <a:latin typeface="Helvetica 55 Roman" panose="020B0604020202020204" pitchFamily="34" charset="0"/>
                </a:rPr>
                <a:t>Une carte de débit </a:t>
              </a:r>
              <a:r>
                <a:rPr lang="fr-FR" sz="1050" dirty="0">
                  <a:solidFill>
                    <a:srgbClr val="4BB4E6"/>
                  </a:solidFill>
                  <a:latin typeface="Helvetica 55 Roman" panose="020B0604020202020204" pitchFamily="34" charset="0"/>
                </a:rPr>
                <a:t>paramétrable</a:t>
              </a:r>
              <a:endParaRPr lang="fr-FR" sz="1000" dirty="0">
                <a:solidFill>
                  <a:srgbClr val="4BB4E6"/>
                </a:solidFill>
                <a:latin typeface="Helvetica 55 Roman" panose="020B0604020202020204" pitchFamily="34" charset="0"/>
              </a:endParaRPr>
            </a:p>
            <a:p>
              <a:pPr marL="285750" indent="-285750">
                <a:buFont typeface="Arial" panose="020B0604020202020204" pitchFamily="34" charset="0"/>
                <a:buChar char="•"/>
              </a:pPr>
              <a:r>
                <a:rPr lang="fr-FR" sz="1000" dirty="0">
                  <a:latin typeface="Helvetica 55 Roman" panose="020B0604020202020204" pitchFamily="34" charset="0"/>
                </a:rPr>
                <a:t>Une </a:t>
              </a:r>
              <a:r>
                <a:rPr lang="fr-FR" sz="1050" dirty="0">
                  <a:solidFill>
                    <a:srgbClr val="4BB4E6"/>
                  </a:solidFill>
                  <a:latin typeface="Helvetica 55 Roman" panose="020B0604020202020204" pitchFamily="34" charset="0"/>
                </a:rPr>
                <a:t>interface web </a:t>
              </a:r>
              <a:r>
                <a:rPr lang="fr-FR" sz="1000" dirty="0">
                  <a:latin typeface="Helvetica 55 Roman" panose="020B0604020202020204" pitchFamily="34" charset="0"/>
                </a:rPr>
                <a:t>pour les parents, intégrant chaque compte enfant</a:t>
              </a:r>
            </a:p>
            <a:p>
              <a:pPr marL="285750" indent="-285750">
                <a:buFont typeface="Arial" panose="020B0604020202020204" pitchFamily="34" charset="0"/>
                <a:buChar char="•"/>
              </a:pPr>
              <a:r>
                <a:rPr lang="fr-FR" sz="1000" dirty="0">
                  <a:latin typeface="Helvetica 55 Roman" panose="020B0604020202020204" pitchFamily="34" charset="0"/>
                </a:rPr>
                <a:t>Demande d’argent à ses parents en </a:t>
              </a:r>
              <a:r>
                <a:rPr lang="fr-FR" sz="1050" dirty="0">
                  <a:solidFill>
                    <a:srgbClr val="4BB4E6"/>
                  </a:solidFill>
                  <a:latin typeface="Helvetica 55 Roman" panose="020B0604020202020204" pitchFamily="34" charset="0"/>
                </a:rPr>
                <a:t>temps réel</a:t>
              </a:r>
              <a:endParaRPr lang="fr-FR" sz="1000" dirty="0">
                <a:solidFill>
                  <a:srgbClr val="FF0000"/>
                </a:solidFill>
                <a:latin typeface="Helvetica 55 Roman" panose="020B0604020202020204" pitchFamily="34" charset="0"/>
              </a:endParaRPr>
            </a:p>
          </p:txBody>
        </p:sp>
        <p:pic>
          <p:nvPicPr>
            <p:cNvPr id="12385" name="Picture 97" descr="Résultat de recherche d'images pour &quot;logo morning jump&quot;"/>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11560" y="3783042"/>
              <a:ext cx="953307" cy="42898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51182181"/>
      </p:ext>
    </p:extLst>
  </p:cSld>
  <p:clrMapOvr>
    <a:masterClrMapping/>
  </p:clrMapOvr>
  <p:transition spd="med"/>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800" dirty="0"/>
              <a:t>En conclusion</a:t>
            </a:r>
            <a:endParaRPr lang="fr-FR" dirty="0">
              <a:solidFill>
                <a:schemeClr val="tx1"/>
              </a:solidFill>
            </a:endParaRPr>
          </a:p>
        </p:txBody>
      </p:sp>
      <p:sp>
        <p:nvSpPr>
          <p:cNvPr id="3" name="ZoneTexte 2"/>
          <p:cNvSpPr txBox="1"/>
          <p:nvPr/>
        </p:nvSpPr>
        <p:spPr>
          <a:xfrm>
            <a:off x="383744" y="1003244"/>
            <a:ext cx="8280920" cy="3539430"/>
          </a:xfrm>
          <a:prstGeom prst="rect">
            <a:avLst/>
          </a:prstGeom>
          <a:noFill/>
        </p:spPr>
        <p:txBody>
          <a:bodyPr wrap="square" rtlCol="0">
            <a:spAutoFit/>
          </a:bodyPr>
          <a:lstStyle/>
          <a:p>
            <a:pPr marL="342900" indent="-342900">
              <a:buFont typeface="Wingdings" panose="05000000000000000000" pitchFamily="2" charset="2"/>
              <a:buChar char="§"/>
            </a:pPr>
            <a:r>
              <a:rPr lang="fr-FR" sz="1600" b="1" dirty="0"/>
              <a:t>Le digital est le cœur et la raison d’être des Néo-banques</a:t>
            </a:r>
          </a:p>
          <a:p>
            <a:pPr marL="342900" indent="-342900">
              <a:buFont typeface="Wingdings" panose="05000000000000000000" pitchFamily="2" charset="2"/>
              <a:buChar char="§"/>
            </a:pPr>
            <a:endParaRPr lang="fr-FR" sz="1600" b="1" dirty="0"/>
          </a:p>
          <a:p>
            <a:pPr marL="285750" indent="-285750">
              <a:buFont typeface="Wingdings" panose="05000000000000000000" pitchFamily="2" charset="2"/>
              <a:buChar char="§"/>
            </a:pPr>
            <a:r>
              <a:rPr lang="fr-FR" sz="1600" b="1" dirty="0"/>
              <a:t>Le canal </a:t>
            </a:r>
            <a:r>
              <a:rPr lang="fr-FR" sz="1600" b="1" dirty="0" err="1"/>
              <a:t>phygital</a:t>
            </a:r>
            <a:r>
              <a:rPr lang="fr-FR" sz="1600" b="1" dirty="0"/>
              <a:t> semble être l’organisation la plus efficace à cet instant</a:t>
            </a:r>
          </a:p>
          <a:p>
            <a:pPr marL="285750" indent="-285750">
              <a:buFont typeface="Wingdings" panose="05000000000000000000" pitchFamily="2" charset="2"/>
              <a:buChar char="§"/>
            </a:pPr>
            <a:endParaRPr lang="fr-FR" sz="1600" b="1" dirty="0"/>
          </a:p>
          <a:p>
            <a:pPr marL="285750" indent="-285750">
              <a:buFont typeface="Wingdings" panose="05000000000000000000" pitchFamily="2" charset="2"/>
              <a:buChar char="§"/>
            </a:pPr>
            <a:r>
              <a:rPr lang="fr-FR" sz="1600" b="1" dirty="0"/>
              <a:t>L’innovation perpétuelle, la simplicité, et la transparence sont les principes clefs de nos organisations. </a:t>
            </a:r>
          </a:p>
          <a:p>
            <a:pPr marL="285750" indent="-285750">
              <a:buFont typeface="Wingdings" panose="05000000000000000000" pitchFamily="2" charset="2"/>
              <a:buChar char="§"/>
            </a:pPr>
            <a:endParaRPr lang="fr-FR" sz="1600" b="1" dirty="0"/>
          </a:p>
          <a:p>
            <a:pPr marL="285750" indent="-285750">
              <a:buFont typeface="Wingdings" panose="05000000000000000000" pitchFamily="2" charset="2"/>
              <a:buChar char="§"/>
            </a:pPr>
            <a:endParaRPr lang="fr-FR" sz="1600" b="1" dirty="0"/>
          </a:p>
          <a:p>
            <a:pPr marL="285750" indent="-285750">
              <a:buFont typeface="Wingdings" panose="05000000000000000000" pitchFamily="2" charset="2"/>
              <a:buChar char="§"/>
            </a:pPr>
            <a:endParaRPr lang="fr-FR" sz="1600" b="1" dirty="0"/>
          </a:p>
          <a:p>
            <a:endParaRPr lang="fr-FR" sz="1600" b="1" dirty="0"/>
          </a:p>
          <a:p>
            <a:endParaRPr lang="fr-FR" sz="1600" b="1" dirty="0"/>
          </a:p>
          <a:p>
            <a:pPr marL="342900" indent="-342900">
              <a:buFont typeface="Wingdings" panose="05000000000000000000" pitchFamily="2" charset="2"/>
              <a:buChar char="§"/>
            </a:pPr>
            <a:endParaRPr lang="fr-FR" sz="1600" b="1" dirty="0"/>
          </a:p>
          <a:p>
            <a:pPr marL="342900" indent="-342900">
              <a:buFont typeface="+mj-lt"/>
              <a:buAutoNum type="arabicPeriod"/>
            </a:pPr>
            <a:endParaRPr lang="fr-FR" sz="1600" b="1" dirty="0"/>
          </a:p>
          <a:p>
            <a:endParaRPr lang="fr-FR" sz="1600" b="1" dirty="0"/>
          </a:p>
        </p:txBody>
      </p:sp>
    </p:spTree>
    <p:extLst>
      <p:ext uri="{BB962C8B-B14F-4D97-AF65-F5344CB8AC3E}">
        <p14:creationId xmlns:p14="http://schemas.microsoft.com/office/powerpoint/2010/main" val="4019008632"/>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1965" y="-18853"/>
            <a:ext cx="6321664" cy="713427"/>
          </a:xfrm>
          <a:prstGeom prst="rect">
            <a:avLst/>
          </a:prstGeom>
        </p:spPr>
        <p:txBody>
          <a:bodyPr vert="horz" wrap="square" lIns="0" tIns="5487" rIns="0" bIns="0" rtlCol="0">
            <a:spAutoFit/>
          </a:bodyPr>
          <a:lstStyle/>
          <a:p>
            <a:pPr marL="5776">
              <a:lnSpc>
                <a:spcPct val="100000"/>
              </a:lnSpc>
              <a:spcBef>
                <a:spcPts val="43"/>
              </a:spcBef>
            </a:pPr>
            <a:r>
              <a:rPr sz="2300" spc="-23" dirty="0"/>
              <a:t>Le</a:t>
            </a:r>
            <a:r>
              <a:rPr sz="2300" spc="-89" dirty="0"/>
              <a:t> </a:t>
            </a:r>
            <a:r>
              <a:rPr sz="2300" spc="-39" dirty="0"/>
              <a:t>mobile</a:t>
            </a:r>
            <a:r>
              <a:rPr sz="2300" spc="-86" dirty="0"/>
              <a:t> </a:t>
            </a:r>
            <a:r>
              <a:rPr sz="2300" spc="-30" dirty="0"/>
              <a:t>est</a:t>
            </a:r>
            <a:r>
              <a:rPr sz="2300" spc="-86" dirty="0"/>
              <a:t> </a:t>
            </a:r>
            <a:r>
              <a:rPr sz="2300" spc="-23" dirty="0"/>
              <a:t>le</a:t>
            </a:r>
            <a:r>
              <a:rPr sz="2300" spc="-86" dirty="0"/>
              <a:t> </a:t>
            </a:r>
            <a:r>
              <a:rPr sz="2300" spc="-39" dirty="0"/>
              <a:t>nouvel</a:t>
            </a:r>
            <a:r>
              <a:rPr sz="2300" spc="-86" dirty="0"/>
              <a:t> </a:t>
            </a:r>
            <a:r>
              <a:rPr sz="2300" spc="-36" dirty="0"/>
              <a:t>allié</a:t>
            </a:r>
            <a:r>
              <a:rPr sz="2300" spc="-86" dirty="0"/>
              <a:t> </a:t>
            </a:r>
            <a:r>
              <a:rPr sz="2300" spc="-23" dirty="0"/>
              <a:t>du</a:t>
            </a:r>
            <a:r>
              <a:rPr sz="2300" spc="-86" dirty="0"/>
              <a:t> </a:t>
            </a:r>
            <a:r>
              <a:rPr sz="2300" spc="-39" dirty="0"/>
              <a:t>parcours</a:t>
            </a:r>
            <a:r>
              <a:rPr sz="2300" spc="-86" dirty="0"/>
              <a:t> </a:t>
            </a:r>
            <a:r>
              <a:rPr sz="2300" spc="-45" dirty="0"/>
              <a:t>d’achat</a:t>
            </a:r>
            <a:endParaRPr sz="2300" dirty="0"/>
          </a:p>
        </p:txBody>
      </p:sp>
      <p:sp>
        <p:nvSpPr>
          <p:cNvPr id="3" name="object 3"/>
          <p:cNvSpPr txBox="1"/>
          <p:nvPr/>
        </p:nvSpPr>
        <p:spPr>
          <a:xfrm>
            <a:off x="705758" y="694574"/>
            <a:ext cx="6902688" cy="144916"/>
          </a:xfrm>
          <a:prstGeom prst="rect">
            <a:avLst/>
          </a:prstGeom>
        </p:spPr>
        <p:txBody>
          <a:bodyPr vert="horz" wrap="square" lIns="0" tIns="6354" rIns="0" bIns="0" rtlCol="0">
            <a:spAutoFit/>
          </a:bodyPr>
          <a:lstStyle/>
          <a:p>
            <a:pPr marL="5776">
              <a:spcBef>
                <a:spcPts val="50"/>
              </a:spcBef>
            </a:pPr>
            <a:r>
              <a:rPr sz="900" b="1" spc="2" dirty="0">
                <a:latin typeface="Helvetica Neue"/>
                <a:cs typeface="Helvetica Neue"/>
              </a:rPr>
              <a:t>Au cours des 3 derniers mois, avez-vous </a:t>
            </a:r>
            <a:r>
              <a:rPr sz="900" b="1" dirty="0">
                <a:latin typeface="Helvetica Neue"/>
                <a:cs typeface="Helvetica Neue"/>
              </a:rPr>
              <a:t>utilisé </a:t>
            </a:r>
            <a:r>
              <a:rPr sz="900" b="1" spc="2" dirty="0">
                <a:latin typeface="Helvetica Neue"/>
                <a:cs typeface="Helvetica Neue"/>
              </a:rPr>
              <a:t>votre téléphone mobile pour chacune des actions suivantes</a:t>
            </a:r>
            <a:r>
              <a:rPr sz="900" b="1" spc="-27" dirty="0">
                <a:latin typeface="Helvetica Neue"/>
                <a:cs typeface="Helvetica Neue"/>
              </a:rPr>
              <a:t> </a:t>
            </a:r>
            <a:r>
              <a:rPr sz="900" b="1" spc="2" dirty="0">
                <a:latin typeface="Helvetica Neue"/>
                <a:cs typeface="Helvetica Neue"/>
              </a:rPr>
              <a:t>?</a:t>
            </a:r>
            <a:endParaRPr sz="900" dirty="0">
              <a:latin typeface="Helvetica Neue"/>
              <a:cs typeface="Helvetica Neue"/>
            </a:endParaRPr>
          </a:p>
        </p:txBody>
      </p:sp>
      <p:grpSp>
        <p:nvGrpSpPr>
          <p:cNvPr id="32" name="Groupe 31">
            <a:extLst>
              <a:ext uri="{FF2B5EF4-FFF2-40B4-BE49-F238E27FC236}">
                <a16:creationId xmlns:a16="http://schemas.microsoft.com/office/drawing/2014/main" id="{72629808-1530-614B-945E-B843F96B4684}"/>
              </a:ext>
            </a:extLst>
          </p:cNvPr>
          <p:cNvGrpSpPr/>
          <p:nvPr/>
        </p:nvGrpSpPr>
        <p:grpSpPr>
          <a:xfrm>
            <a:off x="190894" y="197053"/>
            <a:ext cx="422542" cy="422512"/>
            <a:chOff x="419701" y="433273"/>
            <a:chExt cx="929005" cy="929005"/>
          </a:xfrm>
        </p:grpSpPr>
        <p:sp>
          <p:nvSpPr>
            <p:cNvPr id="4" name="object 4"/>
            <p:cNvSpPr/>
            <p:nvPr/>
          </p:nvSpPr>
          <p:spPr>
            <a:xfrm>
              <a:off x="419701" y="433273"/>
              <a:ext cx="929005" cy="929005"/>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4"/>
                  </a:lnTo>
                  <a:lnTo>
                    <a:pt x="20875" y="602434"/>
                  </a:lnTo>
                  <a:lnTo>
                    <a:pt x="36489" y="645096"/>
                  </a:lnTo>
                  <a:lnTo>
                    <a:pt x="56042" y="685687"/>
                  </a:lnTo>
                  <a:lnTo>
                    <a:pt x="79301" y="723972"/>
                  </a:lnTo>
                  <a:lnTo>
                    <a:pt x="106031" y="759718"/>
                  </a:lnTo>
                  <a:lnTo>
                    <a:pt x="136001" y="792693"/>
                  </a:lnTo>
                  <a:lnTo>
                    <a:pt x="168975" y="822662"/>
                  </a:lnTo>
                  <a:lnTo>
                    <a:pt x="204722" y="849392"/>
                  </a:lnTo>
                  <a:lnTo>
                    <a:pt x="243007" y="872651"/>
                  </a:lnTo>
                  <a:lnTo>
                    <a:pt x="283597" y="892204"/>
                  </a:lnTo>
                  <a:lnTo>
                    <a:pt x="326259" y="907818"/>
                  </a:lnTo>
                  <a:lnTo>
                    <a:pt x="370759" y="919260"/>
                  </a:lnTo>
                  <a:lnTo>
                    <a:pt x="416864" y="926296"/>
                  </a:lnTo>
                  <a:lnTo>
                    <a:pt x="464341" y="928694"/>
                  </a:lnTo>
                  <a:lnTo>
                    <a:pt x="511818" y="926296"/>
                  </a:lnTo>
                  <a:lnTo>
                    <a:pt x="557924" y="919260"/>
                  </a:lnTo>
                  <a:lnTo>
                    <a:pt x="602425" y="907818"/>
                  </a:lnTo>
                  <a:lnTo>
                    <a:pt x="645088" y="892204"/>
                  </a:lnTo>
                  <a:lnTo>
                    <a:pt x="685678" y="872651"/>
                  </a:lnTo>
                  <a:lnTo>
                    <a:pt x="723964" y="849392"/>
                  </a:lnTo>
                  <a:lnTo>
                    <a:pt x="759712" y="822662"/>
                  </a:lnTo>
                  <a:lnTo>
                    <a:pt x="792687" y="792693"/>
                  </a:lnTo>
                  <a:lnTo>
                    <a:pt x="822658" y="759718"/>
                  </a:lnTo>
                  <a:lnTo>
                    <a:pt x="849389" y="723972"/>
                  </a:lnTo>
                  <a:lnTo>
                    <a:pt x="872649" y="685687"/>
                  </a:lnTo>
                  <a:lnTo>
                    <a:pt x="892202" y="645096"/>
                  </a:lnTo>
                  <a:lnTo>
                    <a:pt x="907817" y="602434"/>
                  </a:lnTo>
                  <a:lnTo>
                    <a:pt x="919260" y="557934"/>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4AB4E6"/>
            </a:solidFill>
          </p:spPr>
          <p:txBody>
            <a:bodyPr wrap="square" lIns="0" tIns="0" rIns="0" bIns="0" rtlCol="0"/>
            <a:lstStyle/>
            <a:p>
              <a:endParaRPr/>
            </a:p>
          </p:txBody>
        </p:sp>
        <p:sp>
          <p:nvSpPr>
            <p:cNvPr id="5" name="object 5"/>
            <p:cNvSpPr/>
            <p:nvPr/>
          </p:nvSpPr>
          <p:spPr>
            <a:xfrm>
              <a:off x="664983" y="537961"/>
              <a:ext cx="568325" cy="751840"/>
            </a:xfrm>
            <a:custGeom>
              <a:avLst/>
              <a:gdLst/>
              <a:ahLst/>
              <a:cxnLst/>
              <a:rect l="l" t="t" r="r" b="b"/>
              <a:pathLst>
                <a:path w="568325" h="751840">
                  <a:moveTo>
                    <a:pt x="245217" y="0"/>
                  </a:moveTo>
                  <a:lnTo>
                    <a:pt x="0" y="624871"/>
                  </a:lnTo>
                  <a:lnTo>
                    <a:pt x="323047" y="751642"/>
                  </a:lnTo>
                  <a:lnTo>
                    <a:pt x="568265" y="126771"/>
                  </a:lnTo>
                  <a:lnTo>
                    <a:pt x="245217" y="0"/>
                  </a:lnTo>
                  <a:close/>
                </a:path>
              </a:pathLst>
            </a:custGeom>
            <a:solidFill>
              <a:srgbClr val="FFFFFF"/>
            </a:solidFill>
          </p:spPr>
          <p:txBody>
            <a:bodyPr wrap="square" lIns="0" tIns="0" rIns="0" bIns="0" rtlCol="0"/>
            <a:lstStyle/>
            <a:p>
              <a:endParaRPr/>
            </a:p>
          </p:txBody>
        </p:sp>
        <p:sp>
          <p:nvSpPr>
            <p:cNvPr id="6" name="object 6"/>
            <p:cNvSpPr/>
            <p:nvPr/>
          </p:nvSpPr>
          <p:spPr>
            <a:xfrm>
              <a:off x="646369" y="532081"/>
              <a:ext cx="603250" cy="768350"/>
            </a:xfrm>
            <a:custGeom>
              <a:avLst/>
              <a:gdLst/>
              <a:ahLst/>
              <a:cxnLst/>
              <a:rect l="l" t="t" r="r" b="b"/>
              <a:pathLst>
                <a:path w="603250" h="768350">
                  <a:moveTo>
                    <a:pt x="256296" y="0"/>
                  </a:moveTo>
                  <a:lnTo>
                    <a:pt x="219754" y="26215"/>
                  </a:lnTo>
                  <a:lnTo>
                    <a:pt x="2651" y="596795"/>
                  </a:lnTo>
                  <a:lnTo>
                    <a:pt x="0" y="612736"/>
                  </a:lnTo>
                  <a:lnTo>
                    <a:pt x="3541" y="627926"/>
                  </a:lnTo>
                  <a:lnTo>
                    <a:pt x="12516" y="640676"/>
                  </a:lnTo>
                  <a:lnTo>
                    <a:pt x="26168" y="649296"/>
                  </a:lnTo>
                  <a:lnTo>
                    <a:pt x="330557" y="765114"/>
                  </a:lnTo>
                  <a:lnTo>
                    <a:pt x="346484" y="767754"/>
                  </a:lnTo>
                  <a:lnTo>
                    <a:pt x="361665" y="764197"/>
                  </a:lnTo>
                  <a:lnTo>
                    <a:pt x="374408" y="755203"/>
                  </a:lnTo>
                  <a:lnTo>
                    <a:pt x="383026" y="741534"/>
                  </a:lnTo>
                  <a:lnTo>
                    <a:pt x="403008" y="689022"/>
                  </a:lnTo>
                  <a:lnTo>
                    <a:pt x="359467" y="689022"/>
                  </a:lnTo>
                  <a:lnTo>
                    <a:pt x="55162" y="573235"/>
                  </a:lnTo>
                  <a:lnTo>
                    <a:pt x="250559" y="59712"/>
                  </a:lnTo>
                  <a:lnTo>
                    <a:pt x="422217" y="59712"/>
                  </a:lnTo>
                  <a:lnTo>
                    <a:pt x="272224" y="2635"/>
                  </a:lnTo>
                  <a:lnTo>
                    <a:pt x="256296" y="0"/>
                  </a:lnTo>
                  <a:close/>
                </a:path>
                <a:path w="603250" h="768350">
                  <a:moveTo>
                    <a:pt x="422217" y="59712"/>
                  </a:moveTo>
                  <a:lnTo>
                    <a:pt x="250559" y="59712"/>
                  </a:lnTo>
                  <a:lnTo>
                    <a:pt x="554864" y="175509"/>
                  </a:lnTo>
                  <a:lnTo>
                    <a:pt x="359467" y="689022"/>
                  </a:lnTo>
                  <a:lnTo>
                    <a:pt x="403008" y="689022"/>
                  </a:lnTo>
                  <a:lnTo>
                    <a:pt x="600140" y="170954"/>
                  </a:lnTo>
                  <a:lnTo>
                    <a:pt x="602785" y="155013"/>
                  </a:lnTo>
                  <a:lnTo>
                    <a:pt x="599241" y="139824"/>
                  </a:lnTo>
                  <a:lnTo>
                    <a:pt x="590264" y="127078"/>
                  </a:lnTo>
                  <a:lnTo>
                    <a:pt x="576612" y="118464"/>
                  </a:lnTo>
                  <a:lnTo>
                    <a:pt x="558149" y="111438"/>
                  </a:lnTo>
                  <a:lnTo>
                    <a:pt x="443705" y="111438"/>
                  </a:lnTo>
                  <a:lnTo>
                    <a:pt x="376189" y="85742"/>
                  </a:lnTo>
                  <a:lnTo>
                    <a:pt x="373540" y="79837"/>
                  </a:lnTo>
                  <a:lnTo>
                    <a:pt x="377519" y="69376"/>
                  </a:lnTo>
                  <a:lnTo>
                    <a:pt x="383424" y="66727"/>
                  </a:lnTo>
                  <a:lnTo>
                    <a:pt x="440653" y="66727"/>
                  </a:lnTo>
                  <a:lnTo>
                    <a:pt x="422217" y="59712"/>
                  </a:lnTo>
                  <a:close/>
                </a:path>
                <a:path w="603250" h="768350">
                  <a:moveTo>
                    <a:pt x="440653" y="66727"/>
                  </a:moveTo>
                  <a:lnTo>
                    <a:pt x="383424" y="66727"/>
                  </a:lnTo>
                  <a:lnTo>
                    <a:pt x="450941" y="92412"/>
                  </a:lnTo>
                  <a:lnTo>
                    <a:pt x="453600" y="98318"/>
                  </a:lnTo>
                  <a:lnTo>
                    <a:pt x="449611" y="108778"/>
                  </a:lnTo>
                  <a:lnTo>
                    <a:pt x="443705" y="111438"/>
                  </a:lnTo>
                  <a:lnTo>
                    <a:pt x="558149" y="111438"/>
                  </a:lnTo>
                  <a:lnTo>
                    <a:pt x="440653" y="66727"/>
                  </a:lnTo>
                  <a:close/>
                </a:path>
              </a:pathLst>
            </a:custGeom>
            <a:solidFill>
              <a:srgbClr val="000000"/>
            </a:solidFill>
          </p:spPr>
          <p:txBody>
            <a:bodyPr wrap="square" lIns="0" tIns="0" rIns="0" bIns="0" rtlCol="0"/>
            <a:lstStyle/>
            <a:p>
              <a:endParaRPr/>
            </a:p>
          </p:txBody>
        </p:sp>
        <p:sp>
          <p:nvSpPr>
            <p:cNvPr id="7" name="object 7"/>
            <p:cNvSpPr/>
            <p:nvPr/>
          </p:nvSpPr>
          <p:spPr>
            <a:xfrm>
              <a:off x="542803" y="617528"/>
              <a:ext cx="207645" cy="317500"/>
            </a:xfrm>
            <a:custGeom>
              <a:avLst/>
              <a:gdLst/>
              <a:ahLst/>
              <a:cxnLst/>
              <a:rect l="l" t="t" r="r" b="b"/>
              <a:pathLst>
                <a:path w="207645" h="317500">
                  <a:moveTo>
                    <a:pt x="139782" y="0"/>
                  </a:moveTo>
                  <a:lnTo>
                    <a:pt x="97716" y="24434"/>
                  </a:lnTo>
                  <a:lnTo>
                    <a:pt x="62527" y="55767"/>
                  </a:lnTo>
                  <a:lnTo>
                    <a:pt x="34688" y="92723"/>
                  </a:lnTo>
                  <a:lnTo>
                    <a:pt x="14672" y="134028"/>
                  </a:lnTo>
                  <a:lnTo>
                    <a:pt x="2952" y="178406"/>
                  </a:lnTo>
                  <a:lnTo>
                    <a:pt x="0" y="224582"/>
                  </a:lnTo>
                  <a:lnTo>
                    <a:pt x="6288" y="271280"/>
                  </a:lnTo>
                  <a:lnTo>
                    <a:pt x="22289" y="317225"/>
                  </a:lnTo>
                  <a:lnTo>
                    <a:pt x="51481" y="303980"/>
                  </a:lnTo>
                  <a:lnTo>
                    <a:pt x="36331" y="258397"/>
                  </a:lnTo>
                  <a:lnTo>
                    <a:pt x="32098" y="212166"/>
                  </a:lnTo>
                  <a:lnTo>
                    <a:pt x="38172" y="166939"/>
                  </a:lnTo>
                  <a:lnTo>
                    <a:pt x="53942" y="124363"/>
                  </a:lnTo>
                  <a:lnTo>
                    <a:pt x="78796" y="86091"/>
                  </a:lnTo>
                  <a:lnTo>
                    <a:pt x="112122" y="53772"/>
                  </a:lnTo>
                  <a:lnTo>
                    <a:pt x="153311" y="29056"/>
                  </a:lnTo>
                  <a:lnTo>
                    <a:pt x="139782" y="0"/>
                  </a:lnTo>
                  <a:close/>
                </a:path>
                <a:path w="207645" h="317500">
                  <a:moveTo>
                    <a:pt x="166839" y="58113"/>
                  </a:moveTo>
                  <a:lnTo>
                    <a:pt x="126812" y="83176"/>
                  </a:lnTo>
                  <a:lnTo>
                    <a:pt x="95957" y="116680"/>
                  </a:lnTo>
                  <a:lnTo>
                    <a:pt x="75096" y="156406"/>
                  </a:lnTo>
                  <a:lnTo>
                    <a:pt x="65049" y="200137"/>
                  </a:lnTo>
                  <a:lnTo>
                    <a:pt x="66638" y="245656"/>
                  </a:lnTo>
                  <a:lnTo>
                    <a:pt x="80685" y="290745"/>
                  </a:lnTo>
                  <a:lnTo>
                    <a:pt x="109878" y="277509"/>
                  </a:lnTo>
                  <a:lnTo>
                    <a:pt x="97333" y="233141"/>
                  </a:lnTo>
                  <a:lnTo>
                    <a:pt x="99270" y="188787"/>
                  </a:lnTo>
                  <a:lnTo>
                    <a:pt x="114529" y="147585"/>
                  </a:lnTo>
                  <a:lnTo>
                    <a:pt x="141949" y="112671"/>
                  </a:lnTo>
                  <a:lnTo>
                    <a:pt x="180368" y="87180"/>
                  </a:lnTo>
                  <a:lnTo>
                    <a:pt x="166839" y="58113"/>
                  </a:lnTo>
                  <a:close/>
                </a:path>
                <a:path w="207645" h="317500">
                  <a:moveTo>
                    <a:pt x="193906" y="116237"/>
                  </a:moveTo>
                  <a:lnTo>
                    <a:pt x="157852" y="142264"/>
                  </a:lnTo>
                  <a:lnTo>
                    <a:pt x="135519" y="178786"/>
                  </a:lnTo>
                  <a:lnTo>
                    <a:pt x="128672" y="221043"/>
                  </a:lnTo>
                  <a:lnTo>
                    <a:pt x="139070" y="264274"/>
                  </a:lnTo>
                  <a:lnTo>
                    <a:pt x="168274" y="251039"/>
                  </a:lnTo>
                  <a:lnTo>
                    <a:pt x="160843" y="220160"/>
                  </a:lnTo>
                  <a:lnTo>
                    <a:pt x="165732" y="189977"/>
                  </a:lnTo>
                  <a:lnTo>
                    <a:pt x="181682" y="163891"/>
                  </a:lnTo>
                  <a:lnTo>
                    <a:pt x="207435" y="145304"/>
                  </a:lnTo>
                  <a:lnTo>
                    <a:pt x="193906" y="116237"/>
                  </a:lnTo>
                  <a:close/>
                </a:path>
              </a:pathLst>
            </a:custGeom>
            <a:solidFill>
              <a:srgbClr val="000000"/>
            </a:solidFill>
          </p:spPr>
          <p:txBody>
            <a:bodyPr wrap="square" lIns="0" tIns="0" rIns="0" bIns="0" rtlCol="0"/>
            <a:lstStyle/>
            <a:p>
              <a:endParaRPr/>
            </a:p>
          </p:txBody>
        </p:sp>
        <p:sp>
          <p:nvSpPr>
            <p:cNvPr id="8" name="object 8"/>
            <p:cNvSpPr/>
            <p:nvPr/>
          </p:nvSpPr>
          <p:spPr>
            <a:xfrm>
              <a:off x="816706" y="793912"/>
              <a:ext cx="251460" cy="427990"/>
            </a:xfrm>
            <a:custGeom>
              <a:avLst/>
              <a:gdLst/>
              <a:ahLst/>
              <a:cxnLst/>
              <a:rect l="l" t="t" r="r" b="b"/>
              <a:pathLst>
                <a:path w="251459" h="427990">
                  <a:moveTo>
                    <a:pt x="124482" y="0"/>
                  </a:moveTo>
                  <a:lnTo>
                    <a:pt x="78903" y="10651"/>
                  </a:lnTo>
                  <a:lnTo>
                    <a:pt x="40646" y="37616"/>
                  </a:lnTo>
                  <a:lnTo>
                    <a:pt x="14778" y="78622"/>
                  </a:lnTo>
                  <a:lnTo>
                    <a:pt x="6846" y="126453"/>
                  </a:lnTo>
                  <a:lnTo>
                    <a:pt x="17502" y="172031"/>
                  </a:lnTo>
                  <a:lnTo>
                    <a:pt x="44471" y="210289"/>
                  </a:lnTo>
                  <a:lnTo>
                    <a:pt x="85478" y="236156"/>
                  </a:lnTo>
                  <a:lnTo>
                    <a:pt x="133309" y="244094"/>
                  </a:lnTo>
                  <a:lnTo>
                    <a:pt x="178887" y="233442"/>
                  </a:lnTo>
                  <a:lnTo>
                    <a:pt x="192629" y="223755"/>
                  </a:lnTo>
                  <a:lnTo>
                    <a:pt x="132573" y="223755"/>
                  </a:lnTo>
                  <a:lnTo>
                    <a:pt x="92713" y="217141"/>
                  </a:lnTo>
                  <a:lnTo>
                    <a:pt x="58540" y="195586"/>
                  </a:lnTo>
                  <a:lnTo>
                    <a:pt x="36067" y="163703"/>
                  </a:lnTo>
                  <a:lnTo>
                    <a:pt x="27190" y="125719"/>
                  </a:lnTo>
                  <a:lnTo>
                    <a:pt x="33804" y="85857"/>
                  </a:lnTo>
                  <a:lnTo>
                    <a:pt x="55358" y="51690"/>
                  </a:lnTo>
                  <a:lnTo>
                    <a:pt x="87237" y="29219"/>
                  </a:lnTo>
                  <a:lnTo>
                    <a:pt x="125218" y="20340"/>
                  </a:lnTo>
                  <a:lnTo>
                    <a:pt x="191981" y="20340"/>
                  </a:lnTo>
                  <a:lnTo>
                    <a:pt x="172313" y="7933"/>
                  </a:lnTo>
                  <a:lnTo>
                    <a:pt x="124482" y="0"/>
                  </a:lnTo>
                  <a:close/>
                </a:path>
                <a:path w="251459" h="427990">
                  <a:moveTo>
                    <a:pt x="191981" y="20340"/>
                  </a:moveTo>
                  <a:lnTo>
                    <a:pt x="125218" y="20340"/>
                  </a:lnTo>
                  <a:lnTo>
                    <a:pt x="165077" y="26948"/>
                  </a:lnTo>
                  <a:lnTo>
                    <a:pt x="199251" y="48508"/>
                  </a:lnTo>
                  <a:lnTo>
                    <a:pt x="221724" y="80390"/>
                  </a:lnTo>
                  <a:lnTo>
                    <a:pt x="230601" y="118372"/>
                  </a:lnTo>
                  <a:lnTo>
                    <a:pt x="223987" y="158232"/>
                  </a:lnTo>
                  <a:lnTo>
                    <a:pt x="202433" y="192405"/>
                  </a:lnTo>
                  <a:lnTo>
                    <a:pt x="170554" y="214878"/>
                  </a:lnTo>
                  <a:lnTo>
                    <a:pt x="132573" y="223755"/>
                  </a:lnTo>
                  <a:lnTo>
                    <a:pt x="192629" y="223755"/>
                  </a:lnTo>
                  <a:lnTo>
                    <a:pt x="217144" y="206474"/>
                  </a:lnTo>
                  <a:lnTo>
                    <a:pt x="243012" y="165467"/>
                  </a:lnTo>
                  <a:lnTo>
                    <a:pt x="250822" y="118372"/>
                  </a:lnTo>
                  <a:lnTo>
                    <a:pt x="250929" y="117574"/>
                  </a:lnTo>
                  <a:lnTo>
                    <a:pt x="240288" y="72058"/>
                  </a:lnTo>
                  <a:lnTo>
                    <a:pt x="213320" y="33801"/>
                  </a:lnTo>
                  <a:lnTo>
                    <a:pt x="191981" y="20340"/>
                  </a:lnTo>
                  <a:close/>
                </a:path>
                <a:path w="251459" h="427990">
                  <a:moveTo>
                    <a:pt x="63457" y="104977"/>
                  </a:moveTo>
                  <a:lnTo>
                    <a:pt x="58149" y="108045"/>
                  </a:lnTo>
                  <a:lnTo>
                    <a:pt x="53898" y="119228"/>
                  </a:lnTo>
                  <a:lnTo>
                    <a:pt x="56149" y="124443"/>
                  </a:lnTo>
                  <a:lnTo>
                    <a:pt x="69719" y="129605"/>
                  </a:lnTo>
                  <a:lnTo>
                    <a:pt x="68642" y="139878"/>
                  </a:lnTo>
                  <a:lnTo>
                    <a:pt x="79434" y="177151"/>
                  </a:lnTo>
                  <a:lnTo>
                    <a:pt x="122769" y="200144"/>
                  </a:lnTo>
                  <a:lnTo>
                    <a:pt x="137578" y="199884"/>
                  </a:lnTo>
                  <a:lnTo>
                    <a:pt x="167034" y="177454"/>
                  </a:lnTo>
                  <a:lnTo>
                    <a:pt x="123514" y="177454"/>
                  </a:lnTo>
                  <a:lnTo>
                    <a:pt x="113990" y="174828"/>
                  </a:lnTo>
                  <a:lnTo>
                    <a:pt x="103244" y="169080"/>
                  </a:lnTo>
                  <a:lnTo>
                    <a:pt x="95716" y="161101"/>
                  </a:lnTo>
                  <a:lnTo>
                    <a:pt x="91647" y="150727"/>
                  </a:lnTo>
                  <a:lnTo>
                    <a:pt x="91310" y="137824"/>
                  </a:lnTo>
                  <a:lnTo>
                    <a:pt x="145967" y="137824"/>
                  </a:lnTo>
                  <a:lnTo>
                    <a:pt x="145549" y="136222"/>
                  </a:lnTo>
                  <a:lnTo>
                    <a:pt x="96545" y="117574"/>
                  </a:lnTo>
                  <a:lnTo>
                    <a:pt x="97341" y="115406"/>
                  </a:lnTo>
                  <a:lnTo>
                    <a:pt x="99373" y="110139"/>
                  </a:lnTo>
                  <a:lnTo>
                    <a:pt x="99477" y="109626"/>
                  </a:lnTo>
                  <a:lnTo>
                    <a:pt x="75677" y="109626"/>
                  </a:lnTo>
                  <a:lnTo>
                    <a:pt x="63457" y="104977"/>
                  </a:lnTo>
                  <a:close/>
                </a:path>
                <a:path w="251459" h="427990">
                  <a:moveTo>
                    <a:pt x="152764" y="163886"/>
                  </a:moveTo>
                  <a:lnTo>
                    <a:pt x="148136" y="165091"/>
                  </a:lnTo>
                  <a:lnTo>
                    <a:pt x="144252" y="169088"/>
                  </a:lnTo>
                  <a:lnTo>
                    <a:pt x="138035" y="174506"/>
                  </a:lnTo>
                  <a:lnTo>
                    <a:pt x="131325" y="177322"/>
                  </a:lnTo>
                  <a:lnTo>
                    <a:pt x="123514" y="177454"/>
                  </a:lnTo>
                  <a:lnTo>
                    <a:pt x="167034" y="177454"/>
                  </a:lnTo>
                  <a:lnTo>
                    <a:pt x="167339" y="176650"/>
                  </a:lnTo>
                  <a:lnTo>
                    <a:pt x="165392" y="170965"/>
                  </a:lnTo>
                  <a:lnTo>
                    <a:pt x="160941" y="167729"/>
                  </a:lnTo>
                  <a:lnTo>
                    <a:pt x="159779" y="166808"/>
                  </a:lnTo>
                  <a:lnTo>
                    <a:pt x="158544" y="166085"/>
                  </a:lnTo>
                  <a:lnTo>
                    <a:pt x="152764" y="163886"/>
                  </a:lnTo>
                  <a:close/>
                </a:path>
                <a:path w="251459" h="427990">
                  <a:moveTo>
                    <a:pt x="145967" y="137824"/>
                  </a:moveTo>
                  <a:lnTo>
                    <a:pt x="91310" y="137824"/>
                  </a:lnTo>
                  <a:lnTo>
                    <a:pt x="137905" y="155552"/>
                  </a:lnTo>
                  <a:lnTo>
                    <a:pt x="142743" y="152934"/>
                  </a:lnTo>
                  <a:lnTo>
                    <a:pt x="146994" y="141761"/>
                  </a:lnTo>
                  <a:lnTo>
                    <a:pt x="145967" y="137824"/>
                  </a:lnTo>
                  <a:close/>
                </a:path>
                <a:path w="251459" h="427990">
                  <a:moveTo>
                    <a:pt x="163459" y="106778"/>
                  </a:moveTo>
                  <a:lnTo>
                    <a:pt x="100650" y="106778"/>
                  </a:lnTo>
                  <a:lnTo>
                    <a:pt x="158125" y="128641"/>
                  </a:lnTo>
                  <a:lnTo>
                    <a:pt x="163339" y="125364"/>
                  </a:lnTo>
                  <a:lnTo>
                    <a:pt x="167590" y="114202"/>
                  </a:lnTo>
                  <a:lnTo>
                    <a:pt x="166156" y="107804"/>
                  </a:lnTo>
                  <a:lnTo>
                    <a:pt x="163459" y="106778"/>
                  </a:lnTo>
                  <a:close/>
                </a:path>
                <a:path w="251459" h="427990">
                  <a:moveTo>
                    <a:pt x="186842" y="70092"/>
                  </a:moveTo>
                  <a:lnTo>
                    <a:pt x="141573" y="70092"/>
                  </a:lnTo>
                  <a:lnTo>
                    <a:pt x="152900" y="72580"/>
                  </a:lnTo>
                  <a:lnTo>
                    <a:pt x="161357" y="76813"/>
                  </a:lnTo>
                  <a:lnTo>
                    <a:pt x="166998" y="82202"/>
                  </a:lnTo>
                  <a:lnTo>
                    <a:pt x="170217" y="89206"/>
                  </a:lnTo>
                  <a:lnTo>
                    <a:pt x="171412" y="98286"/>
                  </a:lnTo>
                  <a:lnTo>
                    <a:pt x="171569" y="103249"/>
                  </a:lnTo>
                  <a:lnTo>
                    <a:pt x="173988" y="107574"/>
                  </a:lnTo>
                  <a:lnTo>
                    <a:pt x="180072" y="109888"/>
                  </a:lnTo>
                  <a:lnTo>
                    <a:pt x="181684" y="110830"/>
                  </a:lnTo>
                  <a:lnTo>
                    <a:pt x="183265" y="110610"/>
                  </a:lnTo>
                  <a:lnTo>
                    <a:pt x="183504" y="110610"/>
                  </a:lnTo>
                  <a:lnTo>
                    <a:pt x="183768" y="110338"/>
                  </a:lnTo>
                  <a:lnTo>
                    <a:pt x="189056" y="110181"/>
                  </a:lnTo>
                  <a:lnTo>
                    <a:pt x="193108" y="107406"/>
                  </a:lnTo>
                  <a:lnTo>
                    <a:pt x="195272" y="101679"/>
                  </a:lnTo>
                  <a:lnTo>
                    <a:pt x="195841" y="99867"/>
                  </a:lnTo>
                  <a:lnTo>
                    <a:pt x="195631" y="97354"/>
                  </a:lnTo>
                  <a:lnTo>
                    <a:pt x="193192" y="82239"/>
                  </a:lnTo>
                  <a:lnTo>
                    <a:pt x="186842" y="70092"/>
                  </a:lnTo>
                  <a:close/>
                </a:path>
                <a:path w="251459" h="427990">
                  <a:moveTo>
                    <a:pt x="183504" y="110610"/>
                  </a:moveTo>
                  <a:lnTo>
                    <a:pt x="183265" y="110610"/>
                  </a:lnTo>
                  <a:lnTo>
                    <a:pt x="183443" y="110673"/>
                  </a:lnTo>
                  <a:close/>
                </a:path>
                <a:path w="251459" h="427990">
                  <a:moveTo>
                    <a:pt x="75593" y="73345"/>
                  </a:moveTo>
                  <a:lnTo>
                    <a:pt x="69887" y="77187"/>
                  </a:lnTo>
                  <a:lnTo>
                    <a:pt x="65667" y="88276"/>
                  </a:lnTo>
                  <a:lnTo>
                    <a:pt x="67646" y="94213"/>
                  </a:lnTo>
                  <a:lnTo>
                    <a:pt x="79782" y="98831"/>
                  </a:lnTo>
                  <a:lnTo>
                    <a:pt x="78609" y="101679"/>
                  </a:lnTo>
                  <a:lnTo>
                    <a:pt x="78462" y="102307"/>
                  </a:lnTo>
                  <a:lnTo>
                    <a:pt x="76258" y="108045"/>
                  </a:lnTo>
                  <a:lnTo>
                    <a:pt x="75677" y="109626"/>
                  </a:lnTo>
                  <a:lnTo>
                    <a:pt x="99477" y="109626"/>
                  </a:lnTo>
                  <a:lnTo>
                    <a:pt x="100650" y="106778"/>
                  </a:lnTo>
                  <a:lnTo>
                    <a:pt x="163459" y="106778"/>
                  </a:lnTo>
                  <a:lnTo>
                    <a:pt x="111477" y="86999"/>
                  </a:lnTo>
                  <a:lnTo>
                    <a:pt x="119180" y="78779"/>
                  </a:lnTo>
                  <a:lnTo>
                    <a:pt x="89886" y="78779"/>
                  </a:lnTo>
                  <a:lnTo>
                    <a:pt x="75593" y="73345"/>
                  </a:lnTo>
                  <a:close/>
                </a:path>
                <a:path w="251459" h="427990">
                  <a:moveTo>
                    <a:pt x="139987" y="47560"/>
                  </a:moveTo>
                  <a:lnTo>
                    <a:pt x="103594" y="62238"/>
                  </a:lnTo>
                  <a:lnTo>
                    <a:pt x="89886" y="78779"/>
                  </a:lnTo>
                  <a:lnTo>
                    <a:pt x="119180" y="78779"/>
                  </a:lnTo>
                  <a:lnTo>
                    <a:pt x="120737" y="77118"/>
                  </a:lnTo>
                  <a:lnTo>
                    <a:pt x="130810" y="71544"/>
                  </a:lnTo>
                  <a:lnTo>
                    <a:pt x="141573" y="70092"/>
                  </a:lnTo>
                  <a:lnTo>
                    <a:pt x="186842" y="70092"/>
                  </a:lnTo>
                  <a:lnTo>
                    <a:pt x="186616" y="69659"/>
                  </a:lnTo>
                  <a:lnTo>
                    <a:pt x="175839" y="59544"/>
                  </a:lnTo>
                  <a:lnTo>
                    <a:pt x="160795" y="51827"/>
                  </a:lnTo>
                  <a:lnTo>
                    <a:pt x="150326" y="48743"/>
                  </a:lnTo>
                  <a:lnTo>
                    <a:pt x="139987" y="47560"/>
                  </a:lnTo>
                  <a:close/>
                </a:path>
                <a:path w="251459" h="427990">
                  <a:moveTo>
                    <a:pt x="19604" y="386996"/>
                  </a:moveTo>
                  <a:lnTo>
                    <a:pt x="12010" y="388771"/>
                  </a:lnTo>
                  <a:lnTo>
                    <a:pt x="5635" y="393265"/>
                  </a:lnTo>
                  <a:lnTo>
                    <a:pt x="1323" y="400099"/>
                  </a:lnTo>
                  <a:lnTo>
                    <a:pt x="0" y="408071"/>
                  </a:lnTo>
                  <a:lnTo>
                    <a:pt x="1775" y="415668"/>
                  </a:lnTo>
                  <a:lnTo>
                    <a:pt x="6269" y="422046"/>
                  </a:lnTo>
                  <a:lnTo>
                    <a:pt x="13103" y="426360"/>
                  </a:lnTo>
                  <a:lnTo>
                    <a:pt x="21074" y="427678"/>
                  </a:lnTo>
                  <a:lnTo>
                    <a:pt x="28672" y="425899"/>
                  </a:lnTo>
                  <a:lnTo>
                    <a:pt x="35050" y="421404"/>
                  </a:lnTo>
                  <a:lnTo>
                    <a:pt x="39364" y="414570"/>
                  </a:lnTo>
                  <a:lnTo>
                    <a:pt x="40683" y="406599"/>
                  </a:lnTo>
                  <a:lnTo>
                    <a:pt x="38907" y="399002"/>
                  </a:lnTo>
                  <a:lnTo>
                    <a:pt x="34412" y="392627"/>
                  </a:lnTo>
                  <a:lnTo>
                    <a:pt x="27574" y="388319"/>
                  </a:lnTo>
                  <a:lnTo>
                    <a:pt x="19604" y="386996"/>
                  </a:lnTo>
                  <a:close/>
                </a:path>
              </a:pathLst>
            </a:custGeom>
            <a:solidFill>
              <a:srgbClr val="D9771B"/>
            </a:solidFill>
          </p:spPr>
          <p:txBody>
            <a:bodyPr wrap="square" lIns="0" tIns="0" rIns="0" bIns="0" rtlCol="0"/>
            <a:lstStyle/>
            <a:p>
              <a:endParaRPr/>
            </a:p>
          </p:txBody>
        </p:sp>
      </p:grpSp>
      <p:sp>
        <p:nvSpPr>
          <p:cNvPr id="9" name="object 9"/>
          <p:cNvSpPr/>
          <p:nvPr/>
        </p:nvSpPr>
        <p:spPr>
          <a:xfrm>
            <a:off x="0" y="848742"/>
            <a:ext cx="9144000" cy="4280281"/>
          </a:xfrm>
          <a:custGeom>
            <a:avLst/>
            <a:gdLst/>
            <a:ahLst/>
            <a:cxnLst/>
            <a:rect l="l" t="t" r="r" b="b"/>
            <a:pathLst>
              <a:path w="20104100" h="9411335">
                <a:moveTo>
                  <a:pt x="0" y="9410969"/>
                </a:moveTo>
                <a:lnTo>
                  <a:pt x="20104099" y="9410969"/>
                </a:lnTo>
                <a:lnTo>
                  <a:pt x="20104099" y="0"/>
                </a:lnTo>
                <a:lnTo>
                  <a:pt x="0" y="0"/>
                </a:lnTo>
                <a:lnTo>
                  <a:pt x="0" y="9410969"/>
                </a:lnTo>
                <a:close/>
              </a:path>
            </a:pathLst>
          </a:custGeom>
          <a:solidFill>
            <a:srgbClr val="D5D5D5"/>
          </a:solidFill>
        </p:spPr>
        <p:txBody>
          <a:bodyPr wrap="square" lIns="0" tIns="0" rIns="0" bIns="0" rtlCol="0"/>
          <a:lstStyle/>
          <a:p>
            <a:endParaRPr/>
          </a:p>
        </p:txBody>
      </p:sp>
      <p:sp>
        <p:nvSpPr>
          <p:cNvPr id="10" name="object 10"/>
          <p:cNvSpPr/>
          <p:nvPr/>
        </p:nvSpPr>
        <p:spPr>
          <a:xfrm>
            <a:off x="4565147" y="1022966"/>
            <a:ext cx="4259787" cy="393632"/>
          </a:xfrm>
          <a:custGeom>
            <a:avLst/>
            <a:gdLst/>
            <a:ahLst/>
            <a:cxnLst/>
            <a:rect l="l" t="t" r="r" b="b"/>
            <a:pathLst>
              <a:path w="9365615" h="865505">
                <a:moveTo>
                  <a:pt x="0" y="0"/>
                </a:moveTo>
                <a:lnTo>
                  <a:pt x="9365159" y="0"/>
                </a:lnTo>
                <a:lnTo>
                  <a:pt x="9365159" y="865094"/>
                </a:lnTo>
                <a:lnTo>
                  <a:pt x="0" y="865094"/>
                </a:lnTo>
                <a:lnTo>
                  <a:pt x="0" y="0"/>
                </a:lnTo>
                <a:close/>
              </a:path>
            </a:pathLst>
          </a:custGeom>
          <a:solidFill>
            <a:srgbClr val="FFFFFF"/>
          </a:solidFill>
        </p:spPr>
        <p:txBody>
          <a:bodyPr wrap="square" lIns="0" tIns="0" rIns="0" bIns="0" rtlCol="0"/>
          <a:lstStyle/>
          <a:p>
            <a:endParaRPr/>
          </a:p>
        </p:txBody>
      </p:sp>
      <p:sp>
        <p:nvSpPr>
          <p:cNvPr id="11" name="object 11"/>
          <p:cNvSpPr txBox="1"/>
          <p:nvPr/>
        </p:nvSpPr>
        <p:spPr>
          <a:xfrm>
            <a:off x="5324127" y="1117075"/>
            <a:ext cx="305281" cy="186535"/>
          </a:xfrm>
          <a:prstGeom prst="rect">
            <a:avLst/>
          </a:prstGeom>
        </p:spPr>
        <p:txBody>
          <a:bodyPr vert="horz" wrap="square" lIns="0" tIns="6931" rIns="0" bIns="0" rtlCol="0">
            <a:spAutoFit/>
          </a:bodyPr>
          <a:lstStyle/>
          <a:p>
            <a:pPr>
              <a:lnSpc>
                <a:spcPts val="836"/>
              </a:lnSpc>
              <a:spcBef>
                <a:spcPts val="55"/>
              </a:spcBef>
            </a:pPr>
            <a:r>
              <a:rPr sz="700" b="1" spc="5" dirty="0">
                <a:latin typeface="Helvetica Neue"/>
                <a:cs typeface="Helvetica Neue"/>
              </a:rPr>
              <a:t>France</a:t>
            </a:r>
            <a:endParaRPr sz="700">
              <a:latin typeface="Helvetica Neue"/>
              <a:cs typeface="Helvetica Neue"/>
            </a:endParaRPr>
          </a:p>
          <a:p>
            <a:pPr>
              <a:lnSpc>
                <a:spcPts val="646"/>
              </a:lnSpc>
            </a:pPr>
            <a:r>
              <a:rPr sz="500" spc="7" dirty="0">
                <a:latin typeface="Helvetica Neue"/>
                <a:cs typeface="Helvetica Neue"/>
              </a:rPr>
              <a:t>N </a:t>
            </a:r>
            <a:r>
              <a:rPr sz="500" spc="5" dirty="0">
                <a:latin typeface="Helvetica Neue"/>
                <a:cs typeface="Helvetica Neue"/>
              </a:rPr>
              <a:t>=</a:t>
            </a:r>
            <a:r>
              <a:rPr sz="500" spc="-41" dirty="0">
                <a:latin typeface="Helvetica Neue"/>
                <a:cs typeface="Helvetica Neue"/>
              </a:rPr>
              <a:t> </a:t>
            </a:r>
            <a:r>
              <a:rPr sz="500" spc="5" dirty="0">
                <a:latin typeface="Helvetica Neue"/>
                <a:cs typeface="Helvetica Neue"/>
              </a:rPr>
              <a:t>2024</a:t>
            </a:r>
            <a:endParaRPr sz="500">
              <a:latin typeface="Helvetica Neue"/>
              <a:cs typeface="Helvetica Neue"/>
            </a:endParaRPr>
          </a:p>
        </p:txBody>
      </p:sp>
      <p:sp>
        <p:nvSpPr>
          <p:cNvPr id="12" name="object 12"/>
          <p:cNvSpPr/>
          <p:nvPr/>
        </p:nvSpPr>
        <p:spPr>
          <a:xfrm>
            <a:off x="5123702" y="1145325"/>
            <a:ext cx="152207" cy="152197"/>
          </a:xfrm>
          <a:custGeom>
            <a:avLst/>
            <a:gdLst/>
            <a:ahLst/>
            <a:cxnLst/>
            <a:rect l="l" t="t" r="r" b="b"/>
            <a:pathLst>
              <a:path w="334645" h="334644">
                <a:moveTo>
                  <a:pt x="334220" y="334220"/>
                </a:moveTo>
                <a:lnTo>
                  <a:pt x="0" y="334220"/>
                </a:lnTo>
                <a:lnTo>
                  <a:pt x="0" y="0"/>
                </a:lnTo>
                <a:lnTo>
                  <a:pt x="334220" y="0"/>
                </a:lnTo>
                <a:lnTo>
                  <a:pt x="334220" y="334220"/>
                </a:lnTo>
                <a:close/>
              </a:path>
            </a:pathLst>
          </a:custGeom>
          <a:solidFill>
            <a:srgbClr val="FF7900"/>
          </a:solidFill>
        </p:spPr>
        <p:txBody>
          <a:bodyPr wrap="square" lIns="0" tIns="0" rIns="0" bIns="0" rtlCol="0"/>
          <a:lstStyle/>
          <a:p>
            <a:endParaRPr/>
          </a:p>
        </p:txBody>
      </p:sp>
      <p:sp>
        <p:nvSpPr>
          <p:cNvPr id="13" name="object 13"/>
          <p:cNvSpPr txBox="1"/>
          <p:nvPr/>
        </p:nvSpPr>
        <p:spPr>
          <a:xfrm>
            <a:off x="6649152" y="1123808"/>
            <a:ext cx="2058411" cy="186535"/>
          </a:xfrm>
          <a:prstGeom prst="rect">
            <a:avLst/>
          </a:prstGeom>
        </p:spPr>
        <p:txBody>
          <a:bodyPr vert="horz" wrap="square" lIns="0" tIns="6931" rIns="0" bIns="0" rtlCol="0">
            <a:spAutoFit/>
          </a:bodyPr>
          <a:lstStyle/>
          <a:p>
            <a:pPr>
              <a:lnSpc>
                <a:spcPts val="836"/>
              </a:lnSpc>
              <a:spcBef>
                <a:spcPts val="55"/>
              </a:spcBef>
            </a:pPr>
            <a:r>
              <a:rPr sz="700" b="1" spc="2" dirty="0">
                <a:latin typeface="Helvetica Neue"/>
                <a:cs typeface="Helvetica Neue"/>
              </a:rPr>
              <a:t>clients </a:t>
            </a:r>
            <a:r>
              <a:rPr sz="700" b="1" spc="5" dirty="0">
                <a:latin typeface="Helvetica Neue"/>
                <a:cs typeface="Helvetica Neue"/>
              </a:rPr>
              <a:t>des banques en ligne et banques</a:t>
            </a:r>
            <a:r>
              <a:rPr sz="700" b="1" spc="-11" dirty="0">
                <a:latin typeface="Helvetica Neue"/>
                <a:cs typeface="Helvetica Neue"/>
              </a:rPr>
              <a:t> </a:t>
            </a:r>
            <a:r>
              <a:rPr sz="700" b="1" spc="5" dirty="0">
                <a:latin typeface="Helvetica Neue"/>
                <a:cs typeface="Helvetica Neue"/>
              </a:rPr>
              <a:t>mobile</a:t>
            </a:r>
            <a:endParaRPr sz="700">
              <a:latin typeface="Helvetica Neue"/>
              <a:cs typeface="Helvetica Neue"/>
            </a:endParaRPr>
          </a:p>
          <a:p>
            <a:pPr>
              <a:lnSpc>
                <a:spcPts val="646"/>
              </a:lnSpc>
            </a:pPr>
            <a:r>
              <a:rPr sz="500" spc="7" dirty="0">
                <a:latin typeface="Helvetica Neue"/>
                <a:cs typeface="Helvetica Neue"/>
              </a:rPr>
              <a:t>N </a:t>
            </a:r>
            <a:r>
              <a:rPr sz="500" spc="5" dirty="0">
                <a:latin typeface="Helvetica Neue"/>
                <a:cs typeface="Helvetica Neue"/>
              </a:rPr>
              <a:t>=</a:t>
            </a:r>
            <a:r>
              <a:rPr sz="500" spc="-5" dirty="0">
                <a:latin typeface="Helvetica Neue"/>
                <a:cs typeface="Helvetica Neue"/>
              </a:rPr>
              <a:t> </a:t>
            </a:r>
            <a:r>
              <a:rPr sz="500" spc="5" dirty="0">
                <a:latin typeface="Helvetica Neue"/>
                <a:cs typeface="Helvetica Neue"/>
              </a:rPr>
              <a:t>433</a:t>
            </a:r>
            <a:endParaRPr sz="500">
              <a:latin typeface="Helvetica Neue"/>
              <a:cs typeface="Helvetica Neue"/>
            </a:endParaRPr>
          </a:p>
        </p:txBody>
      </p:sp>
      <p:sp>
        <p:nvSpPr>
          <p:cNvPr id="14" name="object 14"/>
          <p:cNvSpPr/>
          <p:nvPr/>
        </p:nvSpPr>
        <p:spPr>
          <a:xfrm>
            <a:off x="6449968" y="1152049"/>
            <a:ext cx="152207" cy="152197"/>
          </a:xfrm>
          <a:custGeom>
            <a:avLst/>
            <a:gdLst/>
            <a:ahLst/>
            <a:cxnLst/>
            <a:rect l="l" t="t" r="r" b="b"/>
            <a:pathLst>
              <a:path w="334644" h="334644">
                <a:moveTo>
                  <a:pt x="334220" y="334220"/>
                </a:moveTo>
                <a:lnTo>
                  <a:pt x="0" y="334220"/>
                </a:lnTo>
                <a:lnTo>
                  <a:pt x="0" y="0"/>
                </a:lnTo>
                <a:lnTo>
                  <a:pt x="334220" y="0"/>
                </a:lnTo>
                <a:lnTo>
                  <a:pt x="334220" y="334220"/>
                </a:lnTo>
                <a:close/>
              </a:path>
            </a:pathLst>
          </a:custGeom>
          <a:solidFill>
            <a:srgbClr val="4AB4E6"/>
          </a:solidFill>
        </p:spPr>
        <p:txBody>
          <a:bodyPr wrap="square" lIns="0" tIns="0" rIns="0" bIns="0" rtlCol="0"/>
          <a:lstStyle/>
          <a:p>
            <a:endParaRPr/>
          </a:p>
        </p:txBody>
      </p:sp>
      <p:sp>
        <p:nvSpPr>
          <p:cNvPr id="15" name="object 15"/>
          <p:cNvSpPr/>
          <p:nvPr/>
        </p:nvSpPr>
        <p:spPr>
          <a:xfrm>
            <a:off x="4955791" y="1085337"/>
            <a:ext cx="94444" cy="268583"/>
          </a:xfrm>
          <a:custGeom>
            <a:avLst/>
            <a:gdLst/>
            <a:ahLst/>
            <a:cxnLst/>
            <a:rect l="l" t="t" r="r" b="b"/>
            <a:pathLst>
              <a:path w="207645" h="590550">
                <a:moveTo>
                  <a:pt x="0" y="0"/>
                </a:moveTo>
                <a:lnTo>
                  <a:pt x="0" y="590149"/>
                </a:lnTo>
                <a:lnTo>
                  <a:pt x="43543" y="570445"/>
                </a:lnTo>
                <a:lnTo>
                  <a:pt x="83259" y="544636"/>
                </a:lnTo>
                <a:lnTo>
                  <a:pt x="118537" y="513321"/>
                </a:lnTo>
                <a:lnTo>
                  <a:pt x="148769" y="477096"/>
                </a:lnTo>
                <a:lnTo>
                  <a:pt x="173343" y="436561"/>
                </a:lnTo>
                <a:lnTo>
                  <a:pt x="191652" y="392313"/>
                </a:lnTo>
                <a:lnTo>
                  <a:pt x="203084" y="344949"/>
                </a:lnTo>
                <a:lnTo>
                  <a:pt x="207030" y="295069"/>
                </a:lnTo>
                <a:lnTo>
                  <a:pt x="203084" y="245189"/>
                </a:lnTo>
                <a:lnTo>
                  <a:pt x="191652" y="197827"/>
                </a:lnTo>
                <a:lnTo>
                  <a:pt x="173343" y="153580"/>
                </a:lnTo>
                <a:lnTo>
                  <a:pt x="148769" y="113047"/>
                </a:lnTo>
                <a:lnTo>
                  <a:pt x="118537" y="76825"/>
                </a:lnTo>
                <a:lnTo>
                  <a:pt x="83259" y="45511"/>
                </a:lnTo>
                <a:lnTo>
                  <a:pt x="43543" y="19703"/>
                </a:lnTo>
                <a:lnTo>
                  <a:pt x="0" y="0"/>
                </a:lnTo>
                <a:close/>
              </a:path>
            </a:pathLst>
          </a:custGeom>
          <a:solidFill>
            <a:srgbClr val="C10E33"/>
          </a:solidFill>
        </p:spPr>
        <p:txBody>
          <a:bodyPr wrap="square" lIns="0" tIns="0" rIns="0" bIns="0" rtlCol="0"/>
          <a:lstStyle/>
          <a:p>
            <a:endParaRPr/>
          </a:p>
        </p:txBody>
      </p:sp>
      <p:sp>
        <p:nvSpPr>
          <p:cNvPr id="16" name="object 16"/>
          <p:cNvSpPr/>
          <p:nvPr/>
        </p:nvSpPr>
        <p:spPr>
          <a:xfrm>
            <a:off x="4764100" y="1085337"/>
            <a:ext cx="94444" cy="268583"/>
          </a:xfrm>
          <a:custGeom>
            <a:avLst/>
            <a:gdLst/>
            <a:ahLst/>
            <a:cxnLst/>
            <a:rect l="l" t="t" r="r" b="b"/>
            <a:pathLst>
              <a:path w="207645" h="590550">
                <a:moveTo>
                  <a:pt x="207030" y="0"/>
                </a:moveTo>
                <a:lnTo>
                  <a:pt x="163487" y="19703"/>
                </a:lnTo>
                <a:lnTo>
                  <a:pt x="123771" y="45511"/>
                </a:lnTo>
                <a:lnTo>
                  <a:pt x="88492" y="76825"/>
                </a:lnTo>
                <a:lnTo>
                  <a:pt x="58261" y="113047"/>
                </a:lnTo>
                <a:lnTo>
                  <a:pt x="33686" y="153580"/>
                </a:lnTo>
                <a:lnTo>
                  <a:pt x="15378" y="197827"/>
                </a:lnTo>
                <a:lnTo>
                  <a:pt x="3946" y="245189"/>
                </a:lnTo>
                <a:lnTo>
                  <a:pt x="0" y="295069"/>
                </a:lnTo>
                <a:lnTo>
                  <a:pt x="3946" y="344949"/>
                </a:lnTo>
                <a:lnTo>
                  <a:pt x="15378" y="392313"/>
                </a:lnTo>
                <a:lnTo>
                  <a:pt x="33686" y="436561"/>
                </a:lnTo>
                <a:lnTo>
                  <a:pt x="58261" y="477096"/>
                </a:lnTo>
                <a:lnTo>
                  <a:pt x="88492" y="513321"/>
                </a:lnTo>
                <a:lnTo>
                  <a:pt x="123771" y="544636"/>
                </a:lnTo>
                <a:lnTo>
                  <a:pt x="163487" y="570445"/>
                </a:lnTo>
                <a:lnTo>
                  <a:pt x="207030" y="590149"/>
                </a:lnTo>
                <a:lnTo>
                  <a:pt x="207030" y="0"/>
                </a:lnTo>
                <a:close/>
              </a:path>
            </a:pathLst>
          </a:custGeom>
          <a:solidFill>
            <a:srgbClr val="354080"/>
          </a:solidFill>
        </p:spPr>
        <p:txBody>
          <a:bodyPr wrap="square" lIns="0" tIns="0" rIns="0" bIns="0" rtlCol="0"/>
          <a:lstStyle/>
          <a:p>
            <a:endParaRPr/>
          </a:p>
        </p:txBody>
      </p:sp>
      <p:sp>
        <p:nvSpPr>
          <p:cNvPr id="17" name="object 17"/>
          <p:cNvSpPr/>
          <p:nvPr/>
        </p:nvSpPr>
        <p:spPr>
          <a:xfrm>
            <a:off x="4858266" y="1076618"/>
            <a:ext cx="97620" cy="285910"/>
          </a:xfrm>
          <a:custGeom>
            <a:avLst/>
            <a:gdLst/>
            <a:ahLst/>
            <a:cxnLst/>
            <a:rect l="l" t="t" r="r" b="b"/>
            <a:pathLst>
              <a:path w="214629" h="628650">
                <a:moveTo>
                  <a:pt x="107211" y="0"/>
                </a:moveTo>
                <a:lnTo>
                  <a:pt x="79258" y="1281"/>
                </a:lnTo>
                <a:lnTo>
                  <a:pt x="52023" y="5015"/>
                </a:lnTo>
                <a:lnTo>
                  <a:pt x="25579" y="11034"/>
                </a:lnTo>
                <a:lnTo>
                  <a:pt x="0" y="19172"/>
                </a:lnTo>
                <a:lnTo>
                  <a:pt x="0" y="609321"/>
                </a:lnTo>
                <a:lnTo>
                  <a:pt x="25579" y="617453"/>
                </a:lnTo>
                <a:lnTo>
                  <a:pt x="52023" y="623469"/>
                </a:lnTo>
                <a:lnTo>
                  <a:pt x="79258" y="627201"/>
                </a:lnTo>
                <a:lnTo>
                  <a:pt x="107211" y="628483"/>
                </a:lnTo>
                <a:lnTo>
                  <a:pt x="135162" y="627201"/>
                </a:lnTo>
                <a:lnTo>
                  <a:pt x="162395" y="623469"/>
                </a:lnTo>
                <a:lnTo>
                  <a:pt x="188839" y="617453"/>
                </a:lnTo>
                <a:lnTo>
                  <a:pt x="214422" y="609321"/>
                </a:lnTo>
                <a:lnTo>
                  <a:pt x="214422" y="19172"/>
                </a:lnTo>
                <a:lnTo>
                  <a:pt x="188839" y="11034"/>
                </a:lnTo>
                <a:lnTo>
                  <a:pt x="162395" y="5015"/>
                </a:lnTo>
                <a:lnTo>
                  <a:pt x="135162" y="1281"/>
                </a:lnTo>
                <a:lnTo>
                  <a:pt x="107211" y="0"/>
                </a:lnTo>
                <a:close/>
              </a:path>
            </a:pathLst>
          </a:custGeom>
          <a:solidFill>
            <a:srgbClr val="FFFFFF"/>
          </a:solidFill>
        </p:spPr>
        <p:txBody>
          <a:bodyPr wrap="square" lIns="0" tIns="0" rIns="0" bIns="0" rtlCol="0"/>
          <a:lstStyle/>
          <a:p>
            <a:endParaRPr/>
          </a:p>
        </p:txBody>
      </p:sp>
      <p:sp>
        <p:nvSpPr>
          <p:cNvPr id="18" name="object 18"/>
          <p:cNvSpPr/>
          <p:nvPr/>
        </p:nvSpPr>
        <p:spPr>
          <a:xfrm>
            <a:off x="6292404" y="1269534"/>
            <a:ext cx="83180" cy="78842"/>
          </a:xfrm>
          <a:custGeom>
            <a:avLst/>
            <a:gdLst/>
            <a:ahLst/>
            <a:cxnLst/>
            <a:rect l="l" t="t" r="r" b="b"/>
            <a:pathLst>
              <a:path w="182880" h="173355">
                <a:moveTo>
                  <a:pt x="182308" y="0"/>
                </a:moveTo>
                <a:lnTo>
                  <a:pt x="0" y="0"/>
                </a:lnTo>
                <a:lnTo>
                  <a:pt x="0" y="173073"/>
                </a:lnTo>
                <a:lnTo>
                  <a:pt x="47267" y="151287"/>
                </a:lnTo>
                <a:lnTo>
                  <a:pt x="89913" y="122308"/>
                </a:lnTo>
                <a:lnTo>
                  <a:pt x="127157" y="86914"/>
                </a:lnTo>
                <a:lnTo>
                  <a:pt x="158215" y="45886"/>
                </a:lnTo>
                <a:lnTo>
                  <a:pt x="182308" y="0"/>
                </a:lnTo>
                <a:close/>
              </a:path>
            </a:pathLst>
          </a:custGeom>
          <a:solidFill>
            <a:srgbClr val="C10E33"/>
          </a:solidFill>
        </p:spPr>
        <p:txBody>
          <a:bodyPr wrap="square" lIns="0" tIns="0" rIns="0" bIns="0" rtlCol="0"/>
          <a:lstStyle/>
          <a:p>
            <a:endParaRPr/>
          </a:p>
        </p:txBody>
      </p:sp>
      <p:sp>
        <p:nvSpPr>
          <p:cNvPr id="19" name="object 19"/>
          <p:cNvSpPr/>
          <p:nvPr/>
        </p:nvSpPr>
        <p:spPr>
          <a:xfrm>
            <a:off x="6111960" y="1269533"/>
            <a:ext cx="83180" cy="78842"/>
          </a:xfrm>
          <a:custGeom>
            <a:avLst/>
            <a:gdLst/>
            <a:ahLst/>
            <a:cxnLst/>
            <a:rect l="l" t="t" r="r" b="b"/>
            <a:pathLst>
              <a:path w="182880" h="173355">
                <a:moveTo>
                  <a:pt x="182308" y="0"/>
                </a:moveTo>
                <a:lnTo>
                  <a:pt x="0" y="0"/>
                </a:lnTo>
                <a:lnTo>
                  <a:pt x="24088" y="45890"/>
                </a:lnTo>
                <a:lnTo>
                  <a:pt x="55146" y="86919"/>
                </a:lnTo>
                <a:lnTo>
                  <a:pt x="92391" y="122311"/>
                </a:lnTo>
                <a:lnTo>
                  <a:pt x="135039" y="151288"/>
                </a:lnTo>
                <a:lnTo>
                  <a:pt x="182308" y="173073"/>
                </a:lnTo>
                <a:lnTo>
                  <a:pt x="182308" y="0"/>
                </a:lnTo>
                <a:close/>
              </a:path>
            </a:pathLst>
          </a:custGeom>
          <a:solidFill>
            <a:srgbClr val="354080"/>
          </a:solidFill>
        </p:spPr>
        <p:txBody>
          <a:bodyPr wrap="square" lIns="0" tIns="0" rIns="0" bIns="0" rtlCol="0"/>
          <a:lstStyle/>
          <a:p>
            <a:endParaRPr/>
          </a:p>
        </p:txBody>
      </p:sp>
      <p:sp>
        <p:nvSpPr>
          <p:cNvPr id="20" name="object 20"/>
          <p:cNvSpPr/>
          <p:nvPr/>
        </p:nvSpPr>
        <p:spPr>
          <a:xfrm>
            <a:off x="6194879" y="1269533"/>
            <a:ext cx="97620" cy="87506"/>
          </a:xfrm>
          <a:custGeom>
            <a:avLst/>
            <a:gdLst/>
            <a:ahLst/>
            <a:cxnLst/>
            <a:rect l="l" t="t" r="r" b="b"/>
            <a:pathLst>
              <a:path w="214630" h="192405">
                <a:moveTo>
                  <a:pt x="214422" y="0"/>
                </a:moveTo>
                <a:lnTo>
                  <a:pt x="0" y="0"/>
                </a:lnTo>
                <a:lnTo>
                  <a:pt x="0" y="173073"/>
                </a:lnTo>
                <a:lnTo>
                  <a:pt x="25583" y="181210"/>
                </a:lnTo>
                <a:lnTo>
                  <a:pt x="52027" y="187229"/>
                </a:lnTo>
                <a:lnTo>
                  <a:pt x="79260" y="190963"/>
                </a:lnTo>
                <a:lnTo>
                  <a:pt x="107211" y="192245"/>
                </a:lnTo>
                <a:lnTo>
                  <a:pt x="135162" y="190963"/>
                </a:lnTo>
                <a:lnTo>
                  <a:pt x="162395" y="187229"/>
                </a:lnTo>
                <a:lnTo>
                  <a:pt x="188839" y="181210"/>
                </a:lnTo>
                <a:lnTo>
                  <a:pt x="214422" y="173073"/>
                </a:lnTo>
                <a:lnTo>
                  <a:pt x="214422" y="0"/>
                </a:lnTo>
                <a:close/>
              </a:path>
            </a:pathLst>
          </a:custGeom>
          <a:solidFill>
            <a:srgbClr val="FFFFFF"/>
          </a:solidFill>
        </p:spPr>
        <p:txBody>
          <a:bodyPr wrap="square" lIns="0" tIns="0" rIns="0" bIns="0" rtlCol="0"/>
          <a:lstStyle/>
          <a:p>
            <a:endParaRPr/>
          </a:p>
        </p:txBody>
      </p:sp>
      <p:sp>
        <p:nvSpPr>
          <p:cNvPr id="21" name="object 21"/>
          <p:cNvSpPr/>
          <p:nvPr/>
        </p:nvSpPr>
        <p:spPr>
          <a:xfrm>
            <a:off x="6100714" y="1071127"/>
            <a:ext cx="285931" cy="198405"/>
          </a:xfrm>
          <a:custGeom>
            <a:avLst/>
            <a:gdLst/>
            <a:ahLst/>
            <a:cxnLst/>
            <a:rect l="l" t="t" r="r" b="b"/>
            <a:pathLst>
              <a:path w="628650" h="436244">
                <a:moveTo>
                  <a:pt x="314241" y="0"/>
                </a:moveTo>
                <a:lnTo>
                  <a:pt x="259057" y="5019"/>
                </a:lnTo>
                <a:lnTo>
                  <a:pt x="207030" y="19172"/>
                </a:lnTo>
                <a:lnTo>
                  <a:pt x="163487" y="38876"/>
                </a:lnTo>
                <a:lnTo>
                  <a:pt x="123771" y="64684"/>
                </a:lnTo>
                <a:lnTo>
                  <a:pt x="88492" y="96000"/>
                </a:lnTo>
                <a:lnTo>
                  <a:pt x="58261" y="132223"/>
                </a:lnTo>
                <a:lnTo>
                  <a:pt x="33686" y="172757"/>
                </a:lnTo>
                <a:lnTo>
                  <a:pt x="15378" y="217004"/>
                </a:lnTo>
                <a:lnTo>
                  <a:pt x="3946" y="264364"/>
                </a:lnTo>
                <a:lnTo>
                  <a:pt x="0" y="314241"/>
                </a:lnTo>
                <a:lnTo>
                  <a:pt x="1630" y="346307"/>
                </a:lnTo>
                <a:lnTo>
                  <a:pt x="6408" y="377428"/>
                </a:lnTo>
                <a:lnTo>
                  <a:pt x="14162" y="407457"/>
                </a:lnTo>
                <a:lnTo>
                  <a:pt x="24721" y="436248"/>
                </a:lnTo>
                <a:lnTo>
                  <a:pt x="603761" y="436248"/>
                </a:lnTo>
                <a:lnTo>
                  <a:pt x="614316" y="407457"/>
                </a:lnTo>
                <a:lnTo>
                  <a:pt x="622071" y="377428"/>
                </a:lnTo>
                <a:lnTo>
                  <a:pt x="626851" y="346307"/>
                </a:lnTo>
                <a:lnTo>
                  <a:pt x="628483" y="314241"/>
                </a:lnTo>
                <a:lnTo>
                  <a:pt x="624537" y="264364"/>
                </a:lnTo>
                <a:lnTo>
                  <a:pt x="613105" y="217004"/>
                </a:lnTo>
                <a:lnTo>
                  <a:pt x="594796" y="172757"/>
                </a:lnTo>
                <a:lnTo>
                  <a:pt x="570222" y="132223"/>
                </a:lnTo>
                <a:lnTo>
                  <a:pt x="539990" y="96000"/>
                </a:lnTo>
                <a:lnTo>
                  <a:pt x="504712" y="64684"/>
                </a:lnTo>
                <a:lnTo>
                  <a:pt x="464996" y="38876"/>
                </a:lnTo>
                <a:lnTo>
                  <a:pt x="421453" y="19172"/>
                </a:lnTo>
                <a:lnTo>
                  <a:pt x="369425" y="5019"/>
                </a:lnTo>
                <a:lnTo>
                  <a:pt x="314241" y="0"/>
                </a:lnTo>
                <a:close/>
              </a:path>
            </a:pathLst>
          </a:custGeom>
          <a:solidFill>
            <a:srgbClr val="4A9CD0"/>
          </a:solidFill>
        </p:spPr>
        <p:txBody>
          <a:bodyPr wrap="square" lIns="0" tIns="0" rIns="0" bIns="0" rtlCol="0"/>
          <a:lstStyle/>
          <a:p>
            <a:endParaRPr/>
          </a:p>
        </p:txBody>
      </p:sp>
      <p:sp>
        <p:nvSpPr>
          <p:cNvPr id="22" name="object 22"/>
          <p:cNvSpPr/>
          <p:nvPr/>
        </p:nvSpPr>
        <p:spPr>
          <a:xfrm>
            <a:off x="6207031" y="1102785"/>
            <a:ext cx="83469" cy="141800"/>
          </a:xfrm>
          <a:custGeom>
            <a:avLst/>
            <a:gdLst/>
            <a:ahLst/>
            <a:cxnLst/>
            <a:rect l="l" t="t" r="r" b="b"/>
            <a:pathLst>
              <a:path w="183515" h="311785">
                <a:moveTo>
                  <a:pt x="164748" y="0"/>
                </a:moveTo>
                <a:lnTo>
                  <a:pt x="18292" y="0"/>
                </a:lnTo>
                <a:lnTo>
                  <a:pt x="11171" y="1437"/>
                </a:lnTo>
                <a:lnTo>
                  <a:pt x="5357" y="5358"/>
                </a:lnTo>
                <a:lnTo>
                  <a:pt x="1437" y="11176"/>
                </a:lnTo>
                <a:lnTo>
                  <a:pt x="0" y="18303"/>
                </a:lnTo>
                <a:lnTo>
                  <a:pt x="0" y="292860"/>
                </a:lnTo>
                <a:lnTo>
                  <a:pt x="1437" y="299982"/>
                </a:lnTo>
                <a:lnTo>
                  <a:pt x="5357" y="305800"/>
                </a:lnTo>
                <a:lnTo>
                  <a:pt x="11171" y="309724"/>
                </a:lnTo>
                <a:lnTo>
                  <a:pt x="18292" y="311163"/>
                </a:lnTo>
                <a:lnTo>
                  <a:pt x="164748" y="311163"/>
                </a:lnTo>
                <a:lnTo>
                  <a:pt x="171869" y="309724"/>
                </a:lnTo>
                <a:lnTo>
                  <a:pt x="177684" y="305800"/>
                </a:lnTo>
                <a:lnTo>
                  <a:pt x="180237" y="302011"/>
                </a:lnTo>
                <a:lnTo>
                  <a:pt x="86468" y="302011"/>
                </a:lnTo>
                <a:lnTo>
                  <a:pt x="82374" y="297907"/>
                </a:lnTo>
                <a:lnTo>
                  <a:pt x="82374" y="287802"/>
                </a:lnTo>
                <a:lnTo>
                  <a:pt x="86468" y="283708"/>
                </a:lnTo>
                <a:lnTo>
                  <a:pt x="183041" y="283708"/>
                </a:lnTo>
                <a:lnTo>
                  <a:pt x="183041" y="274557"/>
                </a:lnTo>
                <a:lnTo>
                  <a:pt x="18313" y="274557"/>
                </a:lnTo>
                <a:lnTo>
                  <a:pt x="18313" y="27454"/>
                </a:lnTo>
                <a:lnTo>
                  <a:pt x="183041" y="27454"/>
                </a:lnTo>
                <a:lnTo>
                  <a:pt x="183041" y="18303"/>
                </a:lnTo>
                <a:lnTo>
                  <a:pt x="75275" y="18303"/>
                </a:lnTo>
                <a:lnTo>
                  <a:pt x="73222" y="16250"/>
                </a:lnTo>
                <a:lnTo>
                  <a:pt x="73260" y="11176"/>
                </a:lnTo>
                <a:lnTo>
                  <a:pt x="75275" y="9151"/>
                </a:lnTo>
                <a:lnTo>
                  <a:pt x="180240" y="9151"/>
                </a:lnTo>
                <a:lnTo>
                  <a:pt x="177684" y="5358"/>
                </a:lnTo>
                <a:lnTo>
                  <a:pt x="171869" y="1437"/>
                </a:lnTo>
                <a:lnTo>
                  <a:pt x="164748" y="0"/>
                </a:lnTo>
                <a:close/>
              </a:path>
              <a:path w="183515" h="311785">
                <a:moveTo>
                  <a:pt x="183041" y="283708"/>
                </a:moveTo>
                <a:lnTo>
                  <a:pt x="96572" y="283708"/>
                </a:lnTo>
                <a:lnTo>
                  <a:pt x="100677" y="287802"/>
                </a:lnTo>
                <a:lnTo>
                  <a:pt x="100677" y="297907"/>
                </a:lnTo>
                <a:lnTo>
                  <a:pt x="96572" y="302011"/>
                </a:lnTo>
                <a:lnTo>
                  <a:pt x="180237" y="302011"/>
                </a:lnTo>
                <a:lnTo>
                  <a:pt x="181604" y="299982"/>
                </a:lnTo>
                <a:lnTo>
                  <a:pt x="183041" y="292860"/>
                </a:lnTo>
                <a:lnTo>
                  <a:pt x="183041" y="283708"/>
                </a:lnTo>
                <a:close/>
              </a:path>
              <a:path w="183515" h="311785">
                <a:moveTo>
                  <a:pt x="183041" y="27454"/>
                </a:moveTo>
                <a:lnTo>
                  <a:pt x="164738" y="27454"/>
                </a:lnTo>
                <a:lnTo>
                  <a:pt x="164738" y="274557"/>
                </a:lnTo>
                <a:lnTo>
                  <a:pt x="183041" y="274557"/>
                </a:lnTo>
                <a:lnTo>
                  <a:pt x="183041" y="27454"/>
                </a:lnTo>
                <a:close/>
              </a:path>
              <a:path w="183515" h="311785">
                <a:moveTo>
                  <a:pt x="91526" y="100677"/>
                </a:moveTo>
                <a:lnTo>
                  <a:pt x="70149" y="104991"/>
                </a:lnTo>
                <a:lnTo>
                  <a:pt x="52696" y="116756"/>
                </a:lnTo>
                <a:lnTo>
                  <a:pt x="40930" y="134210"/>
                </a:lnTo>
                <a:lnTo>
                  <a:pt x="36616" y="155586"/>
                </a:lnTo>
                <a:lnTo>
                  <a:pt x="40930" y="176959"/>
                </a:lnTo>
                <a:lnTo>
                  <a:pt x="52696" y="194412"/>
                </a:lnTo>
                <a:lnTo>
                  <a:pt x="70149" y="206180"/>
                </a:lnTo>
                <a:lnTo>
                  <a:pt x="91526" y="210496"/>
                </a:lnTo>
                <a:lnTo>
                  <a:pt x="112898" y="206180"/>
                </a:lnTo>
                <a:lnTo>
                  <a:pt x="120071" y="201344"/>
                </a:lnTo>
                <a:lnTo>
                  <a:pt x="91526" y="201344"/>
                </a:lnTo>
                <a:lnTo>
                  <a:pt x="73712" y="197748"/>
                </a:lnTo>
                <a:lnTo>
                  <a:pt x="59168" y="187940"/>
                </a:lnTo>
                <a:lnTo>
                  <a:pt x="49363" y="173395"/>
                </a:lnTo>
                <a:lnTo>
                  <a:pt x="45768" y="155586"/>
                </a:lnTo>
                <a:lnTo>
                  <a:pt x="49363" y="137773"/>
                </a:lnTo>
                <a:lnTo>
                  <a:pt x="59168" y="123229"/>
                </a:lnTo>
                <a:lnTo>
                  <a:pt x="73712" y="113424"/>
                </a:lnTo>
                <a:lnTo>
                  <a:pt x="91526" y="109829"/>
                </a:lnTo>
                <a:lnTo>
                  <a:pt x="120074" y="109829"/>
                </a:lnTo>
                <a:lnTo>
                  <a:pt x="112898" y="104991"/>
                </a:lnTo>
                <a:lnTo>
                  <a:pt x="91526" y="100677"/>
                </a:lnTo>
                <a:close/>
              </a:path>
              <a:path w="183515" h="311785">
                <a:moveTo>
                  <a:pt x="120074" y="109829"/>
                </a:moveTo>
                <a:lnTo>
                  <a:pt x="91526" y="109829"/>
                </a:lnTo>
                <a:lnTo>
                  <a:pt x="109334" y="113424"/>
                </a:lnTo>
                <a:lnTo>
                  <a:pt x="123879" y="123229"/>
                </a:lnTo>
                <a:lnTo>
                  <a:pt x="133687" y="137773"/>
                </a:lnTo>
                <a:lnTo>
                  <a:pt x="137283" y="155586"/>
                </a:lnTo>
                <a:lnTo>
                  <a:pt x="133687" y="173395"/>
                </a:lnTo>
                <a:lnTo>
                  <a:pt x="123879" y="187940"/>
                </a:lnTo>
                <a:lnTo>
                  <a:pt x="109334" y="197748"/>
                </a:lnTo>
                <a:lnTo>
                  <a:pt x="91526" y="201344"/>
                </a:lnTo>
                <a:lnTo>
                  <a:pt x="120071" y="201344"/>
                </a:lnTo>
                <a:lnTo>
                  <a:pt x="130352" y="194412"/>
                </a:lnTo>
                <a:lnTo>
                  <a:pt x="142120" y="176959"/>
                </a:lnTo>
                <a:lnTo>
                  <a:pt x="146435" y="155586"/>
                </a:lnTo>
                <a:lnTo>
                  <a:pt x="142120" y="134210"/>
                </a:lnTo>
                <a:lnTo>
                  <a:pt x="130352" y="116756"/>
                </a:lnTo>
                <a:lnTo>
                  <a:pt x="120074" y="109829"/>
                </a:lnTo>
                <a:close/>
              </a:path>
              <a:path w="183515" h="311785">
                <a:moveTo>
                  <a:pt x="78248" y="168225"/>
                </a:moveTo>
                <a:lnTo>
                  <a:pt x="67851" y="168225"/>
                </a:lnTo>
                <a:lnTo>
                  <a:pt x="69107" y="174455"/>
                </a:lnTo>
                <a:lnTo>
                  <a:pt x="71683" y="179711"/>
                </a:lnTo>
                <a:lnTo>
                  <a:pt x="80405" y="188193"/>
                </a:lnTo>
                <a:lnTo>
                  <a:pt x="86395" y="190193"/>
                </a:lnTo>
                <a:lnTo>
                  <a:pt x="93703" y="190193"/>
                </a:lnTo>
                <a:lnTo>
                  <a:pt x="101441" y="189383"/>
                </a:lnTo>
                <a:lnTo>
                  <a:pt x="107623" y="186907"/>
                </a:lnTo>
                <a:lnTo>
                  <a:pt x="112405" y="182692"/>
                </a:lnTo>
                <a:lnTo>
                  <a:pt x="113897" y="180151"/>
                </a:lnTo>
                <a:lnTo>
                  <a:pt x="85840" y="180151"/>
                </a:lnTo>
                <a:lnTo>
                  <a:pt x="80374" y="176539"/>
                </a:lnTo>
                <a:lnTo>
                  <a:pt x="78248" y="168225"/>
                </a:lnTo>
                <a:close/>
              </a:path>
              <a:path w="183515" h="311785">
                <a:moveTo>
                  <a:pt x="111033" y="169356"/>
                </a:moveTo>
                <a:lnTo>
                  <a:pt x="108248" y="169356"/>
                </a:lnTo>
                <a:lnTo>
                  <a:pt x="106488" y="170591"/>
                </a:lnTo>
                <a:lnTo>
                  <a:pt x="105504" y="172895"/>
                </a:lnTo>
                <a:lnTo>
                  <a:pt x="103462" y="177973"/>
                </a:lnTo>
                <a:lnTo>
                  <a:pt x="100489" y="180151"/>
                </a:lnTo>
                <a:lnTo>
                  <a:pt x="113897" y="180151"/>
                </a:lnTo>
                <a:lnTo>
                  <a:pt x="116004" y="176539"/>
                </a:lnTo>
                <a:lnTo>
                  <a:pt x="116268" y="175994"/>
                </a:lnTo>
                <a:lnTo>
                  <a:pt x="116415" y="175293"/>
                </a:lnTo>
                <a:lnTo>
                  <a:pt x="116415" y="172382"/>
                </a:lnTo>
                <a:lnTo>
                  <a:pt x="114687" y="170298"/>
                </a:lnTo>
                <a:lnTo>
                  <a:pt x="111661" y="169460"/>
                </a:lnTo>
                <a:lnTo>
                  <a:pt x="111033" y="169356"/>
                </a:lnTo>
                <a:close/>
              </a:path>
              <a:path w="183515" h="311785">
                <a:moveTo>
                  <a:pt x="100792" y="158874"/>
                </a:moveTo>
                <a:lnTo>
                  <a:pt x="61286" y="158874"/>
                </a:lnTo>
                <a:lnTo>
                  <a:pt x="59582" y="160968"/>
                </a:lnTo>
                <a:lnTo>
                  <a:pt x="59547" y="166392"/>
                </a:lnTo>
                <a:lnTo>
                  <a:pt x="61327" y="168225"/>
                </a:lnTo>
                <a:lnTo>
                  <a:pt x="100667" y="168225"/>
                </a:lnTo>
                <a:lnTo>
                  <a:pt x="102243" y="166392"/>
                </a:lnTo>
                <a:lnTo>
                  <a:pt x="102279" y="160968"/>
                </a:lnTo>
                <a:lnTo>
                  <a:pt x="100792" y="158874"/>
                </a:lnTo>
                <a:close/>
              </a:path>
              <a:path w="183515" h="311785">
                <a:moveTo>
                  <a:pt x="77212" y="153681"/>
                </a:moveTo>
                <a:lnTo>
                  <a:pt x="67170" y="153681"/>
                </a:lnTo>
                <a:lnTo>
                  <a:pt x="67170" y="158874"/>
                </a:lnTo>
                <a:lnTo>
                  <a:pt x="77212" y="158874"/>
                </a:lnTo>
                <a:lnTo>
                  <a:pt x="77212" y="153681"/>
                </a:lnTo>
                <a:close/>
              </a:path>
              <a:path w="183515" h="311785">
                <a:moveTo>
                  <a:pt x="104907" y="143639"/>
                </a:moveTo>
                <a:lnTo>
                  <a:pt x="61327" y="143639"/>
                </a:lnTo>
                <a:lnTo>
                  <a:pt x="59599" y="146089"/>
                </a:lnTo>
                <a:lnTo>
                  <a:pt x="59547" y="151503"/>
                </a:lnTo>
                <a:lnTo>
                  <a:pt x="61327" y="153681"/>
                </a:lnTo>
                <a:lnTo>
                  <a:pt x="104865" y="153681"/>
                </a:lnTo>
                <a:lnTo>
                  <a:pt x="106507" y="151503"/>
                </a:lnTo>
                <a:lnTo>
                  <a:pt x="106530" y="146089"/>
                </a:lnTo>
                <a:lnTo>
                  <a:pt x="104907" y="143639"/>
                </a:lnTo>
                <a:close/>
              </a:path>
              <a:path w="183515" h="311785">
                <a:moveTo>
                  <a:pt x="93703" y="120970"/>
                </a:moveTo>
                <a:lnTo>
                  <a:pt x="86960" y="120970"/>
                </a:lnTo>
                <a:lnTo>
                  <a:pt x="81013" y="122949"/>
                </a:lnTo>
                <a:lnTo>
                  <a:pt x="72322" y="131273"/>
                </a:lnTo>
                <a:lnTo>
                  <a:pt x="69620" y="137053"/>
                </a:lnTo>
                <a:lnTo>
                  <a:pt x="68207" y="143639"/>
                </a:lnTo>
                <a:lnTo>
                  <a:pt x="78594" y="143639"/>
                </a:lnTo>
                <a:lnTo>
                  <a:pt x="80950" y="134980"/>
                </a:lnTo>
                <a:lnTo>
                  <a:pt x="86280" y="130948"/>
                </a:lnTo>
                <a:lnTo>
                  <a:pt x="113552" y="130948"/>
                </a:lnTo>
                <a:lnTo>
                  <a:pt x="112177" y="128568"/>
                </a:lnTo>
                <a:lnTo>
                  <a:pt x="107402" y="124333"/>
                </a:lnTo>
                <a:lnTo>
                  <a:pt x="101257" y="121807"/>
                </a:lnTo>
                <a:lnTo>
                  <a:pt x="93703" y="120970"/>
                </a:lnTo>
                <a:close/>
              </a:path>
              <a:path w="183515" h="311785">
                <a:moveTo>
                  <a:pt x="113552" y="130948"/>
                </a:moveTo>
                <a:lnTo>
                  <a:pt x="100112" y="130948"/>
                </a:lnTo>
                <a:lnTo>
                  <a:pt x="103221" y="133105"/>
                </a:lnTo>
                <a:lnTo>
                  <a:pt x="106447" y="140854"/>
                </a:lnTo>
                <a:lnTo>
                  <a:pt x="108164" y="142288"/>
                </a:lnTo>
                <a:lnTo>
                  <a:pt x="111085" y="142288"/>
                </a:lnTo>
                <a:lnTo>
                  <a:pt x="111912" y="142424"/>
                </a:lnTo>
                <a:lnTo>
                  <a:pt x="112551" y="142079"/>
                </a:lnTo>
                <a:lnTo>
                  <a:pt x="112708" y="141880"/>
                </a:lnTo>
                <a:lnTo>
                  <a:pt x="114907" y="140969"/>
                </a:lnTo>
                <a:lnTo>
                  <a:pt x="116174" y="139158"/>
                </a:lnTo>
                <a:lnTo>
                  <a:pt x="116111" y="135556"/>
                </a:lnTo>
                <a:lnTo>
                  <a:pt x="115619" y="134529"/>
                </a:lnTo>
                <a:lnTo>
                  <a:pt x="113552" y="130948"/>
                </a:lnTo>
                <a:close/>
              </a:path>
              <a:path w="183515" h="311785">
                <a:moveTo>
                  <a:pt x="180240" y="9151"/>
                </a:moveTo>
                <a:lnTo>
                  <a:pt x="107766" y="9151"/>
                </a:lnTo>
                <a:lnTo>
                  <a:pt x="109790" y="11176"/>
                </a:lnTo>
                <a:lnTo>
                  <a:pt x="109829" y="16250"/>
                </a:lnTo>
                <a:lnTo>
                  <a:pt x="107766" y="18303"/>
                </a:lnTo>
                <a:lnTo>
                  <a:pt x="183041" y="18303"/>
                </a:lnTo>
                <a:lnTo>
                  <a:pt x="181604" y="11176"/>
                </a:lnTo>
                <a:lnTo>
                  <a:pt x="180240" y="9151"/>
                </a:lnTo>
                <a:close/>
              </a:path>
            </a:pathLst>
          </a:custGeom>
          <a:solidFill>
            <a:srgbClr val="FFFFFF"/>
          </a:solidFill>
        </p:spPr>
        <p:txBody>
          <a:bodyPr wrap="square" lIns="0" tIns="0" rIns="0" bIns="0" rtlCol="0"/>
          <a:lstStyle/>
          <a:p>
            <a:endParaRPr/>
          </a:p>
        </p:txBody>
      </p:sp>
      <p:sp>
        <p:nvSpPr>
          <p:cNvPr id="23" name="object 23"/>
          <p:cNvSpPr txBox="1"/>
          <p:nvPr/>
        </p:nvSpPr>
        <p:spPr>
          <a:xfrm>
            <a:off x="265071" y="2098548"/>
            <a:ext cx="8559720" cy="339138"/>
          </a:xfrm>
          <a:prstGeom prst="rect">
            <a:avLst/>
          </a:prstGeom>
          <a:solidFill>
            <a:srgbClr val="FFFFFF"/>
          </a:solidFill>
        </p:spPr>
        <p:txBody>
          <a:bodyPr vert="horz" wrap="square" lIns="0" tIns="578" rIns="0" bIns="0" rtlCol="0">
            <a:spAutoFit/>
          </a:bodyPr>
          <a:lstStyle/>
          <a:p>
            <a:pPr>
              <a:spcBef>
                <a:spcPts val="5"/>
              </a:spcBef>
            </a:pPr>
            <a:endParaRPr sz="1100" dirty="0">
              <a:latin typeface="Times New Roman"/>
              <a:cs typeface="Times New Roman"/>
            </a:endParaRPr>
          </a:p>
          <a:p>
            <a:pPr marL="100791"/>
            <a:r>
              <a:rPr sz="1100" b="1" spc="5" dirty="0">
                <a:solidFill>
                  <a:srgbClr val="1D1D1B"/>
                </a:solidFill>
                <a:latin typeface="Helvetica Neue"/>
                <a:cs typeface="Helvetica Neue"/>
              </a:rPr>
              <a:t>se </a:t>
            </a:r>
            <a:r>
              <a:rPr sz="1100" b="1" spc="2" dirty="0">
                <a:solidFill>
                  <a:srgbClr val="1D1D1B"/>
                </a:solidFill>
                <a:latin typeface="Helvetica Neue"/>
                <a:cs typeface="Helvetica Neue"/>
              </a:rPr>
              <a:t>renseigner </a:t>
            </a:r>
            <a:r>
              <a:rPr sz="1100" b="1" spc="5" dirty="0">
                <a:solidFill>
                  <a:srgbClr val="1D1D1B"/>
                </a:solidFill>
                <a:latin typeface="Helvetica Neue"/>
                <a:cs typeface="Helvetica Neue"/>
              </a:rPr>
              <a:t>sur un </a:t>
            </a:r>
            <a:r>
              <a:rPr sz="1100" b="1" spc="2" dirty="0">
                <a:solidFill>
                  <a:srgbClr val="1D1D1B"/>
                </a:solidFill>
                <a:latin typeface="Helvetica Neue"/>
                <a:cs typeface="Helvetica Neue"/>
              </a:rPr>
              <a:t>produit </a:t>
            </a:r>
            <a:r>
              <a:rPr sz="1100" b="1" spc="5" dirty="0">
                <a:solidFill>
                  <a:srgbClr val="1D1D1B"/>
                </a:solidFill>
                <a:latin typeface="Helvetica Neue"/>
                <a:cs typeface="Helvetica Neue"/>
              </a:rPr>
              <a:t>ou un service avant de</a:t>
            </a:r>
            <a:r>
              <a:rPr sz="1100" b="1" spc="-16" dirty="0">
                <a:solidFill>
                  <a:srgbClr val="1D1D1B"/>
                </a:solidFill>
                <a:latin typeface="Helvetica Neue"/>
                <a:cs typeface="Helvetica Neue"/>
              </a:rPr>
              <a:t> </a:t>
            </a:r>
            <a:r>
              <a:rPr sz="1100" b="1" spc="5" dirty="0">
                <a:solidFill>
                  <a:srgbClr val="1D1D1B"/>
                </a:solidFill>
                <a:latin typeface="Helvetica Neue"/>
                <a:cs typeface="Helvetica Neue"/>
              </a:rPr>
              <a:t>l'acheter</a:t>
            </a:r>
            <a:endParaRPr sz="1100" dirty="0">
              <a:latin typeface="Helvetica Neue"/>
              <a:cs typeface="Helvetica Neue"/>
            </a:endParaRPr>
          </a:p>
        </p:txBody>
      </p:sp>
      <p:sp>
        <p:nvSpPr>
          <p:cNvPr id="24" name="object 24"/>
          <p:cNvSpPr txBox="1"/>
          <p:nvPr/>
        </p:nvSpPr>
        <p:spPr>
          <a:xfrm>
            <a:off x="4747460" y="2221202"/>
            <a:ext cx="1585903" cy="216968"/>
          </a:xfrm>
          <a:prstGeom prst="rect">
            <a:avLst/>
          </a:prstGeom>
          <a:solidFill>
            <a:srgbClr val="FF7900"/>
          </a:solidFill>
        </p:spPr>
        <p:txBody>
          <a:bodyPr vert="horz" wrap="square" lIns="0" tIns="16750" rIns="0" bIns="0" rtlCol="0">
            <a:spAutoFit/>
          </a:bodyPr>
          <a:lstStyle/>
          <a:p>
            <a:pPr marR="44764" algn="r">
              <a:spcBef>
                <a:spcPts val="132"/>
              </a:spcBef>
            </a:pPr>
            <a:r>
              <a:rPr sz="1300" b="1" spc="-2" dirty="0">
                <a:solidFill>
                  <a:srgbClr val="FFFFFF"/>
                </a:solidFill>
                <a:latin typeface="Helvetica"/>
                <a:cs typeface="Helvetica"/>
              </a:rPr>
              <a:t>57%</a:t>
            </a:r>
            <a:endParaRPr sz="1300">
              <a:latin typeface="Helvetica"/>
              <a:cs typeface="Helvetica"/>
            </a:endParaRPr>
          </a:p>
        </p:txBody>
      </p:sp>
      <p:sp>
        <p:nvSpPr>
          <p:cNvPr id="25" name="object 25"/>
          <p:cNvSpPr txBox="1"/>
          <p:nvPr/>
        </p:nvSpPr>
        <p:spPr>
          <a:xfrm>
            <a:off x="6665742" y="2223765"/>
            <a:ext cx="1885408" cy="218135"/>
          </a:xfrm>
          <a:prstGeom prst="rect">
            <a:avLst/>
          </a:prstGeom>
          <a:solidFill>
            <a:srgbClr val="4AB4E6"/>
          </a:solidFill>
        </p:spPr>
        <p:txBody>
          <a:bodyPr vert="horz" wrap="square" lIns="0" tIns="17905" rIns="0" bIns="0" rtlCol="0">
            <a:spAutoFit/>
          </a:bodyPr>
          <a:lstStyle/>
          <a:p>
            <a:pPr marR="35233" algn="r">
              <a:spcBef>
                <a:spcPts val="141"/>
              </a:spcBef>
            </a:pPr>
            <a:r>
              <a:rPr sz="1300" b="1" spc="-2" dirty="0">
                <a:solidFill>
                  <a:srgbClr val="FFFFFF"/>
                </a:solidFill>
                <a:latin typeface="Helvetica"/>
                <a:cs typeface="Helvetica"/>
              </a:rPr>
              <a:t>69%</a:t>
            </a:r>
            <a:endParaRPr sz="1300">
              <a:latin typeface="Helvetica"/>
              <a:cs typeface="Helvetica"/>
            </a:endParaRPr>
          </a:p>
        </p:txBody>
      </p:sp>
      <p:sp>
        <p:nvSpPr>
          <p:cNvPr id="26" name="object 26"/>
          <p:cNvSpPr txBox="1"/>
          <p:nvPr/>
        </p:nvSpPr>
        <p:spPr>
          <a:xfrm>
            <a:off x="265071" y="2762228"/>
            <a:ext cx="8559720" cy="341762"/>
          </a:xfrm>
          <a:prstGeom prst="rect">
            <a:avLst/>
          </a:prstGeom>
          <a:solidFill>
            <a:srgbClr val="FFFFFF"/>
          </a:solidFill>
        </p:spPr>
        <p:txBody>
          <a:bodyPr vert="horz" wrap="square" lIns="0" tIns="3177" rIns="0" bIns="0" rtlCol="0">
            <a:spAutoFit/>
          </a:bodyPr>
          <a:lstStyle/>
          <a:p>
            <a:pPr>
              <a:spcBef>
                <a:spcPts val="25"/>
              </a:spcBef>
            </a:pPr>
            <a:endParaRPr sz="1100">
              <a:latin typeface="Times New Roman"/>
              <a:cs typeface="Times New Roman"/>
            </a:endParaRPr>
          </a:p>
          <a:p>
            <a:pPr marL="100791"/>
            <a:r>
              <a:rPr sz="1100" b="1" spc="5" dirty="0">
                <a:solidFill>
                  <a:srgbClr val="1D1D1B"/>
                </a:solidFill>
                <a:latin typeface="Helvetica Neue"/>
                <a:cs typeface="Helvetica Neue"/>
              </a:rPr>
              <a:t>payer un </a:t>
            </a:r>
            <a:r>
              <a:rPr sz="1100" b="1" spc="2" dirty="0">
                <a:solidFill>
                  <a:srgbClr val="1D1D1B"/>
                </a:solidFill>
                <a:latin typeface="Helvetica Neue"/>
                <a:cs typeface="Helvetica Neue"/>
              </a:rPr>
              <a:t>produit </a:t>
            </a:r>
            <a:r>
              <a:rPr sz="1100" b="1" spc="5" dirty="0">
                <a:solidFill>
                  <a:srgbClr val="1D1D1B"/>
                </a:solidFill>
                <a:latin typeface="Helvetica Neue"/>
                <a:cs typeface="Helvetica Neue"/>
              </a:rPr>
              <a:t>ou un service sur</a:t>
            </a:r>
            <a:r>
              <a:rPr sz="1100" b="1" spc="-11" dirty="0">
                <a:solidFill>
                  <a:srgbClr val="1D1D1B"/>
                </a:solidFill>
                <a:latin typeface="Helvetica Neue"/>
                <a:cs typeface="Helvetica Neue"/>
              </a:rPr>
              <a:t> </a:t>
            </a:r>
            <a:r>
              <a:rPr sz="1100" b="1" spc="7" dirty="0">
                <a:solidFill>
                  <a:srgbClr val="1D1D1B"/>
                </a:solidFill>
                <a:latin typeface="Helvetica Neue"/>
                <a:cs typeface="Helvetica Neue"/>
              </a:rPr>
              <a:t>Internet</a:t>
            </a:r>
            <a:endParaRPr sz="1100">
              <a:latin typeface="Helvetica Neue"/>
              <a:cs typeface="Helvetica Neue"/>
            </a:endParaRPr>
          </a:p>
        </p:txBody>
      </p:sp>
      <p:sp>
        <p:nvSpPr>
          <p:cNvPr id="27" name="object 27"/>
          <p:cNvSpPr txBox="1"/>
          <p:nvPr/>
        </p:nvSpPr>
        <p:spPr>
          <a:xfrm>
            <a:off x="265071" y="3430455"/>
            <a:ext cx="8559720" cy="339720"/>
          </a:xfrm>
          <a:prstGeom prst="rect">
            <a:avLst/>
          </a:prstGeom>
          <a:solidFill>
            <a:srgbClr val="FFFFFF"/>
          </a:solidFill>
        </p:spPr>
        <p:txBody>
          <a:bodyPr vert="horz" wrap="square" lIns="0" tIns="1155" rIns="0" bIns="0" rtlCol="0">
            <a:spAutoFit/>
          </a:bodyPr>
          <a:lstStyle/>
          <a:p>
            <a:pPr>
              <a:spcBef>
                <a:spcPts val="9"/>
              </a:spcBef>
            </a:pPr>
            <a:endParaRPr sz="1100">
              <a:latin typeface="Times New Roman"/>
              <a:cs typeface="Times New Roman"/>
            </a:endParaRPr>
          </a:p>
          <a:p>
            <a:pPr marL="100791"/>
            <a:r>
              <a:rPr sz="1100" b="1" spc="5" dirty="0">
                <a:solidFill>
                  <a:srgbClr val="1D1D1B"/>
                </a:solidFill>
                <a:latin typeface="Helvetica Neue"/>
                <a:cs typeface="Helvetica Neue"/>
              </a:rPr>
              <a:t>payer un </a:t>
            </a:r>
            <a:r>
              <a:rPr sz="1100" b="1" spc="2" dirty="0">
                <a:solidFill>
                  <a:srgbClr val="1D1D1B"/>
                </a:solidFill>
                <a:latin typeface="Helvetica Neue"/>
                <a:cs typeface="Helvetica Neue"/>
              </a:rPr>
              <a:t>produit </a:t>
            </a:r>
            <a:r>
              <a:rPr sz="1100" b="1" spc="5" dirty="0">
                <a:solidFill>
                  <a:srgbClr val="1D1D1B"/>
                </a:solidFill>
                <a:latin typeface="Helvetica Neue"/>
                <a:cs typeface="Helvetica Neue"/>
              </a:rPr>
              <a:t>ou un service dans un magasin</a:t>
            </a:r>
            <a:r>
              <a:rPr sz="1100" b="1" spc="-14" dirty="0">
                <a:solidFill>
                  <a:srgbClr val="1D1D1B"/>
                </a:solidFill>
                <a:latin typeface="Helvetica Neue"/>
                <a:cs typeface="Helvetica Neue"/>
              </a:rPr>
              <a:t> </a:t>
            </a:r>
            <a:r>
              <a:rPr sz="1100" b="1" spc="5" dirty="0">
                <a:solidFill>
                  <a:srgbClr val="1D1D1B"/>
                </a:solidFill>
                <a:latin typeface="Helvetica Neue"/>
                <a:cs typeface="Helvetica Neue"/>
              </a:rPr>
              <a:t>physique</a:t>
            </a:r>
            <a:endParaRPr sz="1100">
              <a:latin typeface="Helvetica Neue"/>
              <a:cs typeface="Helvetica Neue"/>
            </a:endParaRPr>
          </a:p>
        </p:txBody>
      </p:sp>
      <p:sp>
        <p:nvSpPr>
          <p:cNvPr id="28" name="object 28"/>
          <p:cNvSpPr txBox="1"/>
          <p:nvPr/>
        </p:nvSpPr>
        <p:spPr>
          <a:xfrm>
            <a:off x="4747459" y="2885691"/>
            <a:ext cx="995847" cy="216968"/>
          </a:xfrm>
          <a:prstGeom prst="rect">
            <a:avLst/>
          </a:prstGeom>
          <a:solidFill>
            <a:srgbClr val="FF7900"/>
          </a:solidFill>
        </p:spPr>
        <p:txBody>
          <a:bodyPr vert="horz" wrap="square" lIns="0" tIns="16750" rIns="0" bIns="0" rtlCol="0">
            <a:spAutoFit/>
          </a:bodyPr>
          <a:lstStyle/>
          <a:p>
            <a:pPr marL="624959">
              <a:spcBef>
                <a:spcPts val="132"/>
              </a:spcBef>
            </a:pPr>
            <a:r>
              <a:rPr sz="1300" b="1" spc="-2" dirty="0">
                <a:solidFill>
                  <a:srgbClr val="FFFFFF"/>
                </a:solidFill>
                <a:latin typeface="Helvetica"/>
                <a:cs typeface="Helvetica"/>
              </a:rPr>
              <a:t>36%</a:t>
            </a:r>
            <a:endParaRPr sz="1300">
              <a:latin typeface="Helvetica"/>
              <a:cs typeface="Helvetica"/>
            </a:endParaRPr>
          </a:p>
        </p:txBody>
      </p:sp>
      <p:sp>
        <p:nvSpPr>
          <p:cNvPr id="29" name="object 29"/>
          <p:cNvSpPr txBox="1"/>
          <p:nvPr/>
        </p:nvSpPr>
        <p:spPr>
          <a:xfrm>
            <a:off x="6665742" y="2890710"/>
            <a:ext cx="1318746" cy="218135"/>
          </a:xfrm>
          <a:prstGeom prst="rect">
            <a:avLst/>
          </a:prstGeom>
          <a:solidFill>
            <a:srgbClr val="4AB4E6"/>
          </a:solidFill>
        </p:spPr>
        <p:txBody>
          <a:bodyPr vert="horz" wrap="square" lIns="0" tIns="17905" rIns="0" bIns="0" rtlCol="0">
            <a:spAutoFit/>
          </a:bodyPr>
          <a:lstStyle/>
          <a:p>
            <a:pPr marR="47362" algn="r">
              <a:spcBef>
                <a:spcPts val="141"/>
              </a:spcBef>
            </a:pPr>
            <a:r>
              <a:rPr sz="1300" b="1" spc="-2" dirty="0">
                <a:solidFill>
                  <a:srgbClr val="FFFFFF"/>
                </a:solidFill>
                <a:latin typeface="Helvetica"/>
                <a:cs typeface="Helvetica"/>
              </a:rPr>
              <a:t>48%</a:t>
            </a:r>
            <a:endParaRPr sz="1300">
              <a:latin typeface="Helvetica"/>
              <a:cs typeface="Helvetica"/>
            </a:endParaRPr>
          </a:p>
        </p:txBody>
      </p:sp>
      <p:sp>
        <p:nvSpPr>
          <p:cNvPr id="30" name="object 30"/>
          <p:cNvSpPr txBox="1"/>
          <p:nvPr/>
        </p:nvSpPr>
        <p:spPr>
          <a:xfrm>
            <a:off x="4742697" y="3562776"/>
            <a:ext cx="486948" cy="216968"/>
          </a:xfrm>
          <a:prstGeom prst="rect">
            <a:avLst/>
          </a:prstGeom>
          <a:solidFill>
            <a:srgbClr val="FF7900"/>
          </a:solidFill>
        </p:spPr>
        <p:txBody>
          <a:bodyPr vert="horz" wrap="square" lIns="0" tIns="16750" rIns="0" bIns="0" rtlCol="0">
            <a:spAutoFit/>
          </a:bodyPr>
          <a:lstStyle/>
          <a:p>
            <a:pPr marL="138334">
              <a:spcBef>
                <a:spcPts val="132"/>
              </a:spcBef>
            </a:pPr>
            <a:r>
              <a:rPr sz="1300" b="1" spc="-2" dirty="0">
                <a:solidFill>
                  <a:srgbClr val="FFFFFF"/>
                </a:solidFill>
                <a:latin typeface="Helvetica"/>
                <a:cs typeface="Helvetica"/>
              </a:rPr>
              <a:t>18%</a:t>
            </a:r>
            <a:endParaRPr sz="1300">
              <a:latin typeface="Helvetica"/>
              <a:cs typeface="Helvetica"/>
            </a:endParaRPr>
          </a:p>
        </p:txBody>
      </p:sp>
      <p:sp>
        <p:nvSpPr>
          <p:cNvPr id="31" name="object 31"/>
          <p:cNvSpPr txBox="1"/>
          <p:nvPr/>
        </p:nvSpPr>
        <p:spPr>
          <a:xfrm>
            <a:off x="6660980" y="3560214"/>
            <a:ext cx="785298" cy="218135"/>
          </a:xfrm>
          <a:prstGeom prst="rect">
            <a:avLst/>
          </a:prstGeom>
          <a:solidFill>
            <a:srgbClr val="4AB4E6"/>
          </a:solidFill>
        </p:spPr>
        <p:txBody>
          <a:bodyPr vert="horz" wrap="square" lIns="0" tIns="17905" rIns="0" bIns="0" rtlCol="0">
            <a:spAutoFit/>
          </a:bodyPr>
          <a:lstStyle/>
          <a:p>
            <a:pPr marL="415002">
              <a:spcBef>
                <a:spcPts val="141"/>
              </a:spcBef>
            </a:pPr>
            <a:r>
              <a:rPr sz="1300" b="1" spc="-2" dirty="0">
                <a:solidFill>
                  <a:srgbClr val="FFFFFF"/>
                </a:solidFill>
                <a:latin typeface="Helvetica"/>
                <a:cs typeface="Helvetica"/>
              </a:rPr>
              <a:t>29%</a:t>
            </a:r>
            <a:endParaRPr sz="1300">
              <a:latin typeface="Helvetica"/>
              <a:cs typeface="Helvetica"/>
            </a:endParaRPr>
          </a:p>
        </p:txBody>
      </p:sp>
    </p:spTree>
    <p:extLst>
      <p:ext uri="{BB962C8B-B14F-4D97-AF65-F5344CB8AC3E}">
        <p14:creationId xmlns:p14="http://schemas.microsoft.com/office/powerpoint/2010/main" val="9605646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63024"/>
            <a:ext cx="9144000" cy="4280281"/>
          </a:xfrm>
          <a:custGeom>
            <a:avLst/>
            <a:gdLst/>
            <a:ahLst/>
            <a:cxnLst/>
            <a:rect l="l" t="t" r="r" b="b"/>
            <a:pathLst>
              <a:path w="20104100" h="9411335">
                <a:moveTo>
                  <a:pt x="0" y="9410969"/>
                </a:moveTo>
                <a:lnTo>
                  <a:pt x="20104099" y="9410969"/>
                </a:lnTo>
                <a:lnTo>
                  <a:pt x="20104099" y="0"/>
                </a:lnTo>
                <a:lnTo>
                  <a:pt x="0" y="0"/>
                </a:lnTo>
                <a:lnTo>
                  <a:pt x="0" y="9410969"/>
                </a:lnTo>
                <a:close/>
              </a:path>
            </a:pathLst>
          </a:custGeom>
          <a:solidFill>
            <a:srgbClr val="D5D5D5"/>
          </a:solidFill>
        </p:spPr>
        <p:txBody>
          <a:bodyPr wrap="square" lIns="0" tIns="0" rIns="0" bIns="0" rtlCol="0"/>
          <a:lstStyle/>
          <a:p>
            <a:endParaRPr/>
          </a:p>
        </p:txBody>
      </p:sp>
      <p:sp>
        <p:nvSpPr>
          <p:cNvPr id="3" name="object 3"/>
          <p:cNvSpPr/>
          <p:nvPr/>
        </p:nvSpPr>
        <p:spPr>
          <a:xfrm>
            <a:off x="3913166" y="2651710"/>
            <a:ext cx="787609" cy="568644"/>
          </a:xfrm>
          <a:custGeom>
            <a:avLst/>
            <a:gdLst/>
            <a:ahLst/>
            <a:cxnLst/>
            <a:rect l="l" t="t" r="r" b="b"/>
            <a:pathLst>
              <a:path w="1731645" h="1250315">
                <a:moveTo>
                  <a:pt x="1545658" y="0"/>
                </a:moveTo>
                <a:lnTo>
                  <a:pt x="1496865" y="3912"/>
                </a:lnTo>
                <a:lnTo>
                  <a:pt x="1447809" y="18021"/>
                </a:lnTo>
                <a:lnTo>
                  <a:pt x="1400300" y="42561"/>
                </a:lnTo>
                <a:lnTo>
                  <a:pt x="115261" y="873624"/>
                </a:lnTo>
                <a:lnTo>
                  <a:pt x="73396" y="906886"/>
                </a:lnTo>
                <a:lnTo>
                  <a:pt x="40408" y="945838"/>
                </a:lnTo>
                <a:lnTo>
                  <a:pt x="16826" y="988733"/>
                </a:lnTo>
                <a:lnTo>
                  <a:pt x="3181" y="1033824"/>
                </a:lnTo>
                <a:lnTo>
                  <a:pt x="0" y="1079362"/>
                </a:lnTo>
                <a:lnTo>
                  <a:pt x="7812" y="1123600"/>
                </a:lnTo>
                <a:lnTo>
                  <a:pt x="27148" y="1164788"/>
                </a:lnTo>
                <a:lnTo>
                  <a:pt x="58936" y="1202648"/>
                </a:lnTo>
                <a:lnTo>
                  <a:pt x="96073" y="1227919"/>
                </a:lnTo>
                <a:lnTo>
                  <a:pt x="138906" y="1243697"/>
                </a:lnTo>
                <a:lnTo>
                  <a:pt x="185624" y="1249746"/>
                </a:lnTo>
                <a:lnTo>
                  <a:pt x="234417" y="1245834"/>
                </a:lnTo>
                <a:lnTo>
                  <a:pt x="283473" y="1231725"/>
                </a:lnTo>
                <a:lnTo>
                  <a:pt x="330982" y="1207185"/>
                </a:lnTo>
                <a:lnTo>
                  <a:pt x="1616021" y="376121"/>
                </a:lnTo>
                <a:lnTo>
                  <a:pt x="1657886" y="342860"/>
                </a:lnTo>
                <a:lnTo>
                  <a:pt x="1690874" y="303908"/>
                </a:lnTo>
                <a:lnTo>
                  <a:pt x="1714455" y="261013"/>
                </a:lnTo>
                <a:lnTo>
                  <a:pt x="1728101" y="215923"/>
                </a:lnTo>
                <a:lnTo>
                  <a:pt x="1731282" y="170387"/>
                </a:lnTo>
                <a:lnTo>
                  <a:pt x="1723469" y="126153"/>
                </a:lnTo>
                <a:lnTo>
                  <a:pt x="1704134" y="84968"/>
                </a:lnTo>
                <a:lnTo>
                  <a:pt x="1672346" y="47097"/>
                </a:lnTo>
                <a:lnTo>
                  <a:pt x="1635209" y="21826"/>
                </a:lnTo>
                <a:lnTo>
                  <a:pt x="1592376" y="6049"/>
                </a:lnTo>
                <a:lnTo>
                  <a:pt x="1545658" y="0"/>
                </a:lnTo>
                <a:close/>
              </a:path>
            </a:pathLst>
          </a:custGeom>
          <a:solidFill>
            <a:srgbClr val="DEB89C"/>
          </a:solidFill>
        </p:spPr>
        <p:txBody>
          <a:bodyPr wrap="square" lIns="0" tIns="0" rIns="0" bIns="0" rtlCol="0"/>
          <a:lstStyle/>
          <a:p>
            <a:endParaRPr/>
          </a:p>
        </p:txBody>
      </p:sp>
      <p:sp>
        <p:nvSpPr>
          <p:cNvPr id="4" name="object 4"/>
          <p:cNvSpPr/>
          <p:nvPr/>
        </p:nvSpPr>
        <p:spPr>
          <a:xfrm>
            <a:off x="3621625" y="2856771"/>
            <a:ext cx="962055" cy="1042274"/>
          </a:xfrm>
          <a:custGeom>
            <a:avLst/>
            <a:gdLst/>
            <a:ahLst/>
            <a:cxnLst/>
            <a:rect l="l" t="t" r="r" b="b"/>
            <a:pathLst>
              <a:path w="2115184" h="2291715">
                <a:moveTo>
                  <a:pt x="1139623" y="0"/>
                </a:moveTo>
                <a:lnTo>
                  <a:pt x="1075480" y="6628"/>
                </a:lnTo>
                <a:lnTo>
                  <a:pt x="1006858" y="31142"/>
                </a:lnTo>
                <a:lnTo>
                  <a:pt x="970159" y="50461"/>
                </a:lnTo>
                <a:lnTo>
                  <a:pt x="931490" y="74677"/>
                </a:lnTo>
                <a:lnTo>
                  <a:pt x="890569" y="103933"/>
                </a:lnTo>
                <a:lnTo>
                  <a:pt x="847112" y="138370"/>
                </a:lnTo>
                <a:lnTo>
                  <a:pt x="800835" y="178131"/>
                </a:lnTo>
                <a:lnTo>
                  <a:pt x="70250" y="966505"/>
                </a:lnTo>
                <a:lnTo>
                  <a:pt x="47881" y="1034206"/>
                </a:lnTo>
                <a:lnTo>
                  <a:pt x="29954" y="1098648"/>
                </a:lnTo>
                <a:lnTo>
                  <a:pt x="16336" y="1159876"/>
                </a:lnTo>
                <a:lnTo>
                  <a:pt x="6894" y="1217940"/>
                </a:lnTo>
                <a:lnTo>
                  <a:pt x="1493" y="1272886"/>
                </a:lnTo>
                <a:lnTo>
                  <a:pt x="0" y="1324763"/>
                </a:lnTo>
                <a:lnTo>
                  <a:pt x="2280" y="1373617"/>
                </a:lnTo>
                <a:lnTo>
                  <a:pt x="8201" y="1419496"/>
                </a:lnTo>
                <a:lnTo>
                  <a:pt x="17629" y="1462448"/>
                </a:lnTo>
                <a:lnTo>
                  <a:pt x="30429" y="1502520"/>
                </a:lnTo>
                <a:lnTo>
                  <a:pt x="46469" y="1539760"/>
                </a:lnTo>
                <a:lnTo>
                  <a:pt x="65614" y="1574216"/>
                </a:lnTo>
                <a:lnTo>
                  <a:pt x="87730" y="1605934"/>
                </a:lnTo>
                <a:lnTo>
                  <a:pt x="112684" y="1634963"/>
                </a:lnTo>
                <a:lnTo>
                  <a:pt x="140343" y="1661350"/>
                </a:lnTo>
                <a:lnTo>
                  <a:pt x="170572" y="1685143"/>
                </a:lnTo>
                <a:lnTo>
                  <a:pt x="203963" y="1709564"/>
                </a:lnTo>
                <a:lnTo>
                  <a:pt x="238519" y="1735676"/>
                </a:lnTo>
                <a:lnTo>
                  <a:pt x="351610" y="1822679"/>
                </a:lnTo>
                <a:lnTo>
                  <a:pt x="393256" y="1854080"/>
                </a:lnTo>
                <a:lnTo>
                  <a:pt x="437280" y="1886437"/>
                </a:lnTo>
                <a:lnTo>
                  <a:pt x="483927" y="1919603"/>
                </a:lnTo>
                <a:lnTo>
                  <a:pt x="533438" y="1953430"/>
                </a:lnTo>
                <a:lnTo>
                  <a:pt x="586057" y="1987772"/>
                </a:lnTo>
                <a:lnTo>
                  <a:pt x="762908" y="2100008"/>
                </a:lnTo>
                <a:lnTo>
                  <a:pt x="813692" y="2131227"/>
                </a:lnTo>
                <a:lnTo>
                  <a:pt x="862934" y="2160469"/>
                </a:lnTo>
                <a:lnTo>
                  <a:pt x="910690" y="2187466"/>
                </a:lnTo>
                <a:lnTo>
                  <a:pt x="957015" y="2211950"/>
                </a:lnTo>
                <a:lnTo>
                  <a:pt x="1001962" y="2233655"/>
                </a:lnTo>
                <a:lnTo>
                  <a:pt x="1045587" y="2252313"/>
                </a:lnTo>
                <a:lnTo>
                  <a:pt x="1087944" y="2267658"/>
                </a:lnTo>
                <a:lnTo>
                  <a:pt x="1129088" y="2279422"/>
                </a:lnTo>
                <a:lnTo>
                  <a:pt x="1169073" y="2287337"/>
                </a:lnTo>
                <a:lnTo>
                  <a:pt x="1207954" y="2291137"/>
                </a:lnTo>
                <a:lnTo>
                  <a:pt x="1245786" y="2290555"/>
                </a:lnTo>
                <a:lnTo>
                  <a:pt x="1319117" y="2275338"/>
                </a:lnTo>
                <a:lnTo>
                  <a:pt x="1354805" y="2261134"/>
                </a:lnTo>
                <a:lnTo>
                  <a:pt x="1389810" y="2243036"/>
                </a:lnTo>
                <a:lnTo>
                  <a:pt x="1424252" y="2221365"/>
                </a:lnTo>
                <a:lnTo>
                  <a:pt x="1458252" y="2196446"/>
                </a:lnTo>
                <a:lnTo>
                  <a:pt x="1491933" y="2168602"/>
                </a:lnTo>
                <a:lnTo>
                  <a:pt x="1525416" y="2138156"/>
                </a:lnTo>
                <a:lnTo>
                  <a:pt x="1558823" y="2105431"/>
                </a:lnTo>
                <a:lnTo>
                  <a:pt x="1592274" y="2070751"/>
                </a:lnTo>
                <a:lnTo>
                  <a:pt x="1625893" y="2034439"/>
                </a:lnTo>
                <a:lnTo>
                  <a:pt x="1659800" y="1996819"/>
                </a:lnTo>
                <a:lnTo>
                  <a:pt x="1728964" y="1918944"/>
                </a:lnTo>
                <a:lnTo>
                  <a:pt x="1764465" y="1879337"/>
                </a:lnTo>
                <a:lnTo>
                  <a:pt x="1800741" y="1839715"/>
                </a:lnTo>
                <a:lnTo>
                  <a:pt x="1837913" y="1800400"/>
                </a:lnTo>
                <a:lnTo>
                  <a:pt x="1876102" y="1761716"/>
                </a:lnTo>
                <a:lnTo>
                  <a:pt x="1915431" y="1723986"/>
                </a:lnTo>
                <a:lnTo>
                  <a:pt x="1956021" y="1687534"/>
                </a:lnTo>
                <a:lnTo>
                  <a:pt x="1997993" y="1652683"/>
                </a:lnTo>
                <a:lnTo>
                  <a:pt x="2038889" y="1611112"/>
                </a:lnTo>
                <a:lnTo>
                  <a:pt x="2068962" y="1563027"/>
                </a:lnTo>
                <a:lnTo>
                  <a:pt x="2089863" y="1511611"/>
                </a:lnTo>
                <a:lnTo>
                  <a:pt x="2103244" y="1460051"/>
                </a:lnTo>
                <a:lnTo>
                  <a:pt x="2110757" y="1411532"/>
                </a:lnTo>
                <a:lnTo>
                  <a:pt x="2114053" y="1369239"/>
                </a:lnTo>
                <a:lnTo>
                  <a:pt x="2114785" y="1336357"/>
                </a:lnTo>
                <a:lnTo>
                  <a:pt x="2113796" y="1317918"/>
                </a:lnTo>
                <a:lnTo>
                  <a:pt x="2110526" y="1270965"/>
                </a:lnTo>
                <a:lnTo>
                  <a:pt x="2104519" y="1208045"/>
                </a:lnTo>
                <a:lnTo>
                  <a:pt x="2095320" y="1141704"/>
                </a:lnTo>
                <a:lnTo>
                  <a:pt x="2091886" y="1120174"/>
                </a:lnTo>
                <a:lnTo>
                  <a:pt x="2088132" y="1095117"/>
                </a:lnTo>
                <a:lnTo>
                  <a:pt x="2078450" y="1035446"/>
                </a:lnTo>
                <a:lnTo>
                  <a:pt x="2063849" y="964740"/>
                </a:lnTo>
                <a:lnTo>
                  <a:pt x="2053947" y="925888"/>
                </a:lnTo>
                <a:lnTo>
                  <a:pt x="2041907" y="885047"/>
                </a:lnTo>
                <a:lnTo>
                  <a:pt x="2027425" y="842471"/>
                </a:lnTo>
                <a:lnTo>
                  <a:pt x="2010199" y="798417"/>
                </a:lnTo>
                <a:lnTo>
                  <a:pt x="1989925" y="753140"/>
                </a:lnTo>
                <a:lnTo>
                  <a:pt x="1966301" y="706898"/>
                </a:lnTo>
                <a:lnTo>
                  <a:pt x="1939023" y="659945"/>
                </a:lnTo>
                <a:lnTo>
                  <a:pt x="1907789" y="612539"/>
                </a:lnTo>
                <a:lnTo>
                  <a:pt x="1872295" y="564935"/>
                </a:lnTo>
                <a:lnTo>
                  <a:pt x="1832239" y="517389"/>
                </a:lnTo>
                <a:lnTo>
                  <a:pt x="1787318" y="470158"/>
                </a:lnTo>
                <a:lnTo>
                  <a:pt x="1737228" y="423498"/>
                </a:lnTo>
                <a:lnTo>
                  <a:pt x="1681667" y="377664"/>
                </a:lnTo>
                <a:lnTo>
                  <a:pt x="1603806" y="314399"/>
                </a:lnTo>
                <a:lnTo>
                  <a:pt x="1472426" y="195369"/>
                </a:lnTo>
                <a:lnTo>
                  <a:pt x="1433567" y="161038"/>
                </a:lnTo>
                <a:lnTo>
                  <a:pt x="1396702" y="129615"/>
                </a:lnTo>
                <a:lnTo>
                  <a:pt x="1361549" y="101243"/>
                </a:lnTo>
                <a:lnTo>
                  <a:pt x="1327825" y="76064"/>
                </a:lnTo>
                <a:lnTo>
                  <a:pt x="1295246" y="54220"/>
                </a:lnTo>
                <a:lnTo>
                  <a:pt x="1232393" y="21106"/>
                </a:lnTo>
                <a:lnTo>
                  <a:pt x="1170722" y="3037"/>
                </a:lnTo>
                <a:lnTo>
                  <a:pt x="1139623" y="0"/>
                </a:lnTo>
                <a:close/>
              </a:path>
            </a:pathLst>
          </a:custGeom>
          <a:solidFill>
            <a:srgbClr val="DEB89C"/>
          </a:solidFill>
        </p:spPr>
        <p:txBody>
          <a:bodyPr wrap="square" lIns="0" tIns="0" rIns="0" bIns="0" rtlCol="0"/>
          <a:lstStyle/>
          <a:p>
            <a:endParaRPr/>
          </a:p>
        </p:txBody>
      </p:sp>
      <p:sp>
        <p:nvSpPr>
          <p:cNvPr id="5" name="object 5"/>
          <p:cNvSpPr/>
          <p:nvPr/>
        </p:nvSpPr>
        <p:spPr>
          <a:xfrm>
            <a:off x="3372818" y="3481521"/>
            <a:ext cx="835264" cy="875059"/>
          </a:xfrm>
          <a:custGeom>
            <a:avLst/>
            <a:gdLst/>
            <a:ahLst/>
            <a:cxnLst/>
            <a:rect l="l" t="t" r="r" b="b"/>
            <a:pathLst>
              <a:path w="1836420" h="1924050">
                <a:moveTo>
                  <a:pt x="808132" y="0"/>
                </a:moveTo>
                <a:lnTo>
                  <a:pt x="0" y="1268872"/>
                </a:lnTo>
                <a:lnTo>
                  <a:pt x="1028220" y="1923742"/>
                </a:lnTo>
                <a:lnTo>
                  <a:pt x="1836352" y="654870"/>
                </a:lnTo>
                <a:lnTo>
                  <a:pt x="808132" y="0"/>
                </a:lnTo>
                <a:close/>
              </a:path>
            </a:pathLst>
          </a:custGeom>
          <a:solidFill>
            <a:srgbClr val="DEB89C"/>
          </a:solidFill>
        </p:spPr>
        <p:txBody>
          <a:bodyPr wrap="square" lIns="0" tIns="0" rIns="0" bIns="0" rtlCol="0"/>
          <a:lstStyle/>
          <a:p>
            <a:endParaRPr/>
          </a:p>
        </p:txBody>
      </p:sp>
      <p:sp>
        <p:nvSpPr>
          <p:cNvPr id="6" name="object 6"/>
          <p:cNvSpPr/>
          <p:nvPr/>
        </p:nvSpPr>
        <p:spPr>
          <a:xfrm>
            <a:off x="3863475" y="2138872"/>
            <a:ext cx="724935" cy="1534675"/>
          </a:xfrm>
          <a:custGeom>
            <a:avLst/>
            <a:gdLst/>
            <a:ahLst/>
            <a:cxnLst/>
            <a:rect l="l" t="t" r="r" b="b"/>
            <a:pathLst>
              <a:path w="1593850" h="3374390">
                <a:moveTo>
                  <a:pt x="1351676" y="0"/>
                </a:moveTo>
                <a:lnTo>
                  <a:pt x="242170" y="0"/>
                </a:lnTo>
                <a:lnTo>
                  <a:pt x="193428" y="4930"/>
                </a:lnTo>
                <a:lnTo>
                  <a:pt x="148000" y="19066"/>
                </a:lnTo>
                <a:lnTo>
                  <a:pt x="106868" y="41426"/>
                </a:lnTo>
                <a:lnTo>
                  <a:pt x="71013" y="71030"/>
                </a:lnTo>
                <a:lnTo>
                  <a:pt x="41417" y="106895"/>
                </a:lnTo>
                <a:lnTo>
                  <a:pt x="19062" y="148040"/>
                </a:lnTo>
                <a:lnTo>
                  <a:pt x="4929" y="193483"/>
                </a:lnTo>
                <a:lnTo>
                  <a:pt x="0" y="242243"/>
                </a:lnTo>
                <a:lnTo>
                  <a:pt x="0" y="3131904"/>
                </a:lnTo>
                <a:lnTo>
                  <a:pt x="4929" y="3180653"/>
                </a:lnTo>
                <a:lnTo>
                  <a:pt x="19062" y="3226085"/>
                </a:lnTo>
                <a:lnTo>
                  <a:pt x="41417" y="3267219"/>
                </a:lnTo>
                <a:lnTo>
                  <a:pt x="71013" y="3303074"/>
                </a:lnTo>
                <a:lnTo>
                  <a:pt x="106868" y="3332670"/>
                </a:lnTo>
                <a:lnTo>
                  <a:pt x="148000" y="3355024"/>
                </a:lnTo>
                <a:lnTo>
                  <a:pt x="193428" y="3369156"/>
                </a:lnTo>
                <a:lnTo>
                  <a:pt x="242170" y="3374085"/>
                </a:lnTo>
                <a:lnTo>
                  <a:pt x="1351676" y="3374085"/>
                </a:lnTo>
                <a:lnTo>
                  <a:pt x="1400417" y="3369156"/>
                </a:lnTo>
                <a:lnTo>
                  <a:pt x="1445842" y="3355024"/>
                </a:lnTo>
                <a:lnTo>
                  <a:pt x="1486971" y="3332670"/>
                </a:lnTo>
                <a:lnTo>
                  <a:pt x="1522822" y="3303074"/>
                </a:lnTo>
                <a:lnTo>
                  <a:pt x="1552414" y="3267219"/>
                </a:lnTo>
                <a:lnTo>
                  <a:pt x="1574766" y="3226085"/>
                </a:lnTo>
                <a:lnTo>
                  <a:pt x="1588897" y="3180653"/>
                </a:lnTo>
                <a:lnTo>
                  <a:pt x="1593825" y="3131904"/>
                </a:lnTo>
                <a:lnTo>
                  <a:pt x="1593825" y="242243"/>
                </a:lnTo>
                <a:lnTo>
                  <a:pt x="1588897" y="193483"/>
                </a:lnTo>
                <a:lnTo>
                  <a:pt x="1574766" y="148040"/>
                </a:lnTo>
                <a:lnTo>
                  <a:pt x="1552414" y="106895"/>
                </a:lnTo>
                <a:lnTo>
                  <a:pt x="1522822" y="71030"/>
                </a:lnTo>
                <a:lnTo>
                  <a:pt x="1486971" y="41426"/>
                </a:lnTo>
                <a:lnTo>
                  <a:pt x="1445842" y="19066"/>
                </a:lnTo>
                <a:lnTo>
                  <a:pt x="1400417" y="4930"/>
                </a:lnTo>
                <a:lnTo>
                  <a:pt x="1351676" y="0"/>
                </a:lnTo>
                <a:close/>
              </a:path>
            </a:pathLst>
          </a:custGeom>
          <a:solidFill>
            <a:srgbClr val="313333"/>
          </a:solidFill>
        </p:spPr>
        <p:txBody>
          <a:bodyPr wrap="square" lIns="0" tIns="0" rIns="0" bIns="0" rtlCol="0"/>
          <a:lstStyle/>
          <a:p>
            <a:endParaRPr/>
          </a:p>
        </p:txBody>
      </p:sp>
      <p:sp>
        <p:nvSpPr>
          <p:cNvPr id="7" name="object 7"/>
          <p:cNvSpPr/>
          <p:nvPr/>
        </p:nvSpPr>
        <p:spPr>
          <a:xfrm>
            <a:off x="3909898" y="2348514"/>
            <a:ext cx="632224" cy="1121982"/>
          </a:xfrm>
          <a:custGeom>
            <a:avLst/>
            <a:gdLst/>
            <a:ahLst/>
            <a:cxnLst/>
            <a:rect l="l" t="t" r="r" b="b"/>
            <a:pathLst>
              <a:path w="1390015" h="2466975">
                <a:moveTo>
                  <a:pt x="0" y="2466720"/>
                </a:moveTo>
                <a:lnTo>
                  <a:pt x="1389695" y="2466720"/>
                </a:lnTo>
                <a:lnTo>
                  <a:pt x="1389695" y="0"/>
                </a:lnTo>
                <a:lnTo>
                  <a:pt x="0" y="0"/>
                </a:lnTo>
                <a:lnTo>
                  <a:pt x="0" y="2466720"/>
                </a:lnTo>
                <a:close/>
              </a:path>
            </a:pathLst>
          </a:custGeom>
          <a:solidFill>
            <a:srgbClr val="808080"/>
          </a:solidFill>
        </p:spPr>
        <p:txBody>
          <a:bodyPr wrap="square" lIns="0" tIns="0" rIns="0" bIns="0" rtlCol="0"/>
          <a:lstStyle/>
          <a:p>
            <a:endParaRPr/>
          </a:p>
        </p:txBody>
      </p:sp>
      <p:sp>
        <p:nvSpPr>
          <p:cNvPr id="8" name="object 8"/>
          <p:cNvSpPr/>
          <p:nvPr/>
        </p:nvSpPr>
        <p:spPr>
          <a:xfrm>
            <a:off x="3909899" y="2348514"/>
            <a:ext cx="632224" cy="1121982"/>
          </a:xfrm>
          <a:custGeom>
            <a:avLst/>
            <a:gdLst/>
            <a:ahLst/>
            <a:cxnLst/>
            <a:rect l="l" t="t" r="r" b="b"/>
            <a:pathLst>
              <a:path w="1390015" h="2466975">
                <a:moveTo>
                  <a:pt x="217595" y="0"/>
                </a:moveTo>
                <a:lnTo>
                  <a:pt x="0" y="0"/>
                </a:lnTo>
                <a:lnTo>
                  <a:pt x="0" y="2466720"/>
                </a:lnTo>
                <a:lnTo>
                  <a:pt x="1389695" y="2466720"/>
                </a:lnTo>
                <a:lnTo>
                  <a:pt x="1389695" y="1697100"/>
                </a:lnTo>
                <a:lnTo>
                  <a:pt x="217595" y="0"/>
                </a:lnTo>
                <a:close/>
              </a:path>
            </a:pathLst>
          </a:custGeom>
          <a:solidFill>
            <a:srgbClr val="5A5A5A"/>
          </a:solidFill>
        </p:spPr>
        <p:txBody>
          <a:bodyPr wrap="square" lIns="0" tIns="0" rIns="0" bIns="0" rtlCol="0"/>
          <a:lstStyle/>
          <a:p>
            <a:endParaRPr/>
          </a:p>
        </p:txBody>
      </p:sp>
      <p:sp>
        <p:nvSpPr>
          <p:cNvPr id="9" name="object 9"/>
          <p:cNvSpPr/>
          <p:nvPr/>
        </p:nvSpPr>
        <p:spPr>
          <a:xfrm>
            <a:off x="4162543" y="2244852"/>
            <a:ext cx="126791" cy="30901"/>
          </a:xfrm>
          <a:custGeom>
            <a:avLst/>
            <a:gdLst/>
            <a:ahLst/>
            <a:cxnLst/>
            <a:rect l="l" t="t" r="r" b="b"/>
            <a:pathLst>
              <a:path w="278765" h="67945">
                <a:moveTo>
                  <a:pt x="244851" y="0"/>
                </a:moveTo>
                <a:lnTo>
                  <a:pt x="33925" y="0"/>
                </a:lnTo>
                <a:lnTo>
                  <a:pt x="20770" y="2660"/>
                </a:lnTo>
                <a:lnTo>
                  <a:pt x="9981" y="9908"/>
                </a:lnTo>
                <a:lnTo>
                  <a:pt x="2682" y="20638"/>
                </a:lnTo>
                <a:lnTo>
                  <a:pt x="0" y="33747"/>
                </a:lnTo>
                <a:lnTo>
                  <a:pt x="2682" y="46869"/>
                </a:lnTo>
                <a:lnTo>
                  <a:pt x="9981" y="57635"/>
                </a:lnTo>
                <a:lnTo>
                  <a:pt x="20770" y="64921"/>
                </a:lnTo>
                <a:lnTo>
                  <a:pt x="33925" y="67600"/>
                </a:lnTo>
                <a:lnTo>
                  <a:pt x="244851" y="67600"/>
                </a:lnTo>
                <a:lnTo>
                  <a:pt x="258008" y="64921"/>
                </a:lnTo>
                <a:lnTo>
                  <a:pt x="268794" y="57635"/>
                </a:lnTo>
                <a:lnTo>
                  <a:pt x="276086" y="46869"/>
                </a:lnTo>
                <a:lnTo>
                  <a:pt x="278766" y="33747"/>
                </a:lnTo>
                <a:lnTo>
                  <a:pt x="276086" y="20638"/>
                </a:lnTo>
                <a:lnTo>
                  <a:pt x="268794" y="9908"/>
                </a:lnTo>
                <a:lnTo>
                  <a:pt x="258008" y="2660"/>
                </a:lnTo>
                <a:lnTo>
                  <a:pt x="244851" y="0"/>
                </a:lnTo>
                <a:close/>
              </a:path>
            </a:pathLst>
          </a:custGeom>
          <a:solidFill>
            <a:srgbClr val="626A76"/>
          </a:solidFill>
        </p:spPr>
        <p:txBody>
          <a:bodyPr wrap="square" lIns="0" tIns="0" rIns="0" bIns="0" rtlCol="0"/>
          <a:lstStyle/>
          <a:p>
            <a:endParaRPr/>
          </a:p>
        </p:txBody>
      </p:sp>
      <p:sp>
        <p:nvSpPr>
          <p:cNvPr id="10" name="object 10"/>
          <p:cNvSpPr/>
          <p:nvPr/>
        </p:nvSpPr>
        <p:spPr>
          <a:xfrm>
            <a:off x="4144989" y="3551297"/>
            <a:ext cx="162027" cy="45341"/>
          </a:xfrm>
          <a:custGeom>
            <a:avLst/>
            <a:gdLst/>
            <a:ahLst/>
            <a:cxnLst/>
            <a:rect l="l" t="t" r="r" b="b"/>
            <a:pathLst>
              <a:path w="356234" h="99695">
                <a:moveTo>
                  <a:pt x="312650" y="0"/>
                </a:moveTo>
                <a:lnTo>
                  <a:pt x="43318" y="0"/>
                </a:lnTo>
                <a:lnTo>
                  <a:pt x="26522" y="3922"/>
                </a:lnTo>
                <a:lnTo>
                  <a:pt x="12745" y="14606"/>
                </a:lnTo>
                <a:lnTo>
                  <a:pt x="3425" y="30427"/>
                </a:lnTo>
                <a:lnTo>
                  <a:pt x="0" y="49757"/>
                </a:lnTo>
                <a:lnTo>
                  <a:pt x="3425" y="69102"/>
                </a:lnTo>
                <a:lnTo>
                  <a:pt x="12745" y="84973"/>
                </a:lnTo>
                <a:lnTo>
                  <a:pt x="26522" y="95713"/>
                </a:lnTo>
                <a:lnTo>
                  <a:pt x="43318" y="99661"/>
                </a:lnTo>
                <a:lnTo>
                  <a:pt x="312650" y="99661"/>
                </a:lnTo>
                <a:lnTo>
                  <a:pt x="329448" y="95713"/>
                </a:lnTo>
                <a:lnTo>
                  <a:pt x="343221" y="84973"/>
                </a:lnTo>
                <a:lnTo>
                  <a:pt x="352534" y="69102"/>
                </a:lnTo>
                <a:lnTo>
                  <a:pt x="355957" y="49757"/>
                </a:lnTo>
                <a:lnTo>
                  <a:pt x="352534" y="30427"/>
                </a:lnTo>
                <a:lnTo>
                  <a:pt x="343221" y="14606"/>
                </a:lnTo>
                <a:lnTo>
                  <a:pt x="329448" y="3922"/>
                </a:lnTo>
                <a:lnTo>
                  <a:pt x="312650" y="0"/>
                </a:lnTo>
                <a:close/>
              </a:path>
            </a:pathLst>
          </a:custGeom>
          <a:solidFill>
            <a:srgbClr val="FF7900"/>
          </a:solidFill>
        </p:spPr>
        <p:txBody>
          <a:bodyPr wrap="square" lIns="0" tIns="0" rIns="0" bIns="0" rtlCol="0"/>
          <a:lstStyle/>
          <a:p>
            <a:endParaRPr/>
          </a:p>
        </p:txBody>
      </p:sp>
      <p:sp>
        <p:nvSpPr>
          <p:cNvPr id="11" name="object 11"/>
          <p:cNvSpPr/>
          <p:nvPr/>
        </p:nvSpPr>
        <p:spPr>
          <a:xfrm>
            <a:off x="3946070" y="2401596"/>
            <a:ext cx="256760" cy="256742"/>
          </a:xfrm>
          <a:custGeom>
            <a:avLst/>
            <a:gdLst/>
            <a:ahLst/>
            <a:cxnLst/>
            <a:rect l="l" t="t" r="r" b="b"/>
            <a:pathLst>
              <a:path w="564515" h="564514">
                <a:moveTo>
                  <a:pt x="521858" y="0"/>
                </a:moveTo>
                <a:lnTo>
                  <a:pt x="42595" y="0"/>
                </a:lnTo>
                <a:lnTo>
                  <a:pt x="26058" y="3361"/>
                </a:lnTo>
                <a:lnTo>
                  <a:pt x="12514" y="12514"/>
                </a:lnTo>
                <a:lnTo>
                  <a:pt x="3361" y="26058"/>
                </a:lnTo>
                <a:lnTo>
                  <a:pt x="0" y="42595"/>
                </a:lnTo>
                <a:lnTo>
                  <a:pt x="0" y="521858"/>
                </a:lnTo>
                <a:lnTo>
                  <a:pt x="3361" y="538395"/>
                </a:lnTo>
                <a:lnTo>
                  <a:pt x="12514" y="551940"/>
                </a:lnTo>
                <a:lnTo>
                  <a:pt x="26058" y="561092"/>
                </a:lnTo>
                <a:lnTo>
                  <a:pt x="42595" y="564454"/>
                </a:lnTo>
                <a:lnTo>
                  <a:pt x="521858" y="564454"/>
                </a:lnTo>
                <a:lnTo>
                  <a:pt x="538395" y="561092"/>
                </a:lnTo>
                <a:lnTo>
                  <a:pt x="551940" y="551940"/>
                </a:lnTo>
                <a:lnTo>
                  <a:pt x="561092" y="538395"/>
                </a:lnTo>
                <a:lnTo>
                  <a:pt x="564454" y="521858"/>
                </a:lnTo>
                <a:lnTo>
                  <a:pt x="564454" y="42595"/>
                </a:lnTo>
                <a:lnTo>
                  <a:pt x="561092" y="26058"/>
                </a:lnTo>
                <a:lnTo>
                  <a:pt x="551940" y="12514"/>
                </a:lnTo>
                <a:lnTo>
                  <a:pt x="538395" y="3361"/>
                </a:lnTo>
                <a:lnTo>
                  <a:pt x="521858" y="0"/>
                </a:lnTo>
                <a:close/>
              </a:path>
            </a:pathLst>
          </a:custGeom>
          <a:solidFill>
            <a:srgbClr val="FF7900"/>
          </a:solidFill>
        </p:spPr>
        <p:txBody>
          <a:bodyPr wrap="square" lIns="0" tIns="0" rIns="0" bIns="0" rtlCol="0"/>
          <a:lstStyle/>
          <a:p>
            <a:endParaRPr/>
          </a:p>
        </p:txBody>
      </p:sp>
      <p:sp>
        <p:nvSpPr>
          <p:cNvPr id="12" name="object 12"/>
          <p:cNvSpPr/>
          <p:nvPr/>
        </p:nvSpPr>
        <p:spPr>
          <a:xfrm>
            <a:off x="3982899" y="2500258"/>
            <a:ext cx="52283" cy="52279"/>
          </a:xfrm>
          <a:prstGeom prst="rect">
            <a:avLst/>
          </a:prstGeom>
          <a:blipFill>
            <a:blip r:embed="rId2" cstate="print"/>
            <a:stretch>
              <a:fillRect/>
            </a:stretch>
          </a:blipFill>
        </p:spPr>
        <p:txBody>
          <a:bodyPr wrap="square" lIns="0" tIns="0" rIns="0" bIns="0" rtlCol="0"/>
          <a:lstStyle/>
          <a:p>
            <a:endParaRPr/>
          </a:p>
        </p:txBody>
      </p:sp>
      <p:sp>
        <p:nvSpPr>
          <p:cNvPr id="13" name="object 13"/>
          <p:cNvSpPr/>
          <p:nvPr/>
        </p:nvSpPr>
        <p:spPr>
          <a:xfrm>
            <a:off x="4113093" y="2500258"/>
            <a:ext cx="52283" cy="52279"/>
          </a:xfrm>
          <a:prstGeom prst="rect">
            <a:avLst/>
          </a:prstGeom>
          <a:blipFill>
            <a:blip r:embed="rId2" cstate="print"/>
            <a:stretch>
              <a:fillRect/>
            </a:stretch>
          </a:blipFill>
        </p:spPr>
        <p:txBody>
          <a:bodyPr wrap="square" lIns="0" tIns="0" rIns="0" bIns="0" rtlCol="0"/>
          <a:lstStyle/>
          <a:p>
            <a:endParaRPr/>
          </a:p>
        </p:txBody>
      </p:sp>
      <p:sp>
        <p:nvSpPr>
          <p:cNvPr id="14" name="object 14"/>
          <p:cNvSpPr/>
          <p:nvPr/>
        </p:nvSpPr>
        <p:spPr>
          <a:xfrm>
            <a:off x="4024892" y="2597593"/>
            <a:ext cx="98487" cy="13574"/>
          </a:xfrm>
          <a:custGeom>
            <a:avLst/>
            <a:gdLst/>
            <a:ahLst/>
            <a:cxnLst/>
            <a:rect l="l" t="t" r="r" b="b"/>
            <a:pathLst>
              <a:path w="216534" h="29845">
                <a:moveTo>
                  <a:pt x="193847" y="0"/>
                </a:moveTo>
                <a:lnTo>
                  <a:pt x="22480" y="0"/>
                </a:lnTo>
                <a:lnTo>
                  <a:pt x="13724" y="1933"/>
                </a:lnTo>
                <a:lnTo>
                  <a:pt x="6579" y="7203"/>
                </a:lnTo>
                <a:lnTo>
                  <a:pt x="1764" y="15019"/>
                </a:lnTo>
                <a:lnTo>
                  <a:pt x="0" y="24585"/>
                </a:lnTo>
                <a:lnTo>
                  <a:pt x="0" y="29370"/>
                </a:lnTo>
                <a:lnTo>
                  <a:pt x="216338" y="29370"/>
                </a:lnTo>
                <a:lnTo>
                  <a:pt x="216338" y="24585"/>
                </a:lnTo>
                <a:lnTo>
                  <a:pt x="214572" y="15019"/>
                </a:lnTo>
                <a:lnTo>
                  <a:pt x="209754" y="7203"/>
                </a:lnTo>
                <a:lnTo>
                  <a:pt x="202605" y="1933"/>
                </a:lnTo>
                <a:lnTo>
                  <a:pt x="193847" y="0"/>
                </a:lnTo>
                <a:close/>
              </a:path>
            </a:pathLst>
          </a:custGeom>
          <a:solidFill>
            <a:srgbClr val="000000"/>
          </a:solidFill>
        </p:spPr>
        <p:txBody>
          <a:bodyPr wrap="square" lIns="0" tIns="0" rIns="0" bIns="0" rtlCol="0"/>
          <a:lstStyle/>
          <a:p>
            <a:endParaRPr/>
          </a:p>
        </p:txBody>
      </p:sp>
      <p:sp>
        <p:nvSpPr>
          <p:cNvPr id="15" name="object 15"/>
          <p:cNvSpPr/>
          <p:nvPr/>
        </p:nvSpPr>
        <p:spPr>
          <a:xfrm>
            <a:off x="4065889" y="2441412"/>
            <a:ext cx="16463" cy="159128"/>
          </a:xfrm>
          <a:custGeom>
            <a:avLst/>
            <a:gdLst/>
            <a:ahLst/>
            <a:cxnLst/>
            <a:rect l="l" t="t" r="r" b="b"/>
            <a:pathLst>
              <a:path w="36195" h="349885">
                <a:moveTo>
                  <a:pt x="27978" y="0"/>
                </a:moveTo>
                <a:lnTo>
                  <a:pt x="8073" y="0"/>
                </a:lnTo>
                <a:lnTo>
                  <a:pt x="0" y="6963"/>
                </a:lnTo>
                <a:lnTo>
                  <a:pt x="0" y="349863"/>
                </a:lnTo>
                <a:lnTo>
                  <a:pt x="36051" y="349863"/>
                </a:lnTo>
                <a:lnTo>
                  <a:pt x="36051" y="6963"/>
                </a:lnTo>
                <a:lnTo>
                  <a:pt x="27978" y="0"/>
                </a:lnTo>
                <a:close/>
              </a:path>
            </a:pathLst>
          </a:custGeom>
          <a:solidFill>
            <a:srgbClr val="000000"/>
          </a:solidFill>
        </p:spPr>
        <p:txBody>
          <a:bodyPr wrap="square" lIns="0" tIns="0" rIns="0" bIns="0" rtlCol="0"/>
          <a:lstStyle/>
          <a:p>
            <a:endParaRPr/>
          </a:p>
        </p:txBody>
      </p:sp>
      <p:sp>
        <p:nvSpPr>
          <p:cNvPr id="16" name="object 16"/>
          <p:cNvSpPr/>
          <p:nvPr/>
        </p:nvSpPr>
        <p:spPr>
          <a:xfrm>
            <a:off x="4079086" y="2448725"/>
            <a:ext cx="63829" cy="22526"/>
          </a:xfrm>
          <a:custGeom>
            <a:avLst/>
            <a:gdLst/>
            <a:ahLst/>
            <a:cxnLst/>
            <a:rect l="l" t="t" r="r" b="b"/>
            <a:pathLst>
              <a:path w="140334" h="49529">
                <a:moveTo>
                  <a:pt x="114194" y="16753"/>
                </a:moveTo>
                <a:lnTo>
                  <a:pt x="65567" y="16753"/>
                </a:lnTo>
                <a:lnTo>
                  <a:pt x="74646" y="17198"/>
                </a:lnTo>
                <a:lnTo>
                  <a:pt x="92862" y="23302"/>
                </a:lnTo>
                <a:lnTo>
                  <a:pt x="109034" y="33210"/>
                </a:lnTo>
                <a:lnTo>
                  <a:pt x="120654" y="42486"/>
                </a:lnTo>
                <a:lnTo>
                  <a:pt x="125210" y="46694"/>
                </a:lnTo>
                <a:lnTo>
                  <a:pt x="126844" y="48338"/>
                </a:lnTo>
                <a:lnTo>
                  <a:pt x="129001" y="49155"/>
                </a:lnTo>
                <a:lnTo>
                  <a:pt x="133283" y="49155"/>
                </a:lnTo>
                <a:lnTo>
                  <a:pt x="135419" y="48338"/>
                </a:lnTo>
                <a:lnTo>
                  <a:pt x="140320" y="43459"/>
                </a:lnTo>
                <a:lnTo>
                  <a:pt x="140341" y="38160"/>
                </a:lnTo>
                <a:lnTo>
                  <a:pt x="137084" y="34883"/>
                </a:lnTo>
                <a:lnTo>
                  <a:pt x="131434" y="29646"/>
                </a:lnTo>
                <a:lnTo>
                  <a:pt x="117921" y="18975"/>
                </a:lnTo>
                <a:lnTo>
                  <a:pt x="114194" y="16753"/>
                </a:lnTo>
                <a:close/>
              </a:path>
              <a:path w="140334" h="49529">
                <a:moveTo>
                  <a:pt x="65698" y="0"/>
                </a:moveTo>
                <a:lnTo>
                  <a:pt x="54364" y="1096"/>
                </a:lnTo>
                <a:lnTo>
                  <a:pt x="43140" y="3327"/>
                </a:lnTo>
                <a:lnTo>
                  <a:pt x="15800" y="10318"/>
                </a:lnTo>
                <a:lnTo>
                  <a:pt x="3235" y="11931"/>
                </a:lnTo>
                <a:lnTo>
                  <a:pt x="0" y="16119"/>
                </a:lnTo>
                <a:lnTo>
                  <a:pt x="1172" y="25292"/>
                </a:lnTo>
                <a:lnTo>
                  <a:pt x="5340" y="28538"/>
                </a:lnTo>
                <a:lnTo>
                  <a:pt x="46347" y="19771"/>
                </a:lnTo>
                <a:lnTo>
                  <a:pt x="56125" y="17766"/>
                </a:lnTo>
                <a:lnTo>
                  <a:pt x="65567" y="16753"/>
                </a:lnTo>
                <a:lnTo>
                  <a:pt x="114194" y="16753"/>
                </a:lnTo>
                <a:lnTo>
                  <a:pt x="98996" y="7695"/>
                </a:lnTo>
                <a:lnTo>
                  <a:pt x="77107" y="633"/>
                </a:lnTo>
                <a:lnTo>
                  <a:pt x="65698" y="0"/>
                </a:lnTo>
                <a:close/>
              </a:path>
            </a:pathLst>
          </a:custGeom>
          <a:solidFill>
            <a:srgbClr val="000000"/>
          </a:solidFill>
        </p:spPr>
        <p:txBody>
          <a:bodyPr wrap="square" lIns="0" tIns="0" rIns="0" bIns="0" rtlCol="0"/>
          <a:lstStyle/>
          <a:p>
            <a:endParaRPr/>
          </a:p>
        </p:txBody>
      </p:sp>
      <p:sp>
        <p:nvSpPr>
          <p:cNvPr id="17" name="object 17"/>
          <p:cNvSpPr/>
          <p:nvPr/>
        </p:nvSpPr>
        <p:spPr>
          <a:xfrm>
            <a:off x="4005176" y="2448724"/>
            <a:ext cx="63829" cy="22526"/>
          </a:xfrm>
          <a:custGeom>
            <a:avLst/>
            <a:gdLst/>
            <a:ahLst/>
            <a:cxnLst/>
            <a:rect l="l" t="t" r="r" b="b"/>
            <a:pathLst>
              <a:path w="140334" h="49529">
                <a:moveTo>
                  <a:pt x="74633" y="0"/>
                </a:moveTo>
                <a:lnTo>
                  <a:pt x="22419" y="18979"/>
                </a:lnTo>
                <a:lnTo>
                  <a:pt x="0" y="38165"/>
                </a:lnTo>
                <a:lnTo>
                  <a:pt x="20" y="43463"/>
                </a:lnTo>
                <a:lnTo>
                  <a:pt x="4931" y="48342"/>
                </a:lnTo>
                <a:lnTo>
                  <a:pt x="7057" y="49159"/>
                </a:lnTo>
                <a:lnTo>
                  <a:pt x="11350" y="49159"/>
                </a:lnTo>
                <a:lnTo>
                  <a:pt x="13496" y="48332"/>
                </a:lnTo>
                <a:lnTo>
                  <a:pt x="15130" y="46688"/>
                </a:lnTo>
                <a:lnTo>
                  <a:pt x="19676" y="42489"/>
                </a:lnTo>
                <a:lnTo>
                  <a:pt x="31269" y="33221"/>
                </a:lnTo>
                <a:lnTo>
                  <a:pt x="47431" y="23316"/>
                </a:lnTo>
                <a:lnTo>
                  <a:pt x="65683" y="17202"/>
                </a:lnTo>
                <a:lnTo>
                  <a:pt x="74765" y="16762"/>
                </a:lnTo>
                <a:lnTo>
                  <a:pt x="140259" y="16762"/>
                </a:lnTo>
                <a:lnTo>
                  <a:pt x="140341" y="16124"/>
                </a:lnTo>
                <a:lnTo>
                  <a:pt x="137105" y="11935"/>
                </a:lnTo>
                <a:lnTo>
                  <a:pt x="124540" y="10323"/>
                </a:lnTo>
                <a:lnTo>
                  <a:pt x="97197" y="3330"/>
                </a:lnTo>
                <a:lnTo>
                  <a:pt x="85968" y="1096"/>
                </a:lnTo>
                <a:lnTo>
                  <a:pt x="74633" y="0"/>
                </a:lnTo>
                <a:close/>
              </a:path>
              <a:path w="140334" h="49529">
                <a:moveTo>
                  <a:pt x="140259" y="16762"/>
                </a:moveTo>
                <a:lnTo>
                  <a:pt x="74765" y="16762"/>
                </a:lnTo>
                <a:lnTo>
                  <a:pt x="84210" y="17774"/>
                </a:lnTo>
                <a:lnTo>
                  <a:pt x="93992" y="19777"/>
                </a:lnTo>
                <a:lnTo>
                  <a:pt x="135001" y="28532"/>
                </a:lnTo>
                <a:lnTo>
                  <a:pt x="139168" y="25296"/>
                </a:lnTo>
                <a:lnTo>
                  <a:pt x="140259" y="16762"/>
                </a:lnTo>
                <a:close/>
              </a:path>
            </a:pathLst>
          </a:custGeom>
          <a:solidFill>
            <a:srgbClr val="000000"/>
          </a:solidFill>
        </p:spPr>
        <p:txBody>
          <a:bodyPr wrap="square" lIns="0" tIns="0" rIns="0" bIns="0" rtlCol="0"/>
          <a:lstStyle/>
          <a:p>
            <a:endParaRPr/>
          </a:p>
        </p:txBody>
      </p:sp>
      <p:sp>
        <p:nvSpPr>
          <p:cNvPr id="18" name="object 18"/>
          <p:cNvSpPr/>
          <p:nvPr/>
        </p:nvSpPr>
        <p:spPr>
          <a:xfrm>
            <a:off x="4105714" y="2467424"/>
            <a:ext cx="68161" cy="83463"/>
          </a:xfrm>
          <a:custGeom>
            <a:avLst/>
            <a:gdLst/>
            <a:ahLst/>
            <a:cxnLst/>
            <a:rect l="l" t="t" r="r" b="b"/>
            <a:pathLst>
              <a:path w="149859" h="183514">
                <a:moveTo>
                  <a:pt x="76416" y="0"/>
                </a:moveTo>
                <a:lnTo>
                  <a:pt x="72961" y="0"/>
                </a:lnTo>
                <a:lnTo>
                  <a:pt x="0" y="180926"/>
                </a:lnTo>
                <a:lnTo>
                  <a:pt x="5151" y="183010"/>
                </a:lnTo>
                <a:lnTo>
                  <a:pt x="74688" y="10575"/>
                </a:lnTo>
                <a:lnTo>
                  <a:pt x="80681" y="10575"/>
                </a:lnTo>
                <a:lnTo>
                  <a:pt x="76416" y="0"/>
                </a:lnTo>
                <a:close/>
              </a:path>
              <a:path w="149859" h="183514">
                <a:moveTo>
                  <a:pt x="80681" y="10575"/>
                </a:moveTo>
                <a:lnTo>
                  <a:pt x="74688" y="10575"/>
                </a:lnTo>
                <a:lnTo>
                  <a:pt x="144225" y="183010"/>
                </a:lnTo>
                <a:lnTo>
                  <a:pt x="149388" y="180926"/>
                </a:lnTo>
                <a:lnTo>
                  <a:pt x="80681" y="10575"/>
                </a:lnTo>
                <a:close/>
              </a:path>
            </a:pathLst>
          </a:custGeom>
          <a:solidFill>
            <a:srgbClr val="000000"/>
          </a:solidFill>
        </p:spPr>
        <p:txBody>
          <a:bodyPr wrap="square" lIns="0" tIns="0" rIns="0" bIns="0" rtlCol="0"/>
          <a:lstStyle/>
          <a:p>
            <a:endParaRPr/>
          </a:p>
        </p:txBody>
      </p:sp>
      <p:sp>
        <p:nvSpPr>
          <p:cNvPr id="19" name="object 19"/>
          <p:cNvSpPr/>
          <p:nvPr/>
        </p:nvSpPr>
        <p:spPr>
          <a:xfrm>
            <a:off x="3973109" y="2548297"/>
            <a:ext cx="72493" cy="19638"/>
          </a:xfrm>
          <a:custGeom>
            <a:avLst/>
            <a:gdLst/>
            <a:ahLst/>
            <a:cxnLst/>
            <a:rect l="l" t="t" r="r" b="b"/>
            <a:pathLst>
              <a:path w="159384" h="43179">
                <a:moveTo>
                  <a:pt x="159178" y="0"/>
                </a:moveTo>
                <a:lnTo>
                  <a:pt x="0" y="0"/>
                </a:lnTo>
                <a:lnTo>
                  <a:pt x="12158" y="17244"/>
                </a:lnTo>
                <a:lnTo>
                  <a:pt x="30355" y="30823"/>
                </a:lnTo>
                <a:lnTo>
                  <a:pt x="53270" y="39718"/>
                </a:lnTo>
                <a:lnTo>
                  <a:pt x="79589" y="42909"/>
                </a:lnTo>
                <a:lnTo>
                  <a:pt x="105905" y="39718"/>
                </a:lnTo>
                <a:lnTo>
                  <a:pt x="128819" y="30823"/>
                </a:lnTo>
                <a:lnTo>
                  <a:pt x="147014" y="17244"/>
                </a:lnTo>
                <a:lnTo>
                  <a:pt x="159178" y="0"/>
                </a:lnTo>
                <a:close/>
              </a:path>
            </a:pathLst>
          </a:custGeom>
          <a:solidFill>
            <a:srgbClr val="000000"/>
          </a:solidFill>
        </p:spPr>
        <p:txBody>
          <a:bodyPr wrap="square" lIns="0" tIns="0" rIns="0" bIns="0" rtlCol="0"/>
          <a:lstStyle/>
          <a:p>
            <a:endParaRPr/>
          </a:p>
        </p:txBody>
      </p:sp>
      <p:sp>
        <p:nvSpPr>
          <p:cNvPr id="20" name="object 20"/>
          <p:cNvSpPr/>
          <p:nvPr/>
        </p:nvSpPr>
        <p:spPr>
          <a:xfrm>
            <a:off x="4103366" y="2548297"/>
            <a:ext cx="72493" cy="19638"/>
          </a:xfrm>
          <a:custGeom>
            <a:avLst/>
            <a:gdLst/>
            <a:ahLst/>
            <a:cxnLst/>
            <a:rect l="l" t="t" r="r" b="b"/>
            <a:pathLst>
              <a:path w="159384" h="43179">
                <a:moveTo>
                  <a:pt x="159178" y="0"/>
                </a:moveTo>
                <a:lnTo>
                  <a:pt x="0" y="0"/>
                </a:lnTo>
                <a:lnTo>
                  <a:pt x="12163" y="17244"/>
                </a:lnTo>
                <a:lnTo>
                  <a:pt x="30359" y="30823"/>
                </a:lnTo>
                <a:lnTo>
                  <a:pt x="53272" y="39718"/>
                </a:lnTo>
                <a:lnTo>
                  <a:pt x="79589" y="42909"/>
                </a:lnTo>
                <a:lnTo>
                  <a:pt x="105905" y="39718"/>
                </a:lnTo>
                <a:lnTo>
                  <a:pt x="128819" y="30823"/>
                </a:lnTo>
                <a:lnTo>
                  <a:pt x="147014" y="17244"/>
                </a:lnTo>
                <a:lnTo>
                  <a:pt x="159178" y="0"/>
                </a:lnTo>
                <a:close/>
              </a:path>
            </a:pathLst>
          </a:custGeom>
          <a:solidFill>
            <a:srgbClr val="000000"/>
          </a:solidFill>
        </p:spPr>
        <p:txBody>
          <a:bodyPr wrap="square" lIns="0" tIns="0" rIns="0" bIns="0" rtlCol="0"/>
          <a:lstStyle/>
          <a:p>
            <a:endParaRPr/>
          </a:p>
        </p:txBody>
      </p:sp>
      <p:sp>
        <p:nvSpPr>
          <p:cNvPr id="21" name="object 21"/>
          <p:cNvSpPr/>
          <p:nvPr/>
        </p:nvSpPr>
        <p:spPr>
          <a:xfrm>
            <a:off x="3975473" y="2467119"/>
            <a:ext cx="68161" cy="83463"/>
          </a:xfrm>
          <a:custGeom>
            <a:avLst/>
            <a:gdLst/>
            <a:ahLst/>
            <a:cxnLst/>
            <a:rect l="l" t="t" r="r" b="b"/>
            <a:pathLst>
              <a:path w="149859" h="183514">
                <a:moveTo>
                  <a:pt x="76416" y="0"/>
                </a:moveTo>
                <a:lnTo>
                  <a:pt x="72950" y="0"/>
                </a:lnTo>
                <a:lnTo>
                  <a:pt x="0" y="180926"/>
                </a:lnTo>
                <a:lnTo>
                  <a:pt x="5151" y="183010"/>
                </a:lnTo>
                <a:lnTo>
                  <a:pt x="74678" y="10575"/>
                </a:lnTo>
                <a:lnTo>
                  <a:pt x="80681" y="10575"/>
                </a:lnTo>
                <a:lnTo>
                  <a:pt x="76416" y="0"/>
                </a:lnTo>
                <a:close/>
              </a:path>
              <a:path w="149859" h="183514">
                <a:moveTo>
                  <a:pt x="80681" y="10575"/>
                </a:moveTo>
                <a:lnTo>
                  <a:pt x="74678" y="10575"/>
                </a:lnTo>
                <a:lnTo>
                  <a:pt x="144215" y="183010"/>
                </a:lnTo>
                <a:lnTo>
                  <a:pt x="149377" y="180926"/>
                </a:lnTo>
                <a:lnTo>
                  <a:pt x="80681" y="10575"/>
                </a:lnTo>
                <a:close/>
              </a:path>
            </a:pathLst>
          </a:custGeom>
          <a:solidFill>
            <a:srgbClr val="000000"/>
          </a:solidFill>
        </p:spPr>
        <p:txBody>
          <a:bodyPr wrap="square" lIns="0" tIns="0" rIns="0" bIns="0" rtlCol="0"/>
          <a:lstStyle/>
          <a:p>
            <a:endParaRPr/>
          </a:p>
        </p:txBody>
      </p:sp>
      <p:sp>
        <p:nvSpPr>
          <p:cNvPr id="22" name="object 22"/>
          <p:cNvSpPr/>
          <p:nvPr/>
        </p:nvSpPr>
        <p:spPr>
          <a:xfrm>
            <a:off x="4247005" y="2401596"/>
            <a:ext cx="256760" cy="256742"/>
          </a:xfrm>
          <a:custGeom>
            <a:avLst/>
            <a:gdLst/>
            <a:ahLst/>
            <a:cxnLst/>
            <a:rect l="l" t="t" r="r" b="b"/>
            <a:pathLst>
              <a:path w="564515" h="564514">
                <a:moveTo>
                  <a:pt x="521858" y="0"/>
                </a:moveTo>
                <a:lnTo>
                  <a:pt x="42595" y="0"/>
                </a:lnTo>
                <a:lnTo>
                  <a:pt x="26058" y="3361"/>
                </a:lnTo>
                <a:lnTo>
                  <a:pt x="12514" y="12514"/>
                </a:lnTo>
                <a:lnTo>
                  <a:pt x="3361" y="26058"/>
                </a:lnTo>
                <a:lnTo>
                  <a:pt x="0" y="42595"/>
                </a:lnTo>
                <a:lnTo>
                  <a:pt x="0" y="521858"/>
                </a:lnTo>
                <a:lnTo>
                  <a:pt x="3361" y="538395"/>
                </a:lnTo>
                <a:lnTo>
                  <a:pt x="12514" y="551940"/>
                </a:lnTo>
                <a:lnTo>
                  <a:pt x="26058" y="561092"/>
                </a:lnTo>
                <a:lnTo>
                  <a:pt x="42595" y="564454"/>
                </a:lnTo>
                <a:lnTo>
                  <a:pt x="521858" y="564454"/>
                </a:lnTo>
                <a:lnTo>
                  <a:pt x="538400" y="561092"/>
                </a:lnTo>
                <a:lnTo>
                  <a:pt x="551943" y="551940"/>
                </a:lnTo>
                <a:lnTo>
                  <a:pt x="561093" y="538395"/>
                </a:lnTo>
                <a:lnTo>
                  <a:pt x="564454" y="521858"/>
                </a:lnTo>
                <a:lnTo>
                  <a:pt x="564454" y="42595"/>
                </a:lnTo>
                <a:lnTo>
                  <a:pt x="561093" y="26058"/>
                </a:lnTo>
                <a:lnTo>
                  <a:pt x="551943" y="12514"/>
                </a:lnTo>
                <a:lnTo>
                  <a:pt x="538400" y="3361"/>
                </a:lnTo>
                <a:lnTo>
                  <a:pt x="521858" y="0"/>
                </a:lnTo>
                <a:close/>
              </a:path>
            </a:pathLst>
          </a:custGeom>
          <a:solidFill>
            <a:srgbClr val="FF7900"/>
          </a:solidFill>
        </p:spPr>
        <p:txBody>
          <a:bodyPr wrap="square" lIns="0" tIns="0" rIns="0" bIns="0" rtlCol="0"/>
          <a:lstStyle/>
          <a:p>
            <a:endParaRPr/>
          </a:p>
        </p:txBody>
      </p:sp>
      <p:sp>
        <p:nvSpPr>
          <p:cNvPr id="23" name="object 23"/>
          <p:cNvSpPr/>
          <p:nvPr/>
        </p:nvSpPr>
        <p:spPr>
          <a:xfrm>
            <a:off x="4291727" y="2454353"/>
            <a:ext cx="162605" cy="149309"/>
          </a:xfrm>
          <a:custGeom>
            <a:avLst/>
            <a:gdLst/>
            <a:ahLst/>
            <a:cxnLst/>
            <a:rect l="l" t="t" r="r" b="b"/>
            <a:pathLst>
              <a:path w="357504" h="328295">
                <a:moveTo>
                  <a:pt x="356921" y="0"/>
                </a:moveTo>
                <a:lnTo>
                  <a:pt x="0" y="0"/>
                </a:lnTo>
                <a:lnTo>
                  <a:pt x="0" y="327759"/>
                </a:lnTo>
                <a:lnTo>
                  <a:pt x="356921" y="327759"/>
                </a:lnTo>
                <a:lnTo>
                  <a:pt x="356921" y="0"/>
                </a:lnTo>
                <a:close/>
              </a:path>
            </a:pathLst>
          </a:custGeom>
          <a:solidFill>
            <a:srgbClr val="FFFFFF"/>
          </a:solidFill>
        </p:spPr>
        <p:txBody>
          <a:bodyPr wrap="square" lIns="0" tIns="0" rIns="0" bIns="0" rtlCol="0"/>
          <a:lstStyle/>
          <a:p>
            <a:endParaRPr/>
          </a:p>
        </p:txBody>
      </p:sp>
      <p:sp>
        <p:nvSpPr>
          <p:cNvPr id="24" name="object 24"/>
          <p:cNvSpPr/>
          <p:nvPr/>
        </p:nvSpPr>
        <p:spPr>
          <a:xfrm>
            <a:off x="4334651" y="2551904"/>
            <a:ext cx="39279" cy="0"/>
          </a:xfrm>
          <a:custGeom>
            <a:avLst/>
            <a:gdLst/>
            <a:ahLst/>
            <a:cxnLst/>
            <a:rect l="l" t="t" r="r" b="b"/>
            <a:pathLst>
              <a:path w="86359">
                <a:moveTo>
                  <a:pt x="0" y="0"/>
                </a:moveTo>
                <a:lnTo>
                  <a:pt x="85798" y="0"/>
                </a:lnTo>
              </a:path>
            </a:pathLst>
          </a:custGeom>
          <a:ln w="78940">
            <a:solidFill>
              <a:srgbClr val="FF7900"/>
            </a:solidFill>
          </a:ln>
        </p:spPr>
        <p:txBody>
          <a:bodyPr wrap="square" lIns="0" tIns="0" rIns="0" bIns="0" rtlCol="0"/>
          <a:lstStyle/>
          <a:p>
            <a:endParaRPr/>
          </a:p>
        </p:txBody>
      </p:sp>
      <p:sp>
        <p:nvSpPr>
          <p:cNvPr id="25" name="object 25"/>
          <p:cNvSpPr/>
          <p:nvPr/>
        </p:nvSpPr>
        <p:spPr>
          <a:xfrm>
            <a:off x="4283916" y="2433328"/>
            <a:ext cx="179645" cy="179633"/>
          </a:xfrm>
          <a:custGeom>
            <a:avLst/>
            <a:gdLst/>
            <a:ahLst/>
            <a:cxnLst/>
            <a:rect l="l" t="t" r="r" b="b"/>
            <a:pathLst>
              <a:path w="394970" h="394970">
                <a:moveTo>
                  <a:pt x="89107" y="38187"/>
                </a:moveTo>
                <a:lnTo>
                  <a:pt x="0" y="38187"/>
                </a:lnTo>
                <a:lnTo>
                  <a:pt x="0" y="356387"/>
                </a:lnTo>
                <a:lnTo>
                  <a:pt x="3001" y="371254"/>
                </a:lnTo>
                <a:lnTo>
                  <a:pt x="11185" y="383392"/>
                </a:lnTo>
                <a:lnTo>
                  <a:pt x="23323" y="391574"/>
                </a:lnTo>
                <a:lnTo>
                  <a:pt x="38187" y="394574"/>
                </a:lnTo>
                <a:lnTo>
                  <a:pt x="394574" y="394574"/>
                </a:lnTo>
                <a:lnTo>
                  <a:pt x="394574" y="369077"/>
                </a:lnTo>
                <a:lnTo>
                  <a:pt x="44532" y="369077"/>
                </a:lnTo>
                <a:lnTo>
                  <a:pt x="37097" y="367576"/>
                </a:lnTo>
                <a:lnTo>
                  <a:pt x="31030" y="363482"/>
                </a:lnTo>
                <a:lnTo>
                  <a:pt x="26942" y="357411"/>
                </a:lnTo>
                <a:lnTo>
                  <a:pt x="25444" y="349978"/>
                </a:lnTo>
                <a:lnTo>
                  <a:pt x="25444" y="305477"/>
                </a:lnTo>
                <a:lnTo>
                  <a:pt x="394574" y="305477"/>
                </a:lnTo>
                <a:lnTo>
                  <a:pt x="394574" y="292755"/>
                </a:lnTo>
                <a:lnTo>
                  <a:pt x="25433" y="292755"/>
                </a:lnTo>
                <a:lnTo>
                  <a:pt x="25433" y="229113"/>
                </a:lnTo>
                <a:lnTo>
                  <a:pt x="394574" y="229113"/>
                </a:lnTo>
                <a:lnTo>
                  <a:pt x="394574" y="216380"/>
                </a:lnTo>
                <a:lnTo>
                  <a:pt x="25433" y="216380"/>
                </a:lnTo>
                <a:lnTo>
                  <a:pt x="25433" y="152686"/>
                </a:lnTo>
                <a:lnTo>
                  <a:pt x="394574" y="152686"/>
                </a:lnTo>
                <a:lnTo>
                  <a:pt x="394574" y="114561"/>
                </a:lnTo>
                <a:lnTo>
                  <a:pt x="108195" y="114561"/>
                </a:lnTo>
                <a:lnTo>
                  <a:pt x="95811" y="112060"/>
                </a:lnTo>
                <a:lnTo>
                  <a:pt x="85696" y="105240"/>
                </a:lnTo>
                <a:lnTo>
                  <a:pt x="78875" y="95125"/>
                </a:lnTo>
                <a:lnTo>
                  <a:pt x="76374" y="82740"/>
                </a:lnTo>
                <a:lnTo>
                  <a:pt x="77283" y="75224"/>
                </a:lnTo>
                <a:lnTo>
                  <a:pt x="79858" y="68369"/>
                </a:lnTo>
                <a:lnTo>
                  <a:pt x="83875" y="62370"/>
                </a:lnTo>
                <a:lnTo>
                  <a:pt x="89096" y="57432"/>
                </a:lnTo>
                <a:lnTo>
                  <a:pt x="89107" y="38187"/>
                </a:lnTo>
                <a:close/>
              </a:path>
              <a:path w="394970" h="394970">
                <a:moveTo>
                  <a:pt x="394574" y="305477"/>
                </a:moveTo>
                <a:lnTo>
                  <a:pt x="101829" y="305477"/>
                </a:lnTo>
                <a:lnTo>
                  <a:pt x="101829" y="369077"/>
                </a:lnTo>
                <a:lnTo>
                  <a:pt x="114572" y="369077"/>
                </a:lnTo>
                <a:lnTo>
                  <a:pt x="114572" y="305488"/>
                </a:lnTo>
                <a:lnTo>
                  <a:pt x="394574" y="305488"/>
                </a:lnTo>
                <a:close/>
              </a:path>
              <a:path w="394970" h="394970">
                <a:moveTo>
                  <a:pt x="203658" y="305488"/>
                </a:moveTo>
                <a:lnTo>
                  <a:pt x="190936" y="305488"/>
                </a:lnTo>
                <a:lnTo>
                  <a:pt x="190936" y="369077"/>
                </a:lnTo>
                <a:lnTo>
                  <a:pt x="203658" y="369077"/>
                </a:lnTo>
                <a:lnTo>
                  <a:pt x="203658" y="305488"/>
                </a:lnTo>
                <a:close/>
              </a:path>
              <a:path w="394970" h="394970">
                <a:moveTo>
                  <a:pt x="394574" y="305488"/>
                </a:moveTo>
                <a:lnTo>
                  <a:pt x="280022" y="305488"/>
                </a:lnTo>
                <a:lnTo>
                  <a:pt x="280022" y="369077"/>
                </a:lnTo>
                <a:lnTo>
                  <a:pt x="394574" y="369077"/>
                </a:lnTo>
                <a:lnTo>
                  <a:pt x="394574" y="305488"/>
                </a:lnTo>
                <a:close/>
              </a:path>
              <a:path w="394970" h="394970">
                <a:moveTo>
                  <a:pt x="114572" y="229113"/>
                </a:moveTo>
                <a:lnTo>
                  <a:pt x="101829" y="229113"/>
                </a:lnTo>
                <a:lnTo>
                  <a:pt x="101829" y="292755"/>
                </a:lnTo>
                <a:lnTo>
                  <a:pt x="114572" y="292755"/>
                </a:lnTo>
                <a:lnTo>
                  <a:pt x="114572" y="229113"/>
                </a:lnTo>
                <a:close/>
              </a:path>
              <a:path w="394970" h="394970">
                <a:moveTo>
                  <a:pt x="203658" y="229113"/>
                </a:moveTo>
                <a:lnTo>
                  <a:pt x="190936" y="229113"/>
                </a:lnTo>
                <a:lnTo>
                  <a:pt x="190936" y="292755"/>
                </a:lnTo>
                <a:lnTo>
                  <a:pt x="203658" y="292755"/>
                </a:lnTo>
                <a:lnTo>
                  <a:pt x="203658" y="229113"/>
                </a:lnTo>
                <a:close/>
              </a:path>
              <a:path w="394970" h="394970">
                <a:moveTo>
                  <a:pt x="292755" y="229113"/>
                </a:moveTo>
                <a:lnTo>
                  <a:pt x="280022" y="229113"/>
                </a:lnTo>
                <a:lnTo>
                  <a:pt x="280022" y="292755"/>
                </a:lnTo>
                <a:lnTo>
                  <a:pt x="292755" y="292755"/>
                </a:lnTo>
                <a:lnTo>
                  <a:pt x="292755" y="229113"/>
                </a:lnTo>
                <a:close/>
              </a:path>
              <a:path w="394970" h="394970">
                <a:moveTo>
                  <a:pt x="394574" y="229113"/>
                </a:moveTo>
                <a:lnTo>
                  <a:pt x="369098" y="229113"/>
                </a:lnTo>
                <a:lnTo>
                  <a:pt x="369098" y="292755"/>
                </a:lnTo>
                <a:lnTo>
                  <a:pt x="394574" y="292755"/>
                </a:lnTo>
                <a:lnTo>
                  <a:pt x="394574" y="229113"/>
                </a:lnTo>
                <a:close/>
              </a:path>
              <a:path w="394970" h="394970">
                <a:moveTo>
                  <a:pt x="114572" y="152686"/>
                </a:moveTo>
                <a:lnTo>
                  <a:pt x="101829" y="152686"/>
                </a:lnTo>
                <a:lnTo>
                  <a:pt x="101829" y="216380"/>
                </a:lnTo>
                <a:lnTo>
                  <a:pt x="114572" y="216380"/>
                </a:lnTo>
                <a:lnTo>
                  <a:pt x="114572" y="152686"/>
                </a:lnTo>
                <a:close/>
              </a:path>
              <a:path w="394970" h="394970">
                <a:moveTo>
                  <a:pt x="203658" y="152686"/>
                </a:moveTo>
                <a:lnTo>
                  <a:pt x="190936" y="152686"/>
                </a:lnTo>
                <a:lnTo>
                  <a:pt x="190936" y="216380"/>
                </a:lnTo>
                <a:lnTo>
                  <a:pt x="203658" y="216380"/>
                </a:lnTo>
                <a:lnTo>
                  <a:pt x="203658" y="152686"/>
                </a:lnTo>
                <a:close/>
              </a:path>
              <a:path w="394970" h="394970">
                <a:moveTo>
                  <a:pt x="394574" y="152686"/>
                </a:moveTo>
                <a:lnTo>
                  <a:pt x="280022" y="152686"/>
                </a:lnTo>
                <a:lnTo>
                  <a:pt x="280022" y="216380"/>
                </a:lnTo>
                <a:lnTo>
                  <a:pt x="292755" y="216380"/>
                </a:lnTo>
                <a:lnTo>
                  <a:pt x="292755" y="152696"/>
                </a:lnTo>
                <a:lnTo>
                  <a:pt x="394574" y="152696"/>
                </a:lnTo>
                <a:close/>
              </a:path>
              <a:path w="394970" h="394970">
                <a:moveTo>
                  <a:pt x="394574" y="152696"/>
                </a:moveTo>
                <a:lnTo>
                  <a:pt x="350010" y="152696"/>
                </a:lnTo>
                <a:lnTo>
                  <a:pt x="357436" y="154196"/>
                </a:lnTo>
                <a:lnTo>
                  <a:pt x="363504" y="158287"/>
                </a:lnTo>
                <a:lnTo>
                  <a:pt x="367597" y="164354"/>
                </a:lnTo>
                <a:lnTo>
                  <a:pt x="369098" y="171785"/>
                </a:lnTo>
                <a:lnTo>
                  <a:pt x="369098" y="216380"/>
                </a:lnTo>
                <a:lnTo>
                  <a:pt x="394574" y="216380"/>
                </a:lnTo>
                <a:lnTo>
                  <a:pt x="394574" y="152696"/>
                </a:lnTo>
                <a:close/>
              </a:path>
              <a:path w="394970" h="394970">
                <a:moveTo>
                  <a:pt x="267289" y="57432"/>
                </a:moveTo>
                <a:lnTo>
                  <a:pt x="127294" y="57432"/>
                </a:lnTo>
                <a:lnTo>
                  <a:pt x="132520" y="62375"/>
                </a:lnTo>
                <a:lnTo>
                  <a:pt x="136533" y="68370"/>
                </a:lnTo>
                <a:lnTo>
                  <a:pt x="139108" y="75224"/>
                </a:lnTo>
                <a:lnTo>
                  <a:pt x="140016" y="82740"/>
                </a:lnTo>
                <a:lnTo>
                  <a:pt x="137515" y="95125"/>
                </a:lnTo>
                <a:lnTo>
                  <a:pt x="130694" y="105240"/>
                </a:lnTo>
                <a:lnTo>
                  <a:pt x="120580" y="112060"/>
                </a:lnTo>
                <a:lnTo>
                  <a:pt x="108195" y="114561"/>
                </a:lnTo>
                <a:lnTo>
                  <a:pt x="286389" y="114561"/>
                </a:lnTo>
                <a:lnTo>
                  <a:pt x="274004" y="112060"/>
                </a:lnTo>
                <a:lnTo>
                  <a:pt x="263889" y="105240"/>
                </a:lnTo>
                <a:lnTo>
                  <a:pt x="257069" y="95125"/>
                </a:lnTo>
                <a:lnTo>
                  <a:pt x="254568" y="82740"/>
                </a:lnTo>
                <a:lnTo>
                  <a:pt x="255475" y="75224"/>
                </a:lnTo>
                <a:lnTo>
                  <a:pt x="258048" y="68369"/>
                </a:lnTo>
                <a:lnTo>
                  <a:pt x="262064" y="62370"/>
                </a:lnTo>
                <a:lnTo>
                  <a:pt x="267289" y="57432"/>
                </a:lnTo>
                <a:close/>
              </a:path>
              <a:path w="394970" h="394970">
                <a:moveTo>
                  <a:pt x="388825" y="57432"/>
                </a:moveTo>
                <a:lnTo>
                  <a:pt x="305488" y="57432"/>
                </a:lnTo>
                <a:lnTo>
                  <a:pt x="310718" y="62375"/>
                </a:lnTo>
                <a:lnTo>
                  <a:pt x="314731" y="68370"/>
                </a:lnTo>
                <a:lnTo>
                  <a:pt x="317303" y="75224"/>
                </a:lnTo>
                <a:lnTo>
                  <a:pt x="318210" y="82740"/>
                </a:lnTo>
                <a:lnTo>
                  <a:pt x="315708" y="95125"/>
                </a:lnTo>
                <a:lnTo>
                  <a:pt x="308888" y="105240"/>
                </a:lnTo>
                <a:lnTo>
                  <a:pt x="298773" y="112060"/>
                </a:lnTo>
                <a:lnTo>
                  <a:pt x="286389" y="114561"/>
                </a:lnTo>
                <a:lnTo>
                  <a:pt x="394574" y="114561"/>
                </a:lnTo>
                <a:lnTo>
                  <a:pt x="394574" y="76374"/>
                </a:lnTo>
                <a:lnTo>
                  <a:pt x="391574" y="61511"/>
                </a:lnTo>
                <a:lnTo>
                  <a:pt x="388825" y="57432"/>
                </a:lnTo>
                <a:close/>
              </a:path>
              <a:path w="394970" h="394970">
                <a:moveTo>
                  <a:pt x="108195" y="0"/>
                </a:moveTo>
                <a:lnTo>
                  <a:pt x="100764" y="1501"/>
                </a:lnTo>
                <a:lnTo>
                  <a:pt x="94697" y="5595"/>
                </a:lnTo>
                <a:lnTo>
                  <a:pt x="90607" y="11666"/>
                </a:lnTo>
                <a:lnTo>
                  <a:pt x="89107" y="19098"/>
                </a:lnTo>
                <a:lnTo>
                  <a:pt x="89107" y="82740"/>
                </a:lnTo>
                <a:lnTo>
                  <a:pt x="90607" y="90167"/>
                </a:lnTo>
                <a:lnTo>
                  <a:pt x="94697" y="96235"/>
                </a:lnTo>
                <a:lnTo>
                  <a:pt x="100764" y="100328"/>
                </a:lnTo>
                <a:lnTo>
                  <a:pt x="108195" y="101829"/>
                </a:lnTo>
                <a:lnTo>
                  <a:pt x="115626" y="100328"/>
                </a:lnTo>
                <a:lnTo>
                  <a:pt x="121693" y="96235"/>
                </a:lnTo>
                <a:lnTo>
                  <a:pt x="125784" y="90167"/>
                </a:lnTo>
                <a:lnTo>
                  <a:pt x="127284" y="82740"/>
                </a:lnTo>
                <a:lnTo>
                  <a:pt x="127294" y="76374"/>
                </a:lnTo>
                <a:lnTo>
                  <a:pt x="127294" y="57432"/>
                </a:lnTo>
                <a:lnTo>
                  <a:pt x="267289" y="57432"/>
                </a:lnTo>
                <a:lnTo>
                  <a:pt x="267300" y="38187"/>
                </a:lnTo>
                <a:lnTo>
                  <a:pt x="127294" y="38187"/>
                </a:lnTo>
                <a:lnTo>
                  <a:pt x="127284" y="25454"/>
                </a:lnTo>
                <a:lnTo>
                  <a:pt x="127284" y="19098"/>
                </a:lnTo>
                <a:lnTo>
                  <a:pt x="125784" y="11666"/>
                </a:lnTo>
                <a:lnTo>
                  <a:pt x="121693" y="5595"/>
                </a:lnTo>
                <a:lnTo>
                  <a:pt x="115626" y="1501"/>
                </a:lnTo>
                <a:lnTo>
                  <a:pt x="108195" y="0"/>
                </a:lnTo>
                <a:close/>
              </a:path>
              <a:path w="394970" h="394970">
                <a:moveTo>
                  <a:pt x="286389" y="0"/>
                </a:moveTo>
                <a:lnTo>
                  <a:pt x="278958" y="1501"/>
                </a:lnTo>
                <a:lnTo>
                  <a:pt x="272890" y="5595"/>
                </a:lnTo>
                <a:lnTo>
                  <a:pt x="268800" y="11666"/>
                </a:lnTo>
                <a:lnTo>
                  <a:pt x="267300" y="19098"/>
                </a:lnTo>
                <a:lnTo>
                  <a:pt x="267300" y="82740"/>
                </a:lnTo>
                <a:lnTo>
                  <a:pt x="268800" y="90167"/>
                </a:lnTo>
                <a:lnTo>
                  <a:pt x="272890" y="96235"/>
                </a:lnTo>
                <a:lnTo>
                  <a:pt x="278958" y="100328"/>
                </a:lnTo>
                <a:lnTo>
                  <a:pt x="286389" y="101829"/>
                </a:lnTo>
                <a:lnTo>
                  <a:pt x="293820" y="100328"/>
                </a:lnTo>
                <a:lnTo>
                  <a:pt x="299887" y="96235"/>
                </a:lnTo>
                <a:lnTo>
                  <a:pt x="303977" y="90167"/>
                </a:lnTo>
                <a:lnTo>
                  <a:pt x="305477" y="82740"/>
                </a:lnTo>
                <a:lnTo>
                  <a:pt x="305488" y="76374"/>
                </a:lnTo>
                <a:lnTo>
                  <a:pt x="305488" y="57432"/>
                </a:lnTo>
                <a:lnTo>
                  <a:pt x="388825" y="57432"/>
                </a:lnTo>
                <a:lnTo>
                  <a:pt x="383392" y="49372"/>
                </a:lnTo>
                <a:lnTo>
                  <a:pt x="371254" y="41188"/>
                </a:lnTo>
                <a:lnTo>
                  <a:pt x="356387" y="38187"/>
                </a:lnTo>
                <a:lnTo>
                  <a:pt x="305488" y="38187"/>
                </a:lnTo>
                <a:lnTo>
                  <a:pt x="305477" y="25454"/>
                </a:lnTo>
                <a:lnTo>
                  <a:pt x="305477" y="19098"/>
                </a:lnTo>
                <a:lnTo>
                  <a:pt x="303977" y="11666"/>
                </a:lnTo>
                <a:lnTo>
                  <a:pt x="299887" y="5595"/>
                </a:lnTo>
                <a:lnTo>
                  <a:pt x="293820" y="1501"/>
                </a:lnTo>
                <a:lnTo>
                  <a:pt x="286389" y="0"/>
                </a:lnTo>
                <a:close/>
              </a:path>
            </a:pathLst>
          </a:custGeom>
          <a:solidFill>
            <a:srgbClr val="000000"/>
          </a:solidFill>
        </p:spPr>
        <p:txBody>
          <a:bodyPr wrap="square" lIns="0" tIns="0" rIns="0" bIns="0" rtlCol="0"/>
          <a:lstStyle/>
          <a:p>
            <a:endParaRPr/>
          </a:p>
        </p:txBody>
      </p:sp>
      <p:sp>
        <p:nvSpPr>
          <p:cNvPr id="26" name="object 26"/>
          <p:cNvSpPr/>
          <p:nvPr/>
        </p:nvSpPr>
        <p:spPr>
          <a:xfrm>
            <a:off x="4249073" y="2726188"/>
            <a:ext cx="256760" cy="256742"/>
          </a:xfrm>
          <a:custGeom>
            <a:avLst/>
            <a:gdLst/>
            <a:ahLst/>
            <a:cxnLst/>
            <a:rect l="l" t="t" r="r" b="b"/>
            <a:pathLst>
              <a:path w="564515" h="564515">
                <a:moveTo>
                  <a:pt x="521858" y="0"/>
                </a:moveTo>
                <a:lnTo>
                  <a:pt x="42595" y="0"/>
                </a:lnTo>
                <a:lnTo>
                  <a:pt x="26058" y="3361"/>
                </a:lnTo>
                <a:lnTo>
                  <a:pt x="12514" y="12514"/>
                </a:lnTo>
                <a:lnTo>
                  <a:pt x="3361" y="26058"/>
                </a:lnTo>
                <a:lnTo>
                  <a:pt x="0" y="42595"/>
                </a:lnTo>
                <a:lnTo>
                  <a:pt x="0" y="521858"/>
                </a:lnTo>
                <a:lnTo>
                  <a:pt x="3361" y="538395"/>
                </a:lnTo>
                <a:lnTo>
                  <a:pt x="12514" y="551940"/>
                </a:lnTo>
                <a:lnTo>
                  <a:pt x="26058" y="561092"/>
                </a:lnTo>
                <a:lnTo>
                  <a:pt x="42595" y="564454"/>
                </a:lnTo>
                <a:lnTo>
                  <a:pt x="521858" y="564454"/>
                </a:lnTo>
                <a:lnTo>
                  <a:pt x="538400" y="561092"/>
                </a:lnTo>
                <a:lnTo>
                  <a:pt x="551943" y="551940"/>
                </a:lnTo>
                <a:lnTo>
                  <a:pt x="561093" y="538395"/>
                </a:lnTo>
                <a:lnTo>
                  <a:pt x="564454" y="521858"/>
                </a:lnTo>
                <a:lnTo>
                  <a:pt x="564454" y="42595"/>
                </a:lnTo>
                <a:lnTo>
                  <a:pt x="561093" y="26058"/>
                </a:lnTo>
                <a:lnTo>
                  <a:pt x="551943" y="12514"/>
                </a:lnTo>
                <a:lnTo>
                  <a:pt x="538400" y="3361"/>
                </a:lnTo>
                <a:lnTo>
                  <a:pt x="521858" y="0"/>
                </a:lnTo>
                <a:close/>
              </a:path>
            </a:pathLst>
          </a:custGeom>
          <a:solidFill>
            <a:srgbClr val="FF7900"/>
          </a:solidFill>
        </p:spPr>
        <p:txBody>
          <a:bodyPr wrap="square" lIns="0" tIns="0" rIns="0" bIns="0" rtlCol="0"/>
          <a:lstStyle/>
          <a:p>
            <a:endParaRPr/>
          </a:p>
        </p:txBody>
      </p:sp>
      <p:sp>
        <p:nvSpPr>
          <p:cNvPr id="27" name="object 27"/>
          <p:cNvSpPr/>
          <p:nvPr/>
        </p:nvSpPr>
        <p:spPr>
          <a:xfrm>
            <a:off x="4288839" y="2793680"/>
            <a:ext cx="157117" cy="47362"/>
          </a:xfrm>
          <a:custGeom>
            <a:avLst/>
            <a:gdLst/>
            <a:ahLst/>
            <a:cxnLst/>
            <a:rect l="l" t="t" r="r" b="b"/>
            <a:pathLst>
              <a:path w="345440" h="104139">
                <a:moveTo>
                  <a:pt x="74353" y="0"/>
                </a:moveTo>
                <a:lnTo>
                  <a:pt x="0" y="101117"/>
                </a:lnTo>
                <a:lnTo>
                  <a:pt x="344984" y="104091"/>
                </a:lnTo>
                <a:lnTo>
                  <a:pt x="237919" y="2973"/>
                </a:lnTo>
                <a:lnTo>
                  <a:pt x="74353" y="0"/>
                </a:lnTo>
                <a:close/>
              </a:path>
            </a:pathLst>
          </a:custGeom>
          <a:solidFill>
            <a:srgbClr val="FFFFFF"/>
          </a:solidFill>
        </p:spPr>
        <p:txBody>
          <a:bodyPr wrap="square" lIns="0" tIns="0" rIns="0" bIns="0" rtlCol="0"/>
          <a:lstStyle/>
          <a:p>
            <a:endParaRPr/>
          </a:p>
        </p:txBody>
      </p:sp>
      <p:sp>
        <p:nvSpPr>
          <p:cNvPr id="28" name="object 28"/>
          <p:cNvSpPr/>
          <p:nvPr/>
        </p:nvSpPr>
        <p:spPr>
          <a:xfrm>
            <a:off x="4276665" y="2787363"/>
            <a:ext cx="201595" cy="134580"/>
          </a:xfrm>
          <a:custGeom>
            <a:avLst/>
            <a:gdLst/>
            <a:ahLst/>
            <a:cxnLst/>
            <a:rect l="l" t="t" r="r" b="b"/>
            <a:pathLst>
              <a:path w="443229" h="295910">
                <a:moveTo>
                  <a:pt x="160016" y="233877"/>
                </a:moveTo>
                <a:lnTo>
                  <a:pt x="36930" y="233877"/>
                </a:lnTo>
                <a:lnTo>
                  <a:pt x="41766" y="257824"/>
                </a:lnTo>
                <a:lnTo>
                  <a:pt x="54953" y="277389"/>
                </a:lnTo>
                <a:lnTo>
                  <a:pt x="74514" y="290585"/>
                </a:lnTo>
                <a:lnTo>
                  <a:pt x="98468" y="295425"/>
                </a:lnTo>
                <a:lnTo>
                  <a:pt x="122428" y="290585"/>
                </a:lnTo>
                <a:lnTo>
                  <a:pt x="141991" y="277389"/>
                </a:lnTo>
                <a:lnTo>
                  <a:pt x="155180" y="257824"/>
                </a:lnTo>
                <a:lnTo>
                  <a:pt x="160016" y="233877"/>
                </a:lnTo>
                <a:close/>
              </a:path>
              <a:path w="443229" h="295910">
                <a:moveTo>
                  <a:pt x="393893" y="233877"/>
                </a:moveTo>
                <a:lnTo>
                  <a:pt x="270798" y="233877"/>
                </a:lnTo>
                <a:lnTo>
                  <a:pt x="275635" y="257824"/>
                </a:lnTo>
                <a:lnTo>
                  <a:pt x="288826" y="277389"/>
                </a:lnTo>
                <a:lnTo>
                  <a:pt x="308390" y="290585"/>
                </a:lnTo>
                <a:lnTo>
                  <a:pt x="332345" y="295425"/>
                </a:lnTo>
                <a:lnTo>
                  <a:pt x="356301" y="290585"/>
                </a:lnTo>
                <a:lnTo>
                  <a:pt x="375865" y="277389"/>
                </a:lnTo>
                <a:lnTo>
                  <a:pt x="389056" y="257824"/>
                </a:lnTo>
                <a:lnTo>
                  <a:pt x="393893" y="233877"/>
                </a:lnTo>
                <a:close/>
              </a:path>
              <a:path w="443229" h="295910">
                <a:moveTo>
                  <a:pt x="265405" y="0"/>
                </a:moveTo>
                <a:lnTo>
                  <a:pt x="90374" y="0"/>
                </a:lnTo>
                <a:lnTo>
                  <a:pt x="83201" y="3905"/>
                </a:lnTo>
                <a:lnTo>
                  <a:pt x="66227" y="26606"/>
                </a:lnTo>
                <a:lnTo>
                  <a:pt x="4806" y="108635"/>
                </a:lnTo>
                <a:lnTo>
                  <a:pt x="1790" y="112719"/>
                </a:lnTo>
                <a:lnTo>
                  <a:pt x="0" y="117766"/>
                </a:lnTo>
                <a:lnTo>
                  <a:pt x="0" y="209260"/>
                </a:lnTo>
                <a:lnTo>
                  <a:pt x="1935" y="218836"/>
                </a:lnTo>
                <a:lnTo>
                  <a:pt x="7211" y="226661"/>
                </a:lnTo>
                <a:lnTo>
                  <a:pt x="15036" y="231941"/>
                </a:lnTo>
                <a:lnTo>
                  <a:pt x="24617" y="233877"/>
                </a:lnTo>
                <a:lnTo>
                  <a:pt x="418510" y="233877"/>
                </a:lnTo>
                <a:lnTo>
                  <a:pt x="428095" y="231941"/>
                </a:lnTo>
                <a:lnTo>
                  <a:pt x="435919" y="226661"/>
                </a:lnTo>
                <a:lnTo>
                  <a:pt x="441194" y="218836"/>
                </a:lnTo>
                <a:lnTo>
                  <a:pt x="443127" y="209260"/>
                </a:lnTo>
                <a:lnTo>
                  <a:pt x="443127" y="135545"/>
                </a:lnTo>
                <a:lnTo>
                  <a:pt x="363371" y="99955"/>
                </a:lnTo>
                <a:lnTo>
                  <a:pt x="361971" y="98468"/>
                </a:lnTo>
                <a:lnTo>
                  <a:pt x="48417" y="98468"/>
                </a:lnTo>
                <a:lnTo>
                  <a:pt x="102143" y="26585"/>
                </a:lnTo>
                <a:lnTo>
                  <a:pt x="294300" y="26585"/>
                </a:lnTo>
                <a:lnTo>
                  <a:pt x="276221" y="7381"/>
                </a:lnTo>
                <a:lnTo>
                  <a:pt x="271750" y="2795"/>
                </a:lnTo>
                <a:lnTo>
                  <a:pt x="265405" y="0"/>
                </a:lnTo>
                <a:close/>
              </a:path>
              <a:path w="443229" h="295910">
                <a:moveTo>
                  <a:pt x="123095" y="86164"/>
                </a:moveTo>
                <a:lnTo>
                  <a:pt x="115135" y="87025"/>
                </a:lnTo>
                <a:lnTo>
                  <a:pt x="107775" y="89485"/>
                </a:lnTo>
                <a:lnTo>
                  <a:pt x="101198" y="93360"/>
                </a:lnTo>
                <a:lnTo>
                  <a:pt x="95588" y="98468"/>
                </a:lnTo>
                <a:lnTo>
                  <a:pt x="150592" y="98468"/>
                </a:lnTo>
                <a:lnTo>
                  <a:pt x="144982" y="93360"/>
                </a:lnTo>
                <a:lnTo>
                  <a:pt x="138406" y="89485"/>
                </a:lnTo>
                <a:lnTo>
                  <a:pt x="131049" y="87025"/>
                </a:lnTo>
                <a:lnTo>
                  <a:pt x="123095" y="86164"/>
                </a:lnTo>
                <a:close/>
              </a:path>
              <a:path w="443229" h="295910">
                <a:moveTo>
                  <a:pt x="202862" y="26585"/>
                </a:moveTo>
                <a:lnTo>
                  <a:pt x="165932" y="26585"/>
                </a:lnTo>
                <a:lnTo>
                  <a:pt x="165932" y="98468"/>
                </a:lnTo>
                <a:lnTo>
                  <a:pt x="202862" y="98468"/>
                </a:lnTo>
                <a:lnTo>
                  <a:pt x="202862" y="26585"/>
                </a:lnTo>
                <a:close/>
              </a:path>
              <a:path w="443229" h="295910">
                <a:moveTo>
                  <a:pt x="241259" y="86164"/>
                </a:moveTo>
                <a:lnTo>
                  <a:pt x="233305" y="87025"/>
                </a:lnTo>
                <a:lnTo>
                  <a:pt x="225948" y="89485"/>
                </a:lnTo>
                <a:lnTo>
                  <a:pt x="219372" y="93360"/>
                </a:lnTo>
                <a:lnTo>
                  <a:pt x="213763" y="98468"/>
                </a:lnTo>
                <a:lnTo>
                  <a:pt x="268766" y="98468"/>
                </a:lnTo>
                <a:lnTo>
                  <a:pt x="263152" y="93360"/>
                </a:lnTo>
                <a:lnTo>
                  <a:pt x="256575" y="89485"/>
                </a:lnTo>
                <a:lnTo>
                  <a:pt x="249218" y="87025"/>
                </a:lnTo>
                <a:lnTo>
                  <a:pt x="241259" y="86164"/>
                </a:lnTo>
                <a:close/>
              </a:path>
              <a:path w="443229" h="295910">
                <a:moveTo>
                  <a:pt x="294300" y="26585"/>
                </a:moveTo>
                <a:lnTo>
                  <a:pt x="202862" y="26585"/>
                </a:lnTo>
                <a:lnTo>
                  <a:pt x="257761" y="26606"/>
                </a:lnTo>
                <a:lnTo>
                  <a:pt x="325288" y="98468"/>
                </a:lnTo>
                <a:lnTo>
                  <a:pt x="361971" y="98468"/>
                </a:lnTo>
                <a:lnTo>
                  <a:pt x="294300" y="26585"/>
                </a:lnTo>
                <a:close/>
              </a:path>
              <a:path w="443229" h="295910">
                <a:moveTo>
                  <a:pt x="123095" y="43087"/>
                </a:moveTo>
                <a:lnTo>
                  <a:pt x="115907" y="44539"/>
                </a:lnTo>
                <a:lnTo>
                  <a:pt x="110035" y="48497"/>
                </a:lnTo>
                <a:lnTo>
                  <a:pt x="106076" y="54365"/>
                </a:lnTo>
                <a:lnTo>
                  <a:pt x="104625" y="61547"/>
                </a:lnTo>
                <a:lnTo>
                  <a:pt x="106076" y="68736"/>
                </a:lnTo>
                <a:lnTo>
                  <a:pt x="110035" y="74607"/>
                </a:lnTo>
                <a:lnTo>
                  <a:pt x="115907" y="78566"/>
                </a:lnTo>
                <a:lnTo>
                  <a:pt x="123095" y="80018"/>
                </a:lnTo>
                <a:lnTo>
                  <a:pt x="130278" y="78566"/>
                </a:lnTo>
                <a:lnTo>
                  <a:pt x="136146" y="74607"/>
                </a:lnTo>
                <a:lnTo>
                  <a:pt x="140104" y="68736"/>
                </a:lnTo>
                <a:lnTo>
                  <a:pt x="141555" y="61547"/>
                </a:lnTo>
                <a:lnTo>
                  <a:pt x="140104" y="54365"/>
                </a:lnTo>
                <a:lnTo>
                  <a:pt x="136146" y="48497"/>
                </a:lnTo>
                <a:lnTo>
                  <a:pt x="130278" y="44539"/>
                </a:lnTo>
                <a:lnTo>
                  <a:pt x="123095" y="43087"/>
                </a:lnTo>
                <a:close/>
              </a:path>
              <a:path w="443229" h="295910">
                <a:moveTo>
                  <a:pt x="241259" y="43087"/>
                </a:moveTo>
                <a:lnTo>
                  <a:pt x="234072" y="44539"/>
                </a:lnTo>
                <a:lnTo>
                  <a:pt x="228205" y="48497"/>
                </a:lnTo>
                <a:lnTo>
                  <a:pt x="224249" y="54365"/>
                </a:lnTo>
                <a:lnTo>
                  <a:pt x="222799" y="61547"/>
                </a:lnTo>
                <a:lnTo>
                  <a:pt x="224249" y="68736"/>
                </a:lnTo>
                <a:lnTo>
                  <a:pt x="228205" y="74607"/>
                </a:lnTo>
                <a:lnTo>
                  <a:pt x="234072" y="78566"/>
                </a:lnTo>
                <a:lnTo>
                  <a:pt x="241259" y="80018"/>
                </a:lnTo>
                <a:lnTo>
                  <a:pt x="248446" y="78566"/>
                </a:lnTo>
                <a:lnTo>
                  <a:pt x="254314" y="74607"/>
                </a:lnTo>
                <a:lnTo>
                  <a:pt x="258269" y="68736"/>
                </a:lnTo>
                <a:lnTo>
                  <a:pt x="259719" y="61547"/>
                </a:lnTo>
                <a:lnTo>
                  <a:pt x="258269" y="54365"/>
                </a:lnTo>
                <a:lnTo>
                  <a:pt x="254314" y="48497"/>
                </a:lnTo>
                <a:lnTo>
                  <a:pt x="248446" y="44539"/>
                </a:lnTo>
                <a:lnTo>
                  <a:pt x="241259" y="43087"/>
                </a:lnTo>
                <a:close/>
              </a:path>
            </a:pathLst>
          </a:custGeom>
          <a:solidFill>
            <a:srgbClr val="000000"/>
          </a:solidFill>
        </p:spPr>
        <p:txBody>
          <a:bodyPr wrap="square" lIns="0" tIns="0" rIns="0" bIns="0" rtlCol="0"/>
          <a:lstStyle/>
          <a:p>
            <a:endParaRPr/>
          </a:p>
        </p:txBody>
      </p:sp>
      <p:sp>
        <p:nvSpPr>
          <p:cNvPr id="29" name="object 29"/>
          <p:cNvSpPr/>
          <p:nvPr/>
        </p:nvSpPr>
        <p:spPr>
          <a:xfrm>
            <a:off x="3945249" y="2728169"/>
            <a:ext cx="256760" cy="256742"/>
          </a:xfrm>
          <a:custGeom>
            <a:avLst/>
            <a:gdLst/>
            <a:ahLst/>
            <a:cxnLst/>
            <a:rect l="l" t="t" r="r" b="b"/>
            <a:pathLst>
              <a:path w="564515" h="564515">
                <a:moveTo>
                  <a:pt x="521858" y="0"/>
                </a:moveTo>
                <a:lnTo>
                  <a:pt x="42595" y="0"/>
                </a:lnTo>
                <a:lnTo>
                  <a:pt x="26058" y="3361"/>
                </a:lnTo>
                <a:lnTo>
                  <a:pt x="12514" y="12514"/>
                </a:lnTo>
                <a:lnTo>
                  <a:pt x="3361" y="26058"/>
                </a:lnTo>
                <a:lnTo>
                  <a:pt x="0" y="42595"/>
                </a:lnTo>
                <a:lnTo>
                  <a:pt x="0" y="521858"/>
                </a:lnTo>
                <a:lnTo>
                  <a:pt x="3361" y="538395"/>
                </a:lnTo>
                <a:lnTo>
                  <a:pt x="12514" y="551940"/>
                </a:lnTo>
                <a:lnTo>
                  <a:pt x="26058" y="561092"/>
                </a:lnTo>
                <a:lnTo>
                  <a:pt x="42595" y="564454"/>
                </a:lnTo>
                <a:lnTo>
                  <a:pt x="521858" y="564454"/>
                </a:lnTo>
                <a:lnTo>
                  <a:pt x="538395" y="561092"/>
                </a:lnTo>
                <a:lnTo>
                  <a:pt x="551940" y="551940"/>
                </a:lnTo>
                <a:lnTo>
                  <a:pt x="561092" y="538395"/>
                </a:lnTo>
                <a:lnTo>
                  <a:pt x="564454" y="521858"/>
                </a:lnTo>
                <a:lnTo>
                  <a:pt x="564454" y="42595"/>
                </a:lnTo>
                <a:lnTo>
                  <a:pt x="561092" y="26058"/>
                </a:lnTo>
                <a:lnTo>
                  <a:pt x="551940" y="12514"/>
                </a:lnTo>
                <a:lnTo>
                  <a:pt x="538395" y="3361"/>
                </a:lnTo>
                <a:lnTo>
                  <a:pt x="521858" y="0"/>
                </a:lnTo>
                <a:close/>
              </a:path>
            </a:pathLst>
          </a:custGeom>
          <a:solidFill>
            <a:srgbClr val="FF7900"/>
          </a:solidFill>
        </p:spPr>
        <p:txBody>
          <a:bodyPr wrap="square" lIns="0" tIns="0" rIns="0" bIns="0" rtlCol="0"/>
          <a:lstStyle/>
          <a:p>
            <a:endParaRPr/>
          </a:p>
        </p:txBody>
      </p:sp>
      <p:sp>
        <p:nvSpPr>
          <p:cNvPr id="30" name="object 30"/>
          <p:cNvSpPr/>
          <p:nvPr/>
        </p:nvSpPr>
        <p:spPr>
          <a:xfrm>
            <a:off x="3983375" y="2764986"/>
            <a:ext cx="176468" cy="183965"/>
          </a:xfrm>
          <a:custGeom>
            <a:avLst/>
            <a:gdLst/>
            <a:ahLst/>
            <a:cxnLst/>
            <a:rect l="l" t="t" r="r" b="b"/>
            <a:pathLst>
              <a:path w="387984" h="404495">
                <a:moveTo>
                  <a:pt x="193857" y="0"/>
                </a:moveTo>
                <a:lnTo>
                  <a:pt x="149408" y="5340"/>
                </a:lnTo>
                <a:lnTo>
                  <a:pt x="108604" y="20552"/>
                </a:lnTo>
                <a:lnTo>
                  <a:pt x="72609" y="44423"/>
                </a:lnTo>
                <a:lnTo>
                  <a:pt x="42588" y="75738"/>
                </a:lnTo>
                <a:lnTo>
                  <a:pt x="19703" y="113283"/>
                </a:lnTo>
                <a:lnTo>
                  <a:pt x="5119" y="155847"/>
                </a:lnTo>
                <a:lnTo>
                  <a:pt x="0" y="202213"/>
                </a:lnTo>
                <a:lnTo>
                  <a:pt x="5119" y="248580"/>
                </a:lnTo>
                <a:lnTo>
                  <a:pt x="19703" y="291143"/>
                </a:lnTo>
                <a:lnTo>
                  <a:pt x="42588" y="328689"/>
                </a:lnTo>
                <a:lnTo>
                  <a:pt x="72609" y="360004"/>
                </a:lnTo>
                <a:lnTo>
                  <a:pt x="108604" y="383874"/>
                </a:lnTo>
                <a:lnTo>
                  <a:pt x="149408" y="399087"/>
                </a:lnTo>
                <a:lnTo>
                  <a:pt x="193857" y="404427"/>
                </a:lnTo>
                <a:lnTo>
                  <a:pt x="238307" y="399087"/>
                </a:lnTo>
                <a:lnTo>
                  <a:pt x="279111" y="383874"/>
                </a:lnTo>
                <a:lnTo>
                  <a:pt x="315106" y="360004"/>
                </a:lnTo>
                <a:lnTo>
                  <a:pt x="345127" y="328689"/>
                </a:lnTo>
                <a:lnTo>
                  <a:pt x="368011" y="291143"/>
                </a:lnTo>
                <a:lnTo>
                  <a:pt x="382596" y="248580"/>
                </a:lnTo>
                <a:lnTo>
                  <a:pt x="387715" y="202213"/>
                </a:lnTo>
                <a:lnTo>
                  <a:pt x="382596" y="155847"/>
                </a:lnTo>
                <a:lnTo>
                  <a:pt x="368011" y="113283"/>
                </a:lnTo>
                <a:lnTo>
                  <a:pt x="345127" y="75738"/>
                </a:lnTo>
                <a:lnTo>
                  <a:pt x="315106" y="44423"/>
                </a:lnTo>
                <a:lnTo>
                  <a:pt x="279111" y="20552"/>
                </a:lnTo>
                <a:lnTo>
                  <a:pt x="238307" y="5340"/>
                </a:lnTo>
                <a:lnTo>
                  <a:pt x="193857" y="0"/>
                </a:lnTo>
                <a:close/>
              </a:path>
            </a:pathLst>
          </a:custGeom>
          <a:solidFill>
            <a:srgbClr val="FFFFFF"/>
          </a:solidFill>
        </p:spPr>
        <p:txBody>
          <a:bodyPr wrap="square" lIns="0" tIns="0" rIns="0" bIns="0" rtlCol="0"/>
          <a:lstStyle/>
          <a:p>
            <a:endParaRPr/>
          </a:p>
        </p:txBody>
      </p:sp>
      <p:sp>
        <p:nvSpPr>
          <p:cNvPr id="31" name="object 31"/>
          <p:cNvSpPr/>
          <p:nvPr/>
        </p:nvSpPr>
        <p:spPr>
          <a:xfrm>
            <a:off x="3977652" y="2762168"/>
            <a:ext cx="191487" cy="191473"/>
          </a:xfrm>
          <a:custGeom>
            <a:avLst/>
            <a:gdLst/>
            <a:ahLst/>
            <a:cxnLst/>
            <a:rect l="l" t="t" r="r" b="b"/>
            <a:pathLst>
              <a:path w="421004" h="421004">
                <a:moveTo>
                  <a:pt x="211271" y="0"/>
                </a:moveTo>
                <a:lnTo>
                  <a:pt x="162316" y="5506"/>
                </a:lnTo>
                <a:lnTo>
                  <a:pt x="118222" y="21192"/>
                </a:lnTo>
                <a:lnTo>
                  <a:pt x="79271" y="45818"/>
                </a:lnTo>
                <a:lnTo>
                  <a:pt x="46718" y="78146"/>
                </a:lnTo>
                <a:lnTo>
                  <a:pt x="21819" y="116938"/>
                </a:lnTo>
                <a:lnTo>
                  <a:pt x="5827" y="160954"/>
                </a:lnTo>
                <a:lnTo>
                  <a:pt x="0" y="208956"/>
                </a:lnTo>
                <a:lnTo>
                  <a:pt x="5233" y="257229"/>
                </a:lnTo>
                <a:lnTo>
                  <a:pt x="20760" y="301613"/>
                </a:lnTo>
                <a:lnTo>
                  <a:pt x="45329" y="340837"/>
                </a:lnTo>
                <a:lnTo>
                  <a:pt x="77684" y="373630"/>
                </a:lnTo>
                <a:lnTo>
                  <a:pt x="116573" y="398723"/>
                </a:lnTo>
                <a:lnTo>
                  <a:pt x="160741" y="414843"/>
                </a:lnTo>
                <a:lnTo>
                  <a:pt x="208936" y="420720"/>
                </a:lnTo>
                <a:lnTo>
                  <a:pt x="210360" y="420720"/>
                </a:lnTo>
                <a:lnTo>
                  <a:pt x="258337" y="415216"/>
                </a:lnTo>
                <a:lnTo>
                  <a:pt x="302430" y="399532"/>
                </a:lnTo>
                <a:lnTo>
                  <a:pt x="341381" y="374905"/>
                </a:lnTo>
                <a:lnTo>
                  <a:pt x="341672" y="374616"/>
                </a:lnTo>
                <a:lnTo>
                  <a:pt x="123870" y="374616"/>
                </a:lnTo>
                <a:lnTo>
                  <a:pt x="106791" y="364381"/>
                </a:lnTo>
                <a:lnTo>
                  <a:pt x="90963" y="352435"/>
                </a:lnTo>
                <a:lnTo>
                  <a:pt x="76513" y="338905"/>
                </a:lnTo>
                <a:lnTo>
                  <a:pt x="63568" y="323916"/>
                </a:lnTo>
                <a:lnTo>
                  <a:pt x="63568" y="311634"/>
                </a:lnTo>
                <a:lnTo>
                  <a:pt x="62197" y="308315"/>
                </a:lnTo>
                <a:lnTo>
                  <a:pt x="43349" y="289478"/>
                </a:lnTo>
                <a:lnTo>
                  <a:pt x="41977" y="286158"/>
                </a:lnTo>
                <a:lnTo>
                  <a:pt x="41977" y="242537"/>
                </a:lnTo>
                <a:lnTo>
                  <a:pt x="43349" y="239217"/>
                </a:lnTo>
                <a:lnTo>
                  <a:pt x="66511" y="216056"/>
                </a:lnTo>
                <a:lnTo>
                  <a:pt x="69830" y="214674"/>
                </a:lnTo>
                <a:lnTo>
                  <a:pt x="206878" y="214674"/>
                </a:lnTo>
                <a:lnTo>
                  <a:pt x="207449" y="213302"/>
                </a:lnTo>
                <a:lnTo>
                  <a:pt x="230600" y="190140"/>
                </a:lnTo>
                <a:lnTo>
                  <a:pt x="233930" y="188769"/>
                </a:lnTo>
                <a:lnTo>
                  <a:pt x="69830" y="188769"/>
                </a:lnTo>
                <a:lnTo>
                  <a:pt x="66511" y="187397"/>
                </a:lnTo>
                <a:lnTo>
                  <a:pt x="47663" y="168549"/>
                </a:lnTo>
                <a:lnTo>
                  <a:pt x="44354" y="167167"/>
                </a:lnTo>
                <a:lnTo>
                  <a:pt x="29800" y="167167"/>
                </a:lnTo>
                <a:lnTo>
                  <a:pt x="45776" y="124646"/>
                </a:lnTo>
                <a:lnTo>
                  <a:pt x="71159" y="87777"/>
                </a:lnTo>
                <a:lnTo>
                  <a:pt x="104453" y="58047"/>
                </a:lnTo>
                <a:lnTo>
                  <a:pt x="144165" y="36945"/>
                </a:lnTo>
                <a:lnTo>
                  <a:pt x="188800" y="25957"/>
                </a:lnTo>
                <a:lnTo>
                  <a:pt x="310219" y="25957"/>
                </a:lnTo>
                <a:lnTo>
                  <a:pt x="304087" y="22000"/>
                </a:lnTo>
                <a:lnTo>
                  <a:pt x="259922" y="5883"/>
                </a:lnTo>
                <a:lnTo>
                  <a:pt x="211731" y="10"/>
                </a:lnTo>
                <a:lnTo>
                  <a:pt x="211271" y="0"/>
                </a:lnTo>
                <a:close/>
              </a:path>
              <a:path w="421004" h="421004">
                <a:moveTo>
                  <a:pt x="206878" y="214674"/>
                </a:moveTo>
                <a:lnTo>
                  <a:pt x="87536" y="214674"/>
                </a:lnTo>
                <a:lnTo>
                  <a:pt x="90855" y="216056"/>
                </a:lnTo>
                <a:lnTo>
                  <a:pt x="135597" y="260808"/>
                </a:lnTo>
                <a:lnTo>
                  <a:pt x="138917" y="262190"/>
                </a:lnTo>
                <a:lnTo>
                  <a:pt x="160937" y="262190"/>
                </a:lnTo>
                <a:lnTo>
                  <a:pt x="162885" y="264128"/>
                </a:lnTo>
                <a:lnTo>
                  <a:pt x="162885" y="309467"/>
                </a:lnTo>
                <a:lnTo>
                  <a:pt x="161513" y="312796"/>
                </a:lnTo>
                <a:lnTo>
                  <a:pt x="140069" y="334220"/>
                </a:lnTo>
                <a:lnTo>
                  <a:pt x="138697" y="337539"/>
                </a:lnTo>
                <a:lnTo>
                  <a:pt x="138697" y="357842"/>
                </a:lnTo>
                <a:lnTo>
                  <a:pt x="137325" y="361161"/>
                </a:lnTo>
                <a:lnTo>
                  <a:pt x="123870" y="374616"/>
                </a:lnTo>
                <a:lnTo>
                  <a:pt x="341672" y="374616"/>
                </a:lnTo>
                <a:lnTo>
                  <a:pt x="296818" y="374543"/>
                </a:lnTo>
                <a:lnTo>
                  <a:pt x="285174" y="362889"/>
                </a:lnTo>
                <a:lnTo>
                  <a:pt x="283802" y="359570"/>
                </a:lnTo>
                <a:lnTo>
                  <a:pt x="283802" y="290033"/>
                </a:lnTo>
                <a:lnTo>
                  <a:pt x="282420" y="286713"/>
                </a:lnTo>
                <a:lnTo>
                  <a:pt x="259259" y="263552"/>
                </a:lnTo>
                <a:lnTo>
                  <a:pt x="255950" y="262180"/>
                </a:lnTo>
                <a:lnTo>
                  <a:pt x="208014" y="262180"/>
                </a:lnTo>
                <a:lnTo>
                  <a:pt x="206067" y="260243"/>
                </a:lnTo>
                <a:lnTo>
                  <a:pt x="206067" y="216621"/>
                </a:lnTo>
                <a:lnTo>
                  <a:pt x="206878" y="214674"/>
                </a:lnTo>
                <a:close/>
              </a:path>
              <a:path w="421004" h="421004">
                <a:moveTo>
                  <a:pt x="376857" y="188769"/>
                </a:moveTo>
                <a:lnTo>
                  <a:pt x="359151" y="188769"/>
                </a:lnTo>
                <a:lnTo>
                  <a:pt x="357203" y="190706"/>
                </a:lnTo>
                <a:lnTo>
                  <a:pt x="357203" y="212736"/>
                </a:lnTo>
                <a:lnTo>
                  <a:pt x="358585" y="216056"/>
                </a:lnTo>
                <a:lnTo>
                  <a:pt x="377423" y="234893"/>
                </a:lnTo>
                <a:lnTo>
                  <a:pt x="378805" y="238212"/>
                </a:lnTo>
                <a:lnTo>
                  <a:pt x="378805" y="260243"/>
                </a:lnTo>
                <a:lnTo>
                  <a:pt x="377423" y="263552"/>
                </a:lnTo>
                <a:lnTo>
                  <a:pt x="358585" y="282399"/>
                </a:lnTo>
                <a:lnTo>
                  <a:pt x="357203" y="285719"/>
                </a:lnTo>
                <a:lnTo>
                  <a:pt x="357203" y="323634"/>
                </a:lnTo>
                <a:lnTo>
                  <a:pt x="344241" y="338678"/>
                </a:lnTo>
                <a:lnTo>
                  <a:pt x="329771" y="352265"/>
                </a:lnTo>
                <a:lnTo>
                  <a:pt x="313920" y="364263"/>
                </a:lnTo>
                <a:lnTo>
                  <a:pt x="296818" y="374543"/>
                </a:lnTo>
                <a:lnTo>
                  <a:pt x="341746" y="374543"/>
                </a:lnTo>
                <a:lnTo>
                  <a:pt x="373937" y="342576"/>
                </a:lnTo>
                <a:lnTo>
                  <a:pt x="398840" y="303783"/>
                </a:lnTo>
                <a:lnTo>
                  <a:pt x="414835" y="259766"/>
                </a:lnTo>
                <a:lnTo>
                  <a:pt x="420667" y="211763"/>
                </a:lnTo>
                <a:lnTo>
                  <a:pt x="420029" y="205878"/>
                </a:lnTo>
                <a:lnTo>
                  <a:pt x="395904" y="205878"/>
                </a:lnTo>
                <a:lnTo>
                  <a:pt x="380176" y="190140"/>
                </a:lnTo>
                <a:lnTo>
                  <a:pt x="376857" y="188769"/>
                </a:lnTo>
                <a:close/>
              </a:path>
              <a:path w="421004" h="421004">
                <a:moveTo>
                  <a:pt x="310219" y="25957"/>
                </a:moveTo>
                <a:lnTo>
                  <a:pt x="188800" y="25957"/>
                </a:lnTo>
                <a:lnTo>
                  <a:pt x="188800" y="39988"/>
                </a:lnTo>
                <a:lnTo>
                  <a:pt x="187418" y="43297"/>
                </a:lnTo>
                <a:lnTo>
                  <a:pt x="164256" y="66469"/>
                </a:lnTo>
                <a:lnTo>
                  <a:pt x="160937" y="67840"/>
                </a:lnTo>
                <a:lnTo>
                  <a:pt x="329246" y="67840"/>
                </a:lnTo>
                <a:lnTo>
                  <a:pt x="356240" y="95640"/>
                </a:lnTo>
                <a:lnTo>
                  <a:pt x="376981" y="128566"/>
                </a:lnTo>
                <a:lnTo>
                  <a:pt x="390520" y="165639"/>
                </a:lnTo>
                <a:lnTo>
                  <a:pt x="395904" y="205878"/>
                </a:lnTo>
                <a:lnTo>
                  <a:pt x="420029" y="205878"/>
                </a:lnTo>
                <a:lnTo>
                  <a:pt x="415430" y="163490"/>
                </a:lnTo>
                <a:lnTo>
                  <a:pt x="399900" y="119107"/>
                </a:lnTo>
                <a:lnTo>
                  <a:pt x="375330" y="79883"/>
                </a:lnTo>
                <a:lnTo>
                  <a:pt x="342975" y="47091"/>
                </a:lnTo>
                <a:lnTo>
                  <a:pt x="310219" y="25957"/>
                </a:lnTo>
                <a:close/>
              </a:path>
              <a:path w="421004" h="421004">
                <a:moveTo>
                  <a:pt x="303446" y="93756"/>
                </a:moveTo>
                <a:lnTo>
                  <a:pt x="160937" y="93756"/>
                </a:lnTo>
                <a:lnTo>
                  <a:pt x="162832" y="95640"/>
                </a:lnTo>
                <a:lnTo>
                  <a:pt x="162885" y="117724"/>
                </a:lnTo>
                <a:lnTo>
                  <a:pt x="160937" y="119671"/>
                </a:lnTo>
                <a:lnTo>
                  <a:pt x="138917" y="119671"/>
                </a:lnTo>
                <a:lnTo>
                  <a:pt x="135597" y="121043"/>
                </a:lnTo>
                <a:lnTo>
                  <a:pt x="116760" y="139880"/>
                </a:lnTo>
                <a:lnTo>
                  <a:pt x="115393" y="143199"/>
                </a:lnTo>
                <a:lnTo>
                  <a:pt x="115389" y="165230"/>
                </a:lnTo>
                <a:lnTo>
                  <a:pt x="114006" y="168549"/>
                </a:lnTo>
                <a:lnTo>
                  <a:pt x="95169" y="187397"/>
                </a:lnTo>
                <a:lnTo>
                  <a:pt x="91850" y="188769"/>
                </a:lnTo>
                <a:lnTo>
                  <a:pt x="281855" y="188769"/>
                </a:lnTo>
                <a:lnTo>
                  <a:pt x="285174" y="187397"/>
                </a:lnTo>
                <a:lnTo>
                  <a:pt x="305404" y="167167"/>
                </a:lnTo>
                <a:lnTo>
                  <a:pt x="234160" y="167167"/>
                </a:lnTo>
                <a:lnTo>
                  <a:pt x="232212" y="165230"/>
                </a:lnTo>
                <a:lnTo>
                  <a:pt x="232212" y="143199"/>
                </a:lnTo>
                <a:lnTo>
                  <a:pt x="233584" y="139880"/>
                </a:lnTo>
                <a:lnTo>
                  <a:pt x="256526" y="116729"/>
                </a:lnTo>
                <a:lnTo>
                  <a:pt x="259835" y="115347"/>
                </a:lnTo>
                <a:lnTo>
                  <a:pt x="303446" y="115347"/>
                </a:lnTo>
                <a:lnTo>
                  <a:pt x="305393" y="113399"/>
                </a:lnTo>
                <a:lnTo>
                  <a:pt x="305340" y="95640"/>
                </a:lnTo>
                <a:lnTo>
                  <a:pt x="303446" y="93756"/>
                </a:lnTo>
                <a:close/>
              </a:path>
              <a:path w="421004" h="421004">
                <a:moveTo>
                  <a:pt x="329351" y="141262"/>
                </a:moveTo>
                <a:lnTo>
                  <a:pt x="311655" y="141262"/>
                </a:lnTo>
                <a:lnTo>
                  <a:pt x="308336" y="142634"/>
                </a:lnTo>
                <a:lnTo>
                  <a:pt x="285174" y="165795"/>
                </a:lnTo>
                <a:lnTo>
                  <a:pt x="281855" y="167167"/>
                </a:lnTo>
                <a:lnTo>
                  <a:pt x="305404" y="167167"/>
                </a:lnTo>
                <a:lnTo>
                  <a:pt x="308336" y="164235"/>
                </a:lnTo>
                <a:lnTo>
                  <a:pt x="311655" y="162853"/>
                </a:lnTo>
                <a:lnTo>
                  <a:pt x="329351" y="162853"/>
                </a:lnTo>
                <a:lnTo>
                  <a:pt x="331260" y="160954"/>
                </a:lnTo>
                <a:lnTo>
                  <a:pt x="331288" y="143199"/>
                </a:lnTo>
                <a:lnTo>
                  <a:pt x="329351" y="141262"/>
                </a:lnTo>
                <a:close/>
              </a:path>
              <a:path w="421004" h="421004">
                <a:moveTo>
                  <a:pt x="281425" y="67840"/>
                </a:moveTo>
                <a:lnTo>
                  <a:pt x="117326" y="67840"/>
                </a:lnTo>
                <a:lnTo>
                  <a:pt x="115389" y="69788"/>
                </a:lnTo>
                <a:lnTo>
                  <a:pt x="115389" y="91808"/>
                </a:lnTo>
                <a:lnTo>
                  <a:pt x="117326" y="93756"/>
                </a:lnTo>
                <a:lnTo>
                  <a:pt x="281425" y="93756"/>
                </a:lnTo>
                <a:lnTo>
                  <a:pt x="279478" y="91808"/>
                </a:lnTo>
                <a:lnTo>
                  <a:pt x="279478" y="69788"/>
                </a:lnTo>
                <a:lnTo>
                  <a:pt x="281425" y="67840"/>
                </a:lnTo>
                <a:close/>
              </a:path>
            </a:pathLst>
          </a:custGeom>
          <a:solidFill>
            <a:srgbClr val="000000"/>
          </a:solidFill>
        </p:spPr>
        <p:txBody>
          <a:bodyPr wrap="square" lIns="0" tIns="0" rIns="0" bIns="0" rtlCol="0"/>
          <a:lstStyle/>
          <a:p>
            <a:endParaRPr/>
          </a:p>
        </p:txBody>
      </p:sp>
      <p:sp>
        <p:nvSpPr>
          <p:cNvPr id="32" name="object 32"/>
          <p:cNvSpPr/>
          <p:nvPr/>
        </p:nvSpPr>
        <p:spPr>
          <a:xfrm>
            <a:off x="4031995" y="2802679"/>
            <a:ext cx="86439" cy="104953"/>
          </a:xfrm>
          <a:prstGeom prst="rect">
            <a:avLst/>
          </a:prstGeom>
          <a:blipFill>
            <a:blip r:embed="rId3" cstate="print"/>
            <a:stretch>
              <a:fillRect/>
            </a:stretch>
          </a:blipFill>
        </p:spPr>
        <p:txBody>
          <a:bodyPr wrap="square" lIns="0" tIns="0" rIns="0" bIns="0" rtlCol="0"/>
          <a:lstStyle/>
          <a:p>
            <a:endParaRPr/>
          </a:p>
        </p:txBody>
      </p:sp>
      <p:sp>
        <p:nvSpPr>
          <p:cNvPr id="33" name="object 33"/>
          <p:cNvSpPr/>
          <p:nvPr/>
        </p:nvSpPr>
        <p:spPr>
          <a:xfrm>
            <a:off x="4025434" y="2796903"/>
            <a:ext cx="99354" cy="128515"/>
          </a:xfrm>
          <a:custGeom>
            <a:avLst/>
            <a:gdLst/>
            <a:ahLst/>
            <a:cxnLst/>
            <a:rect l="l" t="t" r="r" b="b"/>
            <a:pathLst>
              <a:path w="218440" h="282575">
                <a:moveTo>
                  <a:pt x="109075" y="0"/>
                </a:moveTo>
                <a:lnTo>
                  <a:pt x="63985" y="16392"/>
                </a:lnTo>
                <a:lnTo>
                  <a:pt x="30186" y="45159"/>
                </a:lnTo>
                <a:lnTo>
                  <a:pt x="7983" y="83591"/>
                </a:lnTo>
                <a:lnTo>
                  <a:pt x="0" y="128540"/>
                </a:lnTo>
                <a:lnTo>
                  <a:pt x="7113" y="171040"/>
                </a:lnTo>
                <a:lnTo>
                  <a:pt x="26991" y="207905"/>
                </a:lnTo>
                <a:lnTo>
                  <a:pt x="57435" y="236512"/>
                </a:lnTo>
                <a:lnTo>
                  <a:pt x="96248" y="254233"/>
                </a:lnTo>
                <a:lnTo>
                  <a:pt x="96248" y="276797"/>
                </a:lnTo>
                <a:lnTo>
                  <a:pt x="101996" y="282535"/>
                </a:lnTo>
                <a:lnTo>
                  <a:pt x="116164" y="282535"/>
                </a:lnTo>
                <a:lnTo>
                  <a:pt x="121912" y="276797"/>
                </a:lnTo>
                <a:lnTo>
                  <a:pt x="121912" y="254233"/>
                </a:lnTo>
                <a:lnTo>
                  <a:pt x="160728" y="236512"/>
                </a:lnTo>
                <a:lnTo>
                  <a:pt x="170473" y="227354"/>
                </a:lnTo>
                <a:lnTo>
                  <a:pt x="96269" y="227354"/>
                </a:lnTo>
                <a:lnTo>
                  <a:pt x="67653" y="212225"/>
                </a:lnTo>
                <a:lnTo>
                  <a:pt x="45340" y="189519"/>
                </a:lnTo>
                <a:lnTo>
                  <a:pt x="30843" y="161027"/>
                </a:lnTo>
                <a:lnTo>
                  <a:pt x="25674" y="128540"/>
                </a:lnTo>
                <a:lnTo>
                  <a:pt x="31891" y="92971"/>
                </a:lnTo>
                <a:lnTo>
                  <a:pt x="49202" y="62443"/>
                </a:lnTo>
                <a:lnTo>
                  <a:pt x="75600" y="39359"/>
                </a:lnTo>
                <a:lnTo>
                  <a:pt x="109075" y="26124"/>
                </a:lnTo>
                <a:lnTo>
                  <a:pt x="165603" y="26124"/>
                </a:lnTo>
                <a:lnTo>
                  <a:pt x="154156" y="16388"/>
                </a:lnTo>
                <a:lnTo>
                  <a:pt x="111334" y="429"/>
                </a:lnTo>
                <a:lnTo>
                  <a:pt x="109075" y="0"/>
                </a:lnTo>
                <a:close/>
              </a:path>
              <a:path w="218440" h="282575">
                <a:moveTo>
                  <a:pt x="46972" y="121514"/>
                </a:moveTo>
                <a:lnTo>
                  <a:pt x="42909" y="121514"/>
                </a:lnTo>
                <a:lnTo>
                  <a:pt x="37915" y="126509"/>
                </a:lnTo>
                <a:lnTo>
                  <a:pt x="37904" y="130582"/>
                </a:lnTo>
                <a:lnTo>
                  <a:pt x="96258" y="188947"/>
                </a:lnTo>
                <a:lnTo>
                  <a:pt x="96269" y="227354"/>
                </a:lnTo>
                <a:lnTo>
                  <a:pt x="121912" y="227354"/>
                </a:lnTo>
                <a:lnTo>
                  <a:pt x="121912" y="188947"/>
                </a:lnTo>
                <a:lnTo>
                  <a:pt x="140058" y="170801"/>
                </a:lnTo>
                <a:lnTo>
                  <a:pt x="96258" y="170801"/>
                </a:lnTo>
                <a:lnTo>
                  <a:pt x="46972" y="121514"/>
                </a:lnTo>
                <a:close/>
              </a:path>
              <a:path w="218440" h="282575">
                <a:moveTo>
                  <a:pt x="165603" y="26124"/>
                </a:moveTo>
                <a:lnTo>
                  <a:pt x="109075" y="26124"/>
                </a:lnTo>
                <a:lnTo>
                  <a:pt x="142557" y="39359"/>
                </a:lnTo>
                <a:lnTo>
                  <a:pt x="168962" y="62443"/>
                </a:lnTo>
                <a:lnTo>
                  <a:pt x="186278" y="92971"/>
                </a:lnTo>
                <a:lnTo>
                  <a:pt x="192496" y="128540"/>
                </a:lnTo>
                <a:lnTo>
                  <a:pt x="187326" y="161027"/>
                </a:lnTo>
                <a:lnTo>
                  <a:pt x="172828" y="189519"/>
                </a:lnTo>
                <a:lnTo>
                  <a:pt x="150518" y="212225"/>
                </a:lnTo>
                <a:lnTo>
                  <a:pt x="121912" y="227354"/>
                </a:lnTo>
                <a:lnTo>
                  <a:pt x="170473" y="227354"/>
                </a:lnTo>
                <a:lnTo>
                  <a:pt x="191168" y="207905"/>
                </a:lnTo>
                <a:lnTo>
                  <a:pt x="211039" y="171040"/>
                </a:lnTo>
                <a:lnTo>
                  <a:pt x="218150" y="128540"/>
                </a:lnTo>
                <a:lnTo>
                  <a:pt x="210168" y="83591"/>
                </a:lnTo>
                <a:lnTo>
                  <a:pt x="187966" y="45158"/>
                </a:lnTo>
                <a:lnTo>
                  <a:pt x="165603" y="26124"/>
                </a:lnTo>
                <a:close/>
              </a:path>
              <a:path w="218440" h="282575">
                <a:moveTo>
                  <a:pt x="72626" y="83002"/>
                </a:moveTo>
                <a:lnTo>
                  <a:pt x="68552" y="83002"/>
                </a:lnTo>
                <a:lnTo>
                  <a:pt x="63547" y="88007"/>
                </a:lnTo>
                <a:lnTo>
                  <a:pt x="63547" y="92080"/>
                </a:lnTo>
                <a:lnTo>
                  <a:pt x="96258" y="124781"/>
                </a:lnTo>
                <a:lnTo>
                  <a:pt x="96258" y="170801"/>
                </a:lnTo>
                <a:lnTo>
                  <a:pt x="121912" y="170801"/>
                </a:lnTo>
                <a:lnTo>
                  <a:pt x="121912" y="124781"/>
                </a:lnTo>
                <a:lnTo>
                  <a:pt x="140064" y="106635"/>
                </a:lnTo>
                <a:lnTo>
                  <a:pt x="96248" y="106635"/>
                </a:lnTo>
                <a:lnTo>
                  <a:pt x="72626" y="83002"/>
                </a:lnTo>
                <a:close/>
              </a:path>
              <a:path w="218440" h="282575">
                <a:moveTo>
                  <a:pt x="175282" y="121504"/>
                </a:moveTo>
                <a:lnTo>
                  <a:pt x="171198" y="121514"/>
                </a:lnTo>
                <a:lnTo>
                  <a:pt x="121912" y="170801"/>
                </a:lnTo>
                <a:lnTo>
                  <a:pt x="140058" y="170801"/>
                </a:lnTo>
                <a:lnTo>
                  <a:pt x="180277" y="130582"/>
                </a:lnTo>
                <a:lnTo>
                  <a:pt x="180287" y="126509"/>
                </a:lnTo>
                <a:lnTo>
                  <a:pt x="175282" y="121504"/>
                </a:lnTo>
                <a:close/>
              </a:path>
              <a:path w="218440" h="282575">
                <a:moveTo>
                  <a:pt x="116164" y="51548"/>
                </a:moveTo>
                <a:lnTo>
                  <a:pt x="101996" y="51548"/>
                </a:lnTo>
                <a:lnTo>
                  <a:pt x="96248" y="57286"/>
                </a:lnTo>
                <a:lnTo>
                  <a:pt x="96248" y="106635"/>
                </a:lnTo>
                <a:lnTo>
                  <a:pt x="121912" y="106635"/>
                </a:lnTo>
                <a:lnTo>
                  <a:pt x="121912" y="57286"/>
                </a:lnTo>
                <a:lnTo>
                  <a:pt x="116164" y="51548"/>
                </a:lnTo>
                <a:close/>
              </a:path>
              <a:path w="218440" h="282575">
                <a:moveTo>
                  <a:pt x="149618" y="83002"/>
                </a:moveTo>
                <a:lnTo>
                  <a:pt x="145545" y="83002"/>
                </a:lnTo>
                <a:lnTo>
                  <a:pt x="121912" y="106635"/>
                </a:lnTo>
                <a:lnTo>
                  <a:pt x="140064" y="106635"/>
                </a:lnTo>
                <a:lnTo>
                  <a:pt x="154623" y="92080"/>
                </a:lnTo>
                <a:lnTo>
                  <a:pt x="154623" y="88007"/>
                </a:lnTo>
                <a:lnTo>
                  <a:pt x="149618" y="83002"/>
                </a:lnTo>
                <a:close/>
              </a:path>
            </a:pathLst>
          </a:custGeom>
          <a:solidFill>
            <a:srgbClr val="FF7900"/>
          </a:solidFill>
        </p:spPr>
        <p:txBody>
          <a:bodyPr wrap="square" lIns="0" tIns="0" rIns="0" bIns="0" rtlCol="0"/>
          <a:lstStyle/>
          <a:p>
            <a:endParaRPr/>
          </a:p>
        </p:txBody>
      </p:sp>
      <p:sp>
        <p:nvSpPr>
          <p:cNvPr id="34" name="object 34"/>
          <p:cNvSpPr/>
          <p:nvPr/>
        </p:nvSpPr>
        <p:spPr>
          <a:xfrm>
            <a:off x="3427631" y="3736630"/>
            <a:ext cx="637712" cy="491535"/>
          </a:xfrm>
          <a:custGeom>
            <a:avLst/>
            <a:gdLst/>
            <a:ahLst/>
            <a:cxnLst/>
            <a:rect l="l" t="t" r="r" b="b"/>
            <a:pathLst>
              <a:path w="1402079" h="1080770">
                <a:moveTo>
                  <a:pt x="198823" y="0"/>
                </a:moveTo>
                <a:lnTo>
                  <a:pt x="2300" y="285675"/>
                </a:lnTo>
                <a:lnTo>
                  <a:pt x="0" y="291516"/>
                </a:lnTo>
                <a:lnTo>
                  <a:pt x="113" y="297577"/>
                </a:lnTo>
                <a:lnTo>
                  <a:pt x="2490" y="303152"/>
                </a:lnTo>
                <a:lnTo>
                  <a:pt x="6980" y="307538"/>
                </a:lnTo>
                <a:lnTo>
                  <a:pt x="1196997" y="1078237"/>
                </a:lnTo>
                <a:lnTo>
                  <a:pt x="1202838" y="1080543"/>
                </a:lnTo>
                <a:lnTo>
                  <a:pt x="1208898" y="1080430"/>
                </a:lnTo>
                <a:lnTo>
                  <a:pt x="1214473" y="1078053"/>
                </a:lnTo>
                <a:lnTo>
                  <a:pt x="1218860" y="1073567"/>
                </a:lnTo>
                <a:lnTo>
                  <a:pt x="1399357" y="794864"/>
                </a:lnTo>
                <a:lnTo>
                  <a:pt x="1401663" y="789023"/>
                </a:lnTo>
                <a:lnTo>
                  <a:pt x="1401553" y="782962"/>
                </a:lnTo>
                <a:lnTo>
                  <a:pt x="1399177" y="777387"/>
                </a:lnTo>
                <a:lnTo>
                  <a:pt x="1394687" y="773001"/>
                </a:lnTo>
                <a:lnTo>
                  <a:pt x="204660" y="2302"/>
                </a:lnTo>
                <a:lnTo>
                  <a:pt x="198823" y="0"/>
                </a:lnTo>
                <a:close/>
              </a:path>
            </a:pathLst>
          </a:custGeom>
          <a:solidFill>
            <a:srgbClr val="E4E3E3"/>
          </a:solidFill>
        </p:spPr>
        <p:txBody>
          <a:bodyPr wrap="square" lIns="0" tIns="0" rIns="0" bIns="0" rtlCol="0"/>
          <a:lstStyle/>
          <a:p>
            <a:endParaRPr/>
          </a:p>
        </p:txBody>
      </p:sp>
      <p:sp>
        <p:nvSpPr>
          <p:cNvPr id="35" name="object 35"/>
          <p:cNvSpPr/>
          <p:nvPr/>
        </p:nvSpPr>
        <p:spPr>
          <a:xfrm>
            <a:off x="3505637" y="3801445"/>
            <a:ext cx="51332" cy="51327"/>
          </a:xfrm>
          <a:prstGeom prst="rect">
            <a:avLst/>
          </a:prstGeom>
          <a:blipFill>
            <a:blip r:embed="rId4" cstate="print"/>
            <a:stretch>
              <a:fillRect/>
            </a:stretch>
          </a:blipFill>
        </p:spPr>
        <p:txBody>
          <a:bodyPr wrap="square" lIns="0" tIns="0" rIns="0" bIns="0" rtlCol="0"/>
          <a:lstStyle/>
          <a:p>
            <a:endParaRPr/>
          </a:p>
        </p:txBody>
      </p:sp>
      <p:sp>
        <p:nvSpPr>
          <p:cNvPr id="36" name="object 36"/>
          <p:cNvSpPr/>
          <p:nvPr/>
        </p:nvSpPr>
        <p:spPr>
          <a:xfrm>
            <a:off x="2447606" y="3831333"/>
            <a:ext cx="1572040" cy="1305658"/>
          </a:xfrm>
          <a:custGeom>
            <a:avLst/>
            <a:gdLst/>
            <a:ahLst/>
            <a:cxnLst/>
            <a:rect l="l" t="t" r="r" b="b"/>
            <a:pathLst>
              <a:path w="3456304" h="2870834">
                <a:moveTo>
                  <a:pt x="2147600" y="0"/>
                </a:moveTo>
                <a:lnTo>
                  <a:pt x="2136220" y="257"/>
                </a:lnTo>
                <a:lnTo>
                  <a:pt x="2125730" y="4776"/>
                </a:lnTo>
                <a:lnTo>
                  <a:pt x="2117453" y="13268"/>
                </a:lnTo>
                <a:lnTo>
                  <a:pt x="0" y="2870032"/>
                </a:lnTo>
                <a:lnTo>
                  <a:pt x="2014695" y="2870817"/>
                </a:lnTo>
                <a:lnTo>
                  <a:pt x="3451643" y="877325"/>
                </a:lnTo>
                <a:lnTo>
                  <a:pt x="3456006" y="866303"/>
                </a:lnTo>
                <a:lnTo>
                  <a:pt x="3455838" y="854882"/>
                </a:lnTo>
                <a:lnTo>
                  <a:pt x="3451415" y="844391"/>
                </a:lnTo>
                <a:lnTo>
                  <a:pt x="3443015" y="836154"/>
                </a:lnTo>
                <a:lnTo>
                  <a:pt x="2158551" y="4294"/>
                </a:lnTo>
                <a:lnTo>
                  <a:pt x="2147600" y="0"/>
                </a:lnTo>
                <a:close/>
              </a:path>
            </a:pathLst>
          </a:custGeom>
          <a:solidFill>
            <a:srgbClr val="4AB4E6"/>
          </a:solidFill>
        </p:spPr>
        <p:txBody>
          <a:bodyPr wrap="square" lIns="0" tIns="0" rIns="0" bIns="0" rtlCol="0"/>
          <a:lstStyle/>
          <a:p>
            <a:endParaRPr/>
          </a:p>
        </p:txBody>
      </p:sp>
      <p:sp>
        <p:nvSpPr>
          <p:cNvPr id="37" name="object 37"/>
          <p:cNvSpPr/>
          <p:nvPr/>
        </p:nvSpPr>
        <p:spPr>
          <a:xfrm>
            <a:off x="3645650" y="2819861"/>
            <a:ext cx="244341" cy="686763"/>
          </a:xfrm>
          <a:custGeom>
            <a:avLst/>
            <a:gdLst/>
            <a:ahLst/>
            <a:cxnLst/>
            <a:rect l="l" t="t" r="r" b="b"/>
            <a:pathLst>
              <a:path w="537209" h="1510029">
                <a:moveTo>
                  <a:pt x="340850" y="0"/>
                </a:moveTo>
                <a:lnTo>
                  <a:pt x="297641" y="1075"/>
                </a:lnTo>
                <a:lnTo>
                  <a:pt x="258206" y="9258"/>
                </a:lnTo>
                <a:lnTo>
                  <a:pt x="223308" y="27077"/>
                </a:lnTo>
                <a:lnTo>
                  <a:pt x="193713" y="57062"/>
                </a:lnTo>
                <a:lnTo>
                  <a:pt x="170186" y="101744"/>
                </a:lnTo>
                <a:lnTo>
                  <a:pt x="153491" y="163652"/>
                </a:lnTo>
                <a:lnTo>
                  <a:pt x="1067" y="1289293"/>
                </a:lnTo>
                <a:lnTo>
                  <a:pt x="0" y="1333619"/>
                </a:lnTo>
                <a:lnTo>
                  <a:pt x="8379" y="1376409"/>
                </a:lnTo>
                <a:lnTo>
                  <a:pt x="25484" y="1416016"/>
                </a:lnTo>
                <a:lnTo>
                  <a:pt x="50592" y="1450789"/>
                </a:lnTo>
                <a:lnTo>
                  <a:pt x="82981" y="1479081"/>
                </a:lnTo>
                <a:lnTo>
                  <a:pt x="121930" y="1499241"/>
                </a:lnTo>
                <a:lnTo>
                  <a:pt x="166716" y="1509622"/>
                </a:lnTo>
                <a:lnTo>
                  <a:pt x="179103" y="1509580"/>
                </a:lnTo>
                <a:lnTo>
                  <a:pt x="226316" y="1507553"/>
                </a:lnTo>
                <a:lnTo>
                  <a:pt x="271877" y="1493031"/>
                </a:lnTo>
                <a:lnTo>
                  <a:pt x="314080" y="1468184"/>
                </a:lnTo>
                <a:lnTo>
                  <a:pt x="351218" y="1435183"/>
                </a:lnTo>
                <a:lnTo>
                  <a:pt x="381581" y="1396197"/>
                </a:lnTo>
                <a:lnTo>
                  <a:pt x="403464" y="1353399"/>
                </a:lnTo>
                <a:lnTo>
                  <a:pt x="415159" y="1308958"/>
                </a:lnTo>
                <a:lnTo>
                  <a:pt x="534349" y="362473"/>
                </a:lnTo>
                <a:lnTo>
                  <a:pt x="536977" y="321427"/>
                </a:lnTo>
                <a:lnTo>
                  <a:pt x="535700" y="267657"/>
                </a:lnTo>
                <a:lnTo>
                  <a:pt x="531585" y="214938"/>
                </a:lnTo>
                <a:lnTo>
                  <a:pt x="523630" y="164758"/>
                </a:lnTo>
                <a:lnTo>
                  <a:pt x="510830" y="118601"/>
                </a:lnTo>
                <a:lnTo>
                  <a:pt x="492183" y="77953"/>
                </a:lnTo>
                <a:lnTo>
                  <a:pt x="466686" y="44300"/>
                </a:lnTo>
                <a:lnTo>
                  <a:pt x="433335" y="19127"/>
                </a:lnTo>
                <a:lnTo>
                  <a:pt x="391128" y="3919"/>
                </a:lnTo>
                <a:lnTo>
                  <a:pt x="340850" y="0"/>
                </a:lnTo>
                <a:close/>
              </a:path>
            </a:pathLst>
          </a:custGeom>
          <a:solidFill>
            <a:srgbClr val="CF9F82"/>
          </a:solidFill>
        </p:spPr>
        <p:txBody>
          <a:bodyPr wrap="square" lIns="0" tIns="0" rIns="0" bIns="0" rtlCol="0"/>
          <a:lstStyle/>
          <a:p>
            <a:endParaRPr/>
          </a:p>
        </p:txBody>
      </p:sp>
      <p:sp>
        <p:nvSpPr>
          <p:cNvPr id="38" name="object 38"/>
          <p:cNvSpPr/>
          <p:nvPr/>
        </p:nvSpPr>
        <p:spPr>
          <a:xfrm>
            <a:off x="3624059" y="2812935"/>
            <a:ext cx="266002" cy="699470"/>
          </a:xfrm>
          <a:custGeom>
            <a:avLst/>
            <a:gdLst/>
            <a:ahLst/>
            <a:cxnLst/>
            <a:rect l="l" t="t" r="r" b="b"/>
            <a:pathLst>
              <a:path w="584834" h="1537970">
                <a:moveTo>
                  <a:pt x="389903" y="0"/>
                </a:moveTo>
                <a:lnTo>
                  <a:pt x="346328" y="228"/>
                </a:lnTo>
                <a:lnTo>
                  <a:pt x="304197" y="5859"/>
                </a:lnTo>
                <a:lnTo>
                  <a:pt x="265707" y="18276"/>
                </a:lnTo>
                <a:lnTo>
                  <a:pt x="233059" y="38858"/>
                </a:lnTo>
                <a:lnTo>
                  <a:pt x="208452" y="68987"/>
                </a:lnTo>
                <a:lnTo>
                  <a:pt x="194083" y="110044"/>
                </a:lnTo>
                <a:lnTo>
                  <a:pt x="192153" y="163411"/>
                </a:lnTo>
                <a:lnTo>
                  <a:pt x="197327" y="278842"/>
                </a:lnTo>
                <a:lnTo>
                  <a:pt x="179241" y="437517"/>
                </a:lnTo>
                <a:lnTo>
                  <a:pt x="120066" y="747614"/>
                </a:lnTo>
                <a:lnTo>
                  <a:pt x="1971" y="1317313"/>
                </a:lnTo>
                <a:lnTo>
                  <a:pt x="0" y="1362227"/>
                </a:lnTo>
                <a:lnTo>
                  <a:pt x="8459" y="1404771"/>
                </a:lnTo>
                <a:lnTo>
                  <a:pt x="26330" y="1443634"/>
                </a:lnTo>
                <a:lnTo>
                  <a:pt x="52596" y="1477503"/>
                </a:lnTo>
                <a:lnTo>
                  <a:pt x="86238" y="1505065"/>
                </a:lnTo>
                <a:lnTo>
                  <a:pt x="126238" y="1525008"/>
                </a:lnTo>
                <a:lnTo>
                  <a:pt x="171578" y="1536019"/>
                </a:lnTo>
                <a:lnTo>
                  <a:pt x="222670" y="1537364"/>
                </a:lnTo>
                <a:lnTo>
                  <a:pt x="267453" y="1528283"/>
                </a:lnTo>
                <a:lnTo>
                  <a:pt x="308600" y="1510301"/>
                </a:lnTo>
                <a:lnTo>
                  <a:pt x="344712" y="1484423"/>
                </a:lnTo>
                <a:lnTo>
                  <a:pt x="374391" y="1451651"/>
                </a:lnTo>
                <a:lnTo>
                  <a:pt x="396236" y="1412988"/>
                </a:lnTo>
                <a:lnTo>
                  <a:pt x="408848" y="1369437"/>
                </a:lnTo>
                <a:lnTo>
                  <a:pt x="578414" y="359531"/>
                </a:lnTo>
                <a:lnTo>
                  <a:pt x="583486" y="317148"/>
                </a:lnTo>
                <a:lnTo>
                  <a:pt x="584262" y="270452"/>
                </a:lnTo>
                <a:lnTo>
                  <a:pt x="580352" y="221604"/>
                </a:lnTo>
                <a:lnTo>
                  <a:pt x="571369" y="172764"/>
                </a:lnTo>
                <a:lnTo>
                  <a:pt x="556926" y="126094"/>
                </a:lnTo>
                <a:lnTo>
                  <a:pt x="536634" y="83753"/>
                </a:lnTo>
                <a:lnTo>
                  <a:pt x="510107" y="47903"/>
                </a:lnTo>
                <a:lnTo>
                  <a:pt x="476957" y="20704"/>
                </a:lnTo>
                <a:lnTo>
                  <a:pt x="436795" y="4317"/>
                </a:lnTo>
                <a:lnTo>
                  <a:pt x="432722" y="3793"/>
                </a:lnTo>
                <a:lnTo>
                  <a:pt x="389903" y="0"/>
                </a:lnTo>
                <a:close/>
              </a:path>
            </a:pathLst>
          </a:custGeom>
          <a:solidFill>
            <a:srgbClr val="DEB89C"/>
          </a:solidFill>
        </p:spPr>
        <p:txBody>
          <a:bodyPr wrap="square" lIns="0" tIns="0" rIns="0" bIns="0" rtlCol="0"/>
          <a:lstStyle/>
          <a:p>
            <a:endParaRPr/>
          </a:p>
        </p:txBody>
      </p:sp>
      <p:sp>
        <p:nvSpPr>
          <p:cNvPr id="39" name="object 39"/>
          <p:cNvSpPr/>
          <p:nvPr/>
        </p:nvSpPr>
        <p:spPr>
          <a:xfrm>
            <a:off x="3706072" y="2815817"/>
            <a:ext cx="83469" cy="150753"/>
          </a:xfrm>
          <a:custGeom>
            <a:avLst/>
            <a:gdLst/>
            <a:ahLst/>
            <a:cxnLst/>
            <a:rect l="l" t="t" r="r" b="b"/>
            <a:pathLst>
              <a:path w="183515" h="331470">
                <a:moveTo>
                  <a:pt x="109379" y="0"/>
                </a:moveTo>
                <a:lnTo>
                  <a:pt x="55727" y="19955"/>
                </a:lnTo>
                <a:lnTo>
                  <a:pt x="22142" y="61861"/>
                </a:lnTo>
                <a:lnTo>
                  <a:pt x="7170" y="160935"/>
                </a:lnTo>
                <a:lnTo>
                  <a:pt x="1870" y="229438"/>
                </a:lnTo>
                <a:lnTo>
                  <a:pt x="0" y="285369"/>
                </a:lnTo>
                <a:lnTo>
                  <a:pt x="3667" y="314095"/>
                </a:lnTo>
                <a:lnTo>
                  <a:pt x="16298" y="323819"/>
                </a:lnTo>
                <a:lnTo>
                  <a:pt x="38541" y="330509"/>
                </a:lnTo>
                <a:lnTo>
                  <a:pt x="68333" y="331214"/>
                </a:lnTo>
                <a:lnTo>
                  <a:pt x="103611" y="322985"/>
                </a:lnTo>
                <a:lnTo>
                  <a:pt x="153878" y="297813"/>
                </a:lnTo>
                <a:lnTo>
                  <a:pt x="175913" y="256684"/>
                </a:lnTo>
                <a:lnTo>
                  <a:pt x="182059" y="210250"/>
                </a:lnTo>
                <a:lnTo>
                  <a:pt x="183477" y="145533"/>
                </a:lnTo>
                <a:lnTo>
                  <a:pt x="181916" y="85491"/>
                </a:lnTo>
                <a:lnTo>
                  <a:pt x="175374" y="39746"/>
                </a:lnTo>
                <a:lnTo>
                  <a:pt x="150014" y="8201"/>
                </a:lnTo>
                <a:lnTo>
                  <a:pt x="109379" y="0"/>
                </a:lnTo>
                <a:close/>
              </a:path>
            </a:pathLst>
          </a:custGeom>
          <a:solidFill>
            <a:srgbClr val="D6CFC5"/>
          </a:solidFill>
        </p:spPr>
        <p:txBody>
          <a:bodyPr wrap="square" lIns="0" tIns="0" rIns="0" bIns="0" rtlCol="0"/>
          <a:lstStyle/>
          <a:p>
            <a:endParaRPr/>
          </a:p>
        </p:txBody>
      </p:sp>
      <p:sp>
        <p:nvSpPr>
          <p:cNvPr id="40" name="object 40"/>
          <p:cNvSpPr/>
          <p:nvPr/>
        </p:nvSpPr>
        <p:spPr>
          <a:xfrm>
            <a:off x="4410824" y="2961328"/>
            <a:ext cx="279577" cy="217465"/>
          </a:xfrm>
          <a:custGeom>
            <a:avLst/>
            <a:gdLst/>
            <a:ahLst/>
            <a:cxnLst/>
            <a:rect l="l" t="t" r="r" b="b"/>
            <a:pathLst>
              <a:path w="614679" h="478154">
                <a:moveTo>
                  <a:pt x="409185" y="0"/>
                </a:moveTo>
                <a:lnTo>
                  <a:pt x="362501" y="12590"/>
                </a:lnTo>
                <a:lnTo>
                  <a:pt x="108205" y="118094"/>
                </a:lnTo>
                <a:lnTo>
                  <a:pt x="66593" y="142968"/>
                </a:lnTo>
                <a:lnTo>
                  <a:pt x="34084" y="177127"/>
                </a:lnTo>
                <a:lnTo>
                  <a:pt x="11585" y="218264"/>
                </a:lnTo>
                <a:lnTo>
                  <a:pt x="0" y="264067"/>
                </a:lnTo>
                <a:lnTo>
                  <a:pt x="234" y="312226"/>
                </a:lnTo>
                <a:lnTo>
                  <a:pt x="13192" y="360432"/>
                </a:lnTo>
                <a:lnTo>
                  <a:pt x="39449" y="407080"/>
                </a:lnTo>
                <a:lnTo>
                  <a:pt x="73164" y="441033"/>
                </a:lnTo>
                <a:lnTo>
                  <a:pt x="113512" y="464800"/>
                </a:lnTo>
                <a:lnTo>
                  <a:pt x="158233" y="477414"/>
                </a:lnTo>
                <a:lnTo>
                  <a:pt x="205066" y="477909"/>
                </a:lnTo>
                <a:lnTo>
                  <a:pt x="251750" y="465319"/>
                </a:lnTo>
                <a:lnTo>
                  <a:pt x="506057" y="359804"/>
                </a:lnTo>
                <a:lnTo>
                  <a:pt x="547664" y="334935"/>
                </a:lnTo>
                <a:lnTo>
                  <a:pt x="580170" y="300778"/>
                </a:lnTo>
                <a:lnTo>
                  <a:pt x="602668" y="259644"/>
                </a:lnTo>
                <a:lnTo>
                  <a:pt x="614252" y="213841"/>
                </a:lnTo>
                <a:lnTo>
                  <a:pt x="614018" y="165682"/>
                </a:lnTo>
                <a:lnTo>
                  <a:pt x="601059" y="117476"/>
                </a:lnTo>
                <a:lnTo>
                  <a:pt x="574802" y="70828"/>
                </a:lnTo>
                <a:lnTo>
                  <a:pt x="541087" y="36876"/>
                </a:lnTo>
                <a:lnTo>
                  <a:pt x="500739" y="13109"/>
                </a:lnTo>
                <a:lnTo>
                  <a:pt x="456018" y="495"/>
                </a:lnTo>
                <a:lnTo>
                  <a:pt x="409185" y="0"/>
                </a:lnTo>
                <a:close/>
              </a:path>
            </a:pathLst>
          </a:custGeom>
          <a:solidFill>
            <a:srgbClr val="DEB89C"/>
          </a:solidFill>
        </p:spPr>
        <p:txBody>
          <a:bodyPr wrap="square" lIns="0" tIns="0" rIns="0" bIns="0" rtlCol="0"/>
          <a:lstStyle/>
          <a:p>
            <a:endParaRPr/>
          </a:p>
        </p:txBody>
      </p:sp>
      <p:sp>
        <p:nvSpPr>
          <p:cNvPr id="41" name="object 41"/>
          <p:cNvSpPr/>
          <p:nvPr/>
        </p:nvSpPr>
        <p:spPr>
          <a:xfrm>
            <a:off x="4412976" y="3033223"/>
            <a:ext cx="136611" cy="131403"/>
          </a:xfrm>
          <a:custGeom>
            <a:avLst/>
            <a:gdLst/>
            <a:ahLst/>
            <a:cxnLst/>
            <a:rect l="l" t="t" r="r" b="b"/>
            <a:pathLst>
              <a:path w="300354" h="288925">
                <a:moveTo>
                  <a:pt x="191086" y="0"/>
                </a:moveTo>
                <a:lnTo>
                  <a:pt x="139530" y="10501"/>
                </a:lnTo>
                <a:lnTo>
                  <a:pt x="73019" y="38029"/>
                </a:lnTo>
                <a:lnTo>
                  <a:pt x="27393" y="67744"/>
                </a:lnTo>
                <a:lnTo>
                  <a:pt x="4037" y="106955"/>
                </a:lnTo>
                <a:lnTo>
                  <a:pt x="0" y="152450"/>
                </a:lnTo>
                <a:lnTo>
                  <a:pt x="12330" y="201019"/>
                </a:lnTo>
                <a:lnTo>
                  <a:pt x="13283" y="203416"/>
                </a:lnTo>
                <a:lnTo>
                  <a:pt x="37653" y="247016"/>
                </a:lnTo>
                <a:lnTo>
                  <a:pt x="71662" y="276790"/>
                </a:lnTo>
                <a:lnTo>
                  <a:pt x="115226" y="288326"/>
                </a:lnTo>
                <a:lnTo>
                  <a:pt x="168262" y="277215"/>
                </a:lnTo>
                <a:lnTo>
                  <a:pt x="234763" y="249687"/>
                </a:lnTo>
                <a:lnTo>
                  <a:pt x="278915" y="220577"/>
                </a:lnTo>
                <a:lnTo>
                  <a:pt x="299029" y="182697"/>
                </a:lnTo>
                <a:lnTo>
                  <a:pt x="299827" y="138531"/>
                </a:lnTo>
                <a:lnTo>
                  <a:pt x="286028" y="90561"/>
                </a:lnTo>
                <a:lnTo>
                  <a:pt x="285076" y="88174"/>
                </a:lnTo>
                <a:lnTo>
                  <a:pt x="262174" y="43970"/>
                </a:lnTo>
                <a:lnTo>
                  <a:pt x="231406" y="12867"/>
                </a:lnTo>
                <a:lnTo>
                  <a:pt x="191086" y="0"/>
                </a:lnTo>
                <a:close/>
              </a:path>
            </a:pathLst>
          </a:custGeom>
          <a:solidFill>
            <a:srgbClr val="D6CFC5"/>
          </a:solidFill>
        </p:spPr>
        <p:txBody>
          <a:bodyPr wrap="square" lIns="0" tIns="0" rIns="0" bIns="0" rtlCol="0"/>
          <a:lstStyle/>
          <a:p>
            <a:endParaRPr/>
          </a:p>
        </p:txBody>
      </p:sp>
      <p:sp>
        <p:nvSpPr>
          <p:cNvPr id="42" name="object 42"/>
          <p:cNvSpPr/>
          <p:nvPr/>
        </p:nvSpPr>
        <p:spPr>
          <a:xfrm>
            <a:off x="4408965" y="3162552"/>
            <a:ext cx="283909" cy="218620"/>
          </a:xfrm>
          <a:custGeom>
            <a:avLst/>
            <a:gdLst/>
            <a:ahLst/>
            <a:cxnLst/>
            <a:rect l="l" t="t" r="r" b="b"/>
            <a:pathLst>
              <a:path w="624204" h="480695">
                <a:moveTo>
                  <a:pt x="415636" y="0"/>
                </a:moveTo>
                <a:lnTo>
                  <a:pt x="368216" y="12654"/>
                </a:lnTo>
                <a:lnTo>
                  <a:pt x="109910" y="118703"/>
                </a:lnTo>
                <a:lnTo>
                  <a:pt x="67642" y="143699"/>
                </a:lnTo>
                <a:lnTo>
                  <a:pt x="34621" y="178028"/>
                </a:lnTo>
                <a:lnTo>
                  <a:pt x="11767" y="219372"/>
                </a:lnTo>
                <a:lnTo>
                  <a:pt x="0" y="265406"/>
                </a:lnTo>
                <a:lnTo>
                  <a:pt x="237" y="313812"/>
                </a:lnTo>
                <a:lnTo>
                  <a:pt x="13400" y="362266"/>
                </a:lnTo>
                <a:lnTo>
                  <a:pt x="40068" y="409144"/>
                </a:lnTo>
                <a:lnTo>
                  <a:pt x="74316" y="443269"/>
                </a:lnTo>
                <a:lnTo>
                  <a:pt x="115301" y="467156"/>
                </a:lnTo>
                <a:lnTo>
                  <a:pt x="160728" y="479834"/>
                </a:lnTo>
                <a:lnTo>
                  <a:pt x="208302" y="480331"/>
                </a:lnTo>
                <a:lnTo>
                  <a:pt x="255727" y="467677"/>
                </a:lnTo>
                <a:lnTo>
                  <a:pt x="514033" y="361628"/>
                </a:lnTo>
                <a:lnTo>
                  <a:pt x="556298" y="336632"/>
                </a:lnTo>
                <a:lnTo>
                  <a:pt x="589317" y="302302"/>
                </a:lnTo>
                <a:lnTo>
                  <a:pt x="612172" y="260959"/>
                </a:lnTo>
                <a:lnTo>
                  <a:pt x="623941" y="214924"/>
                </a:lnTo>
                <a:lnTo>
                  <a:pt x="623705" y="166519"/>
                </a:lnTo>
                <a:lnTo>
                  <a:pt x="610544" y="118064"/>
                </a:lnTo>
                <a:lnTo>
                  <a:pt x="583864" y="71187"/>
                </a:lnTo>
                <a:lnTo>
                  <a:pt x="549617" y="37062"/>
                </a:lnTo>
                <a:lnTo>
                  <a:pt x="508633" y="13175"/>
                </a:lnTo>
                <a:lnTo>
                  <a:pt x="463207" y="497"/>
                </a:lnTo>
                <a:lnTo>
                  <a:pt x="415636" y="0"/>
                </a:lnTo>
                <a:close/>
              </a:path>
            </a:pathLst>
          </a:custGeom>
          <a:solidFill>
            <a:srgbClr val="DEB89C"/>
          </a:solidFill>
        </p:spPr>
        <p:txBody>
          <a:bodyPr wrap="square" lIns="0" tIns="0" rIns="0" bIns="0" rtlCol="0"/>
          <a:lstStyle/>
          <a:p>
            <a:endParaRPr/>
          </a:p>
        </p:txBody>
      </p:sp>
      <p:sp>
        <p:nvSpPr>
          <p:cNvPr id="43" name="object 43"/>
          <p:cNvSpPr/>
          <p:nvPr/>
        </p:nvSpPr>
        <p:spPr>
          <a:xfrm>
            <a:off x="4410909" y="3236613"/>
            <a:ext cx="134590" cy="127938"/>
          </a:xfrm>
          <a:custGeom>
            <a:avLst/>
            <a:gdLst/>
            <a:ahLst/>
            <a:cxnLst/>
            <a:rect l="l" t="t" r="r" b="b"/>
            <a:pathLst>
              <a:path w="295909" h="281304">
                <a:moveTo>
                  <a:pt x="188277" y="0"/>
                </a:moveTo>
                <a:lnTo>
                  <a:pt x="137473" y="10240"/>
                </a:lnTo>
                <a:lnTo>
                  <a:pt x="71946" y="37077"/>
                </a:lnTo>
                <a:lnTo>
                  <a:pt x="26990" y="66048"/>
                </a:lnTo>
                <a:lnTo>
                  <a:pt x="3978" y="104275"/>
                </a:lnTo>
                <a:lnTo>
                  <a:pt x="0" y="148629"/>
                </a:lnTo>
                <a:lnTo>
                  <a:pt x="12147" y="195983"/>
                </a:lnTo>
                <a:lnTo>
                  <a:pt x="13078" y="198318"/>
                </a:lnTo>
                <a:lnTo>
                  <a:pt x="37099" y="240821"/>
                </a:lnTo>
                <a:lnTo>
                  <a:pt x="70612" y="269846"/>
                </a:lnTo>
                <a:lnTo>
                  <a:pt x="113535" y="281093"/>
                </a:lnTo>
                <a:lnTo>
                  <a:pt x="165786" y="270263"/>
                </a:lnTo>
                <a:lnTo>
                  <a:pt x="231323" y="243426"/>
                </a:lnTo>
                <a:lnTo>
                  <a:pt x="274827" y="215044"/>
                </a:lnTo>
                <a:lnTo>
                  <a:pt x="294646" y="178113"/>
                </a:lnTo>
                <a:lnTo>
                  <a:pt x="295428" y="135054"/>
                </a:lnTo>
                <a:lnTo>
                  <a:pt x="281824" y="88290"/>
                </a:lnTo>
                <a:lnTo>
                  <a:pt x="280892" y="85965"/>
                </a:lnTo>
                <a:lnTo>
                  <a:pt x="258324" y="42867"/>
                </a:lnTo>
                <a:lnTo>
                  <a:pt x="228006" y="12543"/>
                </a:lnTo>
                <a:lnTo>
                  <a:pt x="188277" y="0"/>
                </a:lnTo>
                <a:close/>
              </a:path>
            </a:pathLst>
          </a:custGeom>
          <a:solidFill>
            <a:srgbClr val="D6CFC5"/>
          </a:solidFill>
        </p:spPr>
        <p:txBody>
          <a:bodyPr wrap="square" lIns="0" tIns="0" rIns="0" bIns="0" rtlCol="0"/>
          <a:lstStyle/>
          <a:p>
            <a:endParaRPr/>
          </a:p>
        </p:txBody>
      </p:sp>
      <p:sp>
        <p:nvSpPr>
          <p:cNvPr id="44" name="object 44"/>
          <p:cNvSpPr/>
          <p:nvPr/>
        </p:nvSpPr>
        <p:spPr>
          <a:xfrm>
            <a:off x="4420200" y="3363013"/>
            <a:ext cx="285642" cy="207357"/>
          </a:xfrm>
          <a:custGeom>
            <a:avLst/>
            <a:gdLst/>
            <a:ahLst/>
            <a:cxnLst/>
            <a:rect l="l" t="t" r="r" b="b"/>
            <a:pathLst>
              <a:path w="628015" h="455929">
                <a:moveTo>
                  <a:pt x="471940" y="0"/>
                </a:moveTo>
                <a:lnTo>
                  <a:pt x="424379" y="883"/>
                </a:lnTo>
                <a:lnTo>
                  <a:pt x="376595" y="14024"/>
                </a:lnTo>
                <a:lnTo>
                  <a:pt x="115242" y="120199"/>
                </a:lnTo>
                <a:lnTo>
                  <a:pt x="72262" y="144698"/>
                </a:lnTo>
                <a:lnTo>
                  <a:pt x="38262" y="177638"/>
                </a:lnTo>
                <a:lnTo>
                  <a:pt x="14228" y="216828"/>
                </a:lnTo>
                <a:lnTo>
                  <a:pt x="1145" y="260076"/>
                </a:lnTo>
                <a:lnTo>
                  <a:pt x="0" y="305191"/>
                </a:lnTo>
                <a:lnTo>
                  <a:pt x="11779" y="349982"/>
                </a:lnTo>
                <a:lnTo>
                  <a:pt x="37115" y="392934"/>
                </a:lnTo>
                <a:lnTo>
                  <a:pt x="70390" y="423777"/>
                </a:lnTo>
                <a:lnTo>
                  <a:pt x="110695" y="444884"/>
                </a:lnTo>
                <a:lnTo>
                  <a:pt x="155762" y="455414"/>
                </a:lnTo>
                <a:lnTo>
                  <a:pt x="203324" y="454528"/>
                </a:lnTo>
                <a:lnTo>
                  <a:pt x="251112" y="441383"/>
                </a:lnTo>
                <a:lnTo>
                  <a:pt x="512455" y="335218"/>
                </a:lnTo>
                <a:lnTo>
                  <a:pt x="555438" y="310715"/>
                </a:lnTo>
                <a:lnTo>
                  <a:pt x="589441" y="277773"/>
                </a:lnTo>
                <a:lnTo>
                  <a:pt x="613478" y="238584"/>
                </a:lnTo>
                <a:lnTo>
                  <a:pt x="626562" y="195336"/>
                </a:lnTo>
                <a:lnTo>
                  <a:pt x="627707" y="150219"/>
                </a:lnTo>
                <a:lnTo>
                  <a:pt x="615928" y="105424"/>
                </a:lnTo>
                <a:lnTo>
                  <a:pt x="590590" y="62483"/>
                </a:lnTo>
                <a:lnTo>
                  <a:pt x="557315" y="31640"/>
                </a:lnTo>
                <a:lnTo>
                  <a:pt x="517008" y="10532"/>
                </a:lnTo>
                <a:lnTo>
                  <a:pt x="471940" y="0"/>
                </a:lnTo>
                <a:close/>
              </a:path>
            </a:pathLst>
          </a:custGeom>
          <a:solidFill>
            <a:srgbClr val="DEB89C"/>
          </a:solidFill>
        </p:spPr>
        <p:txBody>
          <a:bodyPr wrap="square" lIns="0" tIns="0" rIns="0" bIns="0" rtlCol="0"/>
          <a:lstStyle/>
          <a:p>
            <a:endParaRPr/>
          </a:p>
        </p:txBody>
      </p:sp>
      <p:sp>
        <p:nvSpPr>
          <p:cNvPr id="45" name="object 45"/>
          <p:cNvSpPr/>
          <p:nvPr/>
        </p:nvSpPr>
        <p:spPr>
          <a:xfrm>
            <a:off x="4423378" y="3441644"/>
            <a:ext cx="122170" cy="114941"/>
          </a:xfrm>
          <a:custGeom>
            <a:avLst/>
            <a:gdLst/>
            <a:ahLst/>
            <a:cxnLst/>
            <a:rect l="l" t="t" r="r" b="b"/>
            <a:pathLst>
              <a:path w="268604" h="252729">
                <a:moveTo>
                  <a:pt x="171186" y="0"/>
                </a:moveTo>
                <a:lnTo>
                  <a:pt x="124995" y="9197"/>
                </a:lnTo>
                <a:lnTo>
                  <a:pt x="65415" y="33301"/>
                </a:lnTo>
                <a:lnTo>
                  <a:pt x="24543" y="59317"/>
                </a:lnTo>
                <a:lnTo>
                  <a:pt x="3619" y="93650"/>
                </a:lnTo>
                <a:lnTo>
                  <a:pt x="0" y="133488"/>
                </a:lnTo>
                <a:lnTo>
                  <a:pt x="11040" y="176019"/>
                </a:lnTo>
                <a:lnTo>
                  <a:pt x="11899" y="178113"/>
                </a:lnTo>
                <a:lnTo>
                  <a:pt x="33736" y="216288"/>
                </a:lnTo>
                <a:lnTo>
                  <a:pt x="64205" y="242356"/>
                </a:lnTo>
                <a:lnTo>
                  <a:pt x="103231" y="252457"/>
                </a:lnTo>
                <a:lnTo>
                  <a:pt x="150743" y="242729"/>
                </a:lnTo>
                <a:lnTo>
                  <a:pt x="210322" y="218636"/>
                </a:lnTo>
                <a:lnTo>
                  <a:pt x="249874" y="193143"/>
                </a:lnTo>
                <a:lnTo>
                  <a:pt x="267892" y="159974"/>
                </a:lnTo>
                <a:lnTo>
                  <a:pt x="268604" y="121301"/>
                </a:lnTo>
                <a:lnTo>
                  <a:pt x="256237" y="79300"/>
                </a:lnTo>
                <a:lnTo>
                  <a:pt x="255389" y="77205"/>
                </a:lnTo>
                <a:lnTo>
                  <a:pt x="234872" y="38501"/>
                </a:lnTo>
                <a:lnTo>
                  <a:pt x="207308" y="11266"/>
                </a:lnTo>
                <a:lnTo>
                  <a:pt x="171186" y="0"/>
                </a:lnTo>
                <a:close/>
              </a:path>
            </a:pathLst>
          </a:custGeom>
          <a:solidFill>
            <a:srgbClr val="D6CFC5"/>
          </a:solidFill>
        </p:spPr>
        <p:txBody>
          <a:bodyPr wrap="square" lIns="0" tIns="0" rIns="0" bIns="0" rtlCol="0"/>
          <a:lstStyle/>
          <a:p>
            <a:endParaRPr/>
          </a:p>
        </p:txBody>
      </p:sp>
      <p:sp>
        <p:nvSpPr>
          <p:cNvPr id="47" name="object 47"/>
          <p:cNvSpPr txBox="1"/>
          <p:nvPr/>
        </p:nvSpPr>
        <p:spPr>
          <a:xfrm>
            <a:off x="775669" y="563945"/>
            <a:ext cx="3482865" cy="144916"/>
          </a:xfrm>
          <a:prstGeom prst="rect">
            <a:avLst/>
          </a:prstGeom>
        </p:spPr>
        <p:txBody>
          <a:bodyPr vert="horz" wrap="square" lIns="0" tIns="6354" rIns="0" bIns="0" rtlCol="0">
            <a:spAutoFit/>
          </a:bodyPr>
          <a:lstStyle/>
          <a:p>
            <a:pPr marL="5776">
              <a:spcBef>
                <a:spcPts val="50"/>
              </a:spcBef>
            </a:pPr>
            <a:r>
              <a:rPr sz="900" b="1" spc="2" dirty="0">
                <a:latin typeface="Helvetica Neue"/>
                <a:cs typeface="Helvetica Neue"/>
              </a:rPr>
              <a:t>Avez-vous déjà effectué chacune des actions suivantes ?</a:t>
            </a:r>
            <a:r>
              <a:rPr sz="900" b="1" spc="-41" dirty="0">
                <a:latin typeface="Helvetica Neue"/>
                <a:cs typeface="Helvetica Neue"/>
              </a:rPr>
              <a:t> </a:t>
            </a:r>
            <a:r>
              <a:rPr sz="900" b="1" spc="2" dirty="0">
                <a:solidFill>
                  <a:srgbClr val="FF7900"/>
                </a:solidFill>
                <a:latin typeface="Helvetica Neue"/>
                <a:cs typeface="Helvetica Neue"/>
              </a:rPr>
              <a:t>Oui</a:t>
            </a:r>
            <a:endParaRPr sz="900">
              <a:latin typeface="Helvetica Neue"/>
              <a:cs typeface="Helvetica Neue"/>
            </a:endParaRPr>
          </a:p>
        </p:txBody>
      </p:sp>
      <p:sp>
        <p:nvSpPr>
          <p:cNvPr id="53" name="object 53"/>
          <p:cNvSpPr/>
          <p:nvPr/>
        </p:nvSpPr>
        <p:spPr>
          <a:xfrm>
            <a:off x="4893655" y="3400667"/>
            <a:ext cx="3929378" cy="1525433"/>
          </a:xfrm>
          <a:custGeom>
            <a:avLst/>
            <a:gdLst/>
            <a:ahLst/>
            <a:cxnLst/>
            <a:rect l="l" t="t" r="r" b="b"/>
            <a:pathLst>
              <a:path w="8639175" h="3354070">
                <a:moveTo>
                  <a:pt x="0" y="0"/>
                </a:moveTo>
                <a:lnTo>
                  <a:pt x="8638700" y="0"/>
                </a:lnTo>
                <a:lnTo>
                  <a:pt x="8638700" y="3354013"/>
                </a:lnTo>
                <a:lnTo>
                  <a:pt x="0" y="3354013"/>
                </a:lnTo>
                <a:lnTo>
                  <a:pt x="0" y="0"/>
                </a:lnTo>
                <a:close/>
              </a:path>
            </a:pathLst>
          </a:custGeom>
          <a:solidFill>
            <a:srgbClr val="FFFFFF"/>
          </a:solidFill>
        </p:spPr>
        <p:txBody>
          <a:bodyPr wrap="square" lIns="0" tIns="0" rIns="0" bIns="0" rtlCol="0"/>
          <a:lstStyle/>
          <a:p>
            <a:endParaRPr/>
          </a:p>
        </p:txBody>
      </p:sp>
      <p:sp>
        <p:nvSpPr>
          <p:cNvPr id="54" name="object 54"/>
          <p:cNvSpPr/>
          <p:nvPr/>
        </p:nvSpPr>
        <p:spPr>
          <a:xfrm>
            <a:off x="5015813" y="4001515"/>
            <a:ext cx="1726269" cy="227284"/>
          </a:xfrm>
          <a:custGeom>
            <a:avLst/>
            <a:gdLst/>
            <a:ahLst/>
            <a:cxnLst/>
            <a:rect l="l" t="t" r="r" b="b"/>
            <a:pathLst>
              <a:path w="3795394" h="499745">
                <a:moveTo>
                  <a:pt x="3795015" y="0"/>
                </a:moveTo>
                <a:lnTo>
                  <a:pt x="0" y="0"/>
                </a:lnTo>
                <a:lnTo>
                  <a:pt x="0" y="499450"/>
                </a:lnTo>
                <a:lnTo>
                  <a:pt x="3795015" y="499450"/>
                </a:lnTo>
                <a:lnTo>
                  <a:pt x="3795015" y="0"/>
                </a:lnTo>
                <a:close/>
              </a:path>
            </a:pathLst>
          </a:custGeom>
          <a:solidFill>
            <a:srgbClr val="4AB4E6"/>
          </a:solidFill>
        </p:spPr>
        <p:txBody>
          <a:bodyPr wrap="square" lIns="0" tIns="0" rIns="0" bIns="0" rtlCol="0"/>
          <a:lstStyle/>
          <a:p>
            <a:endParaRPr/>
          </a:p>
        </p:txBody>
      </p:sp>
      <p:sp>
        <p:nvSpPr>
          <p:cNvPr id="55" name="object 55"/>
          <p:cNvSpPr/>
          <p:nvPr/>
        </p:nvSpPr>
        <p:spPr>
          <a:xfrm>
            <a:off x="5015807" y="3911253"/>
            <a:ext cx="1174337" cy="227284"/>
          </a:xfrm>
          <a:custGeom>
            <a:avLst/>
            <a:gdLst/>
            <a:ahLst/>
            <a:cxnLst/>
            <a:rect l="l" t="t" r="r" b="b"/>
            <a:pathLst>
              <a:path w="2581909" h="499745">
                <a:moveTo>
                  <a:pt x="2581858" y="0"/>
                </a:moveTo>
                <a:lnTo>
                  <a:pt x="0" y="0"/>
                </a:lnTo>
                <a:lnTo>
                  <a:pt x="0" y="499450"/>
                </a:lnTo>
                <a:lnTo>
                  <a:pt x="2581858" y="499450"/>
                </a:lnTo>
                <a:lnTo>
                  <a:pt x="2581858" y="0"/>
                </a:lnTo>
                <a:close/>
              </a:path>
            </a:pathLst>
          </a:custGeom>
          <a:solidFill>
            <a:srgbClr val="FF7900"/>
          </a:solidFill>
        </p:spPr>
        <p:txBody>
          <a:bodyPr wrap="square" lIns="0" tIns="0" rIns="0" bIns="0" rtlCol="0"/>
          <a:lstStyle/>
          <a:p>
            <a:endParaRPr/>
          </a:p>
        </p:txBody>
      </p:sp>
      <p:sp>
        <p:nvSpPr>
          <p:cNvPr id="56" name="object 56"/>
          <p:cNvSpPr txBox="1"/>
          <p:nvPr/>
        </p:nvSpPr>
        <p:spPr>
          <a:xfrm>
            <a:off x="5807923" y="3932647"/>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30%</a:t>
            </a:r>
            <a:endParaRPr sz="1300">
              <a:latin typeface="Helvetica"/>
              <a:cs typeface="Helvetica"/>
            </a:endParaRPr>
          </a:p>
        </p:txBody>
      </p:sp>
      <p:sp>
        <p:nvSpPr>
          <p:cNvPr id="57" name="object 57"/>
          <p:cNvSpPr/>
          <p:nvPr/>
        </p:nvSpPr>
        <p:spPr>
          <a:xfrm>
            <a:off x="5015813" y="4566479"/>
            <a:ext cx="1611030" cy="227284"/>
          </a:xfrm>
          <a:custGeom>
            <a:avLst/>
            <a:gdLst/>
            <a:ahLst/>
            <a:cxnLst/>
            <a:rect l="l" t="t" r="r" b="b"/>
            <a:pathLst>
              <a:path w="3542030" h="499745">
                <a:moveTo>
                  <a:pt x="3541850" y="0"/>
                </a:moveTo>
                <a:lnTo>
                  <a:pt x="0" y="0"/>
                </a:lnTo>
                <a:lnTo>
                  <a:pt x="0" y="499450"/>
                </a:lnTo>
                <a:lnTo>
                  <a:pt x="3541850" y="499450"/>
                </a:lnTo>
                <a:lnTo>
                  <a:pt x="3541850" y="0"/>
                </a:lnTo>
                <a:close/>
              </a:path>
            </a:pathLst>
          </a:custGeom>
          <a:solidFill>
            <a:srgbClr val="4AB4E6"/>
          </a:solidFill>
        </p:spPr>
        <p:txBody>
          <a:bodyPr wrap="square" lIns="0" tIns="0" rIns="0" bIns="0" rtlCol="0"/>
          <a:lstStyle/>
          <a:p>
            <a:endParaRPr/>
          </a:p>
        </p:txBody>
      </p:sp>
      <p:sp>
        <p:nvSpPr>
          <p:cNvPr id="58" name="object 58"/>
          <p:cNvSpPr/>
          <p:nvPr/>
        </p:nvSpPr>
        <p:spPr>
          <a:xfrm>
            <a:off x="5015813" y="4476217"/>
            <a:ext cx="1018952" cy="227284"/>
          </a:xfrm>
          <a:custGeom>
            <a:avLst/>
            <a:gdLst/>
            <a:ahLst/>
            <a:cxnLst/>
            <a:rect l="l" t="t" r="r" b="b"/>
            <a:pathLst>
              <a:path w="2240280" h="499745">
                <a:moveTo>
                  <a:pt x="2239680" y="0"/>
                </a:moveTo>
                <a:lnTo>
                  <a:pt x="0" y="0"/>
                </a:lnTo>
                <a:lnTo>
                  <a:pt x="0" y="499450"/>
                </a:lnTo>
                <a:lnTo>
                  <a:pt x="2239680" y="499450"/>
                </a:lnTo>
                <a:lnTo>
                  <a:pt x="2239680" y="0"/>
                </a:lnTo>
                <a:close/>
              </a:path>
            </a:pathLst>
          </a:custGeom>
          <a:solidFill>
            <a:srgbClr val="FF7900"/>
          </a:solidFill>
        </p:spPr>
        <p:txBody>
          <a:bodyPr wrap="square" lIns="0" tIns="0" rIns="0" bIns="0" rtlCol="0"/>
          <a:lstStyle/>
          <a:p>
            <a:endParaRPr/>
          </a:p>
        </p:txBody>
      </p:sp>
      <p:sp>
        <p:nvSpPr>
          <p:cNvPr id="59" name="object 59"/>
          <p:cNvSpPr txBox="1"/>
          <p:nvPr/>
        </p:nvSpPr>
        <p:spPr>
          <a:xfrm>
            <a:off x="5648110" y="4492846"/>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26%</a:t>
            </a:r>
            <a:endParaRPr sz="1300">
              <a:latin typeface="Helvetica"/>
              <a:cs typeface="Helvetica"/>
            </a:endParaRPr>
          </a:p>
        </p:txBody>
      </p:sp>
      <p:sp>
        <p:nvSpPr>
          <p:cNvPr id="60" name="object 60"/>
          <p:cNvSpPr txBox="1"/>
          <p:nvPr/>
        </p:nvSpPr>
        <p:spPr>
          <a:xfrm>
            <a:off x="6358798" y="4018277"/>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44%</a:t>
            </a:r>
            <a:endParaRPr sz="1300">
              <a:latin typeface="Helvetica"/>
              <a:cs typeface="Helvetica"/>
            </a:endParaRPr>
          </a:p>
        </p:txBody>
      </p:sp>
      <p:sp>
        <p:nvSpPr>
          <p:cNvPr id="61" name="object 61"/>
          <p:cNvSpPr txBox="1"/>
          <p:nvPr/>
        </p:nvSpPr>
        <p:spPr>
          <a:xfrm>
            <a:off x="5005997" y="4302212"/>
            <a:ext cx="3690814" cy="498859"/>
          </a:xfrm>
          <a:prstGeom prst="rect">
            <a:avLst/>
          </a:prstGeom>
        </p:spPr>
        <p:txBody>
          <a:bodyPr vert="horz" wrap="square" lIns="0" tIns="6354" rIns="0" bIns="0" rtlCol="0">
            <a:spAutoFit/>
          </a:bodyPr>
          <a:lstStyle/>
          <a:p>
            <a:pPr>
              <a:spcBef>
                <a:spcPts val="50"/>
              </a:spcBef>
            </a:pPr>
            <a:r>
              <a:rPr sz="900" b="1" spc="-20" dirty="0">
                <a:latin typeface="Helvetica Neue"/>
                <a:cs typeface="Helvetica Neue"/>
              </a:rPr>
              <a:t>Réserver</a:t>
            </a:r>
            <a:r>
              <a:rPr sz="900" b="1" spc="-45" dirty="0">
                <a:latin typeface="Helvetica Neue"/>
                <a:cs typeface="Helvetica Neue"/>
              </a:rPr>
              <a:t> </a:t>
            </a:r>
            <a:r>
              <a:rPr sz="900" b="1" spc="-16" dirty="0">
                <a:latin typeface="Helvetica Neue"/>
                <a:cs typeface="Helvetica Neue"/>
              </a:rPr>
              <a:t>une</a:t>
            </a:r>
            <a:r>
              <a:rPr sz="900" b="1" spc="-45" dirty="0">
                <a:latin typeface="Helvetica Neue"/>
                <a:cs typeface="Helvetica Neue"/>
              </a:rPr>
              <a:t> </a:t>
            </a:r>
            <a:r>
              <a:rPr sz="900" b="1" spc="-18" dirty="0">
                <a:latin typeface="Helvetica Neue"/>
                <a:cs typeface="Helvetica Neue"/>
              </a:rPr>
              <a:t>place</a:t>
            </a:r>
            <a:r>
              <a:rPr sz="900" b="1" spc="-43" dirty="0">
                <a:latin typeface="Helvetica Neue"/>
                <a:cs typeface="Helvetica Neue"/>
              </a:rPr>
              <a:t> </a:t>
            </a:r>
            <a:r>
              <a:rPr sz="900" b="1" spc="-16" dirty="0">
                <a:latin typeface="Helvetica Neue"/>
                <a:cs typeface="Helvetica Neue"/>
              </a:rPr>
              <a:t>dans</a:t>
            </a:r>
            <a:r>
              <a:rPr sz="900" b="1" spc="-45" dirty="0">
                <a:latin typeface="Helvetica Neue"/>
                <a:cs typeface="Helvetica Neue"/>
              </a:rPr>
              <a:t> </a:t>
            </a:r>
            <a:r>
              <a:rPr sz="900" b="1" spc="-11" dirty="0">
                <a:latin typeface="Helvetica Neue"/>
                <a:cs typeface="Helvetica Neue"/>
              </a:rPr>
              <a:t>un</a:t>
            </a:r>
            <a:r>
              <a:rPr sz="900" b="1" spc="-43" dirty="0">
                <a:latin typeface="Helvetica Neue"/>
                <a:cs typeface="Helvetica Neue"/>
              </a:rPr>
              <a:t> </a:t>
            </a:r>
            <a:r>
              <a:rPr sz="900" b="1" spc="-20" dirty="0">
                <a:latin typeface="Helvetica Neue"/>
                <a:cs typeface="Helvetica Neue"/>
              </a:rPr>
              <a:t>trajet</a:t>
            </a:r>
            <a:r>
              <a:rPr sz="900" b="1" spc="-45" dirty="0">
                <a:latin typeface="Helvetica Neue"/>
                <a:cs typeface="Helvetica Neue"/>
              </a:rPr>
              <a:t> </a:t>
            </a:r>
            <a:r>
              <a:rPr sz="900" b="1" spc="-11" dirty="0">
                <a:latin typeface="Helvetica Neue"/>
                <a:cs typeface="Helvetica Neue"/>
              </a:rPr>
              <a:t>en</a:t>
            </a:r>
            <a:r>
              <a:rPr sz="900" b="1" spc="-43" dirty="0">
                <a:latin typeface="Helvetica Neue"/>
                <a:cs typeface="Helvetica Neue"/>
              </a:rPr>
              <a:t> </a:t>
            </a:r>
            <a:r>
              <a:rPr sz="900" b="1" spc="-20" dirty="0">
                <a:latin typeface="Helvetica Neue"/>
                <a:cs typeface="Helvetica Neue"/>
              </a:rPr>
              <a:t>covoiturage</a:t>
            </a:r>
            <a:r>
              <a:rPr sz="900" b="1" spc="-45" dirty="0">
                <a:latin typeface="Helvetica Neue"/>
                <a:cs typeface="Helvetica Neue"/>
              </a:rPr>
              <a:t> </a:t>
            </a:r>
            <a:r>
              <a:rPr sz="900" b="1" spc="-16" dirty="0">
                <a:latin typeface="Helvetica Neue"/>
                <a:cs typeface="Helvetica Neue"/>
              </a:rPr>
              <a:t>via</a:t>
            </a:r>
            <a:r>
              <a:rPr sz="900" b="1" spc="-43" dirty="0">
                <a:latin typeface="Helvetica Neue"/>
                <a:cs typeface="Helvetica Neue"/>
              </a:rPr>
              <a:t> </a:t>
            </a:r>
            <a:r>
              <a:rPr sz="900" b="1" spc="-16" dirty="0">
                <a:latin typeface="Helvetica Neue"/>
                <a:cs typeface="Helvetica Neue"/>
              </a:rPr>
              <a:t>une</a:t>
            </a:r>
            <a:r>
              <a:rPr sz="900" b="1" spc="-45" dirty="0">
                <a:latin typeface="Helvetica Neue"/>
                <a:cs typeface="Helvetica Neue"/>
              </a:rPr>
              <a:t> </a:t>
            </a:r>
            <a:r>
              <a:rPr sz="900" b="1" spc="-23" dirty="0">
                <a:latin typeface="Helvetica Neue"/>
                <a:cs typeface="Helvetica Neue"/>
              </a:rPr>
              <a:t>application</a:t>
            </a:r>
            <a:endParaRPr sz="900">
              <a:latin typeface="Helvetica Neue"/>
              <a:cs typeface="Helvetica Neue"/>
            </a:endParaRPr>
          </a:p>
          <a:p>
            <a:pPr>
              <a:spcBef>
                <a:spcPts val="7"/>
              </a:spcBef>
            </a:pPr>
            <a:endParaRPr sz="1000">
              <a:latin typeface="Times New Roman"/>
              <a:cs typeface="Times New Roman"/>
            </a:endParaRPr>
          </a:p>
          <a:p>
            <a:pPr marR="879390" algn="ctr">
              <a:spcBef>
                <a:spcPts val="2"/>
              </a:spcBef>
            </a:pPr>
            <a:r>
              <a:rPr sz="1300" b="1" spc="-2" dirty="0">
                <a:solidFill>
                  <a:srgbClr val="FFFFFF"/>
                </a:solidFill>
                <a:latin typeface="Helvetica"/>
                <a:cs typeface="Helvetica"/>
              </a:rPr>
              <a:t>41%</a:t>
            </a:r>
            <a:endParaRPr sz="1300">
              <a:latin typeface="Helvetica"/>
              <a:cs typeface="Helvetica"/>
            </a:endParaRPr>
          </a:p>
        </p:txBody>
      </p:sp>
      <p:sp>
        <p:nvSpPr>
          <p:cNvPr id="62" name="object 62"/>
          <p:cNvSpPr/>
          <p:nvPr/>
        </p:nvSpPr>
        <p:spPr>
          <a:xfrm>
            <a:off x="282164" y="2841808"/>
            <a:ext cx="3210220" cy="2084547"/>
          </a:xfrm>
          <a:custGeom>
            <a:avLst/>
            <a:gdLst/>
            <a:ahLst/>
            <a:cxnLst/>
            <a:rect l="l" t="t" r="r" b="b"/>
            <a:pathLst>
              <a:path w="7058025" h="4583430">
                <a:moveTo>
                  <a:pt x="0" y="0"/>
                </a:moveTo>
                <a:lnTo>
                  <a:pt x="7057586" y="0"/>
                </a:lnTo>
                <a:lnTo>
                  <a:pt x="7057586" y="4582823"/>
                </a:lnTo>
                <a:lnTo>
                  <a:pt x="0" y="4582823"/>
                </a:lnTo>
                <a:lnTo>
                  <a:pt x="0" y="0"/>
                </a:lnTo>
                <a:close/>
              </a:path>
            </a:pathLst>
          </a:custGeom>
          <a:solidFill>
            <a:srgbClr val="FFFFFF"/>
          </a:solidFill>
        </p:spPr>
        <p:txBody>
          <a:bodyPr wrap="square" lIns="0" tIns="0" rIns="0" bIns="0" rtlCol="0"/>
          <a:lstStyle/>
          <a:p>
            <a:endParaRPr/>
          </a:p>
        </p:txBody>
      </p:sp>
      <p:sp>
        <p:nvSpPr>
          <p:cNvPr id="63" name="object 63"/>
          <p:cNvSpPr/>
          <p:nvPr/>
        </p:nvSpPr>
        <p:spPr>
          <a:xfrm>
            <a:off x="384810" y="3676502"/>
            <a:ext cx="2038194" cy="227284"/>
          </a:xfrm>
          <a:custGeom>
            <a:avLst/>
            <a:gdLst/>
            <a:ahLst/>
            <a:cxnLst/>
            <a:rect l="l" t="t" r="r" b="b"/>
            <a:pathLst>
              <a:path w="4481195" h="499745">
                <a:moveTo>
                  <a:pt x="4480732" y="0"/>
                </a:moveTo>
                <a:lnTo>
                  <a:pt x="0" y="0"/>
                </a:lnTo>
                <a:lnTo>
                  <a:pt x="0" y="499450"/>
                </a:lnTo>
                <a:lnTo>
                  <a:pt x="4480732" y="499450"/>
                </a:lnTo>
                <a:lnTo>
                  <a:pt x="4480732" y="0"/>
                </a:lnTo>
                <a:close/>
              </a:path>
            </a:pathLst>
          </a:custGeom>
          <a:solidFill>
            <a:srgbClr val="4AB4E6"/>
          </a:solidFill>
        </p:spPr>
        <p:txBody>
          <a:bodyPr wrap="square" lIns="0" tIns="0" rIns="0" bIns="0" rtlCol="0"/>
          <a:lstStyle/>
          <a:p>
            <a:endParaRPr/>
          </a:p>
        </p:txBody>
      </p:sp>
      <p:sp>
        <p:nvSpPr>
          <p:cNvPr id="64" name="object 64"/>
          <p:cNvSpPr/>
          <p:nvPr/>
        </p:nvSpPr>
        <p:spPr>
          <a:xfrm>
            <a:off x="384810" y="3586240"/>
            <a:ext cx="1641934" cy="227284"/>
          </a:xfrm>
          <a:custGeom>
            <a:avLst/>
            <a:gdLst/>
            <a:ahLst/>
            <a:cxnLst/>
            <a:rect l="l" t="t" r="r" b="b"/>
            <a:pathLst>
              <a:path w="3609975" h="499745">
                <a:moveTo>
                  <a:pt x="3609743" y="0"/>
                </a:moveTo>
                <a:lnTo>
                  <a:pt x="0" y="0"/>
                </a:lnTo>
                <a:lnTo>
                  <a:pt x="0" y="499450"/>
                </a:lnTo>
                <a:lnTo>
                  <a:pt x="3609743" y="499450"/>
                </a:lnTo>
                <a:lnTo>
                  <a:pt x="3609743" y="0"/>
                </a:lnTo>
                <a:close/>
              </a:path>
            </a:pathLst>
          </a:custGeom>
          <a:solidFill>
            <a:srgbClr val="FF7900"/>
          </a:solidFill>
        </p:spPr>
        <p:txBody>
          <a:bodyPr wrap="square" lIns="0" tIns="0" rIns="0" bIns="0" rtlCol="0"/>
          <a:lstStyle/>
          <a:p>
            <a:endParaRPr/>
          </a:p>
        </p:txBody>
      </p:sp>
      <p:sp>
        <p:nvSpPr>
          <p:cNvPr id="65" name="object 65"/>
          <p:cNvSpPr/>
          <p:nvPr/>
        </p:nvSpPr>
        <p:spPr>
          <a:xfrm>
            <a:off x="384810" y="4470983"/>
            <a:ext cx="1836309" cy="227284"/>
          </a:xfrm>
          <a:custGeom>
            <a:avLst/>
            <a:gdLst/>
            <a:ahLst/>
            <a:cxnLst/>
            <a:rect l="l" t="t" r="r" b="b"/>
            <a:pathLst>
              <a:path w="4037329" h="499745">
                <a:moveTo>
                  <a:pt x="4037217" y="0"/>
                </a:moveTo>
                <a:lnTo>
                  <a:pt x="0" y="0"/>
                </a:lnTo>
                <a:lnTo>
                  <a:pt x="0" y="499450"/>
                </a:lnTo>
                <a:lnTo>
                  <a:pt x="4037217" y="499450"/>
                </a:lnTo>
                <a:lnTo>
                  <a:pt x="4037217" y="0"/>
                </a:lnTo>
                <a:close/>
              </a:path>
            </a:pathLst>
          </a:custGeom>
          <a:solidFill>
            <a:srgbClr val="4AB4E6"/>
          </a:solidFill>
        </p:spPr>
        <p:txBody>
          <a:bodyPr wrap="square" lIns="0" tIns="0" rIns="0" bIns="0" rtlCol="0"/>
          <a:lstStyle/>
          <a:p>
            <a:endParaRPr/>
          </a:p>
        </p:txBody>
      </p:sp>
      <p:sp>
        <p:nvSpPr>
          <p:cNvPr id="66" name="object 66"/>
          <p:cNvSpPr/>
          <p:nvPr/>
        </p:nvSpPr>
        <p:spPr>
          <a:xfrm>
            <a:off x="384805" y="4380726"/>
            <a:ext cx="1284666" cy="227284"/>
          </a:xfrm>
          <a:custGeom>
            <a:avLst/>
            <a:gdLst/>
            <a:ahLst/>
            <a:cxnLst/>
            <a:rect l="l" t="t" r="r" b="b"/>
            <a:pathLst>
              <a:path w="2824479" h="499745">
                <a:moveTo>
                  <a:pt x="2824060" y="0"/>
                </a:moveTo>
                <a:lnTo>
                  <a:pt x="0" y="0"/>
                </a:lnTo>
                <a:lnTo>
                  <a:pt x="0" y="499450"/>
                </a:lnTo>
                <a:lnTo>
                  <a:pt x="2824060" y="499450"/>
                </a:lnTo>
                <a:lnTo>
                  <a:pt x="2824060" y="0"/>
                </a:lnTo>
                <a:close/>
              </a:path>
            </a:pathLst>
          </a:custGeom>
          <a:solidFill>
            <a:srgbClr val="FF7900"/>
          </a:solidFill>
        </p:spPr>
        <p:txBody>
          <a:bodyPr wrap="square" lIns="0" tIns="0" rIns="0" bIns="0" rtlCol="0"/>
          <a:lstStyle/>
          <a:p>
            <a:endParaRPr/>
          </a:p>
        </p:txBody>
      </p:sp>
      <p:sp>
        <p:nvSpPr>
          <p:cNvPr id="67" name="object 67"/>
          <p:cNvSpPr txBox="1"/>
          <p:nvPr/>
        </p:nvSpPr>
        <p:spPr>
          <a:xfrm>
            <a:off x="1281486" y="4392577"/>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33%</a:t>
            </a:r>
            <a:endParaRPr sz="1300">
              <a:latin typeface="Helvetica"/>
              <a:cs typeface="Helvetica"/>
            </a:endParaRPr>
          </a:p>
        </p:txBody>
      </p:sp>
      <p:sp>
        <p:nvSpPr>
          <p:cNvPr id="68" name="object 68"/>
          <p:cNvSpPr txBox="1"/>
          <p:nvPr/>
        </p:nvSpPr>
        <p:spPr>
          <a:xfrm>
            <a:off x="1851623" y="4477258"/>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47%</a:t>
            </a:r>
            <a:endParaRPr sz="1300">
              <a:latin typeface="Helvetica"/>
              <a:cs typeface="Helvetica"/>
            </a:endParaRPr>
          </a:p>
        </p:txBody>
      </p:sp>
      <p:sp>
        <p:nvSpPr>
          <p:cNvPr id="69" name="object 69"/>
          <p:cNvSpPr txBox="1"/>
          <p:nvPr/>
        </p:nvSpPr>
        <p:spPr>
          <a:xfrm>
            <a:off x="371289" y="2910902"/>
            <a:ext cx="2970211" cy="1400095"/>
          </a:xfrm>
          <a:prstGeom prst="rect">
            <a:avLst/>
          </a:prstGeom>
        </p:spPr>
        <p:txBody>
          <a:bodyPr vert="horz" wrap="square" lIns="0" tIns="6642" rIns="0" bIns="0" rtlCol="0">
            <a:spAutoFit/>
          </a:bodyPr>
          <a:lstStyle/>
          <a:p>
            <a:pPr>
              <a:spcBef>
                <a:spcPts val="52"/>
              </a:spcBef>
            </a:pPr>
            <a:r>
              <a:rPr sz="1300" b="1" spc="5" dirty="0">
                <a:solidFill>
                  <a:srgbClr val="FF7900"/>
                </a:solidFill>
                <a:latin typeface="Helvetica Neue"/>
                <a:cs typeface="Helvetica Neue"/>
              </a:rPr>
              <a:t>Conscience</a:t>
            </a:r>
            <a:r>
              <a:rPr sz="1300" b="1" dirty="0">
                <a:solidFill>
                  <a:srgbClr val="FF7900"/>
                </a:solidFill>
                <a:latin typeface="Helvetica Neue"/>
                <a:cs typeface="Helvetica Neue"/>
              </a:rPr>
              <a:t> </a:t>
            </a:r>
            <a:r>
              <a:rPr sz="1300" b="1" spc="2" dirty="0">
                <a:solidFill>
                  <a:srgbClr val="FF7900"/>
                </a:solidFill>
                <a:latin typeface="Helvetica Neue"/>
                <a:cs typeface="Helvetica Neue"/>
              </a:rPr>
              <a:t>verte</a:t>
            </a:r>
            <a:endParaRPr sz="1300">
              <a:latin typeface="Helvetica Neue"/>
              <a:cs typeface="Helvetica Neue"/>
            </a:endParaRPr>
          </a:p>
          <a:p>
            <a:pPr marL="16750" marR="27725">
              <a:lnSpc>
                <a:spcPct val="100499"/>
              </a:lnSpc>
              <a:spcBef>
                <a:spcPts val="800"/>
              </a:spcBef>
            </a:pPr>
            <a:r>
              <a:rPr sz="900" b="1" spc="2" dirty="0">
                <a:latin typeface="Helvetica Neue"/>
                <a:cs typeface="Helvetica Neue"/>
              </a:rPr>
              <a:t>Stopper </a:t>
            </a:r>
            <a:r>
              <a:rPr sz="900" b="1" spc="-2" dirty="0">
                <a:latin typeface="Helvetica Neue"/>
                <a:cs typeface="Helvetica Neue"/>
              </a:rPr>
              <a:t>votre </a:t>
            </a:r>
            <a:r>
              <a:rPr sz="900" b="1" spc="2" dirty="0">
                <a:latin typeface="Helvetica Neue"/>
                <a:cs typeface="Helvetica Neue"/>
              </a:rPr>
              <a:t>consommation d'un </a:t>
            </a:r>
            <a:r>
              <a:rPr sz="900" b="1" spc="-2" dirty="0">
                <a:latin typeface="Helvetica Neue"/>
                <a:cs typeface="Helvetica Neue"/>
              </a:rPr>
              <a:t>produit </a:t>
            </a:r>
            <a:r>
              <a:rPr sz="900" b="1" spc="2" dirty="0">
                <a:latin typeface="Helvetica Neue"/>
                <a:cs typeface="Helvetica Neue"/>
              </a:rPr>
              <a:t>que vous  </a:t>
            </a:r>
            <a:r>
              <a:rPr sz="900" b="1" dirty="0">
                <a:latin typeface="Helvetica Neue"/>
                <a:cs typeface="Helvetica Neue"/>
              </a:rPr>
              <a:t>considérez </a:t>
            </a:r>
            <a:r>
              <a:rPr sz="900" b="1" spc="2" dirty="0">
                <a:latin typeface="Helvetica Neue"/>
                <a:cs typeface="Helvetica Neue"/>
              </a:rPr>
              <a:t>mauvais pour </a:t>
            </a:r>
            <a:r>
              <a:rPr sz="900" b="1" dirty="0">
                <a:latin typeface="Helvetica Neue"/>
                <a:cs typeface="Helvetica Neue"/>
              </a:rPr>
              <a:t>la</a:t>
            </a:r>
            <a:r>
              <a:rPr sz="900" b="1" spc="-9" dirty="0">
                <a:latin typeface="Helvetica Neue"/>
                <a:cs typeface="Helvetica Neue"/>
              </a:rPr>
              <a:t> </a:t>
            </a:r>
            <a:r>
              <a:rPr sz="900" b="1" spc="2" dirty="0">
                <a:latin typeface="Helvetica Neue"/>
                <a:cs typeface="Helvetica Neue"/>
              </a:rPr>
              <a:t>planète</a:t>
            </a:r>
            <a:endParaRPr sz="900">
              <a:latin typeface="Helvetica Neue"/>
              <a:cs typeface="Helvetica Neue"/>
            </a:endParaRPr>
          </a:p>
          <a:p>
            <a:pPr marL="1286595">
              <a:spcBef>
                <a:spcPts val="745"/>
              </a:spcBef>
              <a:tabLst>
                <a:tab pos="1682248" algn="l"/>
              </a:tabLst>
            </a:pPr>
            <a:r>
              <a:rPr sz="1300" b="1" spc="-2" dirty="0">
                <a:solidFill>
                  <a:srgbClr val="FFFFFF"/>
                </a:solidFill>
                <a:latin typeface="Helvetica"/>
                <a:cs typeface="Helvetica"/>
              </a:rPr>
              <a:t>42%	</a:t>
            </a:r>
            <a:r>
              <a:rPr sz="1900" b="1" spc="-3" baseline="-28769" dirty="0">
                <a:solidFill>
                  <a:srgbClr val="FFFFFF"/>
                </a:solidFill>
                <a:latin typeface="Helvetica"/>
                <a:cs typeface="Helvetica"/>
              </a:rPr>
              <a:t>52%</a:t>
            </a:r>
            <a:endParaRPr sz="1900" baseline="-28769">
              <a:latin typeface="Helvetica"/>
              <a:cs typeface="Helvetica"/>
            </a:endParaRPr>
          </a:p>
          <a:p>
            <a:pPr>
              <a:spcBef>
                <a:spcPts val="16"/>
              </a:spcBef>
            </a:pPr>
            <a:endParaRPr sz="1500">
              <a:latin typeface="Times New Roman"/>
              <a:cs typeface="Times New Roman"/>
            </a:endParaRPr>
          </a:p>
          <a:p>
            <a:pPr marL="16750" marR="2310">
              <a:lnSpc>
                <a:spcPct val="100499"/>
              </a:lnSpc>
            </a:pPr>
            <a:r>
              <a:rPr sz="900" b="1" spc="-20" dirty="0">
                <a:latin typeface="Helvetica Neue"/>
                <a:cs typeface="Helvetica Neue"/>
              </a:rPr>
              <a:t>Scanner</a:t>
            </a:r>
            <a:r>
              <a:rPr sz="900" b="1" spc="-45" dirty="0">
                <a:latin typeface="Helvetica Neue"/>
                <a:cs typeface="Helvetica Neue"/>
              </a:rPr>
              <a:t> </a:t>
            </a:r>
            <a:r>
              <a:rPr sz="900" b="1" spc="-16" dirty="0">
                <a:latin typeface="Helvetica Neue"/>
                <a:cs typeface="Helvetica Neue"/>
              </a:rPr>
              <a:t>des</a:t>
            </a:r>
            <a:r>
              <a:rPr sz="900" b="1" spc="-43" dirty="0">
                <a:latin typeface="Helvetica Neue"/>
                <a:cs typeface="Helvetica Neue"/>
              </a:rPr>
              <a:t> </a:t>
            </a:r>
            <a:r>
              <a:rPr sz="900" b="1" spc="-23" dirty="0">
                <a:latin typeface="Helvetica Neue"/>
                <a:cs typeface="Helvetica Neue"/>
              </a:rPr>
              <a:t>produits</a:t>
            </a:r>
            <a:r>
              <a:rPr sz="900" b="1" spc="-43" dirty="0">
                <a:latin typeface="Helvetica Neue"/>
                <a:cs typeface="Helvetica Neue"/>
              </a:rPr>
              <a:t> </a:t>
            </a:r>
            <a:r>
              <a:rPr sz="900" b="1" spc="-11" dirty="0">
                <a:latin typeface="Helvetica Neue"/>
                <a:cs typeface="Helvetica Neue"/>
              </a:rPr>
              <a:t>en</a:t>
            </a:r>
            <a:r>
              <a:rPr sz="900" b="1" spc="-45" dirty="0">
                <a:latin typeface="Helvetica Neue"/>
                <a:cs typeface="Helvetica Neue"/>
              </a:rPr>
              <a:t> </a:t>
            </a:r>
            <a:r>
              <a:rPr sz="900" b="1" spc="-20" dirty="0">
                <a:latin typeface="Helvetica Neue"/>
                <a:cs typeface="Helvetica Neue"/>
              </a:rPr>
              <a:t>magasin</a:t>
            </a:r>
            <a:r>
              <a:rPr sz="900" b="1" spc="-43" dirty="0">
                <a:latin typeface="Helvetica Neue"/>
                <a:cs typeface="Helvetica Neue"/>
              </a:rPr>
              <a:t> </a:t>
            </a:r>
            <a:r>
              <a:rPr sz="900" b="1" spc="-16" dirty="0">
                <a:latin typeface="Helvetica Neue"/>
                <a:cs typeface="Helvetica Neue"/>
              </a:rPr>
              <a:t>avec</a:t>
            </a:r>
            <a:r>
              <a:rPr sz="900" b="1" spc="-43" dirty="0">
                <a:latin typeface="Helvetica Neue"/>
                <a:cs typeface="Helvetica Neue"/>
              </a:rPr>
              <a:t> </a:t>
            </a:r>
            <a:r>
              <a:rPr sz="900" b="1" spc="-16" dirty="0">
                <a:latin typeface="Helvetica Neue"/>
                <a:cs typeface="Helvetica Neue"/>
              </a:rPr>
              <a:t>une</a:t>
            </a:r>
            <a:r>
              <a:rPr sz="900" b="1" spc="-45" dirty="0">
                <a:latin typeface="Helvetica Neue"/>
                <a:cs typeface="Helvetica Neue"/>
              </a:rPr>
              <a:t> </a:t>
            </a:r>
            <a:r>
              <a:rPr sz="900" b="1" spc="-23" dirty="0">
                <a:latin typeface="Helvetica Neue"/>
                <a:cs typeface="Helvetica Neue"/>
              </a:rPr>
              <a:t>application  </a:t>
            </a:r>
            <a:r>
              <a:rPr sz="900" b="1" spc="-18" dirty="0">
                <a:latin typeface="Helvetica Neue"/>
                <a:cs typeface="Helvetica Neue"/>
              </a:rPr>
              <a:t>pour </a:t>
            </a:r>
            <a:r>
              <a:rPr sz="900" b="1" spc="-23" dirty="0">
                <a:latin typeface="Helvetica Neue"/>
                <a:cs typeface="Helvetica Neue"/>
              </a:rPr>
              <a:t>connaitre </a:t>
            </a:r>
            <a:r>
              <a:rPr sz="900" b="1" spc="-18" dirty="0">
                <a:latin typeface="Helvetica Neue"/>
                <a:cs typeface="Helvetica Neue"/>
              </a:rPr>
              <a:t>leur</a:t>
            </a:r>
            <a:r>
              <a:rPr sz="900" b="1" spc="-98" dirty="0">
                <a:latin typeface="Helvetica Neue"/>
                <a:cs typeface="Helvetica Neue"/>
              </a:rPr>
              <a:t> </a:t>
            </a:r>
            <a:r>
              <a:rPr sz="900" b="1" spc="-23" dirty="0">
                <a:latin typeface="Helvetica Neue"/>
                <a:cs typeface="Helvetica Neue"/>
              </a:rPr>
              <a:t>composition</a:t>
            </a:r>
            <a:endParaRPr sz="900">
              <a:latin typeface="Helvetica Neue"/>
              <a:cs typeface="Helvetica Neue"/>
            </a:endParaRPr>
          </a:p>
        </p:txBody>
      </p:sp>
      <p:sp>
        <p:nvSpPr>
          <p:cNvPr id="70" name="object 70"/>
          <p:cNvSpPr txBox="1"/>
          <p:nvPr/>
        </p:nvSpPr>
        <p:spPr>
          <a:xfrm>
            <a:off x="5432064" y="556716"/>
            <a:ext cx="311058" cy="186535"/>
          </a:xfrm>
          <a:prstGeom prst="rect">
            <a:avLst/>
          </a:prstGeom>
        </p:spPr>
        <p:txBody>
          <a:bodyPr vert="horz" wrap="square" lIns="0" tIns="6931" rIns="0" bIns="0" rtlCol="0">
            <a:spAutoFit/>
          </a:bodyPr>
          <a:lstStyle/>
          <a:p>
            <a:pPr marL="5776">
              <a:lnSpc>
                <a:spcPts val="836"/>
              </a:lnSpc>
              <a:spcBef>
                <a:spcPts val="55"/>
              </a:spcBef>
            </a:pPr>
            <a:r>
              <a:rPr sz="700" b="1" spc="5" dirty="0">
                <a:latin typeface="Helvetica Neue"/>
                <a:cs typeface="Helvetica Neue"/>
              </a:rPr>
              <a:t>France</a:t>
            </a:r>
            <a:endParaRPr sz="700">
              <a:latin typeface="Helvetica Neue"/>
              <a:cs typeface="Helvetica Neue"/>
            </a:endParaRPr>
          </a:p>
          <a:p>
            <a:pPr marL="5776">
              <a:lnSpc>
                <a:spcPts val="646"/>
              </a:lnSpc>
            </a:pPr>
            <a:r>
              <a:rPr sz="500" spc="7" dirty="0">
                <a:latin typeface="Helvetica Neue"/>
                <a:cs typeface="Helvetica Neue"/>
              </a:rPr>
              <a:t>N </a:t>
            </a:r>
            <a:r>
              <a:rPr sz="500" spc="5" dirty="0">
                <a:latin typeface="Helvetica Neue"/>
                <a:cs typeface="Helvetica Neue"/>
              </a:rPr>
              <a:t>=</a:t>
            </a:r>
            <a:r>
              <a:rPr sz="500" spc="-41" dirty="0">
                <a:latin typeface="Helvetica Neue"/>
                <a:cs typeface="Helvetica Neue"/>
              </a:rPr>
              <a:t> </a:t>
            </a:r>
            <a:r>
              <a:rPr sz="500" spc="5" dirty="0">
                <a:latin typeface="Helvetica Neue"/>
                <a:cs typeface="Helvetica Neue"/>
              </a:rPr>
              <a:t>2024</a:t>
            </a:r>
            <a:endParaRPr sz="500">
              <a:latin typeface="Helvetica Neue"/>
              <a:cs typeface="Helvetica Neue"/>
            </a:endParaRPr>
          </a:p>
        </p:txBody>
      </p:sp>
      <p:sp>
        <p:nvSpPr>
          <p:cNvPr id="71" name="object 71"/>
          <p:cNvSpPr/>
          <p:nvPr/>
        </p:nvSpPr>
        <p:spPr>
          <a:xfrm>
            <a:off x="5237412" y="584956"/>
            <a:ext cx="152207" cy="152197"/>
          </a:xfrm>
          <a:custGeom>
            <a:avLst/>
            <a:gdLst/>
            <a:ahLst/>
            <a:cxnLst/>
            <a:rect l="l" t="t" r="r" b="b"/>
            <a:pathLst>
              <a:path w="334645" h="334644">
                <a:moveTo>
                  <a:pt x="334230" y="334220"/>
                </a:moveTo>
                <a:lnTo>
                  <a:pt x="0" y="334220"/>
                </a:lnTo>
                <a:lnTo>
                  <a:pt x="0" y="0"/>
                </a:lnTo>
                <a:lnTo>
                  <a:pt x="334230" y="0"/>
                </a:lnTo>
                <a:lnTo>
                  <a:pt x="334230" y="334220"/>
                </a:lnTo>
                <a:close/>
              </a:path>
            </a:pathLst>
          </a:custGeom>
          <a:solidFill>
            <a:srgbClr val="FF7900"/>
          </a:solidFill>
        </p:spPr>
        <p:txBody>
          <a:bodyPr wrap="square" lIns="0" tIns="0" rIns="0" bIns="0" rtlCol="0"/>
          <a:lstStyle/>
          <a:p>
            <a:endParaRPr/>
          </a:p>
        </p:txBody>
      </p:sp>
      <p:sp>
        <p:nvSpPr>
          <p:cNvPr id="72" name="object 72"/>
          <p:cNvSpPr txBox="1"/>
          <p:nvPr/>
        </p:nvSpPr>
        <p:spPr>
          <a:xfrm>
            <a:off x="6757090" y="563450"/>
            <a:ext cx="2064187" cy="186535"/>
          </a:xfrm>
          <a:prstGeom prst="rect">
            <a:avLst/>
          </a:prstGeom>
        </p:spPr>
        <p:txBody>
          <a:bodyPr vert="horz" wrap="square" lIns="0" tIns="6931" rIns="0" bIns="0" rtlCol="0">
            <a:spAutoFit/>
          </a:bodyPr>
          <a:lstStyle/>
          <a:p>
            <a:pPr marL="5776">
              <a:lnSpc>
                <a:spcPts val="836"/>
              </a:lnSpc>
              <a:spcBef>
                <a:spcPts val="55"/>
              </a:spcBef>
            </a:pPr>
            <a:r>
              <a:rPr sz="700" b="1" spc="2" dirty="0">
                <a:latin typeface="Helvetica Neue"/>
                <a:cs typeface="Helvetica Neue"/>
              </a:rPr>
              <a:t>clients </a:t>
            </a:r>
            <a:r>
              <a:rPr sz="700" b="1" spc="5" dirty="0">
                <a:latin typeface="Helvetica Neue"/>
                <a:cs typeface="Helvetica Neue"/>
              </a:rPr>
              <a:t>des banques en ligne et banques</a:t>
            </a:r>
            <a:r>
              <a:rPr sz="700" b="1" spc="-11" dirty="0">
                <a:latin typeface="Helvetica Neue"/>
                <a:cs typeface="Helvetica Neue"/>
              </a:rPr>
              <a:t> </a:t>
            </a:r>
            <a:r>
              <a:rPr sz="700" b="1" spc="5" dirty="0">
                <a:latin typeface="Helvetica Neue"/>
                <a:cs typeface="Helvetica Neue"/>
              </a:rPr>
              <a:t>mobile</a:t>
            </a:r>
            <a:endParaRPr sz="700">
              <a:latin typeface="Helvetica Neue"/>
              <a:cs typeface="Helvetica Neue"/>
            </a:endParaRPr>
          </a:p>
          <a:p>
            <a:pPr marL="5776">
              <a:lnSpc>
                <a:spcPts val="646"/>
              </a:lnSpc>
            </a:pPr>
            <a:r>
              <a:rPr sz="500" spc="7" dirty="0">
                <a:latin typeface="Helvetica Neue"/>
                <a:cs typeface="Helvetica Neue"/>
              </a:rPr>
              <a:t>N </a:t>
            </a:r>
            <a:r>
              <a:rPr sz="500" spc="5" dirty="0">
                <a:latin typeface="Helvetica Neue"/>
                <a:cs typeface="Helvetica Neue"/>
              </a:rPr>
              <a:t>=</a:t>
            </a:r>
            <a:r>
              <a:rPr sz="500" spc="-5" dirty="0">
                <a:latin typeface="Helvetica Neue"/>
                <a:cs typeface="Helvetica Neue"/>
              </a:rPr>
              <a:t> </a:t>
            </a:r>
            <a:r>
              <a:rPr sz="500" spc="5" dirty="0">
                <a:latin typeface="Helvetica Neue"/>
                <a:cs typeface="Helvetica Neue"/>
              </a:rPr>
              <a:t>433</a:t>
            </a:r>
            <a:endParaRPr sz="500">
              <a:latin typeface="Helvetica Neue"/>
              <a:cs typeface="Helvetica Neue"/>
            </a:endParaRPr>
          </a:p>
        </p:txBody>
      </p:sp>
      <p:sp>
        <p:nvSpPr>
          <p:cNvPr id="73" name="object 73"/>
          <p:cNvSpPr/>
          <p:nvPr/>
        </p:nvSpPr>
        <p:spPr>
          <a:xfrm>
            <a:off x="6563678" y="591685"/>
            <a:ext cx="152207" cy="152197"/>
          </a:xfrm>
          <a:custGeom>
            <a:avLst/>
            <a:gdLst/>
            <a:ahLst/>
            <a:cxnLst/>
            <a:rect l="l" t="t" r="r" b="b"/>
            <a:pathLst>
              <a:path w="334644" h="334644">
                <a:moveTo>
                  <a:pt x="334230" y="334220"/>
                </a:moveTo>
                <a:lnTo>
                  <a:pt x="0" y="334220"/>
                </a:lnTo>
                <a:lnTo>
                  <a:pt x="0" y="0"/>
                </a:lnTo>
                <a:lnTo>
                  <a:pt x="334230" y="0"/>
                </a:lnTo>
                <a:lnTo>
                  <a:pt x="334230" y="334220"/>
                </a:lnTo>
                <a:close/>
              </a:path>
            </a:pathLst>
          </a:custGeom>
          <a:solidFill>
            <a:srgbClr val="4AB4E6"/>
          </a:solidFill>
        </p:spPr>
        <p:txBody>
          <a:bodyPr wrap="square" lIns="0" tIns="0" rIns="0" bIns="0" rtlCol="0"/>
          <a:lstStyle/>
          <a:p>
            <a:endParaRPr/>
          </a:p>
        </p:txBody>
      </p:sp>
      <p:sp>
        <p:nvSpPr>
          <p:cNvPr id="74" name="object 74"/>
          <p:cNvSpPr/>
          <p:nvPr/>
        </p:nvSpPr>
        <p:spPr>
          <a:xfrm>
            <a:off x="5069505" y="524970"/>
            <a:ext cx="94444" cy="268583"/>
          </a:xfrm>
          <a:custGeom>
            <a:avLst/>
            <a:gdLst/>
            <a:ahLst/>
            <a:cxnLst/>
            <a:rect l="l" t="t" r="r" b="b"/>
            <a:pathLst>
              <a:path w="207645" h="590550">
                <a:moveTo>
                  <a:pt x="0" y="0"/>
                </a:moveTo>
                <a:lnTo>
                  <a:pt x="0" y="590149"/>
                </a:lnTo>
                <a:lnTo>
                  <a:pt x="43543" y="570445"/>
                </a:lnTo>
                <a:lnTo>
                  <a:pt x="83259" y="544636"/>
                </a:lnTo>
                <a:lnTo>
                  <a:pt x="118537" y="513321"/>
                </a:lnTo>
                <a:lnTo>
                  <a:pt x="148769" y="477096"/>
                </a:lnTo>
                <a:lnTo>
                  <a:pt x="173343" y="436561"/>
                </a:lnTo>
                <a:lnTo>
                  <a:pt x="191652" y="392313"/>
                </a:lnTo>
                <a:lnTo>
                  <a:pt x="203084" y="344949"/>
                </a:lnTo>
                <a:lnTo>
                  <a:pt x="207030" y="295069"/>
                </a:lnTo>
                <a:lnTo>
                  <a:pt x="203084" y="245189"/>
                </a:lnTo>
                <a:lnTo>
                  <a:pt x="191652" y="197827"/>
                </a:lnTo>
                <a:lnTo>
                  <a:pt x="173343" y="153580"/>
                </a:lnTo>
                <a:lnTo>
                  <a:pt x="148769" y="113047"/>
                </a:lnTo>
                <a:lnTo>
                  <a:pt x="118537" y="76825"/>
                </a:lnTo>
                <a:lnTo>
                  <a:pt x="83259" y="45511"/>
                </a:lnTo>
                <a:lnTo>
                  <a:pt x="43543" y="19703"/>
                </a:lnTo>
                <a:lnTo>
                  <a:pt x="0" y="0"/>
                </a:lnTo>
                <a:close/>
              </a:path>
            </a:pathLst>
          </a:custGeom>
          <a:solidFill>
            <a:srgbClr val="C10E33"/>
          </a:solidFill>
        </p:spPr>
        <p:txBody>
          <a:bodyPr wrap="square" lIns="0" tIns="0" rIns="0" bIns="0" rtlCol="0"/>
          <a:lstStyle/>
          <a:p>
            <a:endParaRPr/>
          </a:p>
        </p:txBody>
      </p:sp>
      <p:sp>
        <p:nvSpPr>
          <p:cNvPr id="75" name="object 75"/>
          <p:cNvSpPr/>
          <p:nvPr/>
        </p:nvSpPr>
        <p:spPr>
          <a:xfrm>
            <a:off x="4877812" y="524970"/>
            <a:ext cx="94444" cy="268583"/>
          </a:xfrm>
          <a:custGeom>
            <a:avLst/>
            <a:gdLst/>
            <a:ahLst/>
            <a:cxnLst/>
            <a:rect l="l" t="t" r="r" b="b"/>
            <a:pathLst>
              <a:path w="207645" h="590550">
                <a:moveTo>
                  <a:pt x="207030" y="0"/>
                </a:moveTo>
                <a:lnTo>
                  <a:pt x="163490" y="19703"/>
                </a:lnTo>
                <a:lnTo>
                  <a:pt x="123775" y="45511"/>
                </a:lnTo>
                <a:lnTo>
                  <a:pt x="88497" y="76825"/>
                </a:lnTo>
                <a:lnTo>
                  <a:pt x="58265" y="113047"/>
                </a:lnTo>
                <a:lnTo>
                  <a:pt x="33689" y="153580"/>
                </a:lnTo>
                <a:lnTo>
                  <a:pt x="15379" y="197827"/>
                </a:lnTo>
                <a:lnTo>
                  <a:pt x="3946" y="245189"/>
                </a:lnTo>
                <a:lnTo>
                  <a:pt x="0" y="295069"/>
                </a:lnTo>
                <a:lnTo>
                  <a:pt x="3946" y="344949"/>
                </a:lnTo>
                <a:lnTo>
                  <a:pt x="15379" y="392313"/>
                </a:lnTo>
                <a:lnTo>
                  <a:pt x="33689" y="436561"/>
                </a:lnTo>
                <a:lnTo>
                  <a:pt x="58265" y="477096"/>
                </a:lnTo>
                <a:lnTo>
                  <a:pt x="88497" y="513321"/>
                </a:lnTo>
                <a:lnTo>
                  <a:pt x="123775" y="544636"/>
                </a:lnTo>
                <a:lnTo>
                  <a:pt x="163490" y="570445"/>
                </a:lnTo>
                <a:lnTo>
                  <a:pt x="207030" y="590149"/>
                </a:lnTo>
                <a:lnTo>
                  <a:pt x="207030" y="0"/>
                </a:lnTo>
                <a:close/>
              </a:path>
            </a:pathLst>
          </a:custGeom>
          <a:solidFill>
            <a:srgbClr val="354080"/>
          </a:solidFill>
        </p:spPr>
        <p:txBody>
          <a:bodyPr wrap="square" lIns="0" tIns="0" rIns="0" bIns="0" rtlCol="0"/>
          <a:lstStyle/>
          <a:p>
            <a:endParaRPr/>
          </a:p>
        </p:txBody>
      </p:sp>
      <p:sp>
        <p:nvSpPr>
          <p:cNvPr id="76" name="object 76"/>
          <p:cNvSpPr/>
          <p:nvPr/>
        </p:nvSpPr>
        <p:spPr>
          <a:xfrm>
            <a:off x="6406116" y="709167"/>
            <a:ext cx="82920" cy="78714"/>
          </a:xfrm>
          <a:prstGeom prst="rect">
            <a:avLst/>
          </a:prstGeom>
          <a:blipFill>
            <a:blip r:embed="rId5" cstate="print"/>
            <a:stretch>
              <a:fillRect/>
            </a:stretch>
          </a:blipFill>
        </p:spPr>
        <p:txBody>
          <a:bodyPr wrap="square" lIns="0" tIns="0" rIns="0" bIns="0" rtlCol="0"/>
          <a:lstStyle/>
          <a:p>
            <a:endParaRPr/>
          </a:p>
        </p:txBody>
      </p:sp>
      <p:sp>
        <p:nvSpPr>
          <p:cNvPr id="77" name="object 77"/>
          <p:cNvSpPr/>
          <p:nvPr/>
        </p:nvSpPr>
        <p:spPr>
          <a:xfrm>
            <a:off x="6225672" y="709165"/>
            <a:ext cx="82920" cy="78714"/>
          </a:xfrm>
          <a:prstGeom prst="rect">
            <a:avLst/>
          </a:prstGeom>
          <a:blipFill>
            <a:blip r:embed="rId6" cstate="print"/>
            <a:stretch>
              <a:fillRect/>
            </a:stretch>
          </a:blipFill>
        </p:spPr>
        <p:txBody>
          <a:bodyPr wrap="square" lIns="0" tIns="0" rIns="0" bIns="0" rtlCol="0"/>
          <a:lstStyle/>
          <a:p>
            <a:endParaRPr/>
          </a:p>
        </p:txBody>
      </p:sp>
      <p:sp>
        <p:nvSpPr>
          <p:cNvPr id="78" name="object 78"/>
          <p:cNvSpPr/>
          <p:nvPr/>
        </p:nvSpPr>
        <p:spPr>
          <a:xfrm>
            <a:off x="6214425" y="510760"/>
            <a:ext cx="285931" cy="198405"/>
          </a:xfrm>
          <a:custGeom>
            <a:avLst/>
            <a:gdLst/>
            <a:ahLst/>
            <a:cxnLst/>
            <a:rect l="l" t="t" r="r" b="b"/>
            <a:pathLst>
              <a:path w="628650" h="436244">
                <a:moveTo>
                  <a:pt x="314241" y="0"/>
                </a:moveTo>
                <a:lnTo>
                  <a:pt x="259057" y="5019"/>
                </a:lnTo>
                <a:lnTo>
                  <a:pt x="207030" y="19172"/>
                </a:lnTo>
                <a:lnTo>
                  <a:pt x="163487" y="38876"/>
                </a:lnTo>
                <a:lnTo>
                  <a:pt x="123771" y="64684"/>
                </a:lnTo>
                <a:lnTo>
                  <a:pt x="88492" y="96000"/>
                </a:lnTo>
                <a:lnTo>
                  <a:pt x="58261" y="132223"/>
                </a:lnTo>
                <a:lnTo>
                  <a:pt x="33686" y="172757"/>
                </a:lnTo>
                <a:lnTo>
                  <a:pt x="15378" y="217004"/>
                </a:lnTo>
                <a:lnTo>
                  <a:pt x="3946" y="264364"/>
                </a:lnTo>
                <a:lnTo>
                  <a:pt x="0" y="314241"/>
                </a:lnTo>
                <a:lnTo>
                  <a:pt x="1630" y="346307"/>
                </a:lnTo>
                <a:lnTo>
                  <a:pt x="6408" y="377428"/>
                </a:lnTo>
                <a:lnTo>
                  <a:pt x="14162" y="407457"/>
                </a:lnTo>
                <a:lnTo>
                  <a:pt x="24721" y="436248"/>
                </a:lnTo>
                <a:lnTo>
                  <a:pt x="603761" y="436248"/>
                </a:lnTo>
                <a:lnTo>
                  <a:pt x="614321" y="407457"/>
                </a:lnTo>
                <a:lnTo>
                  <a:pt x="622075" y="377428"/>
                </a:lnTo>
                <a:lnTo>
                  <a:pt x="626852" y="346307"/>
                </a:lnTo>
                <a:lnTo>
                  <a:pt x="628483" y="314241"/>
                </a:lnTo>
                <a:lnTo>
                  <a:pt x="624537" y="264364"/>
                </a:lnTo>
                <a:lnTo>
                  <a:pt x="613105" y="217004"/>
                </a:lnTo>
                <a:lnTo>
                  <a:pt x="594796" y="172757"/>
                </a:lnTo>
                <a:lnTo>
                  <a:pt x="570222" y="132223"/>
                </a:lnTo>
                <a:lnTo>
                  <a:pt x="539990" y="96000"/>
                </a:lnTo>
                <a:lnTo>
                  <a:pt x="504712" y="64684"/>
                </a:lnTo>
                <a:lnTo>
                  <a:pt x="464996" y="38876"/>
                </a:lnTo>
                <a:lnTo>
                  <a:pt x="421453" y="19172"/>
                </a:lnTo>
                <a:lnTo>
                  <a:pt x="369425" y="5019"/>
                </a:lnTo>
                <a:lnTo>
                  <a:pt x="314241" y="0"/>
                </a:lnTo>
                <a:close/>
              </a:path>
            </a:pathLst>
          </a:custGeom>
          <a:solidFill>
            <a:srgbClr val="4A9CD0"/>
          </a:solidFill>
        </p:spPr>
        <p:txBody>
          <a:bodyPr wrap="square" lIns="0" tIns="0" rIns="0" bIns="0" rtlCol="0"/>
          <a:lstStyle/>
          <a:p>
            <a:endParaRPr/>
          </a:p>
        </p:txBody>
      </p:sp>
      <p:sp>
        <p:nvSpPr>
          <p:cNvPr id="79" name="object 79"/>
          <p:cNvSpPr/>
          <p:nvPr/>
        </p:nvSpPr>
        <p:spPr>
          <a:xfrm>
            <a:off x="6320748" y="542417"/>
            <a:ext cx="83469" cy="141800"/>
          </a:xfrm>
          <a:custGeom>
            <a:avLst/>
            <a:gdLst/>
            <a:ahLst/>
            <a:cxnLst/>
            <a:rect l="l" t="t" r="r" b="b"/>
            <a:pathLst>
              <a:path w="183515" h="311784">
                <a:moveTo>
                  <a:pt x="164748" y="0"/>
                </a:moveTo>
                <a:lnTo>
                  <a:pt x="18282" y="0"/>
                </a:lnTo>
                <a:lnTo>
                  <a:pt x="11167" y="1438"/>
                </a:lnTo>
                <a:lnTo>
                  <a:pt x="5355" y="5362"/>
                </a:lnTo>
                <a:lnTo>
                  <a:pt x="1437" y="11180"/>
                </a:lnTo>
                <a:lnTo>
                  <a:pt x="0" y="18303"/>
                </a:lnTo>
                <a:lnTo>
                  <a:pt x="0" y="292860"/>
                </a:lnTo>
                <a:lnTo>
                  <a:pt x="1437" y="299982"/>
                </a:lnTo>
                <a:lnTo>
                  <a:pt x="5355" y="305800"/>
                </a:lnTo>
                <a:lnTo>
                  <a:pt x="11167" y="309724"/>
                </a:lnTo>
                <a:lnTo>
                  <a:pt x="18282" y="311163"/>
                </a:lnTo>
                <a:lnTo>
                  <a:pt x="164748" y="311163"/>
                </a:lnTo>
                <a:lnTo>
                  <a:pt x="171863" y="309724"/>
                </a:lnTo>
                <a:lnTo>
                  <a:pt x="177675" y="305800"/>
                </a:lnTo>
                <a:lnTo>
                  <a:pt x="180227" y="302011"/>
                </a:lnTo>
                <a:lnTo>
                  <a:pt x="86458" y="302011"/>
                </a:lnTo>
                <a:lnTo>
                  <a:pt x="82363" y="297907"/>
                </a:lnTo>
                <a:lnTo>
                  <a:pt x="82363" y="287802"/>
                </a:lnTo>
                <a:lnTo>
                  <a:pt x="86458" y="283708"/>
                </a:lnTo>
                <a:lnTo>
                  <a:pt x="183031" y="283708"/>
                </a:lnTo>
                <a:lnTo>
                  <a:pt x="183031" y="274557"/>
                </a:lnTo>
                <a:lnTo>
                  <a:pt x="18303" y="274557"/>
                </a:lnTo>
                <a:lnTo>
                  <a:pt x="18303" y="27454"/>
                </a:lnTo>
                <a:lnTo>
                  <a:pt x="183031" y="27454"/>
                </a:lnTo>
                <a:lnTo>
                  <a:pt x="183031" y="18303"/>
                </a:lnTo>
                <a:lnTo>
                  <a:pt x="75264" y="18303"/>
                </a:lnTo>
                <a:lnTo>
                  <a:pt x="73212" y="16250"/>
                </a:lnTo>
                <a:lnTo>
                  <a:pt x="73246" y="11180"/>
                </a:lnTo>
                <a:lnTo>
                  <a:pt x="75264" y="9151"/>
                </a:lnTo>
                <a:lnTo>
                  <a:pt x="180227" y="9151"/>
                </a:lnTo>
                <a:lnTo>
                  <a:pt x="177675" y="5362"/>
                </a:lnTo>
                <a:lnTo>
                  <a:pt x="171863" y="1438"/>
                </a:lnTo>
                <a:lnTo>
                  <a:pt x="164748" y="0"/>
                </a:lnTo>
                <a:close/>
              </a:path>
              <a:path w="183515" h="311784">
                <a:moveTo>
                  <a:pt x="183031" y="283708"/>
                </a:moveTo>
                <a:lnTo>
                  <a:pt x="96572" y="283708"/>
                </a:lnTo>
                <a:lnTo>
                  <a:pt x="100667" y="287802"/>
                </a:lnTo>
                <a:lnTo>
                  <a:pt x="100667" y="297907"/>
                </a:lnTo>
                <a:lnTo>
                  <a:pt x="96572" y="302011"/>
                </a:lnTo>
                <a:lnTo>
                  <a:pt x="180227" y="302011"/>
                </a:lnTo>
                <a:lnTo>
                  <a:pt x="181593" y="299982"/>
                </a:lnTo>
                <a:lnTo>
                  <a:pt x="183031" y="292860"/>
                </a:lnTo>
                <a:lnTo>
                  <a:pt x="183031" y="283708"/>
                </a:lnTo>
                <a:close/>
              </a:path>
              <a:path w="183515" h="311784">
                <a:moveTo>
                  <a:pt x="183031" y="27454"/>
                </a:moveTo>
                <a:lnTo>
                  <a:pt x="164727" y="27454"/>
                </a:lnTo>
                <a:lnTo>
                  <a:pt x="164727" y="274557"/>
                </a:lnTo>
                <a:lnTo>
                  <a:pt x="183031" y="274557"/>
                </a:lnTo>
                <a:lnTo>
                  <a:pt x="183031" y="27454"/>
                </a:lnTo>
                <a:close/>
              </a:path>
              <a:path w="183515" h="311784">
                <a:moveTo>
                  <a:pt x="91515" y="100667"/>
                </a:moveTo>
                <a:lnTo>
                  <a:pt x="70143" y="104982"/>
                </a:lnTo>
                <a:lnTo>
                  <a:pt x="52689" y="116750"/>
                </a:lnTo>
                <a:lnTo>
                  <a:pt x="40921" y="134204"/>
                </a:lnTo>
                <a:lnTo>
                  <a:pt x="36606" y="155576"/>
                </a:lnTo>
                <a:lnTo>
                  <a:pt x="40921" y="176954"/>
                </a:lnTo>
                <a:lnTo>
                  <a:pt x="52689" y="194411"/>
                </a:lnTo>
                <a:lnTo>
                  <a:pt x="70143" y="206180"/>
                </a:lnTo>
                <a:lnTo>
                  <a:pt x="91515" y="210496"/>
                </a:lnTo>
                <a:lnTo>
                  <a:pt x="112887" y="206180"/>
                </a:lnTo>
                <a:lnTo>
                  <a:pt x="120059" y="201344"/>
                </a:lnTo>
                <a:lnTo>
                  <a:pt x="91515" y="201344"/>
                </a:lnTo>
                <a:lnTo>
                  <a:pt x="73706" y="197747"/>
                </a:lnTo>
                <a:lnTo>
                  <a:pt x="59161" y="187939"/>
                </a:lnTo>
                <a:lnTo>
                  <a:pt x="49354" y="173391"/>
                </a:lnTo>
                <a:lnTo>
                  <a:pt x="45757" y="155576"/>
                </a:lnTo>
                <a:lnTo>
                  <a:pt x="49354" y="137767"/>
                </a:lnTo>
                <a:lnTo>
                  <a:pt x="59161" y="123222"/>
                </a:lnTo>
                <a:lnTo>
                  <a:pt x="73706" y="113415"/>
                </a:lnTo>
                <a:lnTo>
                  <a:pt x="91515" y="109818"/>
                </a:lnTo>
                <a:lnTo>
                  <a:pt x="120060" y="109818"/>
                </a:lnTo>
                <a:lnTo>
                  <a:pt x="112887" y="104982"/>
                </a:lnTo>
                <a:lnTo>
                  <a:pt x="91515" y="100667"/>
                </a:lnTo>
                <a:close/>
              </a:path>
              <a:path w="183515" h="311784">
                <a:moveTo>
                  <a:pt x="120060" y="109818"/>
                </a:moveTo>
                <a:lnTo>
                  <a:pt x="91515" y="109818"/>
                </a:lnTo>
                <a:lnTo>
                  <a:pt x="109324" y="113415"/>
                </a:lnTo>
                <a:lnTo>
                  <a:pt x="123869" y="123222"/>
                </a:lnTo>
                <a:lnTo>
                  <a:pt x="133676" y="137767"/>
                </a:lnTo>
                <a:lnTo>
                  <a:pt x="137273" y="155576"/>
                </a:lnTo>
                <a:lnTo>
                  <a:pt x="133676" y="173391"/>
                </a:lnTo>
                <a:lnTo>
                  <a:pt x="123869" y="187939"/>
                </a:lnTo>
                <a:lnTo>
                  <a:pt x="109324" y="197747"/>
                </a:lnTo>
                <a:lnTo>
                  <a:pt x="91515" y="201344"/>
                </a:lnTo>
                <a:lnTo>
                  <a:pt x="120059" y="201344"/>
                </a:lnTo>
                <a:lnTo>
                  <a:pt x="130341" y="194411"/>
                </a:lnTo>
                <a:lnTo>
                  <a:pt x="142109" y="176954"/>
                </a:lnTo>
                <a:lnTo>
                  <a:pt x="146424" y="155576"/>
                </a:lnTo>
                <a:lnTo>
                  <a:pt x="142109" y="134204"/>
                </a:lnTo>
                <a:lnTo>
                  <a:pt x="130341" y="116750"/>
                </a:lnTo>
                <a:lnTo>
                  <a:pt x="120060" y="109818"/>
                </a:lnTo>
                <a:close/>
              </a:path>
              <a:path w="183515" h="311784">
                <a:moveTo>
                  <a:pt x="78238" y="168225"/>
                </a:moveTo>
                <a:lnTo>
                  <a:pt x="67851" y="168225"/>
                </a:lnTo>
                <a:lnTo>
                  <a:pt x="69097" y="174455"/>
                </a:lnTo>
                <a:lnTo>
                  <a:pt x="71673" y="179711"/>
                </a:lnTo>
                <a:lnTo>
                  <a:pt x="80395" y="188193"/>
                </a:lnTo>
                <a:lnTo>
                  <a:pt x="86395" y="190193"/>
                </a:lnTo>
                <a:lnTo>
                  <a:pt x="93693" y="190193"/>
                </a:lnTo>
                <a:lnTo>
                  <a:pt x="101431" y="189383"/>
                </a:lnTo>
                <a:lnTo>
                  <a:pt x="107613" y="186907"/>
                </a:lnTo>
                <a:lnTo>
                  <a:pt x="112395" y="182692"/>
                </a:lnTo>
                <a:lnTo>
                  <a:pt x="113886" y="180151"/>
                </a:lnTo>
                <a:lnTo>
                  <a:pt x="85829" y="180151"/>
                </a:lnTo>
                <a:lnTo>
                  <a:pt x="80364" y="176539"/>
                </a:lnTo>
                <a:lnTo>
                  <a:pt x="78238" y="168225"/>
                </a:lnTo>
                <a:close/>
              </a:path>
              <a:path w="183515" h="311784">
                <a:moveTo>
                  <a:pt x="111022" y="169356"/>
                </a:moveTo>
                <a:lnTo>
                  <a:pt x="108237" y="169356"/>
                </a:lnTo>
                <a:lnTo>
                  <a:pt x="106488" y="170591"/>
                </a:lnTo>
                <a:lnTo>
                  <a:pt x="105494" y="172895"/>
                </a:lnTo>
                <a:lnTo>
                  <a:pt x="103462" y="177973"/>
                </a:lnTo>
                <a:lnTo>
                  <a:pt x="100478" y="180151"/>
                </a:lnTo>
                <a:lnTo>
                  <a:pt x="113886" y="180151"/>
                </a:lnTo>
                <a:lnTo>
                  <a:pt x="115994" y="176539"/>
                </a:lnTo>
                <a:lnTo>
                  <a:pt x="116258" y="175994"/>
                </a:lnTo>
                <a:lnTo>
                  <a:pt x="116404" y="175293"/>
                </a:lnTo>
                <a:lnTo>
                  <a:pt x="116404" y="172382"/>
                </a:lnTo>
                <a:lnTo>
                  <a:pt x="114677" y="170308"/>
                </a:lnTo>
                <a:lnTo>
                  <a:pt x="111661" y="169460"/>
                </a:lnTo>
                <a:lnTo>
                  <a:pt x="111022" y="169356"/>
                </a:lnTo>
                <a:close/>
              </a:path>
              <a:path w="183515" h="311784">
                <a:moveTo>
                  <a:pt x="100782" y="158874"/>
                </a:moveTo>
                <a:lnTo>
                  <a:pt x="61286" y="158874"/>
                </a:lnTo>
                <a:lnTo>
                  <a:pt x="59571" y="160968"/>
                </a:lnTo>
                <a:lnTo>
                  <a:pt x="59537" y="166392"/>
                </a:lnTo>
                <a:lnTo>
                  <a:pt x="61317" y="168225"/>
                </a:lnTo>
                <a:lnTo>
                  <a:pt x="100656" y="168225"/>
                </a:lnTo>
                <a:lnTo>
                  <a:pt x="102243" y="166392"/>
                </a:lnTo>
                <a:lnTo>
                  <a:pt x="102279" y="160968"/>
                </a:lnTo>
                <a:lnTo>
                  <a:pt x="100782" y="158874"/>
                </a:lnTo>
                <a:close/>
              </a:path>
              <a:path w="183515" h="311784">
                <a:moveTo>
                  <a:pt x="77201" y="153681"/>
                </a:moveTo>
                <a:lnTo>
                  <a:pt x="67160" y="153681"/>
                </a:lnTo>
                <a:lnTo>
                  <a:pt x="67160" y="158874"/>
                </a:lnTo>
                <a:lnTo>
                  <a:pt x="77201" y="158874"/>
                </a:lnTo>
                <a:lnTo>
                  <a:pt x="77201" y="153681"/>
                </a:lnTo>
                <a:close/>
              </a:path>
              <a:path w="183515" h="311784">
                <a:moveTo>
                  <a:pt x="104897" y="143639"/>
                </a:moveTo>
                <a:lnTo>
                  <a:pt x="61317" y="143639"/>
                </a:lnTo>
                <a:lnTo>
                  <a:pt x="59589" y="146089"/>
                </a:lnTo>
                <a:lnTo>
                  <a:pt x="59537" y="151503"/>
                </a:lnTo>
                <a:lnTo>
                  <a:pt x="61317" y="153681"/>
                </a:lnTo>
                <a:lnTo>
                  <a:pt x="104855" y="153681"/>
                </a:lnTo>
                <a:lnTo>
                  <a:pt x="106496" y="151503"/>
                </a:lnTo>
                <a:lnTo>
                  <a:pt x="106520" y="146089"/>
                </a:lnTo>
                <a:lnTo>
                  <a:pt x="104897" y="143639"/>
                </a:lnTo>
                <a:close/>
              </a:path>
              <a:path w="183515" h="311784">
                <a:moveTo>
                  <a:pt x="93693" y="120970"/>
                </a:moveTo>
                <a:lnTo>
                  <a:pt x="86950" y="120970"/>
                </a:lnTo>
                <a:lnTo>
                  <a:pt x="81013" y="122949"/>
                </a:lnTo>
                <a:lnTo>
                  <a:pt x="72311" y="131273"/>
                </a:lnTo>
                <a:lnTo>
                  <a:pt x="69620" y="137053"/>
                </a:lnTo>
                <a:lnTo>
                  <a:pt x="68196" y="143639"/>
                </a:lnTo>
                <a:lnTo>
                  <a:pt x="78583" y="143639"/>
                </a:lnTo>
                <a:lnTo>
                  <a:pt x="80950" y="134980"/>
                </a:lnTo>
                <a:lnTo>
                  <a:pt x="86269" y="130948"/>
                </a:lnTo>
                <a:lnTo>
                  <a:pt x="113542" y="130948"/>
                </a:lnTo>
                <a:lnTo>
                  <a:pt x="112168" y="128568"/>
                </a:lnTo>
                <a:lnTo>
                  <a:pt x="107395" y="124333"/>
                </a:lnTo>
                <a:lnTo>
                  <a:pt x="101251" y="121807"/>
                </a:lnTo>
                <a:lnTo>
                  <a:pt x="93693" y="120970"/>
                </a:lnTo>
                <a:close/>
              </a:path>
              <a:path w="183515" h="311784">
                <a:moveTo>
                  <a:pt x="113542" y="130948"/>
                </a:moveTo>
                <a:lnTo>
                  <a:pt x="100112" y="130948"/>
                </a:lnTo>
                <a:lnTo>
                  <a:pt x="103221" y="133105"/>
                </a:lnTo>
                <a:lnTo>
                  <a:pt x="106447" y="140854"/>
                </a:lnTo>
                <a:lnTo>
                  <a:pt x="108153" y="142288"/>
                </a:lnTo>
                <a:lnTo>
                  <a:pt x="111075" y="142288"/>
                </a:lnTo>
                <a:lnTo>
                  <a:pt x="111902" y="142424"/>
                </a:lnTo>
                <a:lnTo>
                  <a:pt x="112541" y="142079"/>
                </a:lnTo>
                <a:lnTo>
                  <a:pt x="112708" y="141880"/>
                </a:lnTo>
                <a:lnTo>
                  <a:pt x="114907" y="140969"/>
                </a:lnTo>
                <a:lnTo>
                  <a:pt x="116164" y="139158"/>
                </a:lnTo>
                <a:lnTo>
                  <a:pt x="116101" y="135545"/>
                </a:lnTo>
                <a:lnTo>
                  <a:pt x="115609" y="134529"/>
                </a:lnTo>
                <a:lnTo>
                  <a:pt x="113542" y="130948"/>
                </a:lnTo>
                <a:close/>
              </a:path>
              <a:path w="183515" h="311784">
                <a:moveTo>
                  <a:pt x="180227" y="9151"/>
                </a:moveTo>
                <a:lnTo>
                  <a:pt x="107755" y="9151"/>
                </a:lnTo>
                <a:lnTo>
                  <a:pt x="109784" y="11180"/>
                </a:lnTo>
                <a:lnTo>
                  <a:pt x="109818" y="16250"/>
                </a:lnTo>
                <a:lnTo>
                  <a:pt x="107755" y="18303"/>
                </a:lnTo>
                <a:lnTo>
                  <a:pt x="183031" y="18303"/>
                </a:lnTo>
                <a:lnTo>
                  <a:pt x="181593" y="11180"/>
                </a:lnTo>
                <a:lnTo>
                  <a:pt x="180227" y="9151"/>
                </a:lnTo>
                <a:close/>
              </a:path>
            </a:pathLst>
          </a:custGeom>
          <a:solidFill>
            <a:srgbClr val="FFFFFF"/>
          </a:solidFill>
        </p:spPr>
        <p:txBody>
          <a:bodyPr wrap="square" lIns="0" tIns="0" rIns="0" bIns="0" rtlCol="0"/>
          <a:lstStyle/>
          <a:p>
            <a:endParaRPr/>
          </a:p>
        </p:txBody>
      </p:sp>
      <p:sp>
        <p:nvSpPr>
          <p:cNvPr id="80" name="object 80"/>
          <p:cNvSpPr/>
          <p:nvPr/>
        </p:nvSpPr>
        <p:spPr>
          <a:xfrm>
            <a:off x="265028" y="1067020"/>
            <a:ext cx="3227260" cy="1660591"/>
          </a:xfrm>
          <a:custGeom>
            <a:avLst/>
            <a:gdLst/>
            <a:ahLst/>
            <a:cxnLst/>
            <a:rect l="l" t="t" r="r" b="b"/>
            <a:pathLst>
              <a:path w="7095490" h="3651250">
                <a:moveTo>
                  <a:pt x="0" y="0"/>
                </a:moveTo>
                <a:lnTo>
                  <a:pt x="7095260" y="0"/>
                </a:lnTo>
                <a:lnTo>
                  <a:pt x="7095260" y="3650726"/>
                </a:lnTo>
                <a:lnTo>
                  <a:pt x="0" y="3650726"/>
                </a:lnTo>
                <a:lnTo>
                  <a:pt x="0" y="0"/>
                </a:lnTo>
                <a:close/>
              </a:path>
            </a:pathLst>
          </a:custGeom>
          <a:solidFill>
            <a:srgbClr val="FFFFFF"/>
          </a:solidFill>
        </p:spPr>
        <p:txBody>
          <a:bodyPr wrap="square" lIns="0" tIns="0" rIns="0" bIns="0" rtlCol="0"/>
          <a:lstStyle/>
          <a:p>
            <a:endParaRPr/>
          </a:p>
        </p:txBody>
      </p:sp>
      <p:sp>
        <p:nvSpPr>
          <p:cNvPr id="81" name="object 81"/>
          <p:cNvSpPr/>
          <p:nvPr/>
        </p:nvSpPr>
        <p:spPr>
          <a:xfrm>
            <a:off x="373065" y="1859285"/>
            <a:ext cx="2858150" cy="227284"/>
          </a:xfrm>
          <a:custGeom>
            <a:avLst/>
            <a:gdLst/>
            <a:ahLst/>
            <a:cxnLst/>
            <a:rect l="l" t="t" r="r" b="b"/>
            <a:pathLst>
              <a:path w="6283959" h="499745">
                <a:moveTo>
                  <a:pt x="6283557" y="0"/>
                </a:moveTo>
                <a:lnTo>
                  <a:pt x="0" y="0"/>
                </a:lnTo>
                <a:lnTo>
                  <a:pt x="0" y="499440"/>
                </a:lnTo>
                <a:lnTo>
                  <a:pt x="6283557" y="499440"/>
                </a:lnTo>
                <a:lnTo>
                  <a:pt x="6283557" y="0"/>
                </a:lnTo>
                <a:close/>
              </a:path>
            </a:pathLst>
          </a:custGeom>
          <a:solidFill>
            <a:srgbClr val="4AB4E6"/>
          </a:solidFill>
        </p:spPr>
        <p:txBody>
          <a:bodyPr wrap="square" lIns="0" tIns="0" rIns="0" bIns="0" rtlCol="0"/>
          <a:lstStyle/>
          <a:p>
            <a:endParaRPr/>
          </a:p>
        </p:txBody>
      </p:sp>
      <p:sp>
        <p:nvSpPr>
          <p:cNvPr id="82" name="object 82"/>
          <p:cNvSpPr txBox="1"/>
          <p:nvPr/>
        </p:nvSpPr>
        <p:spPr>
          <a:xfrm>
            <a:off x="365917" y="1081550"/>
            <a:ext cx="2661493" cy="634270"/>
          </a:xfrm>
          <a:prstGeom prst="rect">
            <a:avLst/>
          </a:prstGeom>
        </p:spPr>
        <p:txBody>
          <a:bodyPr vert="horz" wrap="square" lIns="0" tIns="6642" rIns="0" bIns="0" rtlCol="0">
            <a:spAutoFit/>
          </a:bodyPr>
          <a:lstStyle/>
          <a:p>
            <a:pPr>
              <a:spcBef>
                <a:spcPts val="52"/>
              </a:spcBef>
            </a:pPr>
            <a:r>
              <a:rPr sz="1300" b="1" dirty="0">
                <a:solidFill>
                  <a:srgbClr val="FF7900"/>
                </a:solidFill>
                <a:latin typeface="Helvetica Neue"/>
                <a:cs typeface="Helvetica Neue"/>
              </a:rPr>
              <a:t>Améliorer </a:t>
            </a:r>
            <a:r>
              <a:rPr sz="1300" b="1" spc="5" dirty="0">
                <a:solidFill>
                  <a:srgbClr val="FF7900"/>
                </a:solidFill>
                <a:latin typeface="Helvetica Neue"/>
                <a:cs typeface="Helvetica Neue"/>
              </a:rPr>
              <a:t>son </a:t>
            </a:r>
            <a:r>
              <a:rPr sz="1300" b="1" spc="2" dirty="0">
                <a:solidFill>
                  <a:srgbClr val="FF7900"/>
                </a:solidFill>
                <a:latin typeface="Helvetica Neue"/>
                <a:cs typeface="Helvetica Neue"/>
              </a:rPr>
              <a:t>pouvoir</a:t>
            </a:r>
            <a:r>
              <a:rPr sz="1300" b="1" spc="-2" dirty="0">
                <a:solidFill>
                  <a:srgbClr val="FF7900"/>
                </a:solidFill>
                <a:latin typeface="Helvetica Neue"/>
                <a:cs typeface="Helvetica Neue"/>
              </a:rPr>
              <a:t> </a:t>
            </a:r>
            <a:r>
              <a:rPr sz="1300" b="1" spc="2" dirty="0">
                <a:solidFill>
                  <a:srgbClr val="FF7900"/>
                </a:solidFill>
                <a:latin typeface="Helvetica Neue"/>
                <a:cs typeface="Helvetica Neue"/>
              </a:rPr>
              <a:t>d'achat</a:t>
            </a:r>
            <a:endParaRPr sz="1300" dirty="0">
              <a:latin typeface="Helvetica Neue"/>
              <a:cs typeface="Helvetica Neue"/>
            </a:endParaRPr>
          </a:p>
          <a:p>
            <a:pPr>
              <a:spcBef>
                <a:spcPts val="1055"/>
              </a:spcBef>
            </a:pPr>
            <a:r>
              <a:rPr sz="900" b="1" spc="2" dirty="0">
                <a:latin typeface="Helvetica Neue"/>
                <a:cs typeface="Helvetica Neue"/>
              </a:rPr>
              <a:t>Acheter ou </a:t>
            </a:r>
            <a:r>
              <a:rPr sz="900" b="1" spc="-2" dirty="0">
                <a:latin typeface="Helvetica Neue"/>
                <a:cs typeface="Helvetica Neue"/>
              </a:rPr>
              <a:t>vendre </a:t>
            </a:r>
            <a:r>
              <a:rPr sz="900" b="1" spc="2" dirty="0">
                <a:latin typeface="Helvetica Neue"/>
                <a:cs typeface="Helvetica Neue"/>
              </a:rPr>
              <a:t>des </a:t>
            </a:r>
            <a:r>
              <a:rPr sz="900" b="1" spc="2" dirty="0" err="1">
                <a:latin typeface="Helvetica Neue"/>
                <a:cs typeface="Helvetica Neue"/>
              </a:rPr>
              <a:t>biens</a:t>
            </a:r>
            <a:r>
              <a:rPr lang="fr-FR" sz="900" b="1" spc="2" dirty="0">
                <a:latin typeface="Helvetica Neue"/>
                <a:cs typeface="Helvetica Neue"/>
              </a:rPr>
              <a:t> </a:t>
            </a:r>
            <a:r>
              <a:rPr lang="fr-FR" sz="900" b="1" spc="-18" dirty="0">
                <a:latin typeface="Helvetica Neue"/>
                <a:cs typeface="Helvetica Neue"/>
              </a:rPr>
              <a:t>d’</a:t>
            </a:r>
            <a:r>
              <a:rPr sz="900" b="1" spc="2" dirty="0">
                <a:latin typeface="Helvetica Neue"/>
                <a:cs typeface="Helvetica Neue"/>
              </a:rPr>
              <a:t>occasions</a:t>
            </a:r>
            <a:r>
              <a:rPr lang="fr-FR" sz="900" b="1" spc="2" dirty="0">
                <a:latin typeface="Helvetica Neue"/>
                <a:cs typeface="Helvetica Neue"/>
              </a:rPr>
              <a:t> en ligne</a:t>
            </a:r>
            <a:endParaRPr sz="900" dirty="0">
              <a:latin typeface="Helvetica Neue"/>
              <a:cs typeface="Helvetica Neue"/>
            </a:endParaRPr>
          </a:p>
        </p:txBody>
      </p:sp>
      <p:sp>
        <p:nvSpPr>
          <p:cNvPr id="83" name="object 83"/>
          <p:cNvSpPr/>
          <p:nvPr/>
        </p:nvSpPr>
        <p:spPr>
          <a:xfrm>
            <a:off x="373070" y="1769027"/>
            <a:ext cx="2433586" cy="227284"/>
          </a:xfrm>
          <a:custGeom>
            <a:avLst/>
            <a:gdLst/>
            <a:ahLst/>
            <a:cxnLst/>
            <a:rect l="l" t="t" r="r" b="b"/>
            <a:pathLst>
              <a:path w="5350510" h="499745">
                <a:moveTo>
                  <a:pt x="5350350" y="0"/>
                </a:moveTo>
                <a:lnTo>
                  <a:pt x="0" y="0"/>
                </a:lnTo>
                <a:lnTo>
                  <a:pt x="0" y="499450"/>
                </a:lnTo>
                <a:lnTo>
                  <a:pt x="5350350" y="499450"/>
                </a:lnTo>
                <a:lnTo>
                  <a:pt x="5350350" y="0"/>
                </a:lnTo>
                <a:close/>
              </a:path>
            </a:pathLst>
          </a:custGeom>
          <a:solidFill>
            <a:srgbClr val="FF7900"/>
          </a:solidFill>
        </p:spPr>
        <p:txBody>
          <a:bodyPr wrap="square" lIns="0" tIns="0" rIns="0" bIns="0" rtlCol="0"/>
          <a:lstStyle/>
          <a:p>
            <a:endParaRPr/>
          </a:p>
        </p:txBody>
      </p:sp>
      <p:sp>
        <p:nvSpPr>
          <p:cNvPr id="84" name="object 84"/>
          <p:cNvSpPr txBox="1"/>
          <p:nvPr/>
        </p:nvSpPr>
        <p:spPr>
          <a:xfrm>
            <a:off x="2431773" y="1785641"/>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62%</a:t>
            </a:r>
            <a:endParaRPr sz="1300" dirty="0">
              <a:latin typeface="Helvetica"/>
              <a:cs typeface="Helvetica"/>
            </a:endParaRPr>
          </a:p>
        </p:txBody>
      </p:sp>
      <p:sp>
        <p:nvSpPr>
          <p:cNvPr id="85" name="object 85"/>
          <p:cNvSpPr txBox="1"/>
          <p:nvPr/>
        </p:nvSpPr>
        <p:spPr>
          <a:xfrm>
            <a:off x="2862494" y="1863198"/>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73%</a:t>
            </a:r>
            <a:endParaRPr sz="1300">
              <a:latin typeface="Helvetica"/>
              <a:cs typeface="Helvetica"/>
            </a:endParaRPr>
          </a:p>
        </p:txBody>
      </p:sp>
      <p:sp>
        <p:nvSpPr>
          <p:cNvPr id="86" name="object 86"/>
          <p:cNvSpPr/>
          <p:nvPr/>
        </p:nvSpPr>
        <p:spPr>
          <a:xfrm>
            <a:off x="373066" y="2426695"/>
            <a:ext cx="2539005" cy="227284"/>
          </a:xfrm>
          <a:custGeom>
            <a:avLst/>
            <a:gdLst/>
            <a:ahLst/>
            <a:cxnLst/>
            <a:rect l="l" t="t" r="r" b="b"/>
            <a:pathLst>
              <a:path w="5582285" h="499745">
                <a:moveTo>
                  <a:pt x="5582144" y="0"/>
                </a:moveTo>
                <a:lnTo>
                  <a:pt x="0" y="0"/>
                </a:lnTo>
                <a:lnTo>
                  <a:pt x="0" y="499450"/>
                </a:lnTo>
                <a:lnTo>
                  <a:pt x="5582144" y="499450"/>
                </a:lnTo>
                <a:lnTo>
                  <a:pt x="5582144" y="0"/>
                </a:lnTo>
                <a:close/>
              </a:path>
            </a:pathLst>
          </a:custGeom>
          <a:solidFill>
            <a:srgbClr val="4AB4E6"/>
          </a:solidFill>
        </p:spPr>
        <p:txBody>
          <a:bodyPr wrap="square" lIns="0" tIns="0" rIns="0" bIns="0" rtlCol="0"/>
          <a:lstStyle/>
          <a:p>
            <a:endParaRPr/>
          </a:p>
        </p:txBody>
      </p:sp>
      <p:sp>
        <p:nvSpPr>
          <p:cNvPr id="87" name="object 87"/>
          <p:cNvSpPr txBox="1"/>
          <p:nvPr/>
        </p:nvSpPr>
        <p:spPr>
          <a:xfrm>
            <a:off x="365917" y="2111235"/>
            <a:ext cx="2733091" cy="144916"/>
          </a:xfrm>
          <a:prstGeom prst="rect">
            <a:avLst/>
          </a:prstGeom>
        </p:spPr>
        <p:txBody>
          <a:bodyPr vert="horz" wrap="square" lIns="0" tIns="6354" rIns="0" bIns="0" rtlCol="0">
            <a:spAutoFit/>
          </a:bodyPr>
          <a:lstStyle/>
          <a:p>
            <a:pPr>
              <a:spcBef>
                <a:spcPts val="50"/>
              </a:spcBef>
            </a:pPr>
            <a:r>
              <a:rPr sz="900" b="1" dirty="0">
                <a:latin typeface="Helvetica Neue"/>
                <a:cs typeface="Helvetica Neue"/>
              </a:rPr>
              <a:t>Rechercher </a:t>
            </a:r>
            <a:r>
              <a:rPr sz="900" b="1" spc="2" dirty="0">
                <a:latin typeface="Helvetica Neue"/>
                <a:cs typeface="Helvetica Neue"/>
              </a:rPr>
              <a:t>des bons plans sur des</a:t>
            </a:r>
            <a:r>
              <a:rPr sz="900" b="1" spc="-34" dirty="0">
                <a:latin typeface="Helvetica Neue"/>
                <a:cs typeface="Helvetica Neue"/>
              </a:rPr>
              <a:t> </a:t>
            </a:r>
            <a:r>
              <a:rPr sz="900" b="1" spc="2" dirty="0">
                <a:latin typeface="Helvetica Neue"/>
                <a:cs typeface="Helvetica Neue"/>
              </a:rPr>
              <a:t>applications</a:t>
            </a:r>
            <a:endParaRPr sz="900" dirty="0">
              <a:latin typeface="Helvetica Neue"/>
              <a:cs typeface="Helvetica Neue"/>
            </a:endParaRPr>
          </a:p>
        </p:txBody>
      </p:sp>
      <p:sp>
        <p:nvSpPr>
          <p:cNvPr id="88" name="object 88"/>
          <p:cNvSpPr/>
          <p:nvPr/>
        </p:nvSpPr>
        <p:spPr>
          <a:xfrm>
            <a:off x="373070" y="2336433"/>
            <a:ext cx="2122529" cy="227284"/>
          </a:xfrm>
          <a:custGeom>
            <a:avLst/>
            <a:gdLst/>
            <a:ahLst/>
            <a:cxnLst/>
            <a:rect l="l" t="t" r="r" b="b"/>
            <a:pathLst>
              <a:path w="4666615" h="499745">
                <a:moveTo>
                  <a:pt x="4666004" y="0"/>
                </a:moveTo>
                <a:lnTo>
                  <a:pt x="0" y="0"/>
                </a:lnTo>
                <a:lnTo>
                  <a:pt x="0" y="499450"/>
                </a:lnTo>
                <a:lnTo>
                  <a:pt x="4666004" y="499450"/>
                </a:lnTo>
                <a:lnTo>
                  <a:pt x="4666004" y="0"/>
                </a:lnTo>
                <a:close/>
              </a:path>
            </a:pathLst>
          </a:custGeom>
          <a:solidFill>
            <a:srgbClr val="FF7900"/>
          </a:solidFill>
        </p:spPr>
        <p:txBody>
          <a:bodyPr wrap="square" lIns="0" tIns="0" rIns="0" bIns="0" rtlCol="0"/>
          <a:lstStyle/>
          <a:p>
            <a:endParaRPr/>
          </a:p>
        </p:txBody>
      </p:sp>
      <p:sp>
        <p:nvSpPr>
          <p:cNvPr id="89" name="object 89"/>
          <p:cNvSpPr txBox="1"/>
          <p:nvPr/>
        </p:nvSpPr>
        <p:spPr>
          <a:xfrm>
            <a:off x="2113258" y="2353068"/>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54%</a:t>
            </a:r>
            <a:endParaRPr sz="1300">
              <a:latin typeface="Helvetica"/>
              <a:cs typeface="Helvetica"/>
            </a:endParaRPr>
          </a:p>
        </p:txBody>
      </p:sp>
      <p:sp>
        <p:nvSpPr>
          <p:cNvPr id="90" name="object 90"/>
          <p:cNvSpPr txBox="1"/>
          <p:nvPr/>
        </p:nvSpPr>
        <p:spPr>
          <a:xfrm>
            <a:off x="2551103" y="2423501"/>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65%</a:t>
            </a:r>
            <a:endParaRPr sz="1300">
              <a:latin typeface="Helvetica"/>
              <a:cs typeface="Helvetica"/>
            </a:endParaRPr>
          </a:p>
        </p:txBody>
      </p:sp>
      <p:sp>
        <p:nvSpPr>
          <p:cNvPr id="91" name="object 91"/>
          <p:cNvSpPr/>
          <p:nvPr/>
        </p:nvSpPr>
        <p:spPr>
          <a:xfrm>
            <a:off x="4889787" y="1067444"/>
            <a:ext cx="3933133" cy="2226347"/>
          </a:xfrm>
          <a:custGeom>
            <a:avLst/>
            <a:gdLst/>
            <a:ahLst/>
            <a:cxnLst/>
            <a:rect l="l" t="t" r="r" b="b"/>
            <a:pathLst>
              <a:path w="8647430" h="4895215">
                <a:moveTo>
                  <a:pt x="0" y="0"/>
                </a:moveTo>
                <a:lnTo>
                  <a:pt x="8647202" y="0"/>
                </a:lnTo>
                <a:lnTo>
                  <a:pt x="8647202" y="4895097"/>
                </a:lnTo>
                <a:lnTo>
                  <a:pt x="0" y="4895097"/>
                </a:lnTo>
                <a:lnTo>
                  <a:pt x="0" y="0"/>
                </a:lnTo>
                <a:close/>
              </a:path>
            </a:pathLst>
          </a:custGeom>
          <a:solidFill>
            <a:srgbClr val="FFFFFF"/>
          </a:solidFill>
        </p:spPr>
        <p:txBody>
          <a:bodyPr wrap="square" lIns="0" tIns="0" rIns="0" bIns="0" rtlCol="0"/>
          <a:lstStyle/>
          <a:p>
            <a:endParaRPr/>
          </a:p>
        </p:txBody>
      </p:sp>
      <p:sp>
        <p:nvSpPr>
          <p:cNvPr id="92" name="object 92"/>
          <p:cNvSpPr/>
          <p:nvPr/>
        </p:nvSpPr>
        <p:spPr>
          <a:xfrm>
            <a:off x="5004687" y="1687278"/>
            <a:ext cx="2569042" cy="227284"/>
          </a:xfrm>
          <a:custGeom>
            <a:avLst/>
            <a:gdLst/>
            <a:ahLst/>
            <a:cxnLst/>
            <a:rect l="l" t="t" r="r" b="b"/>
            <a:pathLst>
              <a:path w="5648325" h="499745">
                <a:moveTo>
                  <a:pt x="5648121" y="0"/>
                </a:moveTo>
                <a:lnTo>
                  <a:pt x="0" y="0"/>
                </a:lnTo>
                <a:lnTo>
                  <a:pt x="0" y="499450"/>
                </a:lnTo>
                <a:lnTo>
                  <a:pt x="5648121" y="499450"/>
                </a:lnTo>
                <a:lnTo>
                  <a:pt x="5648121" y="0"/>
                </a:lnTo>
                <a:close/>
              </a:path>
            </a:pathLst>
          </a:custGeom>
          <a:solidFill>
            <a:srgbClr val="4AB4E6"/>
          </a:solidFill>
        </p:spPr>
        <p:txBody>
          <a:bodyPr wrap="square" lIns="0" tIns="0" rIns="0" bIns="0" rtlCol="0"/>
          <a:lstStyle/>
          <a:p>
            <a:endParaRPr/>
          </a:p>
        </p:txBody>
      </p:sp>
      <p:sp>
        <p:nvSpPr>
          <p:cNvPr id="93" name="object 93"/>
          <p:cNvSpPr/>
          <p:nvPr/>
        </p:nvSpPr>
        <p:spPr>
          <a:xfrm>
            <a:off x="5004687" y="1597021"/>
            <a:ext cx="1776813" cy="227284"/>
          </a:xfrm>
          <a:custGeom>
            <a:avLst/>
            <a:gdLst/>
            <a:ahLst/>
            <a:cxnLst/>
            <a:rect l="l" t="t" r="r" b="b"/>
            <a:pathLst>
              <a:path w="3906519" h="499745">
                <a:moveTo>
                  <a:pt x="3906142" y="0"/>
                </a:moveTo>
                <a:lnTo>
                  <a:pt x="0" y="0"/>
                </a:lnTo>
                <a:lnTo>
                  <a:pt x="0" y="499440"/>
                </a:lnTo>
                <a:lnTo>
                  <a:pt x="3906142" y="499440"/>
                </a:lnTo>
                <a:lnTo>
                  <a:pt x="3906142" y="0"/>
                </a:lnTo>
                <a:close/>
              </a:path>
            </a:pathLst>
          </a:custGeom>
          <a:solidFill>
            <a:srgbClr val="FF7900"/>
          </a:solidFill>
        </p:spPr>
        <p:txBody>
          <a:bodyPr wrap="square" lIns="0" tIns="0" rIns="0" bIns="0" rtlCol="0"/>
          <a:lstStyle/>
          <a:p>
            <a:endParaRPr/>
          </a:p>
        </p:txBody>
      </p:sp>
      <p:sp>
        <p:nvSpPr>
          <p:cNvPr id="94" name="object 94"/>
          <p:cNvSpPr txBox="1"/>
          <p:nvPr/>
        </p:nvSpPr>
        <p:spPr>
          <a:xfrm>
            <a:off x="6400663" y="1613642"/>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46%</a:t>
            </a:r>
            <a:endParaRPr sz="1300">
              <a:latin typeface="Helvetica"/>
              <a:cs typeface="Helvetica"/>
            </a:endParaRPr>
          </a:p>
        </p:txBody>
      </p:sp>
      <p:sp>
        <p:nvSpPr>
          <p:cNvPr id="95" name="object 95"/>
          <p:cNvSpPr txBox="1"/>
          <p:nvPr/>
        </p:nvSpPr>
        <p:spPr>
          <a:xfrm>
            <a:off x="7196686" y="1703180"/>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66%</a:t>
            </a:r>
            <a:endParaRPr sz="1300">
              <a:latin typeface="Helvetica"/>
              <a:cs typeface="Helvetica"/>
            </a:endParaRPr>
          </a:p>
        </p:txBody>
      </p:sp>
      <p:sp>
        <p:nvSpPr>
          <p:cNvPr id="96" name="object 96"/>
          <p:cNvSpPr/>
          <p:nvPr/>
        </p:nvSpPr>
        <p:spPr>
          <a:xfrm>
            <a:off x="5004683" y="2245118"/>
            <a:ext cx="2215528" cy="227284"/>
          </a:xfrm>
          <a:custGeom>
            <a:avLst/>
            <a:gdLst/>
            <a:ahLst/>
            <a:cxnLst/>
            <a:rect l="l" t="t" r="r" b="b"/>
            <a:pathLst>
              <a:path w="4871084" h="499745">
                <a:moveTo>
                  <a:pt x="4870459" y="0"/>
                </a:moveTo>
                <a:lnTo>
                  <a:pt x="0" y="0"/>
                </a:lnTo>
                <a:lnTo>
                  <a:pt x="0" y="499450"/>
                </a:lnTo>
                <a:lnTo>
                  <a:pt x="4870459" y="499450"/>
                </a:lnTo>
                <a:lnTo>
                  <a:pt x="4870459" y="0"/>
                </a:lnTo>
                <a:close/>
              </a:path>
            </a:pathLst>
          </a:custGeom>
          <a:solidFill>
            <a:srgbClr val="4AB4E6"/>
          </a:solidFill>
        </p:spPr>
        <p:txBody>
          <a:bodyPr wrap="square" lIns="0" tIns="0" rIns="0" bIns="0" rtlCol="0"/>
          <a:lstStyle/>
          <a:p>
            <a:endParaRPr/>
          </a:p>
        </p:txBody>
      </p:sp>
      <p:sp>
        <p:nvSpPr>
          <p:cNvPr id="97" name="object 97"/>
          <p:cNvSpPr txBox="1"/>
          <p:nvPr/>
        </p:nvSpPr>
        <p:spPr>
          <a:xfrm>
            <a:off x="4990683" y="1978550"/>
            <a:ext cx="3706127" cy="144916"/>
          </a:xfrm>
          <a:prstGeom prst="rect">
            <a:avLst/>
          </a:prstGeom>
        </p:spPr>
        <p:txBody>
          <a:bodyPr vert="horz" wrap="square" lIns="0" tIns="6354" rIns="0" bIns="0" rtlCol="0">
            <a:spAutoFit/>
          </a:bodyPr>
          <a:lstStyle/>
          <a:p>
            <a:pPr>
              <a:spcBef>
                <a:spcPts val="50"/>
              </a:spcBef>
            </a:pPr>
            <a:r>
              <a:rPr sz="900" b="1" spc="2" dirty="0">
                <a:latin typeface="Helvetica Neue"/>
                <a:cs typeface="Helvetica Neue"/>
              </a:rPr>
              <a:t>Consommer des </a:t>
            </a:r>
            <a:r>
              <a:rPr sz="900" b="1" dirty="0">
                <a:latin typeface="Helvetica Neue"/>
                <a:cs typeface="Helvetica Neue"/>
              </a:rPr>
              <a:t>produits </a:t>
            </a:r>
            <a:r>
              <a:rPr sz="900" b="1" spc="2" dirty="0">
                <a:latin typeface="Helvetica Neue"/>
                <a:cs typeface="Helvetica Neue"/>
              </a:rPr>
              <a:t>audiovisuels en</a:t>
            </a:r>
            <a:r>
              <a:rPr sz="900" b="1" spc="-30" dirty="0">
                <a:latin typeface="Helvetica Neue"/>
                <a:cs typeface="Helvetica Neue"/>
              </a:rPr>
              <a:t> </a:t>
            </a:r>
            <a:r>
              <a:rPr sz="900" b="1" dirty="0">
                <a:latin typeface="Helvetica Neue"/>
                <a:cs typeface="Helvetica Neue"/>
              </a:rPr>
              <a:t>streaming</a:t>
            </a:r>
            <a:endParaRPr sz="900" dirty="0">
              <a:latin typeface="Helvetica Neue"/>
              <a:cs typeface="Helvetica Neue"/>
            </a:endParaRPr>
          </a:p>
        </p:txBody>
      </p:sp>
      <p:sp>
        <p:nvSpPr>
          <p:cNvPr id="98" name="object 98"/>
          <p:cNvSpPr/>
          <p:nvPr/>
        </p:nvSpPr>
        <p:spPr>
          <a:xfrm>
            <a:off x="5004687" y="2154856"/>
            <a:ext cx="1748508" cy="227284"/>
          </a:xfrm>
          <a:custGeom>
            <a:avLst/>
            <a:gdLst/>
            <a:ahLst/>
            <a:cxnLst/>
            <a:rect l="l" t="t" r="r" b="b"/>
            <a:pathLst>
              <a:path w="3844290" h="499745">
                <a:moveTo>
                  <a:pt x="3843935" y="0"/>
                </a:moveTo>
                <a:lnTo>
                  <a:pt x="0" y="0"/>
                </a:lnTo>
                <a:lnTo>
                  <a:pt x="0" y="499450"/>
                </a:lnTo>
                <a:lnTo>
                  <a:pt x="3843935" y="499450"/>
                </a:lnTo>
                <a:lnTo>
                  <a:pt x="3843935" y="0"/>
                </a:lnTo>
                <a:close/>
              </a:path>
            </a:pathLst>
          </a:custGeom>
          <a:solidFill>
            <a:srgbClr val="FF7900"/>
          </a:solidFill>
        </p:spPr>
        <p:txBody>
          <a:bodyPr wrap="square" lIns="0" tIns="0" rIns="0" bIns="0" rtlCol="0"/>
          <a:lstStyle/>
          <a:p>
            <a:endParaRPr/>
          </a:p>
        </p:txBody>
      </p:sp>
      <p:sp>
        <p:nvSpPr>
          <p:cNvPr id="99" name="object 99"/>
          <p:cNvSpPr txBox="1"/>
          <p:nvPr/>
        </p:nvSpPr>
        <p:spPr>
          <a:xfrm>
            <a:off x="6362563" y="2176238"/>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45%</a:t>
            </a:r>
            <a:endParaRPr sz="1300">
              <a:latin typeface="Helvetica"/>
              <a:cs typeface="Helvetica"/>
            </a:endParaRPr>
          </a:p>
        </p:txBody>
      </p:sp>
      <p:sp>
        <p:nvSpPr>
          <p:cNvPr id="100" name="object 100"/>
          <p:cNvSpPr txBox="1"/>
          <p:nvPr/>
        </p:nvSpPr>
        <p:spPr>
          <a:xfrm>
            <a:off x="6833926" y="2260919"/>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57%</a:t>
            </a:r>
            <a:endParaRPr sz="1300">
              <a:latin typeface="Helvetica"/>
              <a:cs typeface="Helvetica"/>
            </a:endParaRPr>
          </a:p>
        </p:txBody>
      </p:sp>
      <p:sp>
        <p:nvSpPr>
          <p:cNvPr id="101" name="object 101"/>
          <p:cNvSpPr/>
          <p:nvPr/>
        </p:nvSpPr>
        <p:spPr>
          <a:xfrm>
            <a:off x="5010322" y="2962548"/>
            <a:ext cx="1507922" cy="227284"/>
          </a:xfrm>
          <a:custGeom>
            <a:avLst/>
            <a:gdLst/>
            <a:ahLst/>
            <a:cxnLst/>
            <a:rect l="l" t="t" r="r" b="b"/>
            <a:pathLst>
              <a:path w="3315334" h="499745">
                <a:moveTo>
                  <a:pt x="3315113" y="0"/>
                </a:moveTo>
                <a:lnTo>
                  <a:pt x="0" y="0"/>
                </a:lnTo>
                <a:lnTo>
                  <a:pt x="0" y="499450"/>
                </a:lnTo>
                <a:lnTo>
                  <a:pt x="3315113" y="499450"/>
                </a:lnTo>
                <a:lnTo>
                  <a:pt x="3315113" y="0"/>
                </a:lnTo>
                <a:close/>
              </a:path>
            </a:pathLst>
          </a:custGeom>
          <a:solidFill>
            <a:srgbClr val="4AB4E6"/>
          </a:solidFill>
        </p:spPr>
        <p:txBody>
          <a:bodyPr wrap="square" lIns="0" tIns="0" rIns="0" bIns="0" rtlCol="0"/>
          <a:lstStyle/>
          <a:p>
            <a:endParaRPr/>
          </a:p>
        </p:txBody>
      </p:sp>
      <p:sp>
        <p:nvSpPr>
          <p:cNvPr id="102" name="object 102"/>
          <p:cNvSpPr/>
          <p:nvPr/>
        </p:nvSpPr>
        <p:spPr>
          <a:xfrm>
            <a:off x="5010321" y="2872291"/>
            <a:ext cx="998735" cy="227284"/>
          </a:xfrm>
          <a:custGeom>
            <a:avLst/>
            <a:gdLst/>
            <a:ahLst/>
            <a:cxnLst/>
            <a:rect l="l" t="t" r="r" b="b"/>
            <a:pathLst>
              <a:path w="2195830" h="499745">
                <a:moveTo>
                  <a:pt x="2195273" y="0"/>
                </a:moveTo>
                <a:lnTo>
                  <a:pt x="0" y="0"/>
                </a:lnTo>
                <a:lnTo>
                  <a:pt x="0" y="499440"/>
                </a:lnTo>
                <a:lnTo>
                  <a:pt x="2195273" y="499440"/>
                </a:lnTo>
                <a:lnTo>
                  <a:pt x="2195273" y="0"/>
                </a:lnTo>
                <a:close/>
              </a:path>
            </a:pathLst>
          </a:custGeom>
          <a:solidFill>
            <a:srgbClr val="FF7900"/>
          </a:solidFill>
        </p:spPr>
        <p:txBody>
          <a:bodyPr wrap="square" lIns="0" tIns="0" rIns="0" bIns="0" rtlCol="0"/>
          <a:lstStyle/>
          <a:p>
            <a:endParaRPr/>
          </a:p>
        </p:txBody>
      </p:sp>
      <p:sp>
        <p:nvSpPr>
          <p:cNvPr id="103" name="object 103"/>
          <p:cNvSpPr txBox="1"/>
          <p:nvPr/>
        </p:nvSpPr>
        <p:spPr>
          <a:xfrm>
            <a:off x="5643557" y="2893672"/>
            <a:ext cx="329831" cy="405942"/>
          </a:xfrm>
          <a:prstGeom prst="rect">
            <a:avLst/>
          </a:prstGeom>
        </p:spPr>
        <p:txBody>
          <a:bodyPr vert="horz" wrap="square" lIns="0" tIns="5776" rIns="0" bIns="0" rtlCol="0">
            <a:spAutoFit/>
          </a:bodyPr>
          <a:lstStyle/>
          <a:p>
            <a:pPr>
              <a:spcBef>
                <a:spcPts val="45"/>
              </a:spcBef>
            </a:pPr>
            <a:r>
              <a:rPr sz="1300" b="1" spc="-2" dirty="0">
                <a:solidFill>
                  <a:srgbClr val="FFFFFF"/>
                </a:solidFill>
                <a:latin typeface="Helvetica"/>
                <a:cs typeface="Helvetica"/>
              </a:rPr>
              <a:t>26%</a:t>
            </a:r>
            <a:endParaRPr sz="1300">
              <a:latin typeface="Helvetica"/>
              <a:cs typeface="Helvetica"/>
            </a:endParaRPr>
          </a:p>
        </p:txBody>
      </p:sp>
      <p:sp>
        <p:nvSpPr>
          <p:cNvPr id="104" name="object 104"/>
          <p:cNvSpPr txBox="1"/>
          <p:nvPr/>
        </p:nvSpPr>
        <p:spPr>
          <a:xfrm>
            <a:off x="4990684" y="2546992"/>
            <a:ext cx="3664243" cy="1344934"/>
          </a:xfrm>
          <a:prstGeom prst="rect">
            <a:avLst/>
          </a:prstGeom>
        </p:spPr>
        <p:txBody>
          <a:bodyPr vert="horz" wrap="square" lIns="0" tIns="5487" rIns="0" bIns="0" rtlCol="0">
            <a:spAutoFit/>
          </a:bodyPr>
          <a:lstStyle/>
          <a:p>
            <a:pPr marR="2310">
              <a:lnSpc>
                <a:spcPct val="100499"/>
              </a:lnSpc>
              <a:spcBef>
                <a:spcPts val="43"/>
              </a:spcBef>
            </a:pPr>
            <a:r>
              <a:rPr sz="900" b="1" spc="-2" dirty="0">
                <a:latin typeface="Helvetica Neue"/>
                <a:cs typeface="Helvetica Neue"/>
              </a:rPr>
              <a:t>Suivre </a:t>
            </a:r>
            <a:r>
              <a:rPr sz="900" b="1" spc="2" dirty="0">
                <a:latin typeface="Helvetica Neue"/>
                <a:cs typeface="Helvetica Neue"/>
              </a:rPr>
              <a:t>ses performances sportives grâce à un objet connecté</a:t>
            </a:r>
            <a:r>
              <a:rPr sz="900" b="1" spc="-27" dirty="0">
                <a:latin typeface="Helvetica Neue"/>
                <a:cs typeface="Helvetica Neue"/>
              </a:rPr>
              <a:t> </a:t>
            </a:r>
            <a:r>
              <a:rPr sz="900" b="1" spc="2" dirty="0">
                <a:latin typeface="Helvetica Neue"/>
                <a:cs typeface="Helvetica Neue"/>
              </a:rPr>
              <a:t>ou  une</a:t>
            </a:r>
            <a:r>
              <a:rPr sz="900" b="1" spc="-2" dirty="0">
                <a:latin typeface="Helvetica Neue"/>
                <a:cs typeface="Helvetica Neue"/>
              </a:rPr>
              <a:t> </a:t>
            </a:r>
            <a:r>
              <a:rPr sz="900" b="1" spc="2" dirty="0">
                <a:latin typeface="Helvetica Neue"/>
                <a:cs typeface="Helvetica Neue"/>
              </a:rPr>
              <a:t>application</a:t>
            </a:r>
            <a:endParaRPr sz="900">
              <a:latin typeface="Helvetica Neue"/>
              <a:cs typeface="Helvetica Neue"/>
            </a:endParaRPr>
          </a:p>
          <a:p>
            <a:pPr>
              <a:lnSpc>
                <a:spcPct val="100000"/>
              </a:lnSpc>
            </a:pPr>
            <a:endParaRPr sz="1000">
              <a:latin typeface="Times New Roman"/>
              <a:cs typeface="Times New Roman"/>
            </a:endParaRPr>
          </a:p>
          <a:p>
            <a:pPr marL="1142485"/>
            <a:r>
              <a:rPr sz="1300" b="1" spc="-2" dirty="0">
                <a:solidFill>
                  <a:srgbClr val="FFFFFF"/>
                </a:solidFill>
                <a:latin typeface="Helvetica"/>
                <a:cs typeface="Helvetica"/>
              </a:rPr>
              <a:t>39%</a:t>
            </a:r>
            <a:endParaRPr sz="1300">
              <a:latin typeface="Helvetica"/>
              <a:cs typeface="Helvetica"/>
            </a:endParaRPr>
          </a:p>
          <a:p>
            <a:pPr>
              <a:lnSpc>
                <a:spcPct val="100000"/>
              </a:lnSpc>
            </a:pPr>
            <a:endParaRPr sz="1300">
              <a:latin typeface="Times New Roman"/>
              <a:cs typeface="Times New Roman"/>
            </a:endParaRPr>
          </a:p>
          <a:p>
            <a:pPr marL="3466">
              <a:spcBef>
                <a:spcPts val="741"/>
              </a:spcBef>
            </a:pPr>
            <a:r>
              <a:rPr sz="1300" b="1" spc="5" dirty="0">
                <a:solidFill>
                  <a:srgbClr val="FF7900"/>
                </a:solidFill>
                <a:latin typeface="Helvetica Neue"/>
                <a:cs typeface="Helvetica Neue"/>
              </a:rPr>
              <a:t>Economie</a:t>
            </a:r>
            <a:r>
              <a:rPr sz="1300" b="1" dirty="0">
                <a:solidFill>
                  <a:srgbClr val="FF7900"/>
                </a:solidFill>
                <a:latin typeface="Helvetica Neue"/>
                <a:cs typeface="Helvetica Neue"/>
              </a:rPr>
              <a:t> </a:t>
            </a:r>
            <a:r>
              <a:rPr sz="1300" b="1" spc="2" dirty="0">
                <a:solidFill>
                  <a:srgbClr val="FF7900"/>
                </a:solidFill>
                <a:latin typeface="Helvetica Neue"/>
                <a:cs typeface="Helvetica Neue"/>
              </a:rPr>
              <a:t>collaborative</a:t>
            </a:r>
            <a:endParaRPr sz="1300">
              <a:latin typeface="Helvetica Neue"/>
              <a:cs typeface="Helvetica Neue"/>
            </a:endParaRPr>
          </a:p>
          <a:p>
            <a:pPr marL="15306">
              <a:spcBef>
                <a:spcPts val="637"/>
              </a:spcBef>
            </a:pPr>
            <a:r>
              <a:rPr sz="900" b="1" spc="2" dirty="0">
                <a:latin typeface="Helvetica Neue"/>
                <a:cs typeface="Helvetica Neue"/>
              </a:rPr>
              <a:t>Réserver un séjour dans un logement loué via</a:t>
            </a:r>
            <a:r>
              <a:rPr sz="900" b="1" spc="-25" dirty="0">
                <a:latin typeface="Helvetica Neue"/>
                <a:cs typeface="Helvetica Neue"/>
              </a:rPr>
              <a:t> </a:t>
            </a:r>
            <a:r>
              <a:rPr sz="900" b="1" spc="2" dirty="0">
                <a:latin typeface="Helvetica Neue"/>
                <a:cs typeface="Helvetica Neue"/>
              </a:rPr>
              <a:t>Airbnb</a:t>
            </a:r>
            <a:endParaRPr sz="900">
              <a:latin typeface="Helvetica Neue"/>
              <a:cs typeface="Helvetica Neue"/>
            </a:endParaRPr>
          </a:p>
        </p:txBody>
      </p:sp>
      <p:sp>
        <p:nvSpPr>
          <p:cNvPr id="105" name="object 105"/>
          <p:cNvSpPr txBox="1"/>
          <p:nvPr/>
        </p:nvSpPr>
        <p:spPr>
          <a:xfrm>
            <a:off x="4990679" y="1122648"/>
            <a:ext cx="2493949" cy="435029"/>
          </a:xfrm>
          <a:prstGeom prst="rect">
            <a:avLst/>
          </a:prstGeom>
        </p:spPr>
        <p:txBody>
          <a:bodyPr vert="horz" wrap="square" lIns="0" tIns="6642" rIns="0" bIns="0" rtlCol="0">
            <a:spAutoFit/>
          </a:bodyPr>
          <a:lstStyle/>
          <a:p>
            <a:pPr>
              <a:spcBef>
                <a:spcPts val="52"/>
              </a:spcBef>
            </a:pPr>
            <a:r>
              <a:rPr sz="1300" b="1" spc="2" dirty="0">
                <a:solidFill>
                  <a:srgbClr val="FF7900"/>
                </a:solidFill>
                <a:latin typeface="Helvetica Neue"/>
                <a:cs typeface="Helvetica Neue"/>
              </a:rPr>
              <a:t>Maîtriser le</a:t>
            </a:r>
            <a:r>
              <a:rPr sz="1300" b="1" dirty="0">
                <a:solidFill>
                  <a:srgbClr val="FF7900"/>
                </a:solidFill>
                <a:latin typeface="Helvetica Neue"/>
                <a:cs typeface="Helvetica Neue"/>
              </a:rPr>
              <a:t> </a:t>
            </a:r>
            <a:r>
              <a:rPr sz="1300" b="1" spc="2" dirty="0">
                <a:solidFill>
                  <a:srgbClr val="FF7900"/>
                </a:solidFill>
                <a:latin typeface="Helvetica Neue"/>
                <a:cs typeface="Helvetica Neue"/>
              </a:rPr>
              <a:t>quotidien</a:t>
            </a:r>
            <a:endParaRPr sz="1300">
              <a:latin typeface="Helvetica Neue"/>
              <a:cs typeface="Helvetica Neue"/>
            </a:endParaRPr>
          </a:p>
          <a:p>
            <a:pPr>
              <a:spcBef>
                <a:spcPts val="739"/>
              </a:spcBef>
            </a:pPr>
            <a:r>
              <a:rPr sz="900" b="1" dirty="0">
                <a:latin typeface="Helvetica Neue"/>
                <a:cs typeface="Helvetica Neue"/>
              </a:rPr>
              <a:t>Utiliser </a:t>
            </a:r>
            <a:r>
              <a:rPr sz="900" b="1" spc="2" dirty="0">
                <a:latin typeface="Helvetica Neue"/>
                <a:cs typeface="Helvetica Neue"/>
              </a:rPr>
              <a:t>des </a:t>
            </a:r>
            <a:r>
              <a:rPr sz="900" b="1" dirty="0">
                <a:latin typeface="Helvetica Neue"/>
                <a:cs typeface="Helvetica Neue"/>
              </a:rPr>
              <a:t>billets </a:t>
            </a:r>
            <a:r>
              <a:rPr sz="900" b="1" spc="2" dirty="0">
                <a:latin typeface="Helvetica Neue"/>
                <a:cs typeface="Helvetica Neue"/>
              </a:rPr>
              <a:t>de voyage</a:t>
            </a:r>
            <a:r>
              <a:rPr sz="900" b="1" spc="-9" dirty="0">
                <a:latin typeface="Helvetica Neue"/>
                <a:cs typeface="Helvetica Neue"/>
              </a:rPr>
              <a:t> </a:t>
            </a:r>
            <a:r>
              <a:rPr sz="900" b="1" spc="2" dirty="0">
                <a:latin typeface="Helvetica Neue"/>
                <a:cs typeface="Helvetica Neue"/>
              </a:rPr>
              <a:t>dématérialisés</a:t>
            </a:r>
            <a:endParaRPr sz="900">
              <a:latin typeface="Helvetica Neue"/>
              <a:cs typeface="Helvetica Neue"/>
            </a:endParaRPr>
          </a:p>
        </p:txBody>
      </p:sp>
      <p:sp>
        <p:nvSpPr>
          <p:cNvPr id="106" name="object 2">
            <a:extLst>
              <a:ext uri="{FF2B5EF4-FFF2-40B4-BE49-F238E27FC236}">
                <a16:creationId xmlns:a16="http://schemas.microsoft.com/office/drawing/2014/main" id="{4D45CF17-0A30-6B40-8884-1B0487555CAB}"/>
              </a:ext>
            </a:extLst>
          </p:cNvPr>
          <p:cNvSpPr txBox="1">
            <a:spLocks/>
          </p:cNvSpPr>
          <p:nvPr/>
        </p:nvSpPr>
        <p:spPr>
          <a:xfrm>
            <a:off x="775669" y="68679"/>
            <a:ext cx="7678055" cy="359484"/>
          </a:xfrm>
          <a:prstGeom prst="rect">
            <a:avLst/>
          </a:prstGeom>
        </p:spPr>
        <p:txBody>
          <a:bodyPr vert="horz" wrap="square" lIns="0" tIns="5487" rIns="0" bIns="0" rtlCol="0">
            <a:spAutoFit/>
          </a:bodyPr>
          <a:lstStyle>
            <a:lvl1pPr>
              <a:defRPr sz="4500" b="1" i="0">
                <a:solidFill>
                  <a:srgbClr val="FF7900"/>
                </a:solidFill>
                <a:latin typeface="Helvetica Neue"/>
                <a:ea typeface="+mj-ea"/>
                <a:cs typeface="Helvetica Neue"/>
              </a:defRPr>
            </a:lvl1pPr>
          </a:lstStyle>
          <a:p>
            <a:pPr marL="5776">
              <a:spcBef>
                <a:spcPts val="43"/>
              </a:spcBef>
            </a:pPr>
            <a:r>
              <a:rPr lang="fr-FR" sz="2300" spc="-41" dirty="0"/>
              <a:t>L’émergence </a:t>
            </a:r>
            <a:r>
              <a:rPr lang="fr-FR" sz="2300" spc="-23" dirty="0"/>
              <a:t>de </a:t>
            </a:r>
            <a:r>
              <a:rPr lang="fr-FR" sz="2300" spc="-39" dirty="0"/>
              <a:t>nouveaux </a:t>
            </a:r>
            <a:r>
              <a:rPr lang="fr-FR" sz="2300" spc="-36" dirty="0"/>
              <a:t>modes </a:t>
            </a:r>
            <a:r>
              <a:rPr lang="fr-FR" sz="2300" spc="-23" dirty="0"/>
              <a:t>de</a:t>
            </a:r>
            <a:r>
              <a:rPr lang="fr-FR" sz="2300" spc="-307" dirty="0"/>
              <a:t> </a:t>
            </a:r>
            <a:r>
              <a:rPr lang="fr-FR" sz="2300" spc="-45" dirty="0"/>
              <a:t>consommation</a:t>
            </a:r>
            <a:endParaRPr lang="fr-FR" sz="2300" kern="0" dirty="0"/>
          </a:p>
        </p:txBody>
      </p:sp>
      <p:grpSp>
        <p:nvGrpSpPr>
          <p:cNvPr id="109" name="Groupe 108">
            <a:extLst>
              <a:ext uri="{FF2B5EF4-FFF2-40B4-BE49-F238E27FC236}">
                <a16:creationId xmlns:a16="http://schemas.microsoft.com/office/drawing/2014/main" id="{BD1333AF-8327-B949-8C40-A20BFB04A645}"/>
              </a:ext>
            </a:extLst>
          </p:cNvPr>
          <p:cNvGrpSpPr/>
          <p:nvPr/>
        </p:nvGrpSpPr>
        <p:grpSpPr>
          <a:xfrm>
            <a:off x="190894" y="197053"/>
            <a:ext cx="422542" cy="422512"/>
            <a:chOff x="419701" y="433273"/>
            <a:chExt cx="929005" cy="929005"/>
          </a:xfrm>
        </p:grpSpPr>
        <p:sp>
          <p:nvSpPr>
            <p:cNvPr id="110" name="object 4">
              <a:extLst>
                <a:ext uri="{FF2B5EF4-FFF2-40B4-BE49-F238E27FC236}">
                  <a16:creationId xmlns:a16="http://schemas.microsoft.com/office/drawing/2014/main" id="{CD81FBB8-8CDD-5245-A712-8CC534086246}"/>
                </a:ext>
              </a:extLst>
            </p:cNvPr>
            <p:cNvSpPr/>
            <p:nvPr/>
          </p:nvSpPr>
          <p:spPr>
            <a:xfrm>
              <a:off x="419701" y="433273"/>
              <a:ext cx="929005" cy="929005"/>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4"/>
                  </a:lnTo>
                  <a:lnTo>
                    <a:pt x="20875" y="602434"/>
                  </a:lnTo>
                  <a:lnTo>
                    <a:pt x="36489" y="645096"/>
                  </a:lnTo>
                  <a:lnTo>
                    <a:pt x="56042" y="685687"/>
                  </a:lnTo>
                  <a:lnTo>
                    <a:pt x="79301" y="723972"/>
                  </a:lnTo>
                  <a:lnTo>
                    <a:pt x="106031" y="759718"/>
                  </a:lnTo>
                  <a:lnTo>
                    <a:pt x="136001" y="792693"/>
                  </a:lnTo>
                  <a:lnTo>
                    <a:pt x="168975" y="822662"/>
                  </a:lnTo>
                  <a:lnTo>
                    <a:pt x="204722" y="849392"/>
                  </a:lnTo>
                  <a:lnTo>
                    <a:pt x="243007" y="872651"/>
                  </a:lnTo>
                  <a:lnTo>
                    <a:pt x="283597" y="892204"/>
                  </a:lnTo>
                  <a:lnTo>
                    <a:pt x="326259" y="907818"/>
                  </a:lnTo>
                  <a:lnTo>
                    <a:pt x="370759" y="919260"/>
                  </a:lnTo>
                  <a:lnTo>
                    <a:pt x="416864" y="926296"/>
                  </a:lnTo>
                  <a:lnTo>
                    <a:pt x="464341" y="928694"/>
                  </a:lnTo>
                  <a:lnTo>
                    <a:pt x="511818" y="926296"/>
                  </a:lnTo>
                  <a:lnTo>
                    <a:pt x="557924" y="919260"/>
                  </a:lnTo>
                  <a:lnTo>
                    <a:pt x="602425" y="907818"/>
                  </a:lnTo>
                  <a:lnTo>
                    <a:pt x="645088" y="892204"/>
                  </a:lnTo>
                  <a:lnTo>
                    <a:pt x="685678" y="872651"/>
                  </a:lnTo>
                  <a:lnTo>
                    <a:pt x="723964" y="849392"/>
                  </a:lnTo>
                  <a:lnTo>
                    <a:pt x="759712" y="822662"/>
                  </a:lnTo>
                  <a:lnTo>
                    <a:pt x="792687" y="792693"/>
                  </a:lnTo>
                  <a:lnTo>
                    <a:pt x="822658" y="759718"/>
                  </a:lnTo>
                  <a:lnTo>
                    <a:pt x="849389" y="723972"/>
                  </a:lnTo>
                  <a:lnTo>
                    <a:pt x="872649" y="685687"/>
                  </a:lnTo>
                  <a:lnTo>
                    <a:pt x="892202" y="645096"/>
                  </a:lnTo>
                  <a:lnTo>
                    <a:pt x="907817" y="602434"/>
                  </a:lnTo>
                  <a:lnTo>
                    <a:pt x="919260" y="557934"/>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4AB4E6"/>
            </a:solidFill>
          </p:spPr>
          <p:txBody>
            <a:bodyPr wrap="square" lIns="0" tIns="0" rIns="0" bIns="0" rtlCol="0"/>
            <a:lstStyle/>
            <a:p>
              <a:endParaRPr/>
            </a:p>
          </p:txBody>
        </p:sp>
        <p:sp>
          <p:nvSpPr>
            <p:cNvPr id="111" name="object 5">
              <a:extLst>
                <a:ext uri="{FF2B5EF4-FFF2-40B4-BE49-F238E27FC236}">
                  <a16:creationId xmlns:a16="http://schemas.microsoft.com/office/drawing/2014/main" id="{D58FEF56-FE7C-7C4E-ABCE-8FF90970F16B}"/>
                </a:ext>
              </a:extLst>
            </p:cNvPr>
            <p:cNvSpPr/>
            <p:nvPr/>
          </p:nvSpPr>
          <p:spPr>
            <a:xfrm>
              <a:off x="664983" y="537961"/>
              <a:ext cx="568325" cy="751840"/>
            </a:xfrm>
            <a:custGeom>
              <a:avLst/>
              <a:gdLst/>
              <a:ahLst/>
              <a:cxnLst/>
              <a:rect l="l" t="t" r="r" b="b"/>
              <a:pathLst>
                <a:path w="568325" h="751840">
                  <a:moveTo>
                    <a:pt x="245217" y="0"/>
                  </a:moveTo>
                  <a:lnTo>
                    <a:pt x="0" y="624871"/>
                  </a:lnTo>
                  <a:lnTo>
                    <a:pt x="323047" y="751642"/>
                  </a:lnTo>
                  <a:lnTo>
                    <a:pt x="568265" y="126771"/>
                  </a:lnTo>
                  <a:lnTo>
                    <a:pt x="245217" y="0"/>
                  </a:lnTo>
                  <a:close/>
                </a:path>
              </a:pathLst>
            </a:custGeom>
            <a:solidFill>
              <a:srgbClr val="FFFFFF"/>
            </a:solidFill>
          </p:spPr>
          <p:txBody>
            <a:bodyPr wrap="square" lIns="0" tIns="0" rIns="0" bIns="0" rtlCol="0"/>
            <a:lstStyle/>
            <a:p>
              <a:endParaRPr/>
            </a:p>
          </p:txBody>
        </p:sp>
        <p:sp>
          <p:nvSpPr>
            <p:cNvPr id="112" name="object 6">
              <a:extLst>
                <a:ext uri="{FF2B5EF4-FFF2-40B4-BE49-F238E27FC236}">
                  <a16:creationId xmlns:a16="http://schemas.microsoft.com/office/drawing/2014/main" id="{3E978512-581A-DB49-B102-A531B3AF6DB3}"/>
                </a:ext>
              </a:extLst>
            </p:cNvPr>
            <p:cNvSpPr/>
            <p:nvPr/>
          </p:nvSpPr>
          <p:spPr>
            <a:xfrm>
              <a:off x="646369" y="532081"/>
              <a:ext cx="603250" cy="768350"/>
            </a:xfrm>
            <a:custGeom>
              <a:avLst/>
              <a:gdLst/>
              <a:ahLst/>
              <a:cxnLst/>
              <a:rect l="l" t="t" r="r" b="b"/>
              <a:pathLst>
                <a:path w="603250" h="768350">
                  <a:moveTo>
                    <a:pt x="256296" y="0"/>
                  </a:moveTo>
                  <a:lnTo>
                    <a:pt x="219754" y="26215"/>
                  </a:lnTo>
                  <a:lnTo>
                    <a:pt x="2651" y="596795"/>
                  </a:lnTo>
                  <a:lnTo>
                    <a:pt x="0" y="612736"/>
                  </a:lnTo>
                  <a:lnTo>
                    <a:pt x="3541" y="627926"/>
                  </a:lnTo>
                  <a:lnTo>
                    <a:pt x="12516" y="640676"/>
                  </a:lnTo>
                  <a:lnTo>
                    <a:pt x="26168" y="649296"/>
                  </a:lnTo>
                  <a:lnTo>
                    <a:pt x="330557" y="765114"/>
                  </a:lnTo>
                  <a:lnTo>
                    <a:pt x="346484" y="767754"/>
                  </a:lnTo>
                  <a:lnTo>
                    <a:pt x="361665" y="764197"/>
                  </a:lnTo>
                  <a:lnTo>
                    <a:pt x="374408" y="755203"/>
                  </a:lnTo>
                  <a:lnTo>
                    <a:pt x="383026" y="741534"/>
                  </a:lnTo>
                  <a:lnTo>
                    <a:pt x="403008" y="689022"/>
                  </a:lnTo>
                  <a:lnTo>
                    <a:pt x="359467" y="689022"/>
                  </a:lnTo>
                  <a:lnTo>
                    <a:pt x="55162" y="573235"/>
                  </a:lnTo>
                  <a:lnTo>
                    <a:pt x="250559" y="59712"/>
                  </a:lnTo>
                  <a:lnTo>
                    <a:pt x="422217" y="59712"/>
                  </a:lnTo>
                  <a:lnTo>
                    <a:pt x="272224" y="2635"/>
                  </a:lnTo>
                  <a:lnTo>
                    <a:pt x="256296" y="0"/>
                  </a:lnTo>
                  <a:close/>
                </a:path>
                <a:path w="603250" h="768350">
                  <a:moveTo>
                    <a:pt x="422217" y="59712"/>
                  </a:moveTo>
                  <a:lnTo>
                    <a:pt x="250559" y="59712"/>
                  </a:lnTo>
                  <a:lnTo>
                    <a:pt x="554864" y="175509"/>
                  </a:lnTo>
                  <a:lnTo>
                    <a:pt x="359467" y="689022"/>
                  </a:lnTo>
                  <a:lnTo>
                    <a:pt x="403008" y="689022"/>
                  </a:lnTo>
                  <a:lnTo>
                    <a:pt x="600140" y="170954"/>
                  </a:lnTo>
                  <a:lnTo>
                    <a:pt x="602785" y="155013"/>
                  </a:lnTo>
                  <a:lnTo>
                    <a:pt x="599241" y="139824"/>
                  </a:lnTo>
                  <a:lnTo>
                    <a:pt x="590264" y="127078"/>
                  </a:lnTo>
                  <a:lnTo>
                    <a:pt x="576612" y="118464"/>
                  </a:lnTo>
                  <a:lnTo>
                    <a:pt x="558149" y="111438"/>
                  </a:lnTo>
                  <a:lnTo>
                    <a:pt x="443705" y="111438"/>
                  </a:lnTo>
                  <a:lnTo>
                    <a:pt x="376189" y="85742"/>
                  </a:lnTo>
                  <a:lnTo>
                    <a:pt x="373540" y="79837"/>
                  </a:lnTo>
                  <a:lnTo>
                    <a:pt x="377519" y="69376"/>
                  </a:lnTo>
                  <a:lnTo>
                    <a:pt x="383424" y="66727"/>
                  </a:lnTo>
                  <a:lnTo>
                    <a:pt x="440653" y="66727"/>
                  </a:lnTo>
                  <a:lnTo>
                    <a:pt x="422217" y="59712"/>
                  </a:lnTo>
                  <a:close/>
                </a:path>
                <a:path w="603250" h="768350">
                  <a:moveTo>
                    <a:pt x="440653" y="66727"/>
                  </a:moveTo>
                  <a:lnTo>
                    <a:pt x="383424" y="66727"/>
                  </a:lnTo>
                  <a:lnTo>
                    <a:pt x="450941" y="92412"/>
                  </a:lnTo>
                  <a:lnTo>
                    <a:pt x="453600" y="98318"/>
                  </a:lnTo>
                  <a:lnTo>
                    <a:pt x="449611" y="108778"/>
                  </a:lnTo>
                  <a:lnTo>
                    <a:pt x="443705" y="111438"/>
                  </a:lnTo>
                  <a:lnTo>
                    <a:pt x="558149" y="111438"/>
                  </a:lnTo>
                  <a:lnTo>
                    <a:pt x="440653" y="66727"/>
                  </a:lnTo>
                  <a:close/>
                </a:path>
              </a:pathLst>
            </a:custGeom>
            <a:solidFill>
              <a:srgbClr val="000000"/>
            </a:solidFill>
          </p:spPr>
          <p:txBody>
            <a:bodyPr wrap="square" lIns="0" tIns="0" rIns="0" bIns="0" rtlCol="0"/>
            <a:lstStyle/>
            <a:p>
              <a:endParaRPr/>
            </a:p>
          </p:txBody>
        </p:sp>
        <p:sp>
          <p:nvSpPr>
            <p:cNvPr id="113" name="object 7">
              <a:extLst>
                <a:ext uri="{FF2B5EF4-FFF2-40B4-BE49-F238E27FC236}">
                  <a16:creationId xmlns:a16="http://schemas.microsoft.com/office/drawing/2014/main" id="{20253C56-7E2C-4E4F-A007-96E5B383B619}"/>
                </a:ext>
              </a:extLst>
            </p:cNvPr>
            <p:cNvSpPr/>
            <p:nvPr/>
          </p:nvSpPr>
          <p:spPr>
            <a:xfrm>
              <a:off x="542803" y="617528"/>
              <a:ext cx="207645" cy="317500"/>
            </a:xfrm>
            <a:custGeom>
              <a:avLst/>
              <a:gdLst/>
              <a:ahLst/>
              <a:cxnLst/>
              <a:rect l="l" t="t" r="r" b="b"/>
              <a:pathLst>
                <a:path w="207645" h="317500">
                  <a:moveTo>
                    <a:pt x="139782" y="0"/>
                  </a:moveTo>
                  <a:lnTo>
                    <a:pt x="97716" y="24434"/>
                  </a:lnTo>
                  <a:lnTo>
                    <a:pt x="62527" y="55767"/>
                  </a:lnTo>
                  <a:lnTo>
                    <a:pt x="34688" y="92723"/>
                  </a:lnTo>
                  <a:lnTo>
                    <a:pt x="14672" y="134028"/>
                  </a:lnTo>
                  <a:lnTo>
                    <a:pt x="2952" y="178406"/>
                  </a:lnTo>
                  <a:lnTo>
                    <a:pt x="0" y="224582"/>
                  </a:lnTo>
                  <a:lnTo>
                    <a:pt x="6288" y="271280"/>
                  </a:lnTo>
                  <a:lnTo>
                    <a:pt x="22289" y="317225"/>
                  </a:lnTo>
                  <a:lnTo>
                    <a:pt x="51481" y="303980"/>
                  </a:lnTo>
                  <a:lnTo>
                    <a:pt x="36331" y="258397"/>
                  </a:lnTo>
                  <a:lnTo>
                    <a:pt x="32098" y="212166"/>
                  </a:lnTo>
                  <a:lnTo>
                    <a:pt x="38172" y="166939"/>
                  </a:lnTo>
                  <a:lnTo>
                    <a:pt x="53942" y="124363"/>
                  </a:lnTo>
                  <a:lnTo>
                    <a:pt x="78796" y="86091"/>
                  </a:lnTo>
                  <a:lnTo>
                    <a:pt x="112122" y="53772"/>
                  </a:lnTo>
                  <a:lnTo>
                    <a:pt x="153311" y="29056"/>
                  </a:lnTo>
                  <a:lnTo>
                    <a:pt x="139782" y="0"/>
                  </a:lnTo>
                  <a:close/>
                </a:path>
                <a:path w="207645" h="317500">
                  <a:moveTo>
                    <a:pt x="166839" y="58113"/>
                  </a:moveTo>
                  <a:lnTo>
                    <a:pt x="126812" y="83176"/>
                  </a:lnTo>
                  <a:lnTo>
                    <a:pt x="95957" y="116680"/>
                  </a:lnTo>
                  <a:lnTo>
                    <a:pt x="75096" y="156406"/>
                  </a:lnTo>
                  <a:lnTo>
                    <a:pt x="65049" y="200137"/>
                  </a:lnTo>
                  <a:lnTo>
                    <a:pt x="66638" y="245656"/>
                  </a:lnTo>
                  <a:lnTo>
                    <a:pt x="80685" y="290745"/>
                  </a:lnTo>
                  <a:lnTo>
                    <a:pt x="109878" y="277509"/>
                  </a:lnTo>
                  <a:lnTo>
                    <a:pt x="97333" y="233141"/>
                  </a:lnTo>
                  <a:lnTo>
                    <a:pt x="99270" y="188787"/>
                  </a:lnTo>
                  <a:lnTo>
                    <a:pt x="114529" y="147585"/>
                  </a:lnTo>
                  <a:lnTo>
                    <a:pt x="141949" y="112671"/>
                  </a:lnTo>
                  <a:lnTo>
                    <a:pt x="180368" y="87180"/>
                  </a:lnTo>
                  <a:lnTo>
                    <a:pt x="166839" y="58113"/>
                  </a:lnTo>
                  <a:close/>
                </a:path>
                <a:path w="207645" h="317500">
                  <a:moveTo>
                    <a:pt x="193906" y="116237"/>
                  </a:moveTo>
                  <a:lnTo>
                    <a:pt x="157852" y="142264"/>
                  </a:lnTo>
                  <a:lnTo>
                    <a:pt x="135519" y="178786"/>
                  </a:lnTo>
                  <a:lnTo>
                    <a:pt x="128672" y="221043"/>
                  </a:lnTo>
                  <a:lnTo>
                    <a:pt x="139070" y="264274"/>
                  </a:lnTo>
                  <a:lnTo>
                    <a:pt x="168274" y="251039"/>
                  </a:lnTo>
                  <a:lnTo>
                    <a:pt x="160843" y="220160"/>
                  </a:lnTo>
                  <a:lnTo>
                    <a:pt x="165732" y="189977"/>
                  </a:lnTo>
                  <a:lnTo>
                    <a:pt x="181682" y="163891"/>
                  </a:lnTo>
                  <a:lnTo>
                    <a:pt x="207435" y="145304"/>
                  </a:lnTo>
                  <a:lnTo>
                    <a:pt x="193906" y="116237"/>
                  </a:lnTo>
                  <a:close/>
                </a:path>
              </a:pathLst>
            </a:custGeom>
            <a:solidFill>
              <a:srgbClr val="000000"/>
            </a:solidFill>
          </p:spPr>
          <p:txBody>
            <a:bodyPr wrap="square" lIns="0" tIns="0" rIns="0" bIns="0" rtlCol="0"/>
            <a:lstStyle/>
            <a:p>
              <a:endParaRPr/>
            </a:p>
          </p:txBody>
        </p:sp>
        <p:sp>
          <p:nvSpPr>
            <p:cNvPr id="114" name="object 8">
              <a:extLst>
                <a:ext uri="{FF2B5EF4-FFF2-40B4-BE49-F238E27FC236}">
                  <a16:creationId xmlns:a16="http://schemas.microsoft.com/office/drawing/2014/main" id="{D6DE34A7-A1AA-4F4F-90FF-220147E7B5EA}"/>
                </a:ext>
              </a:extLst>
            </p:cNvPr>
            <p:cNvSpPr/>
            <p:nvPr/>
          </p:nvSpPr>
          <p:spPr>
            <a:xfrm>
              <a:off x="816706" y="793912"/>
              <a:ext cx="251460" cy="427990"/>
            </a:xfrm>
            <a:custGeom>
              <a:avLst/>
              <a:gdLst/>
              <a:ahLst/>
              <a:cxnLst/>
              <a:rect l="l" t="t" r="r" b="b"/>
              <a:pathLst>
                <a:path w="251459" h="427990">
                  <a:moveTo>
                    <a:pt x="124482" y="0"/>
                  </a:moveTo>
                  <a:lnTo>
                    <a:pt x="78903" y="10651"/>
                  </a:lnTo>
                  <a:lnTo>
                    <a:pt x="40646" y="37616"/>
                  </a:lnTo>
                  <a:lnTo>
                    <a:pt x="14778" y="78622"/>
                  </a:lnTo>
                  <a:lnTo>
                    <a:pt x="6846" y="126453"/>
                  </a:lnTo>
                  <a:lnTo>
                    <a:pt x="17502" y="172031"/>
                  </a:lnTo>
                  <a:lnTo>
                    <a:pt x="44471" y="210289"/>
                  </a:lnTo>
                  <a:lnTo>
                    <a:pt x="85478" y="236156"/>
                  </a:lnTo>
                  <a:lnTo>
                    <a:pt x="133309" y="244094"/>
                  </a:lnTo>
                  <a:lnTo>
                    <a:pt x="178887" y="233442"/>
                  </a:lnTo>
                  <a:lnTo>
                    <a:pt x="192629" y="223755"/>
                  </a:lnTo>
                  <a:lnTo>
                    <a:pt x="132573" y="223755"/>
                  </a:lnTo>
                  <a:lnTo>
                    <a:pt x="92713" y="217141"/>
                  </a:lnTo>
                  <a:lnTo>
                    <a:pt x="58540" y="195586"/>
                  </a:lnTo>
                  <a:lnTo>
                    <a:pt x="36067" y="163703"/>
                  </a:lnTo>
                  <a:lnTo>
                    <a:pt x="27190" y="125719"/>
                  </a:lnTo>
                  <a:lnTo>
                    <a:pt x="33804" y="85857"/>
                  </a:lnTo>
                  <a:lnTo>
                    <a:pt x="55358" y="51690"/>
                  </a:lnTo>
                  <a:lnTo>
                    <a:pt x="87237" y="29219"/>
                  </a:lnTo>
                  <a:lnTo>
                    <a:pt x="125218" y="20340"/>
                  </a:lnTo>
                  <a:lnTo>
                    <a:pt x="191981" y="20340"/>
                  </a:lnTo>
                  <a:lnTo>
                    <a:pt x="172313" y="7933"/>
                  </a:lnTo>
                  <a:lnTo>
                    <a:pt x="124482" y="0"/>
                  </a:lnTo>
                  <a:close/>
                </a:path>
                <a:path w="251459" h="427990">
                  <a:moveTo>
                    <a:pt x="191981" y="20340"/>
                  </a:moveTo>
                  <a:lnTo>
                    <a:pt x="125218" y="20340"/>
                  </a:lnTo>
                  <a:lnTo>
                    <a:pt x="165077" y="26948"/>
                  </a:lnTo>
                  <a:lnTo>
                    <a:pt x="199251" y="48508"/>
                  </a:lnTo>
                  <a:lnTo>
                    <a:pt x="221724" y="80390"/>
                  </a:lnTo>
                  <a:lnTo>
                    <a:pt x="230601" y="118372"/>
                  </a:lnTo>
                  <a:lnTo>
                    <a:pt x="223987" y="158232"/>
                  </a:lnTo>
                  <a:lnTo>
                    <a:pt x="202433" y="192405"/>
                  </a:lnTo>
                  <a:lnTo>
                    <a:pt x="170554" y="214878"/>
                  </a:lnTo>
                  <a:lnTo>
                    <a:pt x="132573" y="223755"/>
                  </a:lnTo>
                  <a:lnTo>
                    <a:pt x="192629" y="223755"/>
                  </a:lnTo>
                  <a:lnTo>
                    <a:pt x="217144" y="206474"/>
                  </a:lnTo>
                  <a:lnTo>
                    <a:pt x="243012" y="165467"/>
                  </a:lnTo>
                  <a:lnTo>
                    <a:pt x="250822" y="118372"/>
                  </a:lnTo>
                  <a:lnTo>
                    <a:pt x="250929" y="117574"/>
                  </a:lnTo>
                  <a:lnTo>
                    <a:pt x="240288" y="72058"/>
                  </a:lnTo>
                  <a:lnTo>
                    <a:pt x="213320" y="33801"/>
                  </a:lnTo>
                  <a:lnTo>
                    <a:pt x="191981" y="20340"/>
                  </a:lnTo>
                  <a:close/>
                </a:path>
                <a:path w="251459" h="427990">
                  <a:moveTo>
                    <a:pt x="63457" y="104977"/>
                  </a:moveTo>
                  <a:lnTo>
                    <a:pt x="58149" y="108045"/>
                  </a:lnTo>
                  <a:lnTo>
                    <a:pt x="53898" y="119228"/>
                  </a:lnTo>
                  <a:lnTo>
                    <a:pt x="56149" y="124443"/>
                  </a:lnTo>
                  <a:lnTo>
                    <a:pt x="69719" y="129605"/>
                  </a:lnTo>
                  <a:lnTo>
                    <a:pt x="68642" y="139878"/>
                  </a:lnTo>
                  <a:lnTo>
                    <a:pt x="79434" y="177151"/>
                  </a:lnTo>
                  <a:lnTo>
                    <a:pt x="122769" y="200144"/>
                  </a:lnTo>
                  <a:lnTo>
                    <a:pt x="137578" y="199884"/>
                  </a:lnTo>
                  <a:lnTo>
                    <a:pt x="167034" y="177454"/>
                  </a:lnTo>
                  <a:lnTo>
                    <a:pt x="123514" y="177454"/>
                  </a:lnTo>
                  <a:lnTo>
                    <a:pt x="113990" y="174828"/>
                  </a:lnTo>
                  <a:lnTo>
                    <a:pt x="103244" y="169080"/>
                  </a:lnTo>
                  <a:lnTo>
                    <a:pt x="95716" y="161101"/>
                  </a:lnTo>
                  <a:lnTo>
                    <a:pt x="91647" y="150727"/>
                  </a:lnTo>
                  <a:lnTo>
                    <a:pt x="91310" y="137824"/>
                  </a:lnTo>
                  <a:lnTo>
                    <a:pt x="145967" y="137824"/>
                  </a:lnTo>
                  <a:lnTo>
                    <a:pt x="145549" y="136222"/>
                  </a:lnTo>
                  <a:lnTo>
                    <a:pt x="96545" y="117574"/>
                  </a:lnTo>
                  <a:lnTo>
                    <a:pt x="97341" y="115406"/>
                  </a:lnTo>
                  <a:lnTo>
                    <a:pt x="99373" y="110139"/>
                  </a:lnTo>
                  <a:lnTo>
                    <a:pt x="99477" y="109626"/>
                  </a:lnTo>
                  <a:lnTo>
                    <a:pt x="75677" y="109626"/>
                  </a:lnTo>
                  <a:lnTo>
                    <a:pt x="63457" y="104977"/>
                  </a:lnTo>
                  <a:close/>
                </a:path>
                <a:path w="251459" h="427990">
                  <a:moveTo>
                    <a:pt x="152764" y="163886"/>
                  </a:moveTo>
                  <a:lnTo>
                    <a:pt x="148136" y="165091"/>
                  </a:lnTo>
                  <a:lnTo>
                    <a:pt x="144252" y="169088"/>
                  </a:lnTo>
                  <a:lnTo>
                    <a:pt x="138035" y="174506"/>
                  </a:lnTo>
                  <a:lnTo>
                    <a:pt x="131325" y="177322"/>
                  </a:lnTo>
                  <a:lnTo>
                    <a:pt x="123514" y="177454"/>
                  </a:lnTo>
                  <a:lnTo>
                    <a:pt x="167034" y="177454"/>
                  </a:lnTo>
                  <a:lnTo>
                    <a:pt x="167339" y="176650"/>
                  </a:lnTo>
                  <a:lnTo>
                    <a:pt x="165392" y="170965"/>
                  </a:lnTo>
                  <a:lnTo>
                    <a:pt x="160941" y="167729"/>
                  </a:lnTo>
                  <a:lnTo>
                    <a:pt x="159779" y="166808"/>
                  </a:lnTo>
                  <a:lnTo>
                    <a:pt x="158544" y="166085"/>
                  </a:lnTo>
                  <a:lnTo>
                    <a:pt x="152764" y="163886"/>
                  </a:lnTo>
                  <a:close/>
                </a:path>
                <a:path w="251459" h="427990">
                  <a:moveTo>
                    <a:pt x="145967" y="137824"/>
                  </a:moveTo>
                  <a:lnTo>
                    <a:pt x="91310" y="137824"/>
                  </a:lnTo>
                  <a:lnTo>
                    <a:pt x="137905" y="155552"/>
                  </a:lnTo>
                  <a:lnTo>
                    <a:pt x="142743" y="152934"/>
                  </a:lnTo>
                  <a:lnTo>
                    <a:pt x="146994" y="141761"/>
                  </a:lnTo>
                  <a:lnTo>
                    <a:pt x="145967" y="137824"/>
                  </a:lnTo>
                  <a:close/>
                </a:path>
                <a:path w="251459" h="427990">
                  <a:moveTo>
                    <a:pt x="163459" y="106778"/>
                  </a:moveTo>
                  <a:lnTo>
                    <a:pt x="100650" y="106778"/>
                  </a:lnTo>
                  <a:lnTo>
                    <a:pt x="158125" y="128641"/>
                  </a:lnTo>
                  <a:lnTo>
                    <a:pt x="163339" y="125364"/>
                  </a:lnTo>
                  <a:lnTo>
                    <a:pt x="167590" y="114202"/>
                  </a:lnTo>
                  <a:lnTo>
                    <a:pt x="166156" y="107804"/>
                  </a:lnTo>
                  <a:lnTo>
                    <a:pt x="163459" y="106778"/>
                  </a:lnTo>
                  <a:close/>
                </a:path>
                <a:path w="251459" h="427990">
                  <a:moveTo>
                    <a:pt x="186842" y="70092"/>
                  </a:moveTo>
                  <a:lnTo>
                    <a:pt x="141573" y="70092"/>
                  </a:lnTo>
                  <a:lnTo>
                    <a:pt x="152900" y="72580"/>
                  </a:lnTo>
                  <a:lnTo>
                    <a:pt x="161357" y="76813"/>
                  </a:lnTo>
                  <a:lnTo>
                    <a:pt x="166998" y="82202"/>
                  </a:lnTo>
                  <a:lnTo>
                    <a:pt x="170217" y="89206"/>
                  </a:lnTo>
                  <a:lnTo>
                    <a:pt x="171412" y="98286"/>
                  </a:lnTo>
                  <a:lnTo>
                    <a:pt x="171569" y="103249"/>
                  </a:lnTo>
                  <a:lnTo>
                    <a:pt x="173988" y="107574"/>
                  </a:lnTo>
                  <a:lnTo>
                    <a:pt x="180072" y="109888"/>
                  </a:lnTo>
                  <a:lnTo>
                    <a:pt x="181684" y="110830"/>
                  </a:lnTo>
                  <a:lnTo>
                    <a:pt x="183265" y="110610"/>
                  </a:lnTo>
                  <a:lnTo>
                    <a:pt x="183504" y="110610"/>
                  </a:lnTo>
                  <a:lnTo>
                    <a:pt x="183768" y="110338"/>
                  </a:lnTo>
                  <a:lnTo>
                    <a:pt x="189056" y="110181"/>
                  </a:lnTo>
                  <a:lnTo>
                    <a:pt x="193108" y="107406"/>
                  </a:lnTo>
                  <a:lnTo>
                    <a:pt x="195272" y="101679"/>
                  </a:lnTo>
                  <a:lnTo>
                    <a:pt x="195841" y="99867"/>
                  </a:lnTo>
                  <a:lnTo>
                    <a:pt x="195631" y="97354"/>
                  </a:lnTo>
                  <a:lnTo>
                    <a:pt x="193192" y="82239"/>
                  </a:lnTo>
                  <a:lnTo>
                    <a:pt x="186842" y="70092"/>
                  </a:lnTo>
                  <a:close/>
                </a:path>
                <a:path w="251459" h="427990">
                  <a:moveTo>
                    <a:pt x="183504" y="110610"/>
                  </a:moveTo>
                  <a:lnTo>
                    <a:pt x="183265" y="110610"/>
                  </a:lnTo>
                  <a:lnTo>
                    <a:pt x="183443" y="110673"/>
                  </a:lnTo>
                  <a:close/>
                </a:path>
                <a:path w="251459" h="427990">
                  <a:moveTo>
                    <a:pt x="75593" y="73345"/>
                  </a:moveTo>
                  <a:lnTo>
                    <a:pt x="69887" y="77187"/>
                  </a:lnTo>
                  <a:lnTo>
                    <a:pt x="65667" y="88276"/>
                  </a:lnTo>
                  <a:lnTo>
                    <a:pt x="67646" y="94213"/>
                  </a:lnTo>
                  <a:lnTo>
                    <a:pt x="79782" y="98831"/>
                  </a:lnTo>
                  <a:lnTo>
                    <a:pt x="78609" y="101679"/>
                  </a:lnTo>
                  <a:lnTo>
                    <a:pt x="78462" y="102307"/>
                  </a:lnTo>
                  <a:lnTo>
                    <a:pt x="76258" y="108045"/>
                  </a:lnTo>
                  <a:lnTo>
                    <a:pt x="75677" y="109626"/>
                  </a:lnTo>
                  <a:lnTo>
                    <a:pt x="99477" y="109626"/>
                  </a:lnTo>
                  <a:lnTo>
                    <a:pt x="100650" y="106778"/>
                  </a:lnTo>
                  <a:lnTo>
                    <a:pt x="163459" y="106778"/>
                  </a:lnTo>
                  <a:lnTo>
                    <a:pt x="111477" y="86999"/>
                  </a:lnTo>
                  <a:lnTo>
                    <a:pt x="119180" y="78779"/>
                  </a:lnTo>
                  <a:lnTo>
                    <a:pt x="89886" y="78779"/>
                  </a:lnTo>
                  <a:lnTo>
                    <a:pt x="75593" y="73345"/>
                  </a:lnTo>
                  <a:close/>
                </a:path>
                <a:path w="251459" h="427990">
                  <a:moveTo>
                    <a:pt x="139987" y="47560"/>
                  </a:moveTo>
                  <a:lnTo>
                    <a:pt x="103594" y="62238"/>
                  </a:lnTo>
                  <a:lnTo>
                    <a:pt x="89886" y="78779"/>
                  </a:lnTo>
                  <a:lnTo>
                    <a:pt x="119180" y="78779"/>
                  </a:lnTo>
                  <a:lnTo>
                    <a:pt x="120737" y="77118"/>
                  </a:lnTo>
                  <a:lnTo>
                    <a:pt x="130810" y="71544"/>
                  </a:lnTo>
                  <a:lnTo>
                    <a:pt x="141573" y="70092"/>
                  </a:lnTo>
                  <a:lnTo>
                    <a:pt x="186842" y="70092"/>
                  </a:lnTo>
                  <a:lnTo>
                    <a:pt x="186616" y="69659"/>
                  </a:lnTo>
                  <a:lnTo>
                    <a:pt x="175839" y="59544"/>
                  </a:lnTo>
                  <a:lnTo>
                    <a:pt x="160795" y="51827"/>
                  </a:lnTo>
                  <a:lnTo>
                    <a:pt x="150326" y="48743"/>
                  </a:lnTo>
                  <a:lnTo>
                    <a:pt x="139987" y="47560"/>
                  </a:lnTo>
                  <a:close/>
                </a:path>
                <a:path w="251459" h="427990">
                  <a:moveTo>
                    <a:pt x="19604" y="386996"/>
                  </a:moveTo>
                  <a:lnTo>
                    <a:pt x="12010" y="388771"/>
                  </a:lnTo>
                  <a:lnTo>
                    <a:pt x="5635" y="393265"/>
                  </a:lnTo>
                  <a:lnTo>
                    <a:pt x="1323" y="400099"/>
                  </a:lnTo>
                  <a:lnTo>
                    <a:pt x="0" y="408071"/>
                  </a:lnTo>
                  <a:lnTo>
                    <a:pt x="1775" y="415668"/>
                  </a:lnTo>
                  <a:lnTo>
                    <a:pt x="6269" y="422046"/>
                  </a:lnTo>
                  <a:lnTo>
                    <a:pt x="13103" y="426360"/>
                  </a:lnTo>
                  <a:lnTo>
                    <a:pt x="21074" y="427678"/>
                  </a:lnTo>
                  <a:lnTo>
                    <a:pt x="28672" y="425899"/>
                  </a:lnTo>
                  <a:lnTo>
                    <a:pt x="35050" y="421404"/>
                  </a:lnTo>
                  <a:lnTo>
                    <a:pt x="39364" y="414570"/>
                  </a:lnTo>
                  <a:lnTo>
                    <a:pt x="40683" y="406599"/>
                  </a:lnTo>
                  <a:lnTo>
                    <a:pt x="38907" y="399002"/>
                  </a:lnTo>
                  <a:lnTo>
                    <a:pt x="34412" y="392627"/>
                  </a:lnTo>
                  <a:lnTo>
                    <a:pt x="27574" y="388319"/>
                  </a:lnTo>
                  <a:lnTo>
                    <a:pt x="19604" y="386996"/>
                  </a:lnTo>
                  <a:close/>
                </a:path>
              </a:pathLst>
            </a:custGeom>
            <a:solidFill>
              <a:srgbClr val="D9771B"/>
            </a:solidFill>
          </p:spPr>
          <p:txBody>
            <a:bodyPr wrap="square" lIns="0" tIns="0" rIns="0" bIns="0" rtlCol="0"/>
            <a:lstStyle/>
            <a:p>
              <a:endParaRPr/>
            </a:p>
          </p:txBody>
        </p:sp>
      </p:grpSp>
    </p:spTree>
    <p:extLst>
      <p:ext uri="{BB962C8B-B14F-4D97-AF65-F5344CB8AC3E}">
        <p14:creationId xmlns:p14="http://schemas.microsoft.com/office/powerpoint/2010/main" val="2917103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475133"/>
            <a:ext cx="9144000" cy="3668028"/>
          </a:xfrm>
          <a:custGeom>
            <a:avLst/>
            <a:gdLst/>
            <a:ahLst/>
            <a:cxnLst/>
            <a:rect l="l" t="t" r="r" b="b"/>
            <a:pathLst>
              <a:path w="20104100" h="8065134">
                <a:moveTo>
                  <a:pt x="0" y="8065084"/>
                </a:moveTo>
                <a:lnTo>
                  <a:pt x="20104099" y="8065084"/>
                </a:lnTo>
                <a:lnTo>
                  <a:pt x="20104099" y="0"/>
                </a:lnTo>
                <a:lnTo>
                  <a:pt x="0" y="0"/>
                </a:lnTo>
                <a:lnTo>
                  <a:pt x="0" y="8065084"/>
                </a:lnTo>
                <a:close/>
              </a:path>
            </a:pathLst>
          </a:custGeom>
          <a:solidFill>
            <a:srgbClr val="D5D5D5"/>
          </a:solidFill>
        </p:spPr>
        <p:txBody>
          <a:bodyPr wrap="square" lIns="0" tIns="0" rIns="0" bIns="0" rtlCol="0"/>
          <a:lstStyle/>
          <a:p>
            <a:endParaRPr dirty="0"/>
          </a:p>
        </p:txBody>
      </p:sp>
      <p:sp>
        <p:nvSpPr>
          <p:cNvPr id="3" name="object 3"/>
          <p:cNvSpPr txBox="1">
            <a:spLocks noGrp="1"/>
          </p:cNvSpPr>
          <p:nvPr>
            <p:ph type="title"/>
          </p:nvPr>
        </p:nvSpPr>
        <p:spPr>
          <a:xfrm>
            <a:off x="535279" y="109930"/>
            <a:ext cx="8073441" cy="641445"/>
          </a:xfrm>
          <a:prstGeom prst="rect">
            <a:avLst/>
          </a:prstGeom>
        </p:spPr>
        <p:txBody>
          <a:bodyPr vert="horz" wrap="square" lIns="0" tIns="5198" rIns="0" bIns="0" rtlCol="0">
            <a:spAutoFit/>
          </a:bodyPr>
          <a:lstStyle/>
          <a:p>
            <a:pPr marL="246056" marR="2310">
              <a:lnSpc>
                <a:spcPct val="100800"/>
              </a:lnSpc>
              <a:spcBef>
                <a:spcPts val="41"/>
              </a:spcBef>
            </a:pPr>
            <a:r>
              <a:rPr spc="-2" dirty="0"/>
              <a:t>Le </a:t>
            </a:r>
            <a:r>
              <a:rPr spc="-11" dirty="0" err="1"/>
              <a:t>paiement</a:t>
            </a:r>
            <a:r>
              <a:rPr spc="-11" dirty="0"/>
              <a:t> </a:t>
            </a:r>
            <a:r>
              <a:rPr lang="fr-FR" spc="-2" dirty="0"/>
              <a:t>mobile s’inscrit dans le paysage des moyens de paiement</a:t>
            </a:r>
            <a:endParaRPr spc="-16" dirty="0"/>
          </a:p>
        </p:txBody>
      </p:sp>
      <p:sp>
        <p:nvSpPr>
          <p:cNvPr id="4" name="object 4"/>
          <p:cNvSpPr txBox="1"/>
          <p:nvPr/>
        </p:nvSpPr>
        <p:spPr>
          <a:xfrm>
            <a:off x="775669" y="890873"/>
            <a:ext cx="7590460" cy="299201"/>
          </a:xfrm>
          <a:prstGeom prst="rect">
            <a:avLst/>
          </a:prstGeom>
        </p:spPr>
        <p:txBody>
          <a:bodyPr vert="horz" wrap="square" lIns="0" tIns="6354" rIns="0" bIns="0" rtlCol="0">
            <a:spAutoFit/>
          </a:bodyPr>
          <a:lstStyle/>
          <a:p>
            <a:pPr marL="5776">
              <a:spcBef>
                <a:spcPts val="50"/>
              </a:spcBef>
            </a:pPr>
            <a:r>
              <a:rPr sz="900" b="1" spc="2" dirty="0">
                <a:solidFill>
                  <a:srgbClr val="1D1D1B"/>
                </a:solidFill>
                <a:latin typeface="Helvetica Neue"/>
                <a:cs typeface="Helvetica Neue"/>
              </a:rPr>
              <a:t>Pour chacun des moyens de paiement </a:t>
            </a:r>
            <a:r>
              <a:rPr sz="900" b="1" spc="-9" dirty="0">
                <a:solidFill>
                  <a:srgbClr val="1D1D1B"/>
                </a:solidFill>
                <a:latin typeface="Helvetica Neue"/>
                <a:cs typeface="Helvetica Neue"/>
              </a:rPr>
              <a:t>suivants, </a:t>
            </a:r>
            <a:r>
              <a:rPr sz="900" b="1" spc="-7" dirty="0">
                <a:solidFill>
                  <a:srgbClr val="1D1D1B"/>
                </a:solidFill>
                <a:latin typeface="Helvetica Neue"/>
                <a:cs typeface="Helvetica Neue"/>
              </a:rPr>
              <a:t>merci </a:t>
            </a:r>
            <a:r>
              <a:rPr sz="900" b="1" spc="-9" dirty="0">
                <a:solidFill>
                  <a:srgbClr val="1D1D1B"/>
                </a:solidFill>
                <a:latin typeface="Helvetica Neue"/>
                <a:cs typeface="Helvetica Neue"/>
              </a:rPr>
              <a:t>d’indiquer quelle </a:t>
            </a:r>
            <a:r>
              <a:rPr sz="900" b="1" spc="-7" dirty="0">
                <a:solidFill>
                  <a:srgbClr val="1D1D1B"/>
                </a:solidFill>
                <a:latin typeface="Helvetica Neue"/>
                <a:cs typeface="Helvetica Neue"/>
              </a:rPr>
              <a:t>phrase </a:t>
            </a:r>
            <a:r>
              <a:rPr sz="900" b="1" spc="2" dirty="0">
                <a:solidFill>
                  <a:srgbClr val="1D1D1B"/>
                </a:solidFill>
                <a:latin typeface="Helvetica Neue"/>
                <a:cs typeface="Helvetica Neue"/>
              </a:rPr>
              <a:t>correspond </a:t>
            </a:r>
            <a:r>
              <a:rPr sz="900" b="1" dirty="0">
                <a:solidFill>
                  <a:srgbClr val="1D1D1B"/>
                </a:solidFill>
                <a:latin typeface="Helvetica Neue"/>
                <a:cs typeface="Helvetica Neue"/>
              </a:rPr>
              <a:t>le </a:t>
            </a:r>
            <a:r>
              <a:rPr sz="900" b="1" spc="2" dirty="0">
                <a:solidFill>
                  <a:srgbClr val="1D1D1B"/>
                </a:solidFill>
                <a:latin typeface="Helvetica Neue"/>
                <a:cs typeface="Helvetica Neue"/>
              </a:rPr>
              <a:t>mieux à votre situation </a:t>
            </a:r>
            <a:r>
              <a:rPr sz="900" b="1" spc="2" dirty="0" err="1">
                <a:solidFill>
                  <a:srgbClr val="1D1D1B"/>
                </a:solidFill>
                <a:latin typeface="Helvetica Neue"/>
                <a:cs typeface="Helvetica Neue"/>
              </a:rPr>
              <a:t>actuelle</a:t>
            </a:r>
            <a:r>
              <a:rPr sz="900" b="1" spc="-45" dirty="0">
                <a:solidFill>
                  <a:srgbClr val="1D1D1B"/>
                </a:solidFill>
                <a:latin typeface="Helvetica Neue"/>
                <a:cs typeface="Helvetica Neue"/>
              </a:rPr>
              <a:t> </a:t>
            </a:r>
            <a:endParaRPr lang="fr-FR" sz="900" b="1" dirty="0">
              <a:solidFill>
                <a:srgbClr val="1D1D1B"/>
              </a:solidFill>
              <a:latin typeface="Helvetica Neue"/>
              <a:cs typeface="Helvetica Neue"/>
            </a:endParaRPr>
          </a:p>
          <a:p>
            <a:pPr marL="5776">
              <a:spcBef>
                <a:spcPts val="50"/>
              </a:spcBef>
            </a:pPr>
            <a:r>
              <a:rPr lang="fr-FR" sz="900" dirty="0">
                <a:solidFill>
                  <a:srgbClr val="1D1D1B"/>
                </a:solidFill>
                <a:latin typeface="Helvetica Neue"/>
                <a:cs typeface="Helvetica Neue"/>
              </a:rPr>
              <a:t>% des utilisateurs réguliers ou occasionnels</a:t>
            </a:r>
            <a:endParaRPr sz="900" dirty="0">
              <a:latin typeface="Helvetica Neue"/>
              <a:cs typeface="Helvetica Neue"/>
            </a:endParaRPr>
          </a:p>
        </p:txBody>
      </p:sp>
      <p:sp>
        <p:nvSpPr>
          <p:cNvPr id="11" name="object 11"/>
          <p:cNvSpPr txBox="1"/>
          <p:nvPr/>
        </p:nvSpPr>
        <p:spPr>
          <a:xfrm>
            <a:off x="3746715" y="2208562"/>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2024</a:t>
            </a:r>
            <a:endParaRPr sz="600">
              <a:latin typeface="Helvetica Neue"/>
              <a:cs typeface="Helvetica Neue"/>
            </a:endParaRPr>
          </a:p>
        </p:txBody>
      </p:sp>
      <p:sp>
        <p:nvSpPr>
          <p:cNvPr id="12" name="object 12"/>
          <p:cNvSpPr txBox="1"/>
          <p:nvPr/>
        </p:nvSpPr>
        <p:spPr>
          <a:xfrm>
            <a:off x="4774348" y="2208562"/>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2015</a:t>
            </a:r>
            <a:endParaRPr sz="600">
              <a:latin typeface="Helvetica Neue"/>
              <a:cs typeface="Helvetica Neue"/>
            </a:endParaRPr>
          </a:p>
        </p:txBody>
      </p:sp>
      <p:sp>
        <p:nvSpPr>
          <p:cNvPr id="13" name="object 13"/>
          <p:cNvSpPr txBox="1"/>
          <p:nvPr/>
        </p:nvSpPr>
        <p:spPr>
          <a:xfrm>
            <a:off x="5847501" y="2208562"/>
            <a:ext cx="322322" cy="98749"/>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lang="fr-FR" sz="600" spc="-39" dirty="0">
                <a:latin typeface="Helvetica Neue"/>
                <a:cs typeface="Helvetica Neue"/>
              </a:rPr>
              <a:t>1005</a:t>
            </a:r>
            <a:endParaRPr sz="600" dirty="0">
              <a:latin typeface="Helvetica Neue"/>
              <a:cs typeface="Helvetica Neue"/>
            </a:endParaRPr>
          </a:p>
        </p:txBody>
      </p:sp>
      <p:sp>
        <p:nvSpPr>
          <p:cNvPr id="14" name="object 14"/>
          <p:cNvSpPr txBox="1"/>
          <p:nvPr/>
        </p:nvSpPr>
        <p:spPr>
          <a:xfrm>
            <a:off x="6911186" y="2208562"/>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1007</a:t>
            </a:r>
            <a:endParaRPr sz="600">
              <a:latin typeface="Helvetica Neue"/>
              <a:cs typeface="Helvetica Neue"/>
            </a:endParaRPr>
          </a:p>
        </p:txBody>
      </p:sp>
      <p:sp>
        <p:nvSpPr>
          <p:cNvPr id="15" name="object 15"/>
          <p:cNvSpPr txBox="1"/>
          <p:nvPr/>
        </p:nvSpPr>
        <p:spPr>
          <a:xfrm>
            <a:off x="7979567" y="2208562"/>
            <a:ext cx="322322" cy="102523"/>
          </a:xfrm>
          <a:prstGeom prst="rect">
            <a:avLst/>
          </a:prstGeom>
        </p:spPr>
        <p:txBody>
          <a:bodyPr vert="horz" wrap="square" lIns="0" tIns="6354" rIns="0" bIns="0" rtlCol="0">
            <a:spAutoFit/>
          </a:bodyPr>
          <a:lstStyle/>
          <a:p>
            <a:pPr marL="5776">
              <a:spcBef>
                <a:spcPts val="50"/>
              </a:spcBef>
            </a:pPr>
            <a:r>
              <a:rPr sz="600" spc="2" dirty="0">
                <a:latin typeface="Helvetica Neue"/>
                <a:cs typeface="Helvetica Neue"/>
              </a:rPr>
              <a:t>N =</a:t>
            </a:r>
            <a:r>
              <a:rPr sz="600" spc="-39" dirty="0">
                <a:latin typeface="Helvetica Neue"/>
                <a:cs typeface="Helvetica Neue"/>
              </a:rPr>
              <a:t> </a:t>
            </a:r>
            <a:r>
              <a:rPr sz="600" spc="2" dirty="0">
                <a:latin typeface="Helvetica Neue"/>
                <a:cs typeface="Helvetica Neue"/>
              </a:rPr>
              <a:t>1003</a:t>
            </a:r>
            <a:endParaRPr sz="600">
              <a:latin typeface="Helvetica Neue"/>
              <a:cs typeface="Helvetica Neue"/>
            </a:endParaRPr>
          </a:p>
        </p:txBody>
      </p:sp>
      <p:sp>
        <p:nvSpPr>
          <p:cNvPr id="16" name="object 16"/>
          <p:cNvSpPr/>
          <p:nvPr/>
        </p:nvSpPr>
        <p:spPr>
          <a:xfrm>
            <a:off x="3956191" y="1878378"/>
            <a:ext cx="101087" cy="287932"/>
          </a:xfrm>
          <a:custGeom>
            <a:avLst/>
            <a:gdLst/>
            <a:ahLst/>
            <a:cxnLst/>
            <a:rect l="l" t="t" r="r" b="b"/>
            <a:pathLst>
              <a:path w="222250" h="633095">
                <a:moveTo>
                  <a:pt x="0" y="0"/>
                </a:moveTo>
                <a:lnTo>
                  <a:pt x="0" y="632902"/>
                </a:lnTo>
                <a:lnTo>
                  <a:pt x="41699" y="614455"/>
                </a:lnTo>
                <a:lnTo>
                  <a:pt x="80213" y="590779"/>
                </a:lnTo>
                <a:lnTo>
                  <a:pt x="115082" y="562323"/>
                </a:lnTo>
                <a:lnTo>
                  <a:pt x="145845" y="529539"/>
                </a:lnTo>
                <a:lnTo>
                  <a:pt x="172045" y="492877"/>
                </a:lnTo>
                <a:lnTo>
                  <a:pt x="193222" y="452786"/>
                </a:lnTo>
                <a:lnTo>
                  <a:pt x="208917" y="409718"/>
                </a:lnTo>
                <a:lnTo>
                  <a:pt x="218671" y="364123"/>
                </a:lnTo>
                <a:lnTo>
                  <a:pt x="222024" y="316451"/>
                </a:lnTo>
                <a:lnTo>
                  <a:pt x="218671" y="268778"/>
                </a:lnTo>
                <a:lnTo>
                  <a:pt x="208917" y="223183"/>
                </a:lnTo>
                <a:lnTo>
                  <a:pt x="193222" y="180115"/>
                </a:lnTo>
                <a:lnTo>
                  <a:pt x="172045" y="140025"/>
                </a:lnTo>
                <a:lnTo>
                  <a:pt x="145845" y="103362"/>
                </a:lnTo>
                <a:lnTo>
                  <a:pt x="115082" y="70578"/>
                </a:lnTo>
                <a:lnTo>
                  <a:pt x="80213" y="42123"/>
                </a:lnTo>
                <a:lnTo>
                  <a:pt x="41699" y="18446"/>
                </a:lnTo>
                <a:lnTo>
                  <a:pt x="0" y="0"/>
                </a:lnTo>
                <a:close/>
              </a:path>
            </a:pathLst>
          </a:custGeom>
          <a:solidFill>
            <a:srgbClr val="C60E33"/>
          </a:solidFill>
        </p:spPr>
        <p:txBody>
          <a:bodyPr wrap="square" lIns="0" tIns="0" rIns="0" bIns="0" rtlCol="0"/>
          <a:lstStyle/>
          <a:p>
            <a:endParaRPr/>
          </a:p>
        </p:txBody>
      </p:sp>
      <p:sp>
        <p:nvSpPr>
          <p:cNvPr id="17" name="object 17"/>
          <p:cNvSpPr/>
          <p:nvPr/>
        </p:nvSpPr>
        <p:spPr>
          <a:xfrm>
            <a:off x="3750613" y="1878378"/>
            <a:ext cx="101087" cy="287932"/>
          </a:xfrm>
          <a:custGeom>
            <a:avLst/>
            <a:gdLst/>
            <a:ahLst/>
            <a:cxnLst/>
            <a:rect l="l" t="t" r="r" b="b"/>
            <a:pathLst>
              <a:path w="222250" h="633095">
                <a:moveTo>
                  <a:pt x="222024" y="0"/>
                </a:moveTo>
                <a:lnTo>
                  <a:pt x="180327" y="18446"/>
                </a:lnTo>
                <a:lnTo>
                  <a:pt x="141815" y="42123"/>
                </a:lnTo>
                <a:lnTo>
                  <a:pt x="106947" y="70578"/>
                </a:lnTo>
                <a:lnTo>
                  <a:pt x="76183" y="103362"/>
                </a:lnTo>
                <a:lnTo>
                  <a:pt x="49982" y="140025"/>
                </a:lnTo>
                <a:lnTo>
                  <a:pt x="28804" y="180115"/>
                </a:lnTo>
                <a:lnTo>
                  <a:pt x="13108" y="223183"/>
                </a:lnTo>
                <a:lnTo>
                  <a:pt x="3353" y="268778"/>
                </a:lnTo>
                <a:lnTo>
                  <a:pt x="0" y="316451"/>
                </a:lnTo>
                <a:lnTo>
                  <a:pt x="3353" y="364123"/>
                </a:lnTo>
                <a:lnTo>
                  <a:pt x="13108" y="409718"/>
                </a:lnTo>
                <a:lnTo>
                  <a:pt x="28804" y="452786"/>
                </a:lnTo>
                <a:lnTo>
                  <a:pt x="49982" y="492877"/>
                </a:lnTo>
                <a:lnTo>
                  <a:pt x="76183" y="529539"/>
                </a:lnTo>
                <a:lnTo>
                  <a:pt x="106947" y="562323"/>
                </a:lnTo>
                <a:lnTo>
                  <a:pt x="141815" y="590779"/>
                </a:lnTo>
                <a:lnTo>
                  <a:pt x="180327" y="614455"/>
                </a:lnTo>
                <a:lnTo>
                  <a:pt x="222024" y="632902"/>
                </a:lnTo>
                <a:lnTo>
                  <a:pt x="222024" y="0"/>
                </a:lnTo>
                <a:close/>
              </a:path>
            </a:pathLst>
          </a:custGeom>
          <a:solidFill>
            <a:srgbClr val="354083"/>
          </a:solidFill>
        </p:spPr>
        <p:txBody>
          <a:bodyPr wrap="square" lIns="0" tIns="0" rIns="0" bIns="0" rtlCol="0"/>
          <a:lstStyle/>
          <a:p>
            <a:endParaRPr/>
          </a:p>
        </p:txBody>
      </p:sp>
      <p:sp>
        <p:nvSpPr>
          <p:cNvPr id="18" name="object 18"/>
          <p:cNvSpPr/>
          <p:nvPr/>
        </p:nvSpPr>
        <p:spPr>
          <a:xfrm>
            <a:off x="3851597" y="1869028"/>
            <a:ext cx="104841" cy="306704"/>
          </a:xfrm>
          <a:custGeom>
            <a:avLst/>
            <a:gdLst/>
            <a:ahLst/>
            <a:cxnLst/>
            <a:rect l="l" t="t" r="r" b="b"/>
            <a:pathLst>
              <a:path w="230504" h="674370">
                <a:moveTo>
                  <a:pt x="114980" y="0"/>
                </a:moveTo>
                <a:lnTo>
                  <a:pt x="85004" y="1375"/>
                </a:lnTo>
                <a:lnTo>
                  <a:pt x="55798" y="5380"/>
                </a:lnTo>
                <a:lnTo>
                  <a:pt x="27438" y="11834"/>
                </a:lnTo>
                <a:lnTo>
                  <a:pt x="0" y="20554"/>
                </a:lnTo>
                <a:lnTo>
                  <a:pt x="0" y="653456"/>
                </a:lnTo>
                <a:lnTo>
                  <a:pt x="27438" y="662182"/>
                </a:lnTo>
                <a:lnTo>
                  <a:pt x="55798" y="668639"/>
                </a:lnTo>
                <a:lnTo>
                  <a:pt x="85004" y="672645"/>
                </a:lnTo>
                <a:lnTo>
                  <a:pt x="114980" y="674021"/>
                </a:lnTo>
                <a:lnTo>
                  <a:pt x="144957" y="672645"/>
                </a:lnTo>
                <a:lnTo>
                  <a:pt x="174163" y="668639"/>
                </a:lnTo>
                <a:lnTo>
                  <a:pt x="202523" y="662182"/>
                </a:lnTo>
                <a:lnTo>
                  <a:pt x="229961" y="653456"/>
                </a:lnTo>
                <a:lnTo>
                  <a:pt x="229961" y="20554"/>
                </a:lnTo>
                <a:lnTo>
                  <a:pt x="202523" y="11834"/>
                </a:lnTo>
                <a:lnTo>
                  <a:pt x="174163" y="5380"/>
                </a:lnTo>
                <a:lnTo>
                  <a:pt x="144957" y="1375"/>
                </a:lnTo>
                <a:lnTo>
                  <a:pt x="114980" y="0"/>
                </a:lnTo>
                <a:close/>
              </a:path>
            </a:pathLst>
          </a:custGeom>
          <a:solidFill>
            <a:srgbClr val="FFFFFF"/>
          </a:solidFill>
        </p:spPr>
        <p:txBody>
          <a:bodyPr wrap="square" lIns="0" tIns="0" rIns="0" bIns="0" rtlCol="0"/>
          <a:lstStyle/>
          <a:p>
            <a:endParaRPr/>
          </a:p>
        </p:txBody>
      </p:sp>
      <p:sp>
        <p:nvSpPr>
          <p:cNvPr id="19" name="object 19"/>
          <p:cNvSpPr/>
          <p:nvPr/>
        </p:nvSpPr>
        <p:spPr>
          <a:xfrm>
            <a:off x="4780883" y="1869031"/>
            <a:ext cx="305662" cy="305640"/>
          </a:xfrm>
          <a:prstGeom prst="rect">
            <a:avLst/>
          </a:prstGeom>
          <a:blipFill>
            <a:blip r:embed="rId3" cstate="print"/>
            <a:stretch>
              <a:fillRect/>
            </a:stretch>
          </a:blipFill>
        </p:spPr>
        <p:txBody>
          <a:bodyPr wrap="square" lIns="0" tIns="0" rIns="0" bIns="0" rtlCol="0"/>
          <a:lstStyle/>
          <a:p>
            <a:endParaRPr/>
          </a:p>
        </p:txBody>
      </p:sp>
      <p:sp>
        <p:nvSpPr>
          <p:cNvPr id="20" name="object 20"/>
          <p:cNvSpPr/>
          <p:nvPr/>
        </p:nvSpPr>
        <p:spPr>
          <a:xfrm>
            <a:off x="5852841" y="1866883"/>
            <a:ext cx="307881" cy="307859"/>
          </a:xfrm>
          <a:custGeom>
            <a:avLst/>
            <a:gdLst/>
            <a:ahLst/>
            <a:cxnLst/>
            <a:rect l="l" t="t" r="r" b="b"/>
            <a:pathLst>
              <a:path w="676909" h="676910">
                <a:moveTo>
                  <a:pt x="384283" y="3088"/>
                </a:moveTo>
                <a:lnTo>
                  <a:pt x="292450" y="3088"/>
                </a:lnTo>
                <a:lnTo>
                  <a:pt x="248412" y="12086"/>
                </a:lnTo>
                <a:lnTo>
                  <a:pt x="206655" y="26590"/>
                </a:lnTo>
                <a:lnTo>
                  <a:pt x="167582" y="46197"/>
                </a:lnTo>
                <a:lnTo>
                  <a:pt x="131596" y="70503"/>
                </a:lnTo>
                <a:lnTo>
                  <a:pt x="99101" y="99106"/>
                </a:lnTo>
                <a:lnTo>
                  <a:pt x="70500" y="131603"/>
                </a:lnTo>
                <a:lnTo>
                  <a:pt x="46194" y="167590"/>
                </a:lnTo>
                <a:lnTo>
                  <a:pt x="26589" y="206663"/>
                </a:lnTo>
                <a:lnTo>
                  <a:pt x="12086" y="248421"/>
                </a:lnTo>
                <a:lnTo>
                  <a:pt x="3088" y="292460"/>
                </a:lnTo>
                <a:lnTo>
                  <a:pt x="0" y="338377"/>
                </a:lnTo>
                <a:lnTo>
                  <a:pt x="3088" y="384291"/>
                </a:lnTo>
                <a:lnTo>
                  <a:pt x="12086" y="428328"/>
                </a:lnTo>
                <a:lnTo>
                  <a:pt x="26589" y="470085"/>
                </a:lnTo>
                <a:lnTo>
                  <a:pt x="46194" y="509159"/>
                </a:lnTo>
                <a:lnTo>
                  <a:pt x="70500" y="545146"/>
                </a:lnTo>
                <a:lnTo>
                  <a:pt x="99101" y="577643"/>
                </a:lnTo>
                <a:lnTo>
                  <a:pt x="131596" y="606247"/>
                </a:lnTo>
                <a:lnTo>
                  <a:pt x="167582" y="630554"/>
                </a:lnTo>
                <a:lnTo>
                  <a:pt x="206655" y="650161"/>
                </a:lnTo>
                <a:lnTo>
                  <a:pt x="248412" y="664666"/>
                </a:lnTo>
                <a:lnTo>
                  <a:pt x="292450" y="673665"/>
                </a:lnTo>
                <a:lnTo>
                  <a:pt x="337121" y="676670"/>
                </a:lnTo>
                <a:lnTo>
                  <a:pt x="339611" y="676670"/>
                </a:lnTo>
                <a:lnTo>
                  <a:pt x="384283" y="673665"/>
                </a:lnTo>
                <a:lnTo>
                  <a:pt x="428322" y="664666"/>
                </a:lnTo>
                <a:lnTo>
                  <a:pt x="470079" y="650161"/>
                </a:lnTo>
                <a:lnTo>
                  <a:pt x="509153" y="630554"/>
                </a:lnTo>
                <a:lnTo>
                  <a:pt x="545140" y="606247"/>
                </a:lnTo>
                <a:lnTo>
                  <a:pt x="577636" y="577643"/>
                </a:lnTo>
                <a:lnTo>
                  <a:pt x="606239" y="545146"/>
                </a:lnTo>
                <a:lnTo>
                  <a:pt x="630546" y="509159"/>
                </a:lnTo>
                <a:lnTo>
                  <a:pt x="650152" y="470085"/>
                </a:lnTo>
                <a:lnTo>
                  <a:pt x="664656" y="428328"/>
                </a:lnTo>
                <a:lnTo>
                  <a:pt x="673654" y="384291"/>
                </a:lnTo>
                <a:lnTo>
                  <a:pt x="676743" y="338377"/>
                </a:lnTo>
                <a:lnTo>
                  <a:pt x="673654" y="292460"/>
                </a:lnTo>
                <a:lnTo>
                  <a:pt x="664656" y="248421"/>
                </a:lnTo>
                <a:lnTo>
                  <a:pt x="650152" y="206663"/>
                </a:lnTo>
                <a:lnTo>
                  <a:pt x="630546" y="167590"/>
                </a:lnTo>
                <a:lnTo>
                  <a:pt x="606239" y="131603"/>
                </a:lnTo>
                <a:lnTo>
                  <a:pt x="577636" y="99106"/>
                </a:lnTo>
                <a:lnTo>
                  <a:pt x="545140" y="70503"/>
                </a:lnTo>
                <a:lnTo>
                  <a:pt x="509153" y="46197"/>
                </a:lnTo>
                <a:lnTo>
                  <a:pt x="470079" y="26590"/>
                </a:lnTo>
                <a:lnTo>
                  <a:pt x="428322" y="12086"/>
                </a:lnTo>
                <a:lnTo>
                  <a:pt x="384283" y="3088"/>
                </a:lnTo>
                <a:close/>
              </a:path>
              <a:path w="676909" h="676910">
                <a:moveTo>
                  <a:pt x="338366" y="0"/>
                </a:moveTo>
                <a:lnTo>
                  <a:pt x="292450" y="3088"/>
                </a:lnTo>
                <a:lnTo>
                  <a:pt x="384283" y="3088"/>
                </a:lnTo>
                <a:lnTo>
                  <a:pt x="338366" y="0"/>
                </a:lnTo>
                <a:close/>
              </a:path>
            </a:pathLst>
          </a:custGeom>
          <a:solidFill>
            <a:srgbClr val="FFFFFF"/>
          </a:solidFill>
        </p:spPr>
        <p:txBody>
          <a:bodyPr wrap="square" lIns="0" tIns="0" rIns="0" bIns="0" rtlCol="0"/>
          <a:lstStyle/>
          <a:p>
            <a:endParaRPr/>
          </a:p>
        </p:txBody>
      </p:sp>
      <p:sp>
        <p:nvSpPr>
          <p:cNvPr id="21" name="object 21"/>
          <p:cNvSpPr/>
          <p:nvPr/>
        </p:nvSpPr>
        <p:spPr>
          <a:xfrm>
            <a:off x="5852841" y="1866884"/>
            <a:ext cx="307881" cy="307859"/>
          </a:xfrm>
          <a:custGeom>
            <a:avLst/>
            <a:gdLst/>
            <a:ahLst/>
            <a:cxnLst/>
            <a:rect l="l" t="t" r="r" b="b"/>
            <a:pathLst>
              <a:path w="676909" h="676910">
                <a:moveTo>
                  <a:pt x="405660" y="405799"/>
                </a:moveTo>
                <a:lnTo>
                  <a:pt x="270366" y="405799"/>
                </a:lnTo>
                <a:lnTo>
                  <a:pt x="270366" y="669151"/>
                </a:lnTo>
                <a:lnTo>
                  <a:pt x="292450" y="673663"/>
                </a:lnTo>
                <a:lnTo>
                  <a:pt x="337146" y="676670"/>
                </a:lnTo>
                <a:lnTo>
                  <a:pt x="339586" y="676670"/>
                </a:lnTo>
                <a:lnTo>
                  <a:pt x="384283" y="673663"/>
                </a:lnTo>
                <a:lnTo>
                  <a:pt x="405660" y="669295"/>
                </a:lnTo>
                <a:lnTo>
                  <a:pt x="405660" y="405799"/>
                </a:lnTo>
                <a:close/>
              </a:path>
              <a:path w="676909" h="676910">
                <a:moveTo>
                  <a:pt x="669171" y="270515"/>
                </a:moveTo>
                <a:lnTo>
                  <a:pt x="7571" y="270515"/>
                </a:lnTo>
                <a:lnTo>
                  <a:pt x="3088" y="292458"/>
                </a:lnTo>
                <a:lnTo>
                  <a:pt x="0" y="338375"/>
                </a:lnTo>
                <a:lnTo>
                  <a:pt x="3088" y="384289"/>
                </a:lnTo>
                <a:lnTo>
                  <a:pt x="7483" y="405799"/>
                </a:lnTo>
                <a:lnTo>
                  <a:pt x="669259" y="405799"/>
                </a:lnTo>
                <a:lnTo>
                  <a:pt x="673654" y="384289"/>
                </a:lnTo>
                <a:lnTo>
                  <a:pt x="676743" y="338375"/>
                </a:lnTo>
                <a:lnTo>
                  <a:pt x="673654" y="292458"/>
                </a:lnTo>
                <a:lnTo>
                  <a:pt x="669171" y="270515"/>
                </a:lnTo>
                <a:close/>
              </a:path>
              <a:path w="676909" h="676910">
                <a:moveTo>
                  <a:pt x="384283" y="3087"/>
                </a:moveTo>
                <a:lnTo>
                  <a:pt x="292450" y="3087"/>
                </a:lnTo>
                <a:lnTo>
                  <a:pt x="270366" y="7599"/>
                </a:lnTo>
                <a:lnTo>
                  <a:pt x="270366" y="270515"/>
                </a:lnTo>
                <a:lnTo>
                  <a:pt x="405660" y="270515"/>
                </a:lnTo>
                <a:lnTo>
                  <a:pt x="405660" y="7455"/>
                </a:lnTo>
                <a:lnTo>
                  <a:pt x="384283" y="3087"/>
                </a:lnTo>
                <a:close/>
              </a:path>
              <a:path w="676909" h="676910">
                <a:moveTo>
                  <a:pt x="338391" y="0"/>
                </a:moveTo>
                <a:lnTo>
                  <a:pt x="292450" y="3087"/>
                </a:lnTo>
                <a:lnTo>
                  <a:pt x="384283" y="3087"/>
                </a:lnTo>
                <a:lnTo>
                  <a:pt x="338391" y="0"/>
                </a:lnTo>
                <a:close/>
              </a:path>
            </a:pathLst>
          </a:custGeom>
          <a:solidFill>
            <a:srgbClr val="BE142B"/>
          </a:solidFill>
        </p:spPr>
        <p:txBody>
          <a:bodyPr wrap="square" lIns="0" tIns="0" rIns="0" bIns="0" rtlCol="0"/>
          <a:lstStyle/>
          <a:p>
            <a:endParaRPr/>
          </a:p>
        </p:txBody>
      </p:sp>
      <p:sp>
        <p:nvSpPr>
          <p:cNvPr id="22" name="object 22"/>
          <p:cNvSpPr/>
          <p:nvPr/>
        </p:nvSpPr>
        <p:spPr>
          <a:xfrm>
            <a:off x="6057871" y="1875928"/>
            <a:ext cx="73071" cy="90683"/>
          </a:xfrm>
          <a:custGeom>
            <a:avLst/>
            <a:gdLst/>
            <a:ahLst/>
            <a:cxnLst/>
            <a:rect l="l" t="t" r="r" b="b"/>
            <a:pathLst>
              <a:path w="160655" h="199389">
                <a:moveTo>
                  <a:pt x="0" y="0"/>
                </a:moveTo>
                <a:lnTo>
                  <a:pt x="0" y="199150"/>
                </a:lnTo>
                <a:lnTo>
                  <a:pt x="160351" y="118959"/>
                </a:lnTo>
                <a:lnTo>
                  <a:pt x="126856" y="79219"/>
                </a:lnTo>
                <a:lnTo>
                  <a:pt x="94359" y="50616"/>
                </a:lnTo>
                <a:lnTo>
                  <a:pt x="58373" y="26310"/>
                </a:lnTo>
                <a:lnTo>
                  <a:pt x="19299" y="6703"/>
                </a:lnTo>
                <a:lnTo>
                  <a:pt x="0" y="0"/>
                </a:lnTo>
                <a:close/>
              </a:path>
            </a:pathLst>
          </a:custGeom>
          <a:solidFill>
            <a:srgbClr val="24346C"/>
          </a:solidFill>
        </p:spPr>
        <p:txBody>
          <a:bodyPr wrap="square" lIns="0" tIns="0" rIns="0" bIns="0" rtlCol="0"/>
          <a:lstStyle/>
          <a:p>
            <a:endParaRPr/>
          </a:p>
        </p:txBody>
      </p:sp>
      <p:sp>
        <p:nvSpPr>
          <p:cNvPr id="23" name="object 23"/>
          <p:cNvSpPr/>
          <p:nvPr/>
        </p:nvSpPr>
        <p:spPr>
          <a:xfrm>
            <a:off x="6057871" y="2075015"/>
            <a:ext cx="73071" cy="90683"/>
          </a:xfrm>
          <a:custGeom>
            <a:avLst/>
            <a:gdLst/>
            <a:ahLst/>
            <a:cxnLst/>
            <a:rect l="l" t="t" r="r" b="b"/>
            <a:pathLst>
              <a:path w="160655" h="199389">
                <a:moveTo>
                  <a:pt x="0" y="0"/>
                </a:moveTo>
                <a:lnTo>
                  <a:pt x="0" y="199231"/>
                </a:lnTo>
                <a:lnTo>
                  <a:pt x="19299" y="192527"/>
                </a:lnTo>
                <a:lnTo>
                  <a:pt x="58373" y="172920"/>
                </a:lnTo>
                <a:lnTo>
                  <a:pt x="94359" y="148613"/>
                </a:lnTo>
                <a:lnTo>
                  <a:pt x="126856" y="120009"/>
                </a:lnTo>
                <a:lnTo>
                  <a:pt x="155459" y="87512"/>
                </a:lnTo>
                <a:lnTo>
                  <a:pt x="160391" y="80210"/>
                </a:lnTo>
                <a:lnTo>
                  <a:pt x="0" y="0"/>
                </a:lnTo>
                <a:close/>
              </a:path>
            </a:pathLst>
          </a:custGeom>
          <a:solidFill>
            <a:srgbClr val="24346C"/>
          </a:solidFill>
        </p:spPr>
        <p:txBody>
          <a:bodyPr wrap="square" lIns="0" tIns="0" rIns="0" bIns="0" rtlCol="0"/>
          <a:lstStyle/>
          <a:p>
            <a:endParaRPr/>
          </a:p>
        </p:txBody>
      </p:sp>
      <p:sp>
        <p:nvSpPr>
          <p:cNvPr id="24" name="object 24"/>
          <p:cNvSpPr/>
          <p:nvPr/>
        </p:nvSpPr>
        <p:spPr>
          <a:xfrm>
            <a:off x="5882583" y="2075015"/>
            <a:ext cx="72782" cy="90683"/>
          </a:xfrm>
          <a:custGeom>
            <a:avLst/>
            <a:gdLst/>
            <a:ahLst/>
            <a:cxnLst/>
            <a:rect l="l" t="t" r="r" b="b"/>
            <a:pathLst>
              <a:path w="160019" h="199389">
                <a:moveTo>
                  <a:pt x="159861" y="0"/>
                </a:moveTo>
                <a:lnTo>
                  <a:pt x="0" y="79946"/>
                </a:lnTo>
                <a:lnTo>
                  <a:pt x="5110" y="87512"/>
                </a:lnTo>
                <a:lnTo>
                  <a:pt x="33711" y="120009"/>
                </a:lnTo>
                <a:lnTo>
                  <a:pt x="66206" y="148613"/>
                </a:lnTo>
                <a:lnTo>
                  <a:pt x="102192" y="172920"/>
                </a:lnTo>
                <a:lnTo>
                  <a:pt x="141265" y="192527"/>
                </a:lnTo>
                <a:lnTo>
                  <a:pt x="159861" y="198987"/>
                </a:lnTo>
                <a:lnTo>
                  <a:pt x="159861" y="0"/>
                </a:lnTo>
                <a:close/>
              </a:path>
            </a:pathLst>
          </a:custGeom>
          <a:solidFill>
            <a:srgbClr val="24346C"/>
          </a:solidFill>
        </p:spPr>
        <p:txBody>
          <a:bodyPr wrap="square" lIns="0" tIns="0" rIns="0" bIns="0" rtlCol="0"/>
          <a:lstStyle/>
          <a:p>
            <a:endParaRPr/>
          </a:p>
        </p:txBody>
      </p:sp>
      <p:sp>
        <p:nvSpPr>
          <p:cNvPr id="25" name="object 25"/>
          <p:cNvSpPr/>
          <p:nvPr/>
        </p:nvSpPr>
        <p:spPr>
          <a:xfrm>
            <a:off x="5882600" y="1876039"/>
            <a:ext cx="72782" cy="90683"/>
          </a:xfrm>
          <a:custGeom>
            <a:avLst/>
            <a:gdLst/>
            <a:ahLst/>
            <a:cxnLst/>
            <a:rect l="l" t="t" r="r" b="b"/>
            <a:pathLst>
              <a:path w="160019" h="199389">
                <a:moveTo>
                  <a:pt x="159822" y="0"/>
                </a:moveTo>
                <a:lnTo>
                  <a:pt x="102153" y="26066"/>
                </a:lnTo>
                <a:lnTo>
                  <a:pt x="66167" y="50372"/>
                </a:lnTo>
                <a:lnTo>
                  <a:pt x="33672" y="78975"/>
                </a:lnTo>
                <a:lnTo>
                  <a:pt x="5070" y="111471"/>
                </a:lnTo>
                <a:lnTo>
                  <a:pt x="0" y="118979"/>
                </a:lnTo>
                <a:lnTo>
                  <a:pt x="159822" y="198906"/>
                </a:lnTo>
                <a:lnTo>
                  <a:pt x="159822" y="0"/>
                </a:lnTo>
                <a:close/>
              </a:path>
            </a:pathLst>
          </a:custGeom>
          <a:solidFill>
            <a:srgbClr val="24346C"/>
          </a:solidFill>
        </p:spPr>
        <p:txBody>
          <a:bodyPr wrap="square" lIns="0" tIns="0" rIns="0" bIns="0" rtlCol="0"/>
          <a:lstStyle/>
          <a:p>
            <a:endParaRPr/>
          </a:p>
        </p:txBody>
      </p:sp>
      <p:sp>
        <p:nvSpPr>
          <p:cNvPr id="26" name="object 26"/>
          <p:cNvSpPr/>
          <p:nvPr/>
        </p:nvSpPr>
        <p:spPr>
          <a:xfrm>
            <a:off x="6075280" y="1938712"/>
            <a:ext cx="69028" cy="30901"/>
          </a:xfrm>
          <a:custGeom>
            <a:avLst/>
            <a:gdLst/>
            <a:ahLst/>
            <a:cxnLst/>
            <a:rect l="l" t="t" r="r" b="b"/>
            <a:pathLst>
              <a:path w="151765" h="67945">
                <a:moveTo>
                  <a:pt x="134967" y="0"/>
                </a:moveTo>
                <a:lnTo>
                  <a:pt x="0" y="67617"/>
                </a:lnTo>
                <a:lnTo>
                  <a:pt x="75139" y="67617"/>
                </a:lnTo>
                <a:lnTo>
                  <a:pt x="151425" y="29458"/>
                </a:lnTo>
                <a:lnTo>
                  <a:pt x="141488" y="9655"/>
                </a:lnTo>
                <a:lnTo>
                  <a:pt x="134967" y="0"/>
                </a:lnTo>
                <a:close/>
              </a:path>
            </a:pathLst>
          </a:custGeom>
          <a:solidFill>
            <a:srgbClr val="BE142B"/>
          </a:solidFill>
        </p:spPr>
        <p:txBody>
          <a:bodyPr wrap="square" lIns="0" tIns="0" rIns="0" bIns="0" rtlCol="0"/>
          <a:lstStyle/>
          <a:p>
            <a:endParaRPr/>
          </a:p>
        </p:txBody>
      </p:sp>
      <p:sp>
        <p:nvSpPr>
          <p:cNvPr id="27" name="object 27"/>
          <p:cNvSpPr/>
          <p:nvPr/>
        </p:nvSpPr>
        <p:spPr>
          <a:xfrm>
            <a:off x="5869262" y="2072049"/>
            <a:ext cx="69028" cy="30901"/>
          </a:xfrm>
          <a:custGeom>
            <a:avLst/>
            <a:gdLst/>
            <a:ahLst/>
            <a:cxnLst/>
            <a:rect l="l" t="t" r="r" b="b"/>
            <a:pathLst>
              <a:path w="151765" h="67945">
                <a:moveTo>
                  <a:pt x="151577" y="0"/>
                </a:moveTo>
                <a:lnTo>
                  <a:pt x="75725" y="0"/>
                </a:lnTo>
                <a:lnTo>
                  <a:pt x="0" y="37938"/>
                </a:lnTo>
                <a:lnTo>
                  <a:pt x="10090" y="58048"/>
                </a:lnTo>
                <a:lnTo>
                  <a:pt x="16513" y="67558"/>
                </a:lnTo>
                <a:lnTo>
                  <a:pt x="151577" y="0"/>
                </a:lnTo>
                <a:close/>
              </a:path>
            </a:pathLst>
          </a:custGeom>
          <a:solidFill>
            <a:srgbClr val="BE142B"/>
          </a:solidFill>
        </p:spPr>
        <p:txBody>
          <a:bodyPr wrap="square" lIns="0" tIns="0" rIns="0" bIns="0" rtlCol="0"/>
          <a:lstStyle/>
          <a:p>
            <a:endParaRPr/>
          </a:p>
        </p:txBody>
      </p:sp>
      <p:sp>
        <p:nvSpPr>
          <p:cNvPr id="28" name="object 28"/>
          <p:cNvSpPr/>
          <p:nvPr/>
        </p:nvSpPr>
        <p:spPr>
          <a:xfrm>
            <a:off x="5863089" y="1952179"/>
            <a:ext cx="41012" cy="17617"/>
          </a:xfrm>
          <a:custGeom>
            <a:avLst/>
            <a:gdLst/>
            <a:ahLst/>
            <a:cxnLst/>
            <a:rect l="l" t="t" r="r" b="b"/>
            <a:pathLst>
              <a:path w="90170" h="38735">
                <a:moveTo>
                  <a:pt x="13649" y="0"/>
                </a:moveTo>
                <a:lnTo>
                  <a:pt x="4056" y="19117"/>
                </a:lnTo>
                <a:lnTo>
                  <a:pt x="0" y="30797"/>
                </a:lnTo>
                <a:lnTo>
                  <a:pt x="14759" y="38179"/>
                </a:lnTo>
                <a:lnTo>
                  <a:pt x="89898" y="38179"/>
                </a:lnTo>
                <a:lnTo>
                  <a:pt x="13649" y="0"/>
                </a:lnTo>
                <a:close/>
              </a:path>
            </a:pathLst>
          </a:custGeom>
          <a:solidFill>
            <a:srgbClr val="BE142B"/>
          </a:solidFill>
        </p:spPr>
        <p:txBody>
          <a:bodyPr wrap="square" lIns="0" tIns="0" rIns="0" bIns="0" rtlCol="0"/>
          <a:lstStyle/>
          <a:p>
            <a:endParaRPr/>
          </a:p>
        </p:txBody>
      </p:sp>
      <p:sp>
        <p:nvSpPr>
          <p:cNvPr id="29" name="object 29"/>
          <p:cNvSpPr/>
          <p:nvPr/>
        </p:nvSpPr>
        <p:spPr>
          <a:xfrm>
            <a:off x="6109075" y="2072009"/>
            <a:ext cx="41301" cy="17617"/>
          </a:xfrm>
          <a:custGeom>
            <a:avLst/>
            <a:gdLst/>
            <a:ahLst/>
            <a:cxnLst/>
            <a:rect l="l" t="t" r="r" b="b"/>
            <a:pathLst>
              <a:path w="90805" h="38735">
                <a:moveTo>
                  <a:pt x="75139" y="0"/>
                </a:moveTo>
                <a:lnTo>
                  <a:pt x="0" y="0"/>
                </a:lnTo>
                <a:lnTo>
                  <a:pt x="77008" y="38559"/>
                </a:lnTo>
                <a:lnTo>
                  <a:pt x="86792" y="19062"/>
                </a:lnTo>
                <a:lnTo>
                  <a:pt x="90708" y="7787"/>
                </a:lnTo>
                <a:lnTo>
                  <a:pt x="75139" y="0"/>
                </a:lnTo>
                <a:close/>
              </a:path>
            </a:pathLst>
          </a:custGeom>
          <a:solidFill>
            <a:srgbClr val="BE142B"/>
          </a:solidFill>
        </p:spPr>
        <p:txBody>
          <a:bodyPr wrap="square" lIns="0" tIns="0" rIns="0" bIns="0" rtlCol="0"/>
          <a:lstStyle/>
          <a:p>
            <a:endParaRPr/>
          </a:p>
        </p:txBody>
      </p:sp>
      <p:sp>
        <p:nvSpPr>
          <p:cNvPr id="30" name="object 30"/>
          <p:cNvSpPr/>
          <p:nvPr/>
        </p:nvSpPr>
        <p:spPr>
          <a:xfrm>
            <a:off x="6913231" y="1871736"/>
            <a:ext cx="305859" cy="305838"/>
          </a:xfrm>
          <a:custGeom>
            <a:avLst/>
            <a:gdLst/>
            <a:ahLst/>
            <a:cxnLst/>
            <a:rect l="l" t="t" r="r" b="b"/>
            <a:pathLst>
              <a:path w="672465" h="672464">
                <a:moveTo>
                  <a:pt x="336021" y="0"/>
                </a:moveTo>
                <a:lnTo>
                  <a:pt x="286367" y="3643"/>
                </a:lnTo>
                <a:lnTo>
                  <a:pt x="238975" y="14226"/>
                </a:lnTo>
                <a:lnTo>
                  <a:pt x="194364" y="31229"/>
                </a:lnTo>
                <a:lnTo>
                  <a:pt x="153055" y="54132"/>
                </a:lnTo>
                <a:lnTo>
                  <a:pt x="115568" y="82417"/>
                </a:lnTo>
                <a:lnTo>
                  <a:pt x="82421" y="115562"/>
                </a:lnTo>
                <a:lnTo>
                  <a:pt x="54136" y="153048"/>
                </a:lnTo>
                <a:lnTo>
                  <a:pt x="31231" y="194356"/>
                </a:lnTo>
                <a:lnTo>
                  <a:pt x="14227" y="238965"/>
                </a:lnTo>
                <a:lnTo>
                  <a:pt x="3643" y="286357"/>
                </a:lnTo>
                <a:lnTo>
                  <a:pt x="0" y="336010"/>
                </a:lnTo>
                <a:lnTo>
                  <a:pt x="3643" y="385666"/>
                </a:lnTo>
                <a:lnTo>
                  <a:pt x="14227" y="433059"/>
                </a:lnTo>
                <a:lnTo>
                  <a:pt x="31231" y="477669"/>
                </a:lnTo>
                <a:lnTo>
                  <a:pt x="54136" y="518977"/>
                </a:lnTo>
                <a:lnTo>
                  <a:pt x="82421" y="556463"/>
                </a:lnTo>
                <a:lnTo>
                  <a:pt x="115568" y="589607"/>
                </a:lnTo>
                <a:lnTo>
                  <a:pt x="153055" y="617891"/>
                </a:lnTo>
                <a:lnTo>
                  <a:pt x="194364" y="640793"/>
                </a:lnTo>
                <a:lnTo>
                  <a:pt x="238975" y="657796"/>
                </a:lnTo>
                <a:lnTo>
                  <a:pt x="286367" y="668378"/>
                </a:lnTo>
                <a:lnTo>
                  <a:pt x="336021" y="672021"/>
                </a:lnTo>
                <a:lnTo>
                  <a:pt x="385674" y="668378"/>
                </a:lnTo>
                <a:lnTo>
                  <a:pt x="433066" y="657796"/>
                </a:lnTo>
                <a:lnTo>
                  <a:pt x="477675" y="640793"/>
                </a:lnTo>
                <a:lnTo>
                  <a:pt x="518983" y="617891"/>
                </a:lnTo>
                <a:lnTo>
                  <a:pt x="556469" y="589607"/>
                </a:lnTo>
                <a:lnTo>
                  <a:pt x="589614" y="556463"/>
                </a:lnTo>
                <a:lnTo>
                  <a:pt x="617898" y="518977"/>
                </a:lnTo>
                <a:lnTo>
                  <a:pt x="640802" y="477669"/>
                </a:lnTo>
                <a:lnTo>
                  <a:pt x="657805" y="433059"/>
                </a:lnTo>
                <a:lnTo>
                  <a:pt x="668388" y="385666"/>
                </a:lnTo>
                <a:lnTo>
                  <a:pt x="672031" y="336010"/>
                </a:lnTo>
                <a:lnTo>
                  <a:pt x="668388" y="286357"/>
                </a:lnTo>
                <a:lnTo>
                  <a:pt x="657805" y="238965"/>
                </a:lnTo>
                <a:lnTo>
                  <a:pt x="640802" y="194356"/>
                </a:lnTo>
                <a:lnTo>
                  <a:pt x="617898" y="153048"/>
                </a:lnTo>
                <a:lnTo>
                  <a:pt x="589614" y="115562"/>
                </a:lnTo>
                <a:lnTo>
                  <a:pt x="556469" y="82417"/>
                </a:lnTo>
                <a:lnTo>
                  <a:pt x="518983" y="54132"/>
                </a:lnTo>
                <a:lnTo>
                  <a:pt x="477675" y="31229"/>
                </a:lnTo>
                <a:lnTo>
                  <a:pt x="433066" y="14226"/>
                </a:lnTo>
                <a:lnTo>
                  <a:pt x="385674" y="3643"/>
                </a:lnTo>
                <a:lnTo>
                  <a:pt x="336021" y="0"/>
                </a:lnTo>
                <a:close/>
              </a:path>
            </a:pathLst>
          </a:custGeom>
          <a:solidFill>
            <a:srgbClr val="035284"/>
          </a:solidFill>
        </p:spPr>
        <p:txBody>
          <a:bodyPr wrap="square" lIns="0" tIns="0" rIns="0" bIns="0" rtlCol="0"/>
          <a:lstStyle/>
          <a:p>
            <a:endParaRPr/>
          </a:p>
        </p:txBody>
      </p:sp>
      <p:sp>
        <p:nvSpPr>
          <p:cNvPr id="31" name="object 31"/>
          <p:cNvSpPr/>
          <p:nvPr/>
        </p:nvSpPr>
        <p:spPr>
          <a:xfrm>
            <a:off x="6974366" y="1875175"/>
            <a:ext cx="61230" cy="298906"/>
          </a:xfrm>
          <a:custGeom>
            <a:avLst/>
            <a:gdLst/>
            <a:ahLst/>
            <a:cxnLst/>
            <a:rect l="l" t="t" r="r" b="b"/>
            <a:pathLst>
              <a:path w="134619" h="657225">
                <a:moveTo>
                  <a:pt x="134404" y="0"/>
                </a:moveTo>
                <a:lnTo>
                  <a:pt x="104560" y="6664"/>
                </a:lnTo>
                <a:lnTo>
                  <a:pt x="59950" y="23667"/>
                </a:lnTo>
                <a:lnTo>
                  <a:pt x="18641" y="46571"/>
                </a:lnTo>
                <a:lnTo>
                  <a:pt x="0" y="60635"/>
                </a:lnTo>
                <a:lnTo>
                  <a:pt x="0" y="596265"/>
                </a:lnTo>
                <a:lnTo>
                  <a:pt x="18641" y="610329"/>
                </a:lnTo>
                <a:lnTo>
                  <a:pt x="59950" y="633231"/>
                </a:lnTo>
                <a:lnTo>
                  <a:pt x="104560" y="650234"/>
                </a:lnTo>
                <a:lnTo>
                  <a:pt x="134404" y="656898"/>
                </a:lnTo>
                <a:lnTo>
                  <a:pt x="134404" y="0"/>
                </a:lnTo>
                <a:close/>
              </a:path>
            </a:pathLst>
          </a:custGeom>
          <a:solidFill>
            <a:srgbClr val="EDB901"/>
          </a:solidFill>
        </p:spPr>
        <p:txBody>
          <a:bodyPr wrap="square" lIns="0" tIns="0" rIns="0" bIns="0" rtlCol="0"/>
          <a:lstStyle/>
          <a:p>
            <a:endParaRPr/>
          </a:p>
        </p:txBody>
      </p:sp>
      <p:sp>
        <p:nvSpPr>
          <p:cNvPr id="32" name="object 32"/>
          <p:cNvSpPr/>
          <p:nvPr/>
        </p:nvSpPr>
        <p:spPr>
          <a:xfrm>
            <a:off x="6913231" y="1993990"/>
            <a:ext cx="305859" cy="61225"/>
          </a:xfrm>
          <a:custGeom>
            <a:avLst/>
            <a:gdLst/>
            <a:ahLst/>
            <a:cxnLst/>
            <a:rect l="l" t="t" r="r" b="b"/>
            <a:pathLst>
              <a:path w="672465" h="134620">
                <a:moveTo>
                  <a:pt x="664469" y="0"/>
                </a:moveTo>
                <a:lnTo>
                  <a:pt x="7562" y="0"/>
                </a:lnTo>
                <a:lnTo>
                  <a:pt x="3643" y="17548"/>
                </a:lnTo>
                <a:lnTo>
                  <a:pt x="0" y="67202"/>
                </a:lnTo>
                <a:lnTo>
                  <a:pt x="3643" y="116858"/>
                </a:lnTo>
                <a:lnTo>
                  <a:pt x="7561" y="134404"/>
                </a:lnTo>
                <a:lnTo>
                  <a:pt x="664470" y="134404"/>
                </a:lnTo>
                <a:lnTo>
                  <a:pt x="668388" y="116858"/>
                </a:lnTo>
                <a:lnTo>
                  <a:pt x="672031" y="67202"/>
                </a:lnTo>
                <a:lnTo>
                  <a:pt x="668388" y="17548"/>
                </a:lnTo>
                <a:lnTo>
                  <a:pt x="664469" y="0"/>
                </a:lnTo>
                <a:close/>
              </a:path>
            </a:pathLst>
          </a:custGeom>
          <a:solidFill>
            <a:srgbClr val="EDB901"/>
          </a:solidFill>
        </p:spPr>
        <p:txBody>
          <a:bodyPr wrap="square" lIns="0" tIns="0" rIns="0" bIns="0" rtlCol="0"/>
          <a:lstStyle/>
          <a:p>
            <a:endParaRPr/>
          </a:p>
        </p:txBody>
      </p:sp>
      <p:sp>
        <p:nvSpPr>
          <p:cNvPr id="33" name="object 33"/>
          <p:cNvSpPr/>
          <p:nvPr/>
        </p:nvSpPr>
        <p:spPr>
          <a:xfrm>
            <a:off x="7968119" y="1878232"/>
            <a:ext cx="103975" cy="292842"/>
          </a:xfrm>
          <a:custGeom>
            <a:avLst/>
            <a:gdLst/>
            <a:ahLst/>
            <a:cxnLst/>
            <a:rect l="l" t="t" r="r" b="b"/>
            <a:pathLst>
              <a:path w="228600" h="643889">
                <a:moveTo>
                  <a:pt x="227972" y="0"/>
                </a:moveTo>
                <a:lnTo>
                  <a:pt x="169365" y="26455"/>
                </a:lnTo>
                <a:lnTo>
                  <a:pt x="132996" y="51020"/>
                </a:lnTo>
                <a:lnTo>
                  <a:pt x="100154" y="79926"/>
                </a:lnTo>
                <a:lnTo>
                  <a:pt x="71246" y="112767"/>
                </a:lnTo>
                <a:lnTo>
                  <a:pt x="46680" y="149135"/>
                </a:lnTo>
                <a:lnTo>
                  <a:pt x="26864" y="188622"/>
                </a:lnTo>
                <a:lnTo>
                  <a:pt x="12205" y="230821"/>
                </a:lnTo>
                <a:lnTo>
                  <a:pt x="3111" y="275324"/>
                </a:lnTo>
                <a:lnTo>
                  <a:pt x="0" y="321569"/>
                </a:lnTo>
                <a:lnTo>
                  <a:pt x="0" y="321881"/>
                </a:lnTo>
                <a:lnTo>
                  <a:pt x="3111" y="368128"/>
                </a:lnTo>
                <a:lnTo>
                  <a:pt x="12205" y="412634"/>
                </a:lnTo>
                <a:lnTo>
                  <a:pt x="26864" y="454834"/>
                </a:lnTo>
                <a:lnTo>
                  <a:pt x="46680" y="494323"/>
                </a:lnTo>
                <a:lnTo>
                  <a:pt x="71246" y="530692"/>
                </a:lnTo>
                <a:lnTo>
                  <a:pt x="100154" y="563533"/>
                </a:lnTo>
                <a:lnTo>
                  <a:pt x="132996" y="592440"/>
                </a:lnTo>
                <a:lnTo>
                  <a:pt x="169365" y="617005"/>
                </a:lnTo>
                <a:lnTo>
                  <a:pt x="208853" y="636820"/>
                </a:lnTo>
                <a:lnTo>
                  <a:pt x="227972" y="643461"/>
                </a:lnTo>
                <a:lnTo>
                  <a:pt x="227972" y="0"/>
                </a:lnTo>
                <a:close/>
              </a:path>
            </a:pathLst>
          </a:custGeom>
          <a:solidFill>
            <a:srgbClr val="23376F"/>
          </a:solidFill>
        </p:spPr>
        <p:txBody>
          <a:bodyPr wrap="square" lIns="0" tIns="0" rIns="0" bIns="0" rtlCol="0"/>
          <a:lstStyle/>
          <a:p>
            <a:endParaRPr/>
          </a:p>
        </p:txBody>
      </p:sp>
      <p:sp>
        <p:nvSpPr>
          <p:cNvPr id="34" name="object 34"/>
          <p:cNvSpPr/>
          <p:nvPr/>
        </p:nvSpPr>
        <p:spPr>
          <a:xfrm>
            <a:off x="8071811" y="1869031"/>
            <a:ext cx="103686" cy="311325"/>
          </a:xfrm>
          <a:custGeom>
            <a:avLst/>
            <a:gdLst/>
            <a:ahLst/>
            <a:cxnLst/>
            <a:rect l="l" t="t" r="r" b="b"/>
            <a:pathLst>
              <a:path w="227965" h="684529">
                <a:moveTo>
                  <a:pt x="160384" y="3121"/>
                </a:moveTo>
                <a:lnTo>
                  <a:pt x="67581" y="3121"/>
                </a:lnTo>
                <a:lnTo>
                  <a:pt x="23077" y="12215"/>
                </a:lnTo>
                <a:lnTo>
                  <a:pt x="0" y="20231"/>
                </a:lnTo>
                <a:lnTo>
                  <a:pt x="0" y="663695"/>
                </a:lnTo>
                <a:lnTo>
                  <a:pt x="23077" y="671711"/>
                </a:lnTo>
                <a:lnTo>
                  <a:pt x="67581" y="680805"/>
                </a:lnTo>
                <a:lnTo>
                  <a:pt x="113981" y="683926"/>
                </a:lnTo>
                <a:lnTo>
                  <a:pt x="160384" y="680805"/>
                </a:lnTo>
                <a:lnTo>
                  <a:pt x="204890" y="671711"/>
                </a:lnTo>
                <a:lnTo>
                  <a:pt x="227968" y="663695"/>
                </a:lnTo>
                <a:lnTo>
                  <a:pt x="227968" y="20231"/>
                </a:lnTo>
                <a:lnTo>
                  <a:pt x="204890" y="12215"/>
                </a:lnTo>
                <a:lnTo>
                  <a:pt x="160384" y="3121"/>
                </a:lnTo>
                <a:close/>
              </a:path>
              <a:path w="227965" h="684529">
                <a:moveTo>
                  <a:pt x="113981" y="0"/>
                </a:moveTo>
                <a:lnTo>
                  <a:pt x="67581" y="3121"/>
                </a:lnTo>
                <a:lnTo>
                  <a:pt x="160384" y="3121"/>
                </a:lnTo>
                <a:lnTo>
                  <a:pt x="113981" y="0"/>
                </a:lnTo>
                <a:close/>
              </a:path>
            </a:pathLst>
          </a:custGeom>
          <a:solidFill>
            <a:srgbClr val="ECC217"/>
          </a:solidFill>
        </p:spPr>
        <p:txBody>
          <a:bodyPr wrap="square" lIns="0" tIns="0" rIns="0" bIns="0" rtlCol="0"/>
          <a:lstStyle/>
          <a:p>
            <a:endParaRPr/>
          </a:p>
        </p:txBody>
      </p:sp>
      <p:sp>
        <p:nvSpPr>
          <p:cNvPr id="35" name="object 35"/>
          <p:cNvSpPr/>
          <p:nvPr/>
        </p:nvSpPr>
        <p:spPr>
          <a:xfrm>
            <a:off x="8175498" y="1878232"/>
            <a:ext cx="103975" cy="292842"/>
          </a:xfrm>
          <a:custGeom>
            <a:avLst/>
            <a:gdLst/>
            <a:ahLst/>
            <a:cxnLst/>
            <a:rect l="l" t="t" r="r" b="b"/>
            <a:pathLst>
              <a:path w="228600" h="643889">
                <a:moveTo>
                  <a:pt x="0" y="0"/>
                </a:moveTo>
                <a:lnTo>
                  <a:pt x="0" y="643464"/>
                </a:lnTo>
                <a:lnTo>
                  <a:pt x="19123" y="636821"/>
                </a:lnTo>
                <a:lnTo>
                  <a:pt x="58611" y="617006"/>
                </a:lnTo>
                <a:lnTo>
                  <a:pt x="94980" y="592441"/>
                </a:lnTo>
                <a:lnTo>
                  <a:pt x="127822" y="563535"/>
                </a:lnTo>
                <a:lnTo>
                  <a:pt x="156728" y="530693"/>
                </a:lnTo>
                <a:lnTo>
                  <a:pt x="181293" y="494324"/>
                </a:lnTo>
                <a:lnTo>
                  <a:pt x="201108" y="454836"/>
                </a:lnTo>
                <a:lnTo>
                  <a:pt x="215767" y="412635"/>
                </a:lnTo>
                <a:lnTo>
                  <a:pt x="224860" y="368129"/>
                </a:lnTo>
                <a:lnTo>
                  <a:pt x="227972" y="321882"/>
                </a:lnTo>
                <a:lnTo>
                  <a:pt x="227972" y="321571"/>
                </a:lnTo>
                <a:lnTo>
                  <a:pt x="224860" y="275326"/>
                </a:lnTo>
                <a:lnTo>
                  <a:pt x="215767" y="230822"/>
                </a:lnTo>
                <a:lnTo>
                  <a:pt x="201108" y="188623"/>
                </a:lnTo>
                <a:lnTo>
                  <a:pt x="181293" y="149136"/>
                </a:lnTo>
                <a:lnTo>
                  <a:pt x="156728" y="112768"/>
                </a:lnTo>
                <a:lnTo>
                  <a:pt x="127822" y="79928"/>
                </a:lnTo>
                <a:lnTo>
                  <a:pt x="94980" y="51021"/>
                </a:lnTo>
                <a:lnTo>
                  <a:pt x="58611" y="26457"/>
                </a:lnTo>
                <a:lnTo>
                  <a:pt x="19123" y="6642"/>
                </a:lnTo>
                <a:lnTo>
                  <a:pt x="0" y="0"/>
                </a:lnTo>
                <a:close/>
              </a:path>
            </a:pathLst>
          </a:custGeom>
          <a:solidFill>
            <a:srgbClr val="BD1327"/>
          </a:solidFill>
        </p:spPr>
        <p:txBody>
          <a:bodyPr wrap="square" lIns="0" tIns="0" rIns="0" bIns="0" rtlCol="0"/>
          <a:lstStyle/>
          <a:p>
            <a:endParaRPr/>
          </a:p>
        </p:txBody>
      </p:sp>
      <p:grpSp>
        <p:nvGrpSpPr>
          <p:cNvPr id="79" name="Groupe 78">
            <a:extLst>
              <a:ext uri="{FF2B5EF4-FFF2-40B4-BE49-F238E27FC236}">
                <a16:creationId xmlns:a16="http://schemas.microsoft.com/office/drawing/2014/main" id="{A5C81771-B113-A545-9CE3-91671F6C63B6}"/>
              </a:ext>
            </a:extLst>
          </p:cNvPr>
          <p:cNvGrpSpPr/>
          <p:nvPr/>
        </p:nvGrpSpPr>
        <p:grpSpPr>
          <a:xfrm>
            <a:off x="190894" y="197053"/>
            <a:ext cx="422542" cy="422512"/>
            <a:chOff x="419701" y="433273"/>
            <a:chExt cx="929005" cy="929005"/>
          </a:xfrm>
        </p:grpSpPr>
        <p:sp>
          <p:nvSpPr>
            <p:cNvPr id="80" name="object 4">
              <a:extLst>
                <a:ext uri="{FF2B5EF4-FFF2-40B4-BE49-F238E27FC236}">
                  <a16:creationId xmlns:a16="http://schemas.microsoft.com/office/drawing/2014/main" id="{FA4F5110-F561-6F48-A0C6-0E8B40CCF939}"/>
                </a:ext>
              </a:extLst>
            </p:cNvPr>
            <p:cNvSpPr/>
            <p:nvPr/>
          </p:nvSpPr>
          <p:spPr>
            <a:xfrm>
              <a:off x="419701" y="433273"/>
              <a:ext cx="929005" cy="929005"/>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4"/>
                  </a:lnTo>
                  <a:lnTo>
                    <a:pt x="20875" y="602434"/>
                  </a:lnTo>
                  <a:lnTo>
                    <a:pt x="36489" y="645096"/>
                  </a:lnTo>
                  <a:lnTo>
                    <a:pt x="56042" y="685687"/>
                  </a:lnTo>
                  <a:lnTo>
                    <a:pt x="79301" y="723972"/>
                  </a:lnTo>
                  <a:lnTo>
                    <a:pt x="106031" y="759718"/>
                  </a:lnTo>
                  <a:lnTo>
                    <a:pt x="136001" y="792693"/>
                  </a:lnTo>
                  <a:lnTo>
                    <a:pt x="168975" y="822662"/>
                  </a:lnTo>
                  <a:lnTo>
                    <a:pt x="204722" y="849392"/>
                  </a:lnTo>
                  <a:lnTo>
                    <a:pt x="243007" y="872651"/>
                  </a:lnTo>
                  <a:lnTo>
                    <a:pt x="283597" y="892204"/>
                  </a:lnTo>
                  <a:lnTo>
                    <a:pt x="326259" y="907818"/>
                  </a:lnTo>
                  <a:lnTo>
                    <a:pt x="370759" y="919260"/>
                  </a:lnTo>
                  <a:lnTo>
                    <a:pt x="416864" y="926296"/>
                  </a:lnTo>
                  <a:lnTo>
                    <a:pt x="464341" y="928694"/>
                  </a:lnTo>
                  <a:lnTo>
                    <a:pt x="511818" y="926296"/>
                  </a:lnTo>
                  <a:lnTo>
                    <a:pt x="557924" y="919260"/>
                  </a:lnTo>
                  <a:lnTo>
                    <a:pt x="602425" y="907818"/>
                  </a:lnTo>
                  <a:lnTo>
                    <a:pt x="645088" y="892204"/>
                  </a:lnTo>
                  <a:lnTo>
                    <a:pt x="685678" y="872651"/>
                  </a:lnTo>
                  <a:lnTo>
                    <a:pt x="723964" y="849392"/>
                  </a:lnTo>
                  <a:lnTo>
                    <a:pt x="759712" y="822662"/>
                  </a:lnTo>
                  <a:lnTo>
                    <a:pt x="792687" y="792693"/>
                  </a:lnTo>
                  <a:lnTo>
                    <a:pt x="822658" y="759718"/>
                  </a:lnTo>
                  <a:lnTo>
                    <a:pt x="849389" y="723972"/>
                  </a:lnTo>
                  <a:lnTo>
                    <a:pt x="872649" y="685687"/>
                  </a:lnTo>
                  <a:lnTo>
                    <a:pt x="892202" y="645096"/>
                  </a:lnTo>
                  <a:lnTo>
                    <a:pt x="907817" y="602434"/>
                  </a:lnTo>
                  <a:lnTo>
                    <a:pt x="919260" y="557934"/>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4AB4E6"/>
            </a:solidFill>
          </p:spPr>
          <p:txBody>
            <a:bodyPr wrap="square" lIns="0" tIns="0" rIns="0" bIns="0" rtlCol="0"/>
            <a:lstStyle/>
            <a:p>
              <a:endParaRPr/>
            </a:p>
          </p:txBody>
        </p:sp>
        <p:sp>
          <p:nvSpPr>
            <p:cNvPr id="81" name="object 5">
              <a:extLst>
                <a:ext uri="{FF2B5EF4-FFF2-40B4-BE49-F238E27FC236}">
                  <a16:creationId xmlns:a16="http://schemas.microsoft.com/office/drawing/2014/main" id="{27EE42BC-3EB3-2E40-89B8-FBDF7FF5CFFE}"/>
                </a:ext>
              </a:extLst>
            </p:cNvPr>
            <p:cNvSpPr/>
            <p:nvPr/>
          </p:nvSpPr>
          <p:spPr>
            <a:xfrm>
              <a:off x="664983" y="537961"/>
              <a:ext cx="568325" cy="751840"/>
            </a:xfrm>
            <a:custGeom>
              <a:avLst/>
              <a:gdLst/>
              <a:ahLst/>
              <a:cxnLst/>
              <a:rect l="l" t="t" r="r" b="b"/>
              <a:pathLst>
                <a:path w="568325" h="751840">
                  <a:moveTo>
                    <a:pt x="245217" y="0"/>
                  </a:moveTo>
                  <a:lnTo>
                    <a:pt x="0" y="624871"/>
                  </a:lnTo>
                  <a:lnTo>
                    <a:pt x="323047" y="751642"/>
                  </a:lnTo>
                  <a:lnTo>
                    <a:pt x="568265" y="126771"/>
                  </a:lnTo>
                  <a:lnTo>
                    <a:pt x="245217" y="0"/>
                  </a:lnTo>
                  <a:close/>
                </a:path>
              </a:pathLst>
            </a:custGeom>
            <a:solidFill>
              <a:srgbClr val="FFFFFF"/>
            </a:solidFill>
          </p:spPr>
          <p:txBody>
            <a:bodyPr wrap="square" lIns="0" tIns="0" rIns="0" bIns="0" rtlCol="0"/>
            <a:lstStyle/>
            <a:p>
              <a:endParaRPr/>
            </a:p>
          </p:txBody>
        </p:sp>
        <p:sp>
          <p:nvSpPr>
            <p:cNvPr id="82" name="object 6">
              <a:extLst>
                <a:ext uri="{FF2B5EF4-FFF2-40B4-BE49-F238E27FC236}">
                  <a16:creationId xmlns:a16="http://schemas.microsoft.com/office/drawing/2014/main" id="{5CBC3A93-15AE-354E-A4B3-6D5AE003487E}"/>
                </a:ext>
              </a:extLst>
            </p:cNvPr>
            <p:cNvSpPr/>
            <p:nvPr/>
          </p:nvSpPr>
          <p:spPr>
            <a:xfrm>
              <a:off x="646369" y="532081"/>
              <a:ext cx="603250" cy="768350"/>
            </a:xfrm>
            <a:custGeom>
              <a:avLst/>
              <a:gdLst/>
              <a:ahLst/>
              <a:cxnLst/>
              <a:rect l="l" t="t" r="r" b="b"/>
              <a:pathLst>
                <a:path w="603250" h="768350">
                  <a:moveTo>
                    <a:pt x="256296" y="0"/>
                  </a:moveTo>
                  <a:lnTo>
                    <a:pt x="219754" y="26215"/>
                  </a:lnTo>
                  <a:lnTo>
                    <a:pt x="2651" y="596795"/>
                  </a:lnTo>
                  <a:lnTo>
                    <a:pt x="0" y="612736"/>
                  </a:lnTo>
                  <a:lnTo>
                    <a:pt x="3541" y="627926"/>
                  </a:lnTo>
                  <a:lnTo>
                    <a:pt x="12516" y="640676"/>
                  </a:lnTo>
                  <a:lnTo>
                    <a:pt x="26168" y="649296"/>
                  </a:lnTo>
                  <a:lnTo>
                    <a:pt x="330557" y="765114"/>
                  </a:lnTo>
                  <a:lnTo>
                    <a:pt x="346484" y="767754"/>
                  </a:lnTo>
                  <a:lnTo>
                    <a:pt x="361665" y="764197"/>
                  </a:lnTo>
                  <a:lnTo>
                    <a:pt x="374408" y="755203"/>
                  </a:lnTo>
                  <a:lnTo>
                    <a:pt x="383026" y="741534"/>
                  </a:lnTo>
                  <a:lnTo>
                    <a:pt x="403008" y="689022"/>
                  </a:lnTo>
                  <a:lnTo>
                    <a:pt x="359467" y="689022"/>
                  </a:lnTo>
                  <a:lnTo>
                    <a:pt x="55162" y="573235"/>
                  </a:lnTo>
                  <a:lnTo>
                    <a:pt x="250559" y="59712"/>
                  </a:lnTo>
                  <a:lnTo>
                    <a:pt x="422217" y="59712"/>
                  </a:lnTo>
                  <a:lnTo>
                    <a:pt x="272224" y="2635"/>
                  </a:lnTo>
                  <a:lnTo>
                    <a:pt x="256296" y="0"/>
                  </a:lnTo>
                  <a:close/>
                </a:path>
                <a:path w="603250" h="768350">
                  <a:moveTo>
                    <a:pt x="422217" y="59712"/>
                  </a:moveTo>
                  <a:lnTo>
                    <a:pt x="250559" y="59712"/>
                  </a:lnTo>
                  <a:lnTo>
                    <a:pt x="554864" y="175509"/>
                  </a:lnTo>
                  <a:lnTo>
                    <a:pt x="359467" y="689022"/>
                  </a:lnTo>
                  <a:lnTo>
                    <a:pt x="403008" y="689022"/>
                  </a:lnTo>
                  <a:lnTo>
                    <a:pt x="600140" y="170954"/>
                  </a:lnTo>
                  <a:lnTo>
                    <a:pt x="602785" y="155013"/>
                  </a:lnTo>
                  <a:lnTo>
                    <a:pt x="599241" y="139824"/>
                  </a:lnTo>
                  <a:lnTo>
                    <a:pt x="590264" y="127078"/>
                  </a:lnTo>
                  <a:lnTo>
                    <a:pt x="576612" y="118464"/>
                  </a:lnTo>
                  <a:lnTo>
                    <a:pt x="558149" y="111438"/>
                  </a:lnTo>
                  <a:lnTo>
                    <a:pt x="443705" y="111438"/>
                  </a:lnTo>
                  <a:lnTo>
                    <a:pt x="376189" y="85742"/>
                  </a:lnTo>
                  <a:lnTo>
                    <a:pt x="373540" y="79837"/>
                  </a:lnTo>
                  <a:lnTo>
                    <a:pt x="377519" y="69376"/>
                  </a:lnTo>
                  <a:lnTo>
                    <a:pt x="383424" y="66727"/>
                  </a:lnTo>
                  <a:lnTo>
                    <a:pt x="440653" y="66727"/>
                  </a:lnTo>
                  <a:lnTo>
                    <a:pt x="422217" y="59712"/>
                  </a:lnTo>
                  <a:close/>
                </a:path>
                <a:path w="603250" h="768350">
                  <a:moveTo>
                    <a:pt x="440653" y="66727"/>
                  </a:moveTo>
                  <a:lnTo>
                    <a:pt x="383424" y="66727"/>
                  </a:lnTo>
                  <a:lnTo>
                    <a:pt x="450941" y="92412"/>
                  </a:lnTo>
                  <a:lnTo>
                    <a:pt x="453600" y="98318"/>
                  </a:lnTo>
                  <a:lnTo>
                    <a:pt x="449611" y="108778"/>
                  </a:lnTo>
                  <a:lnTo>
                    <a:pt x="443705" y="111438"/>
                  </a:lnTo>
                  <a:lnTo>
                    <a:pt x="558149" y="111438"/>
                  </a:lnTo>
                  <a:lnTo>
                    <a:pt x="440653" y="66727"/>
                  </a:lnTo>
                  <a:close/>
                </a:path>
              </a:pathLst>
            </a:custGeom>
            <a:solidFill>
              <a:srgbClr val="000000"/>
            </a:solidFill>
          </p:spPr>
          <p:txBody>
            <a:bodyPr wrap="square" lIns="0" tIns="0" rIns="0" bIns="0" rtlCol="0"/>
            <a:lstStyle/>
            <a:p>
              <a:endParaRPr/>
            </a:p>
          </p:txBody>
        </p:sp>
        <p:sp>
          <p:nvSpPr>
            <p:cNvPr id="83" name="object 7">
              <a:extLst>
                <a:ext uri="{FF2B5EF4-FFF2-40B4-BE49-F238E27FC236}">
                  <a16:creationId xmlns:a16="http://schemas.microsoft.com/office/drawing/2014/main" id="{CC1EAA22-E8D0-FE41-9A58-55417F8F845F}"/>
                </a:ext>
              </a:extLst>
            </p:cNvPr>
            <p:cNvSpPr/>
            <p:nvPr/>
          </p:nvSpPr>
          <p:spPr>
            <a:xfrm>
              <a:off x="542803" y="617528"/>
              <a:ext cx="207645" cy="317500"/>
            </a:xfrm>
            <a:custGeom>
              <a:avLst/>
              <a:gdLst/>
              <a:ahLst/>
              <a:cxnLst/>
              <a:rect l="l" t="t" r="r" b="b"/>
              <a:pathLst>
                <a:path w="207645" h="317500">
                  <a:moveTo>
                    <a:pt x="139782" y="0"/>
                  </a:moveTo>
                  <a:lnTo>
                    <a:pt x="97716" y="24434"/>
                  </a:lnTo>
                  <a:lnTo>
                    <a:pt x="62527" y="55767"/>
                  </a:lnTo>
                  <a:lnTo>
                    <a:pt x="34688" y="92723"/>
                  </a:lnTo>
                  <a:lnTo>
                    <a:pt x="14672" y="134028"/>
                  </a:lnTo>
                  <a:lnTo>
                    <a:pt x="2952" y="178406"/>
                  </a:lnTo>
                  <a:lnTo>
                    <a:pt x="0" y="224582"/>
                  </a:lnTo>
                  <a:lnTo>
                    <a:pt x="6288" y="271280"/>
                  </a:lnTo>
                  <a:lnTo>
                    <a:pt x="22289" y="317225"/>
                  </a:lnTo>
                  <a:lnTo>
                    <a:pt x="51481" y="303980"/>
                  </a:lnTo>
                  <a:lnTo>
                    <a:pt x="36331" y="258397"/>
                  </a:lnTo>
                  <a:lnTo>
                    <a:pt x="32098" y="212166"/>
                  </a:lnTo>
                  <a:lnTo>
                    <a:pt x="38172" y="166939"/>
                  </a:lnTo>
                  <a:lnTo>
                    <a:pt x="53942" y="124363"/>
                  </a:lnTo>
                  <a:lnTo>
                    <a:pt x="78796" y="86091"/>
                  </a:lnTo>
                  <a:lnTo>
                    <a:pt x="112122" y="53772"/>
                  </a:lnTo>
                  <a:lnTo>
                    <a:pt x="153311" y="29056"/>
                  </a:lnTo>
                  <a:lnTo>
                    <a:pt x="139782" y="0"/>
                  </a:lnTo>
                  <a:close/>
                </a:path>
                <a:path w="207645" h="317500">
                  <a:moveTo>
                    <a:pt x="166839" y="58113"/>
                  </a:moveTo>
                  <a:lnTo>
                    <a:pt x="126812" y="83176"/>
                  </a:lnTo>
                  <a:lnTo>
                    <a:pt x="95957" y="116680"/>
                  </a:lnTo>
                  <a:lnTo>
                    <a:pt x="75096" y="156406"/>
                  </a:lnTo>
                  <a:lnTo>
                    <a:pt x="65049" y="200137"/>
                  </a:lnTo>
                  <a:lnTo>
                    <a:pt x="66638" y="245656"/>
                  </a:lnTo>
                  <a:lnTo>
                    <a:pt x="80685" y="290745"/>
                  </a:lnTo>
                  <a:lnTo>
                    <a:pt x="109878" y="277509"/>
                  </a:lnTo>
                  <a:lnTo>
                    <a:pt x="97333" y="233141"/>
                  </a:lnTo>
                  <a:lnTo>
                    <a:pt x="99270" y="188787"/>
                  </a:lnTo>
                  <a:lnTo>
                    <a:pt x="114529" y="147585"/>
                  </a:lnTo>
                  <a:lnTo>
                    <a:pt x="141949" y="112671"/>
                  </a:lnTo>
                  <a:lnTo>
                    <a:pt x="180368" y="87180"/>
                  </a:lnTo>
                  <a:lnTo>
                    <a:pt x="166839" y="58113"/>
                  </a:lnTo>
                  <a:close/>
                </a:path>
                <a:path w="207645" h="317500">
                  <a:moveTo>
                    <a:pt x="193906" y="116237"/>
                  </a:moveTo>
                  <a:lnTo>
                    <a:pt x="157852" y="142264"/>
                  </a:lnTo>
                  <a:lnTo>
                    <a:pt x="135519" y="178786"/>
                  </a:lnTo>
                  <a:lnTo>
                    <a:pt x="128672" y="221043"/>
                  </a:lnTo>
                  <a:lnTo>
                    <a:pt x="139070" y="264274"/>
                  </a:lnTo>
                  <a:lnTo>
                    <a:pt x="168274" y="251039"/>
                  </a:lnTo>
                  <a:lnTo>
                    <a:pt x="160843" y="220160"/>
                  </a:lnTo>
                  <a:lnTo>
                    <a:pt x="165732" y="189977"/>
                  </a:lnTo>
                  <a:lnTo>
                    <a:pt x="181682" y="163891"/>
                  </a:lnTo>
                  <a:lnTo>
                    <a:pt x="207435" y="145304"/>
                  </a:lnTo>
                  <a:lnTo>
                    <a:pt x="193906" y="116237"/>
                  </a:lnTo>
                  <a:close/>
                </a:path>
              </a:pathLst>
            </a:custGeom>
            <a:solidFill>
              <a:srgbClr val="000000"/>
            </a:solidFill>
          </p:spPr>
          <p:txBody>
            <a:bodyPr wrap="square" lIns="0" tIns="0" rIns="0" bIns="0" rtlCol="0"/>
            <a:lstStyle/>
            <a:p>
              <a:endParaRPr/>
            </a:p>
          </p:txBody>
        </p:sp>
        <p:sp>
          <p:nvSpPr>
            <p:cNvPr id="84" name="object 8">
              <a:extLst>
                <a:ext uri="{FF2B5EF4-FFF2-40B4-BE49-F238E27FC236}">
                  <a16:creationId xmlns:a16="http://schemas.microsoft.com/office/drawing/2014/main" id="{B6B7468C-187C-A643-B778-4F9F1FA4556B}"/>
                </a:ext>
              </a:extLst>
            </p:cNvPr>
            <p:cNvSpPr/>
            <p:nvPr/>
          </p:nvSpPr>
          <p:spPr>
            <a:xfrm>
              <a:off x="816706" y="793912"/>
              <a:ext cx="251460" cy="427990"/>
            </a:xfrm>
            <a:custGeom>
              <a:avLst/>
              <a:gdLst/>
              <a:ahLst/>
              <a:cxnLst/>
              <a:rect l="l" t="t" r="r" b="b"/>
              <a:pathLst>
                <a:path w="251459" h="427990">
                  <a:moveTo>
                    <a:pt x="124482" y="0"/>
                  </a:moveTo>
                  <a:lnTo>
                    <a:pt x="78903" y="10651"/>
                  </a:lnTo>
                  <a:lnTo>
                    <a:pt x="40646" y="37616"/>
                  </a:lnTo>
                  <a:lnTo>
                    <a:pt x="14778" y="78622"/>
                  </a:lnTo>
                  <a:lnTo>
                    <a:pt x="6846" y="126453"/>
                  </a:lnTo>
                  <a:lnTo>
                    <a:pt x="17502" y="172031"/>
                  </a:lnTo>
                  <a:lnTo>
                    <a:pt x="44471" y="210289"/>
                  </a:lnTo>
                  <a:lnTo>
                    <a:pt x="85478" y="236156"/>
                  </a:lnTo>
                  <a:lnTo>
                    <a:pt x="133309" y="244094"/>
                  </a:lnTo>
                  <a:lnTo>
                    <a:pt x="178887" y="233442"/>
                  </a:lnTo>
                  <a:lnTo>
                    <a:pt x="192629" y="223755"/>
                  </a:lnTo>
                  <a:lnTo>
                    <a:pt x="132573" y="223755"/>
                  </a:lnTo>
                  <a:lnTo>
                    <a:pt x="92713" y="217141"/>
                  </a:lnTo>
                  <a:lnTo>
                    <a:pt x="58540" y="195586"/>
                  </a:lnTo>
                  <a:lnTo>
                    <a:pt x="36067" y="163703"/>
                  </a:lnTo>
                  <a:lnTo>
                    <a:pt x="27190" y="125719"/>
                  </a:lnTo>
                  <a:lnTo>
                    <a:pt x="33804" y="85857"/>
                  </a:lnTo>
                  <a:lnTo>
                    <a:pt x="55358" y="51690"/>
                  </a:lnTo>
                  <a:lnTo>
                    <a:pt x="87237" y="29219"/>
                  </a:lnTo>
                  <a:lnTo>
                    <a:pt x="125218" y="20340"/>
                  </a:lnTo>
                  <a:lnTo>
                    <a:pt x="191981" y="20340"/>
                  </a:lnTo>
                  <a:lnTo>
                    <a:pt x="172313" y="7933"/>
                  </a:lnTo>
                  <a:lnTo>
                    <a:pt x="124482" y="0"/>
                  </a:lnTo>
                  <a:close/>
                </a:path>
                <a:path w="251459" h="427990">
                  <a:moveTo>
                    <a:pt x="191981" y="20340"/>
                  </a:moveTo>
                  <a:lnTo>
                    <a:pt x="125218" y="20340"/>
                  </a:lnTo>
                  <a:lnTo>
                    <a:pt x="165077" y="26948"/>
                  </a:lnTo>
                  <a:lnTo>
                    <a:pt x="199251" y="48508"/>
                  </a:lnTo>
                  <a:lnTo>
                    <a:pt x="221724" y="80390"/>
                  </a:lnTo>
                  <a:lnTo>
                    <a:pt x="230601" y="118372"/>
                  </a:lnTo>
                  <a:lnTo>
                    <a:pt x="223987" y="158232"/>
                  </a:lnTo>
                  <a:lnTo>
                    <a:pt x="202433" y="192405"/>
                  </a:lnTo>
                  <a:lnTo>
                    <a:pt x="170554" y="214878"/>
                  </a:lnTo>
                  <a:lnTo>
                    <a:pt x="132573" y="223755"/>
                  </a:lnTo>
                  <a:lnTo>
                    <a:pt x="192629" y="223755"/>
                  </a:lnTo>
                  <a:lnTo>
                    <a:pt x="217144" y="206474"/>
                  </a:lnTo>
                  <a:lnTo>
                    <a:pt x="243012" y="165467"/>
                  </a:lnTo>
                  <a:lnTo>
                    <a:pt x="250822" y="118372"/>
                  </a:lnTo>
                  <a:lnTo>
                    <a:pt x="250929" y="117574"/>
                  </a:lnTo>
                  <a:lnTo>
                    <a:pt x="240288" y="72058"/>
                  </a:lnTo>
                  <a:lnTo>
                    <a:pt x="213320" y="33801"/>
                  </a:lnTo>
                  <a:lnTo>
                    <a:pt x="191981" y="20340"/>
                  </a:lnTo>
                  <a:close/>
                </a:path>
                <a:path w="251459" h="427990">
                  <a:moveTo>
                    <a:pt x="63457" y="104977"/>
                  </a:moveTo>
                  <a:lnTo>
                    <a:pt x="58149" y="108045"/>
                  </a:lnTo>
                  <a:lnTo>
                    <a:pt x="53898" y="119228"/>
                  </a:lnTo>
                  <a:lnTo>
                    <a:pt x="56149" y="124443"/>
                  </a:lnTo>
                  <a:lnTo>
                    <a:pt x="69719" y="129605"/>
                  </a:lnTo>
                  <a:lnTo>
                    <a:pt x="68642" y="139878"/>
                  </a:lnTo>
                  <a:lnTo>
                    <a:pt x="79434" y="177151"/>
                  </a:lnTo>
                  <a:lnTo>
                    <a:pt x="122769" y="200144"/>
                  </a:lnTo>
                  <a:lnTo>
                    <a:pt x="137578" y="199884"/>
                  </a:lnTo>
                  <a:lnTo>
                    <a:pt x="167034" y="177454"/>
                  </a:lnTo>
                  <a:lnTo>
                    <a:pt x="123514" y="177454"/>
                  </a:lnTo>
                  <a:lnTo>
                    <a:pt x="113990" y="174828"/>
                  </a:lnTo>
                  <a:lnTo>
                    <a:pt x="103244" y="169080"/>
                  </a:lnTo>
                  <a:lnTo>
                    <a:pt x="95716" y="161101"/>
                  </a:lnTo>
                  <a:lnTo>
                    <a:pt x="91647" y="150727"/>
                  </a:lnTo>
                  <a:lnTo>
                    <a:pt x="91310" y="137824"/>
                  </a:lnTo>
                  <a:lnTo>
                    <a:pt x="145967" y="137824"/>
                  </a:lnTo>
                  <a:lnTo>
                    <a:pt x="145549" y="136222"/>
                  </a:lnTo>
                  <a:lnTo>
                    <a:pt x="96545" y="117574"/>
                  </a:lnTo>
                  <a:lnTo>
                    <a:pt x="97341" y="115406"/>
                  </a:lnTo>
                  <a:lnTo>
                    <a:pt x="99373" y="110139"/>
                  </a:lnTo>
                  <a:lnTo>
                    <a:pt x="99477" y="109626"/>
                  </a:lnTo>
                  <a:lnTo>
                    <a:pt x="75677" y="109626"/>
                  </a:lnTo>
                  <a:lnTo>
                    <a:pt x="63457" y="104977"/>
                  </a:lnTo>
                  <a:close/>
                </a:path>
                <a:path w="251459" h="427990">
                  <a:moveTo>
                    <a:pt x="152764" y="163886"/>
                  </a:moveTo>
                  <a:lnTo>
                    <a:pt x="148136" y="165091"/>
                  </a:lnTo>
                  <a:lnTo>
                    <a:pt x="144252" y="169088"/>
                  </a:lnTo>
                  <a:lnTo>
                    <a:pt x="138035" y="174506"/>
                  </a:lnTo>
                  <a:lnTo>
                    <a:pt x="131325" y="177322"/>
                  </a:lnTo>
                  <a:lnTo>
                    <a:pt x="123514" y="177454"/>
                  </a:lnTo>
                  <a:lnTo>
                    <a:pt x="167034" y="177454"/>
                  </a:lnTo>
                  <a:lnTo>
                    <a:pt x="167339" y="176650"/>
                  </a:lnTo>
                  <a:lnTo>
                    <a:pt x="165392" y="170965"/>
                  </a:lnTo>
                  <a:lnTo>
                    <a:pt x="160941" y="167729"/>
                  </a:lnTo>
                  <a:lnTo>
                    <a:pt x="159779" y="166808"/>
                  </a:lnTo>
                  <a:lnTo>
                    <a:pt x="158544" y="166085"/>
                  </a:lnTo>
                  <a:lnTo>
                    <a:pt x="152764" y="163886"/>
                  </a:lnTo>
                  <a:close/>
                </a:path>
                <a:path w="251459" h="427990">
                  <a:moveTo>
                    <a:pt x="145967" y="137824"/>
                  </a:moveTo>
                  <a:lnTo>
                    <a:pt x="91310" y="137824"/>
                  </a:lnTo>
                  <a:lnTo>
                    <a:pt x="137905" y="155552"/>
                  </a:lnTo>
                  <a:lnTo>
                    <a:pt x="142743" y="152934"/>
                  </a:lnTo>
                  <a:lnTo>
                    <a:pt x="146994" y="141761"/>
                  </a:lnTo>
                  <a:lnTo>
                    <a:pt x="145967" y="137824"/>
                  </a:lnTo>
                  <a:close/>
                </a:path>
                <a:path w="251459" h="427990">
                  <a:moveTo>
                    <a:pt x="163459" y="106778"/>
                  </a:moveTo>
                  <a:lnTo>
                    <a:pt x="100650" y="106778"/>
                  </a:lnTo>
                  <a:lnTo>
                    <a:pt x="158125" y="128641"/>
                  </a:lnTo>
                  <a:lnTo>
                    <a:pt x="163339" y="125364"/>
                  </a:lnTo>
                  <a:lnTo>
                    <a:pt x="167590" y="114202"/>
                  </a:lnTo>
                  <a:lnTo>
                    <a:pt x="166156" y="107804"/>
                  </a:lnTo>
                  <a:lnTo>
                    <a:pt x="163459" y="106778"/>
                  </a:lnTo>
                  <a:close/>
                </a:path>
                <a:path w="251459" h="427990">
                  <a:moveTo>
                    <a:pt x="186842" y="70092"/>
                  </a:moveTo>
                  <a:lnTo>
                    <a:pt x="141573" y="70092"/>
                  </a:lnTo>
                  <a:lnTo>
                    <a:pt x="152900" y="72580"/>
                  </a:lnTo>
                  <a:lnTo>
                    <a:pt x="161357" y="76813"/>
                  </a:lnTo>
                  <a:lnTo>
                    <a:pt x="166998" y="82202"/>
                  </a:lnTo>
                  <a:lnTo>
                    <a:pt x="170217" y="89206"/>
                  </a:lnTo>
                  <a:lnTo>
                    <a:pt x="171412" y="98286"/>
                  </a:lnTo>
                  <a:lnTo>
                    <a:pt x="171569" y="103249"/>
                  </a:lnTo>
                  <a:lnTo>
                    <a:pt x="173988" y="107574"/>
                  </a:lnTo>
                  <a:lnTo>
                    <a:pt x="180072" y="109888"/>
                  </a:lnTo>
                  <a:lnTo>
                    <a:pt x="181684" y="110830"/>
                  </a:lnTo>
                  <a:lnTo>
                    <a:pt x="183265" y="110610"/>
                  </a:lnTo>
                  <a:lnTo>
                    <a:pt x="183504" y="110610"/>
                  </a:lnTo>
                  <a:lnTo>
                    <a:pt x="183768" y="110338"/>
                  </a:lnTo>
                  <a:lnTo>
                    <a:pt x="189056" y="110181"/>
                  </a:lnTo>
                  <a:lnTo>
                    <a:pt x="193108" y="107406"/>
                  </a:lnTo>
                  <a:lnTo>
                    <a:pt x="195272" y="101679"/>
                  </a:lnTo>
                  <a:lnTo>
                    <a:pt x="195841" y="99867"/>
                  </a:lnTo>
                  <a:lnTo>
                    <a:pt x="195631" y="97354"/>
                  </a:lnTo>
                  <a:lnTo>
                    <a:pt x="193192" y="82239"/>
                  </a:lnTo>
                  <a:lnTo>
                    <a:pt x="186842" y="70092"/>
                  </a:lnTo>
                  <a:close/>
                </a:path>
                <a:path w="251459" h="427990">
                  <a:moveTo>
                    <a:pt x="183504" y="110610"/>
                  </a:moveTo>
                  <a:lnTo>
                    <a:pt x="183265" y="110610"/>
                  </a:lnTo>
                  <a:lnTo>
                    <a:pt x="183443" y="110673"/>
                  </a:lnTo>
                  <a:close/>
                </a:path>
                <a:path w="251459" h="427990">
                  <a:moveTo>
                    <a:pt x="75593" y="73345"/>
                  </a:moveTo>
                  <a:lnTo>
                    <a:pt x="69887" y="77187"/>
                  </a:lnTo>
                  <a:lnTo>
                    <a:pt x="65667" y="88276"/>
                  </a:lnTo>
                  <a:lnTo>
                    <a:pt x="67646" y="94213"/>
                  </a:lnTo>
                  <a:lnTo>
                    <a:pt x="79782" y="98831"/>
                  </a:lnTo>
                  <a:lnTo>
                    <a:pt x="78609" y="101679"/>
                  </a:lnTo>
                  <a:lnTo>
                    <a:pt x="78462" y="102307"/>
                  </a:lnTo>
                  <a:lnTo>
                    <a:pt x="76258" y="108045"/>
                  </a:lnTo>
                  <a:lnTo>
                    <a:pt x="75677" y="109626"/>
                  </a:lnTo>
                  <a:lnTo>
                    <a:pt x="99477" y="109626"/>
                  </a:lnTo>
                  <a:lnTo>
                    <a:pt x="100650" y="106778"/>
                  </a:lnTo>
                  <a:lnTo>
                    <a:pt x="163459" y="106778"/>
                  </a:lnTo>
                  <a:lnTo>
                    <a:pt x="111477" y="86999"/>
                  </a:lnTo>
                  <a:lnTo>
                    <a:pt x="119180" y="78779"/>
                  </a:lnTo>
                  <a:lnTo>
                    <a:pt x="89886" y="78779"/>
                  </a:lnTo>
                  <a:lnTo>
                    <a:pt x="75593" y="73345"/>
                  </a:lnTo>
                  <a:close/>
                </a:path>
                <a:path w="251459" h="427990">
                  <a:moveTo>
                    <a:pt x="139987" y="47560"/>
                  </a:moveTo>
                  <a:lnTo>
                    <a:pt x="103594" y="62238"/>
                  </a:lnTo>
                  <a:lnTo>
                    <a:pt x="89886" y="78779"/>
                  </a:lnTo>
                  <a:lnTo>
                    <a:pt x="119180" y="78779"/>
                  </a:lnTo>
                  <a:lnTo>
                    <a:pt x="120737" y="77118"/>
                  </a:lnTo>
                  <a:lnTo>
                    <a:pt x="130810" y="71544"/>
                  </a:lnTo>
                  <a:lnTo>
                    <a:pt x="141573" y="70092"/>
                  </a:lnTo>
                  <a:lnTo>
                    <a:pt x="186842" y="70092"/>
                  </a:lnTo>
                  <a:lnTo>
                    <a:pt x="186616" y="69659"/>
                  </a:lnTo>
                  <a:lnTo>
                    <a:pt x="175839" y="59544"/>
                  </a:lnTo>
                  <a:lnTo>
                    <a:pt x="160795" y="51827"/>
                  </a:lnTo>
                  <a:lnTo>
                    <a:pt x="150326" y="48743"/>
                  </a:lnTo>
                  <a:lnTo>
                    <a:pt x="139987" y="47560"/>
                  </a:lnTo>
                  <a:close/>
                </a:path>
                <a:path w="251459" h="427990">
                  <a:moveTo>
                    <a:pt x="19604" y="386996"/>
                  </a:moveTo>
                  <a:lnTo>
                    <a:pt x="12010" y="388771"/>
                  </a:lnTo>
                  <a:lnTo>
                    <a:pt x="5635" y="393265"/>
                  </a:lnTo>
                  <a:lnTo>
                    <a:pt x="1323" y="400099"/>
                  </a:lnTo>
                  <a:lnTo>
                    <a:pt x="0" y="408071"/>
                  </a:lnTo>
                  <a:lnTo>
                    <a:pt x="1775" y="415668"/>
                  </a:lnTo>
                  <a:lnTo>
                    <a:pt x="6269" y="422046"/>
                  </a:lnTo>
                  <a:lnTo>
                    <a:pt x="13103" y="426360"/>
                  </a:lnTo>
                  <a:lnTo>
                    <a:pt x="21074" y="427678"/>
                  </a:lnTo>
                  <a:lnTo>
                    <a:pt x="28672" y="425899"/>
                  </a:lnTo>
                  <a:lnTo>
                    <a:pt x="35050" y="421404"/>
                  </a:lnTo>
                  <a:lnTo>
                    <a:pt x="39364" y="414570"/>
                  </a:lnTo>
                  <a:lnTo>
                    <a:pt x="40683" y="406599"/>
                  </a:lnTo>
                  <a:lnTo>
                    <a:pt x="38907" y="399002"/>
                  </a:lnTo>
                  <a:lnTo>
                    <a:pt x="34412" y="392627"/>
                  </a:lnTo>
                  <a:lnTo>
                    <a:pt x="27574" y="388319"/>
                  </a:lnTo>
                  <a:lnTo>
                    <a:pt x="19604" y="386996"/>
                  </a:lnTo>
                  <a:close/>
                </a:path>
              </a:pathLst>
            </a:custGeom>
            <a:solidFill>
              <a:srgbClr val="D9771B"/>
            </a:solidFill>
          </p:spPr>
          <p:txBody>
            <a:bodyPr wrap="square" lIns="0" tIns="0" rIns="0" bIns="0" rtlCol="0"/>
            <a:lstStyle/>
            <a:p>
              <a:endParaRPr/>
            </a:p>
          </p:txBody>
        </p:sp>
      </p:grpSp>
      <p:sp>
        <p:nvSpPr>
          <p:cNvPr id="123" name="object 11">
            <a:extLst>
              <a:ext uri="{FF2B5EF4-FFF2-40B4-BE49-F238E27FC236}">
                <a16:creationId xmlns:a16="http://schemas.microsoft.com/office/drawing/2014/main" id="{8F97886B-41A1-4544-8115-C00BD3A21D81}"/>
              </a:ext>
            </a:extLst>
          </p:cNvPr>
          <p:cNvSpPr/>
          <p:nvPr/>
        </p:nvSpPr>
        <p:spPr>
          <a:xfrm>
            <a:off x="265228" y="2377311"/>
            <a:ext cx="8607375" cy="382080"/>
          </a:xfrm>
          <a:custGeom>
            <a:avLst/>
            <a:gdLst/>
            <a:ahLst/>
            <a:cxnLst/>
            <a:rect l="l" t="t" r="r" b="b"/>
            <a:pathLst>
              <a:path w="18924270" h="840104">
                <a:moveTo>
                  <a:pt x="0" y="0"/>
                </a:moveTo>
                <a:lnTo>
                  <a:pt x="18923706" y="0"/>
                </a:lnTo>
                <a:lnTo>
                  <a:pt x="18923706" y="839974"/>
                </a:lnTo>
                <a:lnTo>
                  <a:pt x="0" y="839974"/>
                </a:lnTo>
                <a:lnTo>
                  <a:pt x="0" y="0"/>
                </a:lnTo>
                <a:close/>
              </a:path>
            </a:pathLst>
          </a:custGeom>
          <a:solidFill>
            <a:srgbClr val="FFFFFF"/>
          </a:solidFill>
        </p:spPr>
        <p:txBody>
          <a:bodyPr wrap="square" lIns="0" tIns="0" rIns="0" bIns="0" rtlCol="0"/>
          <a:lstStyle/>
          <a:p>
            <a:endParaRPr/>
          </a:p>
        </p:txBody>
      </p:sp>
      <p:sp>
        <p:nvSpPr>
          <p:cNvPr id="124" name="object 37">
            <a:extLst>
              <a:ext uri="{FF2B5EF4-FFF2-40B4-BE49-F238E27FC236}">
                <a16:creationId xmlns:a16="http://schemas.microsoft.com/office/drawing/2014/main" id="{23002488-59FA-194E-ACDE-F1DA25FC521F}"/>
              </a:ext>
            </a:extLst>
          </p:cNvPr>
          <p:cNvSpPr/>
          <p:nvPr/>
        </p:nvSpPr>
        <p:spPr>
          <a:xfrm>
            <a:off x="3623171" y="2512628"/>
            <a:ext cx="439582" cy="156240"/>
          </a:xfrm>
          <a:custGeom>
            <a:avLst/>
            <a:gdLst/>
            <a:ahLst/>
            <a:cxnLst/>
            <a:rect l="l" t="t" r="r" b="b"/>
            <a:pathLst>
              <a:path w="966470" h="343535">
                <a:moveTo>
                  <a:pt x="965991" y="0"/>
                </a:moveTo>
                <a:lnTo>
                  <a:pt x="0" y="0"/>
                </a:lnTo>
                <a:lnTo>
                  <a:pt x="0" y="343392"/>
                </a:lnTo>
                <a:lnTo>
                  <a:pt x="965991" y="343392"/>
                </a:lnTo>
                <a:lnTo>
                  <a:pt x="965991" y="0"/>
                </a:lnTo>
                <a:close/>
              </a:path>
            </a:pathLst>
          </a:custGeom>
          <a:solidFill>
            <a:srgbClr val="FF7900"/>
          </a:solidFill>
        </p:spPr>
        <p:txBody>
          <a:bodyPr wrap="square" lIns="0" tIns="0" rIns="0" bIns="0" rtlCol="0"/>
          <a:lstStyle/>
          <a:p>
            <a:endParaRPr/>
          </a:p>
        </p:txBody>
      </p:sp>
      <p:sp>
        <p:nvSpPr>
          <p:cNvPr id="125" name="object 38">
            <a:extLst>
              <a:ext uri="{FF2B5EF4-FFF2-40B4-BE49-F238E27FC236}">
                <a16:creationId xmlns:a16="http://schemas.microsoft.com/office/drawing/2014/main" id="{7CE5893F-F34A-D247-BDC8-F4A1D587C348}"/>
              </a:ext>
            </a:extLst>
          </p:cNvPr>
          <p:cNvSpPr/>
          <p:nvPr/>
        </p:nvSpPr>
        <p:spPr>
          <a:xfrm>
            <a:off x="4685724" y="2512628"/>
            <a:ext cx="466153" cy="156240"/>
          </a:xfrm>
          <a:custGeom>
            <a:avLst/>
            <a:gdLst/>
            <a:ahLst/>
            <a:cxnLst/>
            <a:rect l="l" t="t" r="r" b="b"/>
            <a:pathLst>
              <a:path w="1024890" h="343535">
                <a:moveTo>
                  <a:pt x="1024534" y="0"/>
                </a:moveTo>
                <a:lnTo>
                  <a:pt x="0" y="0"/>
                </a:lnTo>
                <a:lnTo>
                  <a:pt x="0" y="343392"/>
                </a:lnTo>
                <a:lnTo>
                  <a:pt x="1024534" y="343392"/>
                </a:lnTo>
                <a:lnTo>
                  <a:pt x="1024534" y="0"/>
                </a:lnTo>
                <a:close/>
              </a:path>
            </a:pathLst>
          </a:custGeom>
          <a:solidFill>
            <a:srgbClr val="FF7900"/>
          </a:solidFill>
        </p:spPr>
        <p:txBody>
          <a:bodyPr wrap="square" lIns="0" tIns="0" rIns="0" bIns="0" rtlCol="0"/>
          <a:lstStyle/>
          <a:p>
            <a:endParaRPr/>
          </a:p>
        </p:txBody>
      </p:sp>
      <p:sp>
        <p:nvSpPr>
          <p:cNvPr id="126" name="object 39">
            <a:extLst>
              <a:ext uri="{FF2B5EF4-FFF2-40B4-BE49-F238E27FC236}">
                <a16:creationId xmlns:a16="http://schemas.microsoft.com/office/drawing/2014/main" id="{1F74F9B6-47EC-7E46-9543-8A278CD7B79D}"/>
              </a:ext>
            </a:extLst>
          </p:cNvPr>
          <p:cNvSpPr/>
          <p:nvPr/>
        </p:nvSpPr>
        <p:spPr>
          <a:xfrm>
            <a:off x="5761591" y="2512628"/>
            <a:ext cx="452868" cy="156240"/>
          </a:xfrm>
          <a:custGeom>
            <a:avLst/>
            <a:gdLst/>
            <a:ahLst/>
            <a:cxnLst/>
            <a:rect l="l" t="t" r="r" b="b"/>
            <a:pathLst>
              <a:path w="995680" h="343535">
                <a:moveTo>
                  <a:pt x="995257" y="0"/>
                </a:moveTo>
                <a:lnTo>
                  <a:pt x="0" y="0"/>
                </a:lnTo>
                <a:lnTo>
                  <a:pt x="0" y="343392"/>
                </a:lnTo>
                <a:lnTo>
                  <a:pt x="995257" y="343392"/>
                </a:lnTo>
                <a:lnTo>
                  <a:pt x="995257" y="0"/>
                </a:lnTo>
                <a:close/>
              </a:path>
            </a:pathLst>
          </a:custGeom>
          <a:solidFill>
            <a:srgbClr val="FF7900"/>
          </a:solidFill>
        </p:spPr>
        <p:txBody>
          <a:bodyPr wrap="square" lIns="0" tIns="0" rIns="0" bIns="0" rtlCol="0"/>
          <a:lstStyle/>
          <a:p>
            <a:endParaRPr/>
          </a:p>
        </p:txBody>
      </p:sp>
      <p:sp>
        <p:nvSpPr>
          <p:cNvPr id="127" name="object 40">
            <a:extLst>
              <a:ext uri="{FF2B5EF4-FFF2-40B4-BE49-F238E27FC236}">
                <a16:creationId xmlns:a16="http://schemas.microsoft.com/office/drawing/2014/main" id="{4171D5E3-BDDC-2340-8866-C4F6C4D754E7}"/>
              </a:ext>
            </a:extLst>
          </p:cNvPr>
          <p:cNvSpPr/>
          <p:nvPr/>
        </p:nvSpPr>
        <p:spPr>
          <a:xfrm>
            <a:off x="6824143" y="2512628"/>
            <a:ext cx="386150" cy="156240"/>
          </a:xfrm>
          <a:custGeom>
            <a:avLst/>
            <a:gdLst/>
            <a:ahLst/>
            <a:cxnLst/>
            <a:rect l="l" t="t" r="r" b="b"/>
            <a:pathLst>
              <a:path w="848994" h="343535">
                <a:moveTo>
                  <a:pt x="848895" y="0"/>
                </a:moveTo>
                <a:lnTo>
                  <a:pt x="0" y="0"/>
                </a:lnTo>
                <a:lnTo>
                  <a:pt x="0" y="343392"/>
                </a:lnTo>
                <a:lnTo>
                  <a:pt x="848895" y="343392"/>
                </a:lnTo>
                <a:lnTo>
                  <a:pt x="848895" y="0"/>
                </a:lnTo>
                <a:close/>
              </a:path>
            </a:pathLst>
          </a:custGeom>
          <a:solidFill>
            <a:srgbClr val="FF7900"/>
          </a:solidFill>
        </p:spPr>
        <p:txBody>
          <a:bodyPr wrap="square" lIns="0" tIns="0" rIns="0" bIns="0" rtlCol="0"/>
          <a:lstStyle/>
          <a:p>
            <a:endParaRPr/>
          </a:p>
        </p:txBody>
      </p:sp>
      <p:sp>
        <p:nvSpPr>
          <p:cNvPr id="128" name="object 41">
            <a:extLst>
              <a:ext uri="{FF2B5EF4-FFF2-40B4-BE49-F238E27FC236}">
                <a16:creationId xmlns:a16="http://schemas.microsoft.com/office/drawing/2014/main" id="{28FE0069-9002-6D42-AD79-00BEB1BC2E0D}"/>
              </a:ext>
            </a:extLst>
          </p:cNvPr>
          <p:cNvSpPr/>
          <p:nvPr/>
        </p:nvSpPr>
        <p:spPr>
          <a:xfrm>
            <a:off x="7886690" y="2512628"/>
            <a:ext cx="479439" cy="156240"/>
          </a:xfrm>
          <a:custGeom>
            <a:avLst/>
            <a:gdLst/>
            <a:ahLst/>
            <a:cxnLst/>
            <a:rect l="l" t="t" r="r" b="b"/>
            <a:pathLst>
              <a:path w="1054100" h="343535">
                <a:moveTo>
                  <a:pt x="1053810" y="0"/>
                </a:moveTo>
                <a:lnTo>
                  <a:pt x="0" y="0"/>
                </a:lnTo>
                <a:lnTo>
                  <a:pt x="0" y="343392"/>
                </a:lnTo>
                <a:lnTo>
                  <a:pt x="1053810" y="343392"/>
                </a:lnTo>
                <a:lnTo>
                  <a:pt x="1053810" y="0"/>
                </a:lnTo>
                <a:close/>
              </a:path>
            </a:pathLst>
          </a:custGeom>
          <a:solidFill>
            <a:srgbClr val="FF7900"/>
          </a:solidFill>
        </p:spPr>
        <p:txBody>
          <a:bodyPr wrap="square" lIns="0" tIns="0" rIns="0" bIns="0" rtlCol="0"/>
          <a:lstStyle/>
          <a:p>
            <a:endParaRPr/>
          </a:p>
        </p:txBody>
      </p:sp>
      <p:sp>
        <p:nvSpPr>
          <p:cNvPr id="129" name="object 42">
            <a:extLst>
              <a:ext uri="{FF2B5EF4-FFF2-40B4-BE49-F238E27FC236}">
                <a16:creationId xmlns:a16="http://schemas.microsoft.com/office/drawing/2014/main" id="{42E8D03F-02F7-0F4A-B638-63041DCAC137}"/>
              </a:ext>
            </a:extLst>
          </p:cNvPr>
          <p:cNvSpPr/>
          <p:nvPr/>
        </p:nvSpPr>
        <p:spPr>
          <a:xfrm>
            <a:off x="265228" y="2808773"/>
            <a:ext cx="8607375" cy="328364"/>
          </a:xfrm>
          <a:custGeom>
            <a:avLst/>
            <a:gdLst/>
            <a:ahLst/>
            <a:cxnLst/>
            <a:rect l="l" t="t" r="r" b="b"/>
            <a:pathLst>
              <a:path w="18924270" h="721995">
                <a:moveTo>
                  <a:pt x="0" y="0"/>
                </a:moveTo>
                <a:lnTo>
                  <a:pt x="18923706" y="0"/>
                </a:lnTo>
                <a:lnTo>
                  <a:pt x="18923706" y="721915"/>
                </a:lnTo>
                <a:lnTo>
                  <a:pt x="0" y="721915"/>
                </a:lnTo>
                <a:lnTo>
                  <a:pt x="0" y="0"/>
                </a:lnTo>
                <a:close/>
              </a:path>
            </a:pathLst>
          </a:custGeom>
          <a:solidFill>
            <a:srgbClr val="FFFFFF"/>
          </a:solidFill>
        </p:spPr>
        <p:txBody>
          <a:bodyPr wrap="square" lIns="0" tIns="0" rIns="0" bIns="0" rtlCol="0"/>
          <a:lstStyle/>
          <a:p>
            <a:endParaRPr/>
          </a:p>
        </p:txBody>
      </p:sp>
      <p:sp>
        <p:nvSpPr>
          <p:cNvPr id="130" name="object 43">
            <a:extLst>
              <a:ext uri="{FF2B5EF4-FFF2-40B4-BE49-F238E27FC236}">
                <a16:creationId xmlns:a16="http://schemas.microsoft.com/office/drawing/2014/main" id="{7FB5987C-C2C5-6546-9833-9EA5F64EE740}"/>
              </a:ext>
            </a:extLst>
          </p:cNvPr>
          <p:cNvSpPr/>
          <p:nvPr/>
        </p:nvSpPr>
        <p:spPr>
          <a:xfrm>
            <a:off x="265228" y="3187027"/>
            <a:ext cx="8607375" cy="328364"/>
          </a:xfrm>
          <a:custGeom>
            <a:avLst/>
            <a:gdLst/>
            <a:ahLst/>
            <a:cxnLst/>
            <a:rect l="l" t="t" r="r" b="b"/>
            <a:pathLst>
              <a:path w="18924270" h="721995">
                <a:moveTo>
                  <a:pt x="0" y="0"/>
                </a:moveTo>
                <a:lnTo>
                  <a:pt x="18923706" y="0"/>
                </a:lnTo>
                <a:lnTo>
                  <a:pt x="18923706" y="721915"/>
                </a:lnTo>
                <a:lnTo>
                  <a:pt x="0" y="721915"/>
                </a:lnTo>
                <a:lnTo>
                  <a:pt x="0" y="0"/>
                </a:lnTo>
                <a:close/>
              </a:path>
            </a:pathLst>
          </a:custGeom>
          <a:solidFill>
            <a:srgbClr val="FFFFFF"/>
          </a:solidFill>
        </p:spPr>
        <p:txBody>
          <a:bodyPr wrap="square" lIns="0" tIns="0" rIns="0" bIns="0" rtlCol="0"/>
          <a:lstStyle/>
          <a:p>
            <a:endParaRPr/>
          </a:p>
        </p:txBody>
      </p:sp>
      <p:sp>
        <p:nvSpPr>
          <p:cNvPr id="131" name="object 44">
            <a:extLst>
              <a:ext uri="{FF2B5EF4-FFF2-40B4-BE49-F238E27FC236}">
                <a16:creationId xmlns:a16="http://schemas.microsoft.com/office/drawing/2014/main" id="{41E713A6-25ED-AA4F-A53E-35A341470690}"/>
              </a:ext>
            </a:extLst>
          </p:cNvPr>
          <p:cNvSpPr/>
          <p:nvPr/>
        </p:nvSpPr>
        <p:spPr>
          <a:xfrm>
            <a:off x="265228" y="3950661"/>
            <a:ext cx="8607375" cy="517005"/>
          </a:xfrm>
          <a:custGeom>
            <a:avLst/>
            <a:gdLst/>
            <a:ahLst/>
            <a:cxnLst/>
            <a:rect l="l" t="t" r="r" b="b"/>
            <a:pathLst>
              <a:path w="18924270" h="715009">
                <a:moveTo>
                  <a:pt x="0" y="0"/>
                </a:moveTo>
                <a:lnTo>
                  <a:pt x="18923706" y="0"/>
                </a:lnTo>
                <a:lnTo>
                  <a:pt x="18923706" y="714910"/>
                </a:lnTo>
                <a:lnTo>
                  <a:pt x="0" y="714910"/>
                </a:lnTo>
                <a:lnTo>
                  <a:pt x="0" y="0"/>
                </a:lnTo>
                <a:close/>
              </a:path>
            </a:pathLst>
          </a:custGeom>
          <a:solidFill>
            <a:srgbClr val="FFFFFF"/>
          </a:solidFill>
        </p:spPr>
        <p:txBody>
          <a:bodyPr wrap="square" lIns="0" tIns="0" rIns="0" bIns="0" rtlCol="0"/>
          <a:lstStyle/>
          <a:p>
            <a:endParaRPr/>
          </a:p>
        </p:txBody>
      </p:sp>
      <p:sp>
        <p:nvSpPr>
          <p:cNvPr id="132" name="object 45">
            <a:extLst>
              <a:ext uri="{FF2B5EF4-FFF2-40B4-BE49-F238E27FC236}">
                <a16:creationId xmlns:a16="http://schemas.microsoft.com/office/drawing/2014/main" id="{B6A5F935-0B85-074A-B5C8-948C36C40498}"/>
              </a:ext>
            </a:extLst>
          </p:cNvPr>
          <p:cNvSpPr/>
          <p:nvPr/>
        </p:nvSpPr>
        <p:spPr>
          <a:xfrm>
            <a:off x="265228" y="3566467"/>
            <a:ext cx="8607375" cy="328941"/>
          </a:xfrm>
          <a:custGeom>
            <a:avLst/>
            <a:gdLst/>
            <a:ahLst/>
            <a:cxnLst/>
            <a:rect l="l" t="t" r="r" b="b"/>
            <a:pathLst>
              <a:path w="18924270" h="723265">
                <a:moveTo>
                  <a:pt x="0" y="723203"/>
                </a:moveTo>
                <a:lnTo>
                  <a:pt x="18923706" y="723203"/>
                </a:lnTo>
                <a:lnTo>
                  <a:pt x="18923706" y="0"/>
                </a:lnTo>
                <a:lnTo>
                  <a:pt x="0" y="0"/>
                </a:lnTo>
                <a:lnTo>
                  <a:pt x="0" y="723203"/>
                </a:lnTo>
                <a:close/>
              </a:path>
            </a:pathLst>
          </a:custGeom>
          <a:solidFill>
            <a:srgbClr val="FFFFFF"/>
          </a:solidFill>
        </p:spPr>
        <p:txBody>
          <a:bodyPr wrap="square" lIns="0" tIns="0" rIns="0" bIns="0" rtlCol="0"/>
          <a:lstStyle/>
          <a:p>
            <a:endParaRPr/>
          </a:p>
        </p:txBody>
      </p:sp>
      <p:sp>
        <p:nvSpPr>
          <p:cNvPr id="133" name="object 47">
            <a:extLst>
              <a:ext uri="{FF2B5EF4-FFF2-40B4-BE49-F238E27FC236}">
                <a16:creationId xmlns:a16="http://schemas.microsoft.com/office/drawing/2014/main" id="{E50EE831-0DF9-944F-8521-84753BADDAF7}"/>
              </a:ext>
            </a:extLst>
          </p:cNvPr>
          <p:cNvSpPr txBox="1"/>
          <p:nvPr/>
        </p:nvSpPr>
        <p:spPr>
          <a:xfrm>
            <a:off x="360480" y="3635824"/>
            <a:ext cx="3020755" cy="183098"/>
          </a:xfrm>
          <a:prstGeom prst="rect">
            <a:avLst/>
          </a:prstGeom>
        </p:spPr>
        <p:txBody>
          <a:bodyPr vert="horz" wrap="square" lIns="0" tIns="6931" rIns="0" bIns="0" rtlCol="0">
            <a:spAutoFit/>
          </a:bodyPr>
          <a:lstStyle/>
          <a:p>
            <a:pPr>
              <a:spcBef>
                <a:spcPts val="55"/>
              </a:spcBef>
            </a:pPr>
            <a:r>
              <a:rPr sz="1100" b="1" spc="-9" dirty="0">
                <a:solidFill>
                  <a:srgbClr val="1D1D1B"/>
                </a:solidFill>
                <a:latin typeface="Helvetica Neue"/>
                <a:cs typeface="Helvetica Neue"/>
              </a:rPr>
              <a:t>Le</a:t>
            </a:r>
            <a:r>
              <a:rPr sz="1100" b="1" spc="-57" dirty="0">
                <a:solidFill>
                  <a:srgbClr val="1D1D1B"/>
                </a:solidFill>
                <a:latin typeface="Helvetica Neue"/>
                <a:cs typeface="Helvetica Neue"/>
              </a:rPr>
              <a:t> </a:t>
            </a:r>
            <a:r>
              <a:rPr sz="1100" b="1" spc="-20" dirty="0">
                <a:solidFill>
                  <a:srgbClr val="1D1D1B"/>
                </a:solidFill>
                <a:latin typeface="Helvetica Neue"/>
                <a:cs typeface="Helvetica Neue"/>
              </a:rPr>
              <a:t>paiement</a:t>
            </a:r>
            <a:r>
              <a:rPr sz="1100" b="1" spc="-55" dirty="0">
                <a:solidFill>
                  <a:srgbClr val="1D1D1B"/>
                </a:solidFill>
                <a:latin typeface="Helvetica Neue"/>
                <a:cs typeface="Helvetica Neue"/>
              </a:rPr>
              <a:t> </a:t>
            </a:r>
            <a:r>
              <a:rPr sz="1100" b="1" spc="-9" dirty="0">
                <a:solidFill>
                  <a:srgbClr val="1D1D1B"/>
                </a:solidFill>
                <a:latin typeface="Helvetica Neue"/>
                <a:cs typeface="Helvetica Neue"/>
              </a:rPr>
              <a:t>en</a:t>
            </a:r>
            <a:r>
              <a:rPr sz="1100" b="1" spc="-55" dirty="0">
                <a:solidFill>
                  <a:srgbClr val="1D1D1B"/>
                </a:solidFill>
                <a:latin typeface="Helvetica Neue"/>
                <a:cs typeface="Helvetica Neue"/>
              </a:rPr>
              <a:t> </a:t>
            </a:r>
            <a:r>
              <a:rPr sz="1100" b="1" spc="-20" dirty="0">
                <a:solidFill>
                  <a:srgbClr val="1D1D1B"/>
                </a:solidFill>
                <a:latin typeface="Helvetica Neue"/>
                <a:cs typeface="Helvetica Neue"/>
              </a:rPr>
              <a:t>ligne</a:t>
            </a:r>
            <a:r>
              <a:rPr sz="1100" b="1" spc="-57" dirty="0">
                <a:solidFill>
                  <a:srgbClr val="1D1D1B"/>
                </a:solidFill>
                <a:latin typeface="Helvetica Neue"/>
                <a:cs typeface="Helvetica Neue"/>
              </a:rPr>
              <a:t> </a:t>
            </a:r>
            <a:r>
              <a:rPr sz="1100" b="1" spc="-20" dirty="0">
                <a:solidFill>
                  <a:srgbClr val="1D1D1B"/>
                </a:solidFill>
                <a:latin typeface="Helvetica Neue"/>
                <a:cs typeface="Helvetica Neue"/>
              </a:rPr>
              <a:t>depuis</a:t>
            </a:r>
            <a:r>
              <a:rPr sz="1100" b="1" spc="-55" dirty="0">
                <a:solidFill>
                  <a:srgbClr val="1D1D1B"/>
                </a:solidFill>
                <a:latin typeface="Helvetica Neue"/>
                <a:cs typeface="Helvetica Neue"/>
              </a:rPr>
              <a:t> </a:t>
            </a:r>
            <a:r>
              <a:rPr sz="1100" b="1" spc="-23" dirty="0">
                <a:solidFill>
                  <a:srgbClr val="1D1D1B"/>
                </a:solidFill>
                <a:latin typeface="Helvetica Neue"/>
                <a:cs typeface="Helvetica Neue"/>
              </a:rPr>
              <a:t>votre</a:t>
            </a:r>
            <a:r>
              <a:rPr sz="1100" b="1" spc="-55" dirty="0">
                <a:solidFill>
                  <a:srgbClr val="1D1D1B"/>
                </a:solidFill>
                <a:latin typeface="Helvetica Neue"/>
                <a:cs typeface="Helvetica Neue"/>
              </a:rPr>
              <a:t> </a:t>
            </a:r>
            <a:r>
              <a:rPr sz="1100" b="1" spc="-25" dirty="0">
                <a:solidFill>
                  <a:srgbClr val="1D1D1B"/>
                </a:solidFill>
                <a:latin typeface="Helvetica Neue"/>
                <a:cs typeface="Helvetica Neue"/>
              </a:rPr>
              <a:t>Smartphone</a:t>
            </a:r>
            <a:endParaRPr sz="1100">
              <a:latin typeface="Helvetica Neue"/>
              <a:cs typeface="Helvetica Neue"/>
            </a:endParaRPr>
          </a:p>
        </p:txBody>
      </p:sp>
      <p:sp>
        <p:nvSpPr>
          <p:cNvPr id="134" name="object 53">
            <a:extLst>
              <a:ext uri="{FF2B5EF4-FFF2-40B4-BE49-F238E27FC236}">
                <a16:creationId xmlns:a16="http://schemas.microsoft.com/office/drawing/2014/main" id="{3C00AFF6-B110-C749-8DAD-E5DE242181A7}"/>
              </a:ext>
            </a:extLst>
          </p:cNvPr>
          <p:cNvSpPr/>
          <p:nvPr/>
        </p:nvSpPr>
        <p:spPr>
          <a:xfrm>
            <a:off x="3623267" y="2898102"/>
            <a:ext cx="439582" cy="149886"/>
          </a:xfrm>
          <a:custGeom>
            <a:avLst/>
            <a:gdLst/>
            <a:ahLst/>
            <a:cxnLst/>
            <a:rect l="l" t="t" r="r" b="b"/>
            <a:pathLst>
              <a:path w="966470" h="329565">
                <a:moveTo>
                  <a:pt x="965991" y="0"/>
                </a:moveTo>
                <a:lnTo>
                  <a:pt x="0" y="0"/>
                </a:lnTo>
                <a:lnTo>
                  <a:pt x="0" y="329089"/>
                </a:lnTo>
                <a:lnTo>
                  <a:pt x="965991" y="329089"/>
                </a:lnTo>
                <a:lnTo>
                  <a:pt x="965991" y="0"/>
                </a:lnTo>
                <a:close/>
              </a:path>
            </a:pathLst>
          </a:custGeom>
          <a:solidFill>
            <a:srgbClr val="FF7900"/>
          </a:solidFill>
        </p:spPr>
        <p:txBody>
          <a:bodyPr wrap="square" lIns="0" tIns="0" rIns="0" bIns="0" rtlCol="0"/>
          <a:lstStyle/>
          <a:p>
            <a:endParaRPr/>
          </a:p>
        </p:txBody>
      </p:sp>
      <p:sp>
        <p:nvSpPr>
          <p:cNvPr id="135" name="object 54">
            <a:extLst>
              <a:ext uri="{FF2B5EF4-FFF2-40B4-BE49-F238E27FC236}">
                <a16:creationId xmlns:a16="http://schemas.microsoft.com/office/drawing/2014/main" id="{A1C98488-FD2A-CA4A-B4F6-DC6A6C212C73}"/>
              </a:ext>
            </a:extLst>
          </p:cNvPr>
          <p:cNvSpPr/>
          <p:nvPr/>
        </p:nvSpPr>
        <p:spPr>
          <a:xfrm>
            <a:off x="4685819" y="2898102"/>
            <a:ext cx="439582" cy="149886"/>
          </a:xfrm>
          <a:custGeom>
            <a:avLst/>
            <a:gdLst/>
            <a:ahLst/>
            <a:cxnLst/>
            <a:rect l="l" t="t" r="r" b="b"/>
            <a:pathLst>
              <a:path w="966470" h="329565">
                <a:moveTo>
                  <a:pt x="965991" y="0"/>
                </a:moveTo>
                <a:lnTo>
                  <a:pt x="0" y="0"/>
                </a:lnTo>
                <a:lnTo>
                  <a:pt x="0" y="329089"/>
                </a:lnTo>
                <a:lnTo>
                  <a:pt x="965991" y="329089"/>
                </a:lnTo>
                <a:lnTo>
                  <a:pt x="965991" y="0"/>
                </a:lnTo>
                <a:close/>
              </a:path>
            </a:pathLst>
          </a:custGeom>
          <a:solidFill>
            <a:srgbClr val="FF7900"/>
          </a:solidFill>
        </p:spPr>
        <p:txBody>
          <a:bodyPr wrap="square" lIns="0" tIns="0" rIns="0" bIns="0" rtlCol="0"/>
          <a:lstStyle/>
          <a:p>
            <a:endParaRPr/>
          </a:p>
        </p:txBody>
      </p:sp>
      <p:sp>
        <p:nvSpPr>
          <p:cNvPr id="136" name="object 55">
            <a:extLst>
              <a:ext uri="{FF2B5EF4-FFF2-40B4-BE49-F238E27FC236}">
                <a16:creationId xmlns:a16="http://schemas.microsoft.com/office/drawing/2014/main" id="{146D3909-9C63-DB4D-8DED-71F341C2038C}"/>
              </a:ext>
            </a:extLst>
          </p:cNvPr>
          <p:cNvSpPr/>
          <p:nvPr/>
        </p:nvSpPr>
        <p:spPr>
          <a:xfrm>
            <a:off x="5761682" y="2898102"/>
            <a:ext cx="452868" cy="149886"/>
          </a:xfrm>
          <a:custGeom>
            <a:avLst/>
            <a:gdLst/>
            <a:ahLst/>
            <a:cxnLst/>
            <a:rect l="l" t="t" r="r" b="b"/>
            <a:pathLst>
              <a:path w="995680" h="329565">
                <a:moveTo>
                  <a:pt x="995268" y="0"/>
                </a:moveTo>
                <a:lnTo>
                  <a:pt x="0" y="0"/>
                </a:lnTo>
                <a:lnTo>
                  <a:pt x="0" y="329089"/>
                </a:lnTo>
                <a:lnTo>
                  <a:pt x="995268" y="329089"/>
                </a:lnTo>
                <a:lnTo>
                  <a:pt x="995268" y="0"/>
                </a:lnTo>
                <a:close/>
              </a:path>
            </a:pathLst>
          </a:custGeom>
          <a:solidFill>
            <a:srgbClr val="FF7900"/>
          </a:solidFill>
        </p:spPr>
        <p:txBody>
          <a:bodyPr wrap="square" lIns="0" tIns="0" rIns="0" bIns="0" rtlCol="0"/>
          <a:lstStyle/>
          <a:p>
            <a:endParaRPr/>
          </a:p>
        </p:txBody>
      </p:sp>
      <p:sp>
        <p:nvSpPr>
          <p:cNvPr id="137" name="object 56">
            <a:extLst>
              <a:ext uri="{FF2B5EF4-FFF2-40B4-BE49-F238E27FC236}">
                <a16:creationId xmlns:a16="http://schemas.microsoft.com/office/drawing/2014/main" id="{385F8E96-6602-594D-896D-8D696CFC70C0}"/>
              </a:ext>
            </a:extLst>
          </p:cNvPr>
          <p:cNvSpPr/>
          <p:nvPr/>
        </p:nvSpPr>
        <p:spPr>
          <a:xfrm>
            <a:off x="6824234" y="2898102"/>
            <a:ext cx="452868" cy="149886"/>
          </a:xfrm>
          <a:custGeom>
            <a:avLst/>
            <a:gdLst/>
            <a:ahLst/>
            <a:cxnLst/>
            <a:rect l="l" t="t" r="r" b="b"/>
            <a:pathLst>
              <a:path w="995680" h="329565">
                <a:moveTo>
                  <a:pt x="995268" y="0"/>
                </a:moveTo>
                <a:lnTo>
                  <a:pt x="0" y="0"/>
                </a:lnTo>
                <a:lnTo>
                  <a:pt x="0" y="329089"/>
                </a:lnTo>
                <a:lnTo>
                  <a:pt x="995268" y="329089"/>
                </a:lnTo>
                <a:lnTo>
                  <a:pt x="995268" y="0"/>
                </a:lnTo>
                <a:close/>
              </a:path>
            </a:pathLst>
          </a:custGeom>
          <a:solidFill>
            <a:srgbClr val="FF7900"/>
          </a:solidFill>
        </p:spPr>
        <p:txBody>
          <a:bodyPr wrap="square" lIns="0" tIns="0" rIns="0" bIns="0" rtlCol="0"/>
          <a:lstStyle/>
          <a:p>
            <a:endParaRPr/>
          </a:p>
        </p:txBody>
      </p:sp>
      <p:sp>
        <p:nvSpPr>
          <p:cNvPr id="138" name="object 57">
            <a:extLst>
              <a:ext uri="{FF2B5EF4-FFF2-40B4-BE49-F238E27FC236}">
                <a16:creationId xmlns:a16="http://schemas.microsoft.com/office/drawing/2014/main" id="{5977DFC5-6CAE-404B-9ABF-A92D4F1BD55D}"/>
              </a:ext>
            </a:extLst>
          </p:cNvPr>
          <p:cNvSpPr/>
          <p:nvPr/>
        </p:nvSpPr>
        <p:spPr>
          <a:xfrm>
            <a:off x="7886785" y="2898102"/>
            <a:ext cx="266291" cy="149886"/>
          </a:xfrm>
          <a:custGeom>
            <a:avLst/>
            <a:gdLst/>
            <a:ahLst/>
            <a:cxnLst/>
            <a:rect l="l" t="t" r="r" b="b"/>
            <a:pathLst>
              <a:path w="585469" h="329565">
                <a:moveTo>
                  <a:pt x="585448" y="0"/>
                </a:moveTo>
                <a:lnTo>
                  <a:pt x="0" y="0"/>
                </a:lnTo>
                <a:lnTo>
                  <a:pt x="0" y="329089"/>
                </a:lnTo>
                <a:lnTo>
                  <a:pt x="585448" y="329089"/>
                </a:lnTo>
                <a:lnTo>
                  <a:pt x="585448" y="0"/>
                </a:lnTo>
                <a:close/>
              </a:path>
            </a:pathLst>
          </a:custGeom>
          <a:solidFill>
            <a:srgbClr val="FF7900"/>
          </a:solidFill>
        </p:spPr>
        <p:txBody>
          <a:bodyPr wrap="square" lIns="0" tIns="0" rIns="0" bIns="0" rtlCol="0"/>
          <a:lstStyle/>
          <a:p>
            <a:endParaRPr/>
          </a:p>
        </p:txBody>
      </p:sp>
      <p:sp>
        <p:nvSpPr>
          <p:cNvPr id="139" name="object 58">
            <a:extLst>
              <a:ext uri="{FF2B5EF4-FFF2-40B4-BE49-F238E27FC236}">
                <a16:creationId xmlns:a16="http://schemas.microsoft.com/office/drawing/2014/main" id="{54B3A92C-292B-5E49-99BA-1590B8EDAA29}"/>
              </a:ext>
            </a:extLst>
          </p:cNvPr>
          <p:cNvSpPr txBox="1"/>
          <p:nvPr/>
        </p:nvSpPr>
        <p:spPr>
          <a:xfrm>
            <a:off x="265228" y="2498486"/>
            <a:ext cx="8607375" cy="936862"/>
          </a:xfrm>
          <a:prstGeom prst="rect">
            <a:avLst/>
          </a:prstGeom>
        </p:spPr>
        <p:txBody>
          <a:bodyPr vert="horz" wrap="square" lIns="0" tIns="6931" rIns="0" bIns="0" rtlCol="0">
            <a:spAutoFit/>
          </a:bodyPr>
          <a:lstStyle/>
          <a:p>
            <a:pPr marL="95015">
              <a:spcBef>
                <a:spcPts val="55"/>
              </a:spcBef>
              <a:tabLst>
                <a:tab pos="3862962" algn="l"/>
                <a:tab pos="4941045" algn="l"/>
                <a:tab pos="6006132" algn="l"/>
                <a:tab pos="7002196" algn="l"/>
                <a:tab pos="8157100" algn="l"/>
              </a:tabLst>
            </a:pPr>
            <a:r>
              <a:rPr sz="1100" b="1" spc="5" dirty="0">
                <a:latin typeface="Helvetica Neue"/>
                <a:cs typeface="Helvetica Neue"/>
              </a:rPr>
              <a:t>Les</a:t>
            </a:r>
            <a:r>
              <a:rPr sz="1100" b="1" spc="7" dirty="0">
                <a:latin typeface="Helvetica Neue"/>
                <a:cs typeface="Helvetica Neue"/>
              </a:rPr>
              <a:t> </a:t>
            </a:r>
            <a:r>
              <a:rPr sz="1100" b="1" spc="5" dirty="0">
                <a:latin typeface="Helvetica Neue"/>
                <a:cs typeface="Helvetica Neue"/>
              </a:rPr>
              <a:t>espèces	</a:t>
            </a:r>
            <a:r>
              <a:rPr sz="1000" b="1" spc="-5" dirty="0">
                <a:latin typeface="Helvetica"/>
                <a:cs typeface="Helvetica"/>
              </a:rPr>
              <a:t>91%	94%	93%	79%	98%</a:t>
            </a:r>
            <a:endParaRPr sz="1000" dirty="0">
              <a:latin typeface="Helvetica"/>
              <a:cs typeface="Helvetica"/>
            </a:endParaRPr>
          </a:p>
          <a:p>
            <a:pPr>
              <a:spcBef>
                <a:spcPts val="14"/>
              </a:spcBef>
            </a:pPr>
            <a:endParaRPr sz="1400" dirty="0">
              <a:latin typeface="Times New Roman"/>
              <a:cs typeface="Times New Roman"/>
            </a:endParaRPr>
          </a:p>
          <a:p>
            <a:pPr marL="95015">
              <a:tabLst>
                <a:tab pos="3857186" algn="l"/>
                <a:tab pos="4919674" algn="l"/>
                <a:tab pos="6004399" algn="l"/>
                <a:tab pos="7070064" algn="l"/>
                <a:tab pos="7941656" algn="l"/>
              </a:tabLst>
            </a:pPr>
            <a:r>
              <a:rPr sz="1100" b="1" spc="5" dirty="0">
                <a:latin typeface="Helvetica Neue"/>
                <a:cs typeface="Helvetica Neue"/>
              </a:rPr>
              <a:t>La carte </a:t>
            </a:r>
            <a:r>
              <a:rPr sz="1100" b="1" spc="2" dirty="0">
                <a:latin typeface="Helvetica Neue"/>
                <a:cs typeface="Helvetica Neue"/>
              </a:rPr>
              <a:t>bancaire	</a:t>
            </a:r>
            <a:r>
              <a:rPr sz="1000" b="1" spc="-5" dirty="0">
                <a:latin typeface="Helvetica"/>
                <a:cs typeface="Helvetica"/>
              </a:rPr>
              <a:t>90%	90%	94%	93%	54%</a:t>
            </a:r>
            <a:endParaRPr sz="1000" dirty="0">
              <a:latin typeface="Helvetica"/>
              <a:cs typeface="Helvetica"/>
            </a:endParaRPr>
          </a:p>
          <a:p>
            <a:pPr>
              <a:spcBef>
                <a:spcPts val="7"/>
              </a:spcBef>
            </a:pPr>
            <a:endParaRPr sz="1400" dirty="0">
              <a:latin typeface="Times New Roman"/>
              <a:cs typeface="Times New Roman"/>
            </a:endParaRPr>
          </a:p>
          <a:p>
            <a:pPr marL="95015">
              <a:tabLst>
                <a:tab pos="3735890" algn="l"/>
                <a:tab pos="4752171" algn="l"/>
                <a:tab pos="5926424" algn="l"/>
                <a:tab pos="6827185" algn="l"/>
                <a:tab pos="7876388" algn="l"/>
              </a:tabLst>
            </a:pPr>
            <a:r>
              <a:rPr sz="1100" b="1" spc="5" dirty="0">
                <a:solidFill>
                  <a:srgbClr val="1D1D1B"/>
                </a:solidFill>
                <a:latin typeface="Helvetica Neue"/>
                <a:cs typeface="Helvetica Neue"/>
              </a:rPr>
              <a:t>La carte </a:t>
            </a:r>
            <a:r>
              <a:rPr sz="1100" b="1" spc="2" dirty="0">
                <a:solidFill>
                  <a:srgbClr val="1D1D1B"/>
                </a:solidFill>
                <a:latin typeface="Helvetica Neue"/>
                <a:cs typeface="Helvetica Neue"/>
              </a:rPr>
              <a:t>bancaire</a:t>
            </a:r>
            <a:r>
              <a:rPr sz="1100" b="1" spc="9" dirty="0">
                <a:solidFill>
                  <a:srgbClr val="1D1D1B"/>
                </a:solidFill>
                <a:latin typeface="Helvetica Neue"/>
                <a:cs typeface="Helvetica Neue"/>
              </a:rPr>
              <a:t> </a:t>
            </a:r>
            <a:r>
              <a:rPr sz="1100" b="1" spc="5" dirty="0">
                <a:solidFill>
                  <a:srgbClr val="1D1D1B"/>
                </a:solidFill>
                <a:latin typeface="Helvetica Neue"/>
                <a:cs typeface="Helvetica Neue"/>
              </a:rPr>
              <a:t>sans</a:t>
            </a:r>
            <a:r>
              <a:rPr sz="1100" b="1" spc="7" dirty="0">
                <a:solidFill>
                  <a:srgbClr val="1D1D1B"/>
                </a:solidFill>
                <a:latin typeface="Helvetica Neue"/>
                <a:cs typeface="Helvetica Neue"/>
              </a:rPr>
              <a:t> </a:t>
            </a:r>
            <a:r>
              <a:rPr sz="1100" b="1" spc="5" dirty="0">
                <a:solidFill>
                  <a:srgbClr val="1D1D1B"/>
                </a:solidFill>
                <a:latin typeface="Helvetica Neue"/>
                <a:cs typeface="Helvetica Neue"/>
              </a:rPr>
              <a:t>contact	</a:t>
            </a:r>
            <a:r>
              <a:rPr sz="1000" b="1" spc="-5" dirty="0">
                <a:latin typeface="Helvetica"/>
                <a:cs typeface="Helvetica"/>
              </a:rPr>
              <a:t>65%	55%	77%	43%	40%</a:t>
            </a:r>
            <a:endParaRPr sz="1000" dirty="0">
              <a:latin typeface="Helvetica"/>
              <a:cs typeface="Helvetica"/>
            </a:endParaRPr>
          </a:p>
        </p:txBody>
      </p:sp>
      <p:sp>
        <p:nvSpPr>
          <p:cNvPr id="140" name="object 59">
            <a:extLst>
              <a:ext uri="{FF2B5EF4-FFF2-40B4-BE49-F238E27FC236}">
                <a16:creationId xmlns:a16="http://schemas.microsoft.com/office/drawing/2014/main" id="{A97E8DBE-2CA8-3046-A9A0-5D3E3C85E064}"/>
              </a:ext>
            </a:extLst>
          </p:cNvPr>
          <p:cNvSpPr/>
          <p:nvPr/>
        </p:nvSpPr>
        <p:spPr>
          <a:xfrm>
            <a:off x="3621377" y="3276356"/>
            <a:ext cx="319722" cy="149886"/>
          </a:xfrm>
          <a:custGeom>
            <a:avLst/>
            <a:gdLst/>
            <a:ahLst/>
            <a:cxnLst/>
            <a:rect l="l" t="t" r="r" b="b"/>
            <a:pathLst>
              <a:path w="702945" h="329565">
                <a:moveTo>
                  <a:pt x="702533" y="0"/>
                </a:moveTo>
                <a:lnTo>
                  <a:pt x="0" y="0"/>
                </a:lnTo>
                <a:lnTo>
                  <a:pt x="0" y="329089"/>
                </a:lnTo>
                <a:lnTo>
                  <a:pt x="702533" y="329089"/>
                </a:lnTo>
                <a:lnTo>
                  <a:pt x="702533" y="0"/>
                </a:lnTo>
                <a:close/>
              </a:path>
            </a:pathLst>
          </a:custGeom>
          <a:solidFill>
            <a:srgbClr val="FF7900"/>
          </a:solidFill>
        </p:spPr>
        <p:txBody>
          <a:bodyPr wrap="square" lIns="0" tIns="0" rIns="0" bIns="0" rtlCol="0"/>
          <a:lstStyle/>
          <a:p>
            <a:endParaRPr/>
          </a:p>
        </p:txBody>
      </p:sp>
      <p:sp>
        <p:nvSpPr>
          <p:cNvPr id="141" name="object 60">
            <a:extLst>
              <a:ext uri="{FF2B5EF4-FFF2-40B4-BE49-F238E27FC236}">
                <a16:creationId xmlns:a16="http://schemas.microsoft.com/office/drawing/2014/main" id="{EBFE894E-6147-0644-A41F-3449130E8053}"/>
              </a:ext>
            </a:extLst>
          </p:cNvPr>
          <p:cNvSpPr/>
          <p:nvPr/>
        </p:nvSpPr>
        <p:spPr>
          <a:xfrm>
            <a:off x="4683924" y="3276356"/>
            <a:ext cx="279865" cy="149886"/>
          </a:xfrm>
          <a:custGeom>
            <a:avLst/>
            <a:gdLst/>
            <a:ahLst/>
            <a:cxnLst/>
            <a:rect l="l" t="t" r="r" b="b"/>
            <a:pathLst>
              <a:path w="615315" h="329565">
                <a:moveTo>
                  <a:pt x="614724" y="0"/>
                </a:moveTo>
                <a:lnTo>
                  <a:pt x="0" y="0"/>
                </a:lnTo>
                <a:lnTo>
                  <a:pt x="0" y="329089"/>
                </a:lnTo>
                <a:lnTo>
                  <a:pt x="614724" y="329089"/>
                </a:lnTo>
                <a:lnTo>
                  <a:pt x="614724" y="0"/>
                </a:lnTo>
                <a:close/>
              </a:path>
            </a:pathLst>
          </a:custGeom>
          <a:solidFill>
            <a:srgbClr val="FF7900"/>
          </a:solidFill>
        </p:spPr>
        <p:txBody>
          <a:bodyPr wrap="square" lIns="0" tIns="0" rIns="0" bIns="0" rtlCol="0"/>
          <a:lstStyle/>
          <a:p>
            <a:endParaRPr/>
          </a:p>
        </p:txBody>
      </p:sp>
      <p:sp>
        <p:nvSpPr>
          <p:cNvPr id="142" name="object 61">
            <a:extLst>
              <a:ext uri="{FF2B5EF4-FFF2-40B4-BE49-F238E27FC236}">
                <a16:creationId xmlns:a16="http://schemas.microsoft.com/office/drawing/2014/main" id="{C870F5CE-736C-C54C-844E-F23FC36F186E}"/>
              </a:ext>
            </a:extLst>
          </p:cNvPr>
          <p:cNvSpPr/>
          <p:nvPr/>
        </p:nvSpPr>
        <p:spPr>
          <a:xfrm>
            <a:off x="5759791" y="3276356"/>
            <a:ext cx="372865" cy="149886"/>
          </a:xfrm>
          <a:custGeom>
            <a:avLst/>
            <a:gdLst/>
            <a:ahLst/>
            <a:cxnLst/>
            <a:rect l="l" t="t" r="r" b="b"/>
            <a:pathLst>
              <a:path w="819784" h="329565">
                <a:moveTo>
                  <a:pt x="819629" y="0"/>
                </a:moveTo>
                <a:lnTo>
                  <a:pt x="0" y="0"/>
                </a:lnTo>
                <a:lnTo>
                  <a:pt x="0" y="329089"/>
                </a:lnTo>
                <a:lnTo>
                  <a:pt x="819629" y="329089"/>
                </a:lnTo>
                <a:lnTo>
                  <a:pt x="819629" y="0"/>
                </a:lnTo>
                <a:close/>
              </a:path>
            </a:pathLst>
          </a:custGeom>
          <a:solidFill>
            <a:srgbClr val="FF7900"/>
          </a:solidFill>
        </p:spPr>
        <p:txBody>
          <a:bodyPr wrap="square" lIns="0" tIns="0" rIns="0" bIns="0" rtlCol="0"/>
          <a:lstStyle/>
          <a:p>
            <a:endParaRPr/>
          </a:p>
        </p:txBody>
      </p:sp>
      <p:sp>
        <p:nvSpPr>
          <p:cNvPr id="143" name="object 62">
            <a:extLst>
              <a:ext uri="{FF2B5EF4-FFF2-40B4-BE49-F238E27FC236}">
                <a16:creationId xmlns:a16="http://schemas.microsoft.com/office/drawing/2014/main" id="{021CA786-FFA9-224F-A0CD-F0738AE5A5F5}"/>
              </a:ext>
            </a:extLst>
          </p:cNvPr>
          <p:cNvSpPr/>
          <p:nvPr/>
        </p:nvSpPr>
        <p:spPr>
          <a:xfrm>
            <a:off x="6822338" y="3276356"/>
            <a:ext cx="213148" cy="149886"/>
          </a:xfrm>
          <a:custGeom>
            <a:avLst/>
            <a:gdLst/>
            <a:ahLst/>
            <a:cxnLst/>
            <a:rect l="l" t="t" r="r" b="b"/>
            <a:pathLst>
              <a:path w="468630" h="329565">
                <a:moveTo>
                  <a:pt x="468362" y="0"/>
                </a:moveTo>
                <a:lnTo>
                  <a:pt x="0" y="0"/>
                </a:lnTo>
                <a:lnTo>
                  <a:pt x="0" y="329089"/>
                </a:lnTo>
                <a:lnTo>
                  <a:pt x="468362" y="329089"/>
                </a:lnTo>
                <a:lnTo>
                  <a:pt x="468362" y="0"/>
                </a:lnTo>
                <a:close/>
              </a:path>
            </a:pathLst>
          </a:custGeom>
          <a:solidFill>
            <a:srgbClr val="FF7900"/>
          </a:solidFill>
        </p:spPr>
        <p:txBody>
          <a:bodyPr wrap="square" lIns="0" tIns="0" rIns="0" bIns="0" rtlCol="0"/>
          <a:lstStyle/>
          <a:p>
            <a:endParaRPr/>
          </a:p>
        </p:txBody>
      </p:sp>
      <p:sp>
        <p:nvSpPr>
          <p:cNvPr id="144" name="object 63">
            <a:extLst>
              <a:ext uri="{FF2B5EF4-FFF2-40B4-BE49-F238E27FC236}">
                <a16:creationId xmlns:a16="http://schemas.microsoft.com/office/drawing/2014/main" id="{C0E574E0-F298-7D41-881D-A8C6BCD6965A}"/>
              </a:ext>
            </a:extLst>
          </p:cNvPr>
          <p:cNvSpPr/>
          <p:nvPr/>
        </p:nvSpPr>
        <p:spPr>
          <a:xfrm>
            <a:off x="7884889" y="3276356"/>
            <a:ext cx="199863" cy="149886"/>
          </a:xfrm>
          <a:custGeom>
            <a:avLst/>
            <a:gdLst/>
            <a:ahLst/>
            <a:cxnLst/>
            <a:rect l="l" t="t" r="r" b="b"/>
            <a:pathLst>
              <a:path w="439419" h="329565">
                <a:moveTo>
                  <a:pt x="439086" y="0"/>
                </a:moveTo>
                <a:lnTo>
                  <a:pt x="0" y="0"/>
                </a:lnTo>
                <a:lnTo>
                  <a:pt x="0" y="329089"/>
                </a:lnTo>
                <a:lnTo>
                  <a:pt x="439086" y="329089"/>
                </a:lnTo>
                <a:lnTo>
                  <a:pt x="439086" y="0"/>
                </a:lnTo>
                <a:close/>
              </a:path>
            </a:pathLst>
          </a:custGeom>
          <a:solidFill>
            <a:srgbClr val="FF7900"/>
          </a:solidFill>
        </p:spPr>
        <p:txBody>
          <a:bodyPr wrap="square" lIns="0" tIns="0" rIns="0" bIns="0" rtlCol="0"/>
          <a:lstStyle/>
          <a:p>
            <a:endParaRPr/>
          </a:p>
        </p:txBody>
      </p:sp>
      <p:sp>
        <p:nvSpPr>
          <p:cNvPr id="145" name="object 64">
            <a:extLst>
              <a:ext uri="{FF2B5EF4-FFF2-40B4-BE49-F238E27FC236}">
                <a16:creationId xmlns:a16="http://schemas.microsoft.com/office/drawing/2014/main" id="{0DC564F4-3C67-8D47-A138-F4E1B382D9E6}"/>
              </a:ext>
            </a:extLst>
          </p:cNvPr>
          <p:cNvSpPr txBox="1"/>
          <p:nvPr/>
        </p:nvSpPr>
        <p:spPr>
          <a:xfrm>
            <a:off x="3808760" y="3654871"/>
            <a:ext cx="253583" cy="160283"/>
          </a:xfrm>
          <a:prstGeom prst="rect">
            <a:avLst/>
          </a:prstGeom>
        </p:spPr>
        <p:txBody>
          <a:bodyPr vert="horz" wrap="square" lIns="0" tIns="5198" rIns="0" bIns="0" rtlCol="0">
            <a:spAutoFit/>
          </a:bodyPr>
          <a:lstStyle/>
          <a:p>
            <a:pPr>
              <a:spcBef>
                <a:spcPts val="41"/>
              </a:spcBef>
            </a:pPr>
            <a:r>
              <a:rPr sz="1000" b="1" spc="-5" dirty="0">
                <a:latin typeface="Helvetica"/>
                <a:cs typeface="Helvetica"/>
              </a:rPr>
              <a:t>26%</a:t>
            </a:r>
            <a:endParaRPr sz="1000" dirty="0">
              <a:latin typeface="Helvetica"/>
              <a:cs typeface="Helvetica"/>
            </a:endParaRPr>
          </a:p>
        </p:txBody>
      </p:sp>
      <p:sp>
        <p:nvSpPr>
          <p:cNvPr id="146" name="object 65">
            <a:extLst>
              <a:ext uri="{FF2B5EF4-FFF2-40B4-BE49-F238E27FC236}">
                <a16:creationId xmlns:a16="http://schemas.microsoft.com/office/drawing/2014/main" id="{A362E532-0B7F-C74E-9BAE-E349711F9AA2}"/>
              </a:ext>
            </a:extLst>
          </p:cNvPr>
          <p:cNvSpPr txBox="1"/>
          <p:nvPr/>
        </p:nvSpPr>
        <p:spPr>
          <a:xfrm>
            <a:off x="4983983" y="3654871"/>
            <a:ext cx="253583" cy="160283"/>
          </a:xfrm>
          <a:prstGeom prst="rect">
            <a:avLst/>
          </a:prstGeom>
        </p:spPr>
        <p:txBody>
          <a:bodyPr vert="horz" wrap="square" lIns="0" tIns="5198" rIns="0" bIns="0" rtlCol="0">
            <a:spAutoFit/>
          </a:bodyPr>
          <a:lstStyle/>
          <a:p>
            <a:pPr>
              <a:spcBef>
                <a:spcPts val="41"/>
              </a:spcBef>
            </a:pPr>
            <a:r>
              <a:rPr sz="1000" b="1" spc="-5" dirty="0">
                <a:latin typeface="Helvetica"/>
                <a:cs typeface="Helvetica"/>
              </a:rPr>
              <a:t>49%</a:t>
            </a:r>
            <a:endParaRPr sz="1000">
              <a:latin typeface="Helvetica"/>
              <a:cs typeface="Helvetica"/>
            </a:endParaRPr>
          </a:p>
        </p:txBody>
      </p:sp>
      <p:sp>
        <p:nvSpPr>
          <p:cNvPr id="147" name="object 66">
            <a:extLst>
              <a:ext uri="{FF2B5EF4-FFF2-40B4-BE49-F238E27FC236}">
                <a16:creationId xmlns:a16="http://schemas.microsoft.com/office/drawing/2014/main" id="{4CA16362-0BA3-F747-A66E-75E2A92D0E60}"/>
              </a:ext>
            </a:extLst>
          </p:cNvPr>
          <p:cNvSpPr txBox="1"/>
          <p:nvPr/>
        </p:nvSpPr>
        <p:spPr>
          <a:xfrm>
            <a:off x="6081568" y="3654871"/>
            <a:ext cx="253583" cy="160283"/>
          </a:xfrm>
          <a:prstGeom prst="rect">
            <a:avLst/>
          </a:prstGeom>
        </p:spPr>
        <p:txBody>
          <a:bodyPr vert="horz" wrap="square" lIns="0" tIns="5198" rIns="0" bIns="0" rtlCol="0">
            <a:spAutoFit/>
          </a:bodyPr>
          <a:lstStyle/>
          <a:p>
            <a:pPr>
              <a:spcBef>
                <a:spcPts val="41"/>
              </a:spcBef>
            </a:pPr>
            <a:r>
              <a:rPr sz="1000" b="1" spc="-5" dirty="0">
                <a:latin typeface="Helvetica"/>
                <a:cs typeface="Helvetica"/>
              </a:rPr>
              <a:t>55%</a:t>
            </a:r>
            <a:endParaRPr sz="1000">
              <a:latin typeface="Helvetica"/>
              <a:cs typeface="Helvetica"/>
            </a:endParaRPr>
          </a:p>
        </p:txBody>
      </p:sp>
      <p:sp>
        <p:nvSpPr>
          <p:cNvPr id="148" name="object 67">
            <a:extLst>
              <a:ext uri="{FF2B5EF4-FFF2-40B4-BE49-F238E27FC236}">
                <a16:creationId xmlns:a16="http://schemas.microsoft.com/office/drawing/2014/main" id="{860F3CAE-C58D-7B41-90FA-4132F333AC86}"/>
              </a:ext>
            </a:extLst>
          </p:cNvPr>
          <p:cNvSpPr txBox="1"/>
          <p:nvPr/>
        </p:nvSpPr>
        <p:spPr>
          <a:xfrm>
            <a:off x="7181753" y="3654871"/>
            <a:ext cx="253583" cy="160283"/>
          </a:xfrm>
          <a:prstGeom prst="rect">
            <a:avLst/>
          </a:prstGeom>
        </p:spPr>
        <p:txBody>
          <a:bodyPr vert="horz" wrap="square" lIns="0" tIns="5198" rIns="0" bIns="0" rtlCol="0">
            <a:spAutoFit/>
          </a:bodyPr>
          <a:lstStyle/>
          <a:p>
            <a:pPr>
              <a:spcBef>
                <a:spcPts val="41"/>
              </a:spcBef>
            </a:pPr>
            <a:r>
              <a:rPr sz="1000" b="1" spc="-5" dirty="0">
                <a:latin typeface="Helvetica"/>
                <a:cs typeface="Helvetica"/>
              </a:rPr>
              <a:t>62%</a:t>
            </a:r>
            <a:endParaRPr sz="1000">
              <a:latin typeface="Helvetica"/>
              <a:cs typeface="Helvetica"/>
            </a:endParaRPr>
          </a:p>
        </p:txBody>
      </p:sp>
      <p:sp>
        <p:nvSpPr>
          <p:cNvPr id="149" name="object 68">
            <a:extLst>
              <a:ext uri="{FF2B5EF4-FFF2-40B4-BE49-F238E27FC236}">
                <a16:creationId xmlns:a16="http://schemas.microsoft.com/office/drawing/2014/main" id="{66C87E7C-0680-534A-9938-61683C9BD09B}"/>
              </a:ext>
            </a:extLst>
          </p:cNvPr>
          <p:cNvSpPr txBox="1"/>
          <p:nvPr/>
        </p:nvSpPr>
        <p:spPr>
          <a:xfrm>
            <a:off x="8108211" y="3654871"/>
            <a:ext cx="253583" cy="160283"/>
          </a:xfrm>
          <a:prstGeom prst="rect">
            <a:avLst/>
          </a:prstGeom>
        </p:spPr>
        <p:txBody>
          <a:bodyPr vert="horz" wrap="square" lIns="0" tIns="5198" rIns="0" bIns="0" rtlCol="0">
            <a:spAutoFit/>
          </a:bodyPr>
          <a:lstStyle/>
          <a:p>
            <a:pPr>
              <a:spcBef>
                <a:spcPts val="41"/>
              </a:spcBef>
            </a:pPr>
            <a:r>
              <a:rPr sz="1000" b="1" spc="-5" dirty="0">
                <a:latin typeface="Helvetica"/>
                <a:cs typeface="Helvetica"/>
              </a:rPr>
              <a:t>32%</a:t>
            </a:r>
            <a:endParaRPr sz="1000">
              <a:latin typeface="Helvetica"/>
              <a:cs typeface="Helvetica"/>
            </a:endParaRPr>
          </a:p>
        </p:txBody>
      </p:sp>
      <p:sp>
        <p:nvSpPr>
          <p:cNvPr id="150" name="object 69">
            <a:extLst>
              <a:ext uri="{FF2B5EF4-FFF2-40B4-BE49-F238E27FC236}">
                <a16:creationId xmlns:a16="http://schemas.microsoft.com/office/drawing/2014/main" id="{66F8AEB0-D43E-FF46-B75C-BAF0B6B1F545}"/>
              </a:ext>
            </a:extLst>
          </p:cNvPr>
          <p:cNvSpPr/>
          <p:nvPr/>
        </p:nvSpPr>
        <p:spPr>
          <a:xfrm>
            <a:off x="3621377" y="3655800"/>
            <a:ext cx="133145" cy="156240"/>
          </a:xfrm>
          <a:custGeom>
            <a:avLst/>
            <a:gdLst/>
            <a:ahLst/>
            <a:cxnLst/>
            <a:rect l="l" t="t" r="r" b="b"/>
            <a:pathLst>
              <a:path w="292734" h="343534">
                <a:moveTo>
                  <a:pt x="292724" y="0"/>
                </a:moveTo>
                <a:lnTo>
                  <a:pt x="0" y="0"/>
                </a:lnTo>
                <a:lnTo>
                  <a:pt x="0" y="343392"/>
                </a:lnTo>
                <a:lnTo>
                  <a:pt x="292724" y="343392"/>
                </a:lnTo>
                <a:lnTo>
                  <a:pt x="292724" y="0"/>
                </a:lnTo>
                <a:close/>
              </a:path>
            </a:pathLst>
          </a:custGeom>
          <a:solidFill>
            <a:srgbClr val="FF7900"/>
          </a:solidFill>
        </p:spPr>
        <p:txBody>
          <a:bodyPr wrap="square" lIns="0" tIns="0" rIns="0" bIns="0" rtlCol="0"/>
          <a:lstStyle/>
          <a:p>
            <a:endParaRPr/>
          </a:p>
        </p:txBody>
      </p:sp>
      <p:sp>
        <p:nvSpPr>
          <p:cNvPr id="151" name="object 70">
            <a:extLst>
              <a:ext uri="{FF2B5EF4-FFF2-40B4-BE49-F238E27FC236}">
                <a16:creationId xmlns:a16="http://schemas.microsoft.com/office/drawing/2014/main" id="{1C0BF649-B97C-7044-AF99-8403D6562848}"/>
              </a:ext>
            </a:extLst>
          </p:cNvPr>
          <p:cNvSpPr/>
          <p:nvPr/>
        </p:nvSpPr>
        <p:spPr>
          <a:xfrm>
            <a:off x="4683923" y="3655796"/>
            <a:ext cx="239720" cy="156240"/>
          </a:xfrm>
          <a:custGeom>
            <a:avLst/>
            <a:gdLst/>
            <a:ahLst/>
            <a:cxnLst/>
            <a:rect l="l" t="t" r="r" b="b"/>
            <a:pathLst>
              <a:path w="527050" h="343534">
                <a:moveTo>
                  <a:pt x="526905" y="0"/>
                </a:moveTo>
                <a:lnTo>
                  <a:pt x="0" y="0"/>
                </a:lnTo>
                <a:lnTo>
                  <a:pt x="0" y="343392"/>
                </a:lnTo>
                <a:lnTo>
                  <a:pt x="526905" y="343392"/>
                </a:lnTo>
                <a:lnTo>
                  <a:pt x="526905" y="0"/>
                </a:lnTo>
                <a:close/>
              </a:path>
            </a:pathLst>
          </a:custGeom>
          <a:solidFill>
            <a:srgbClr val="FF7900"/>
          </a:solidFill>
        </p:spPr>
        <p:txBody>
          <a:bodyPr wrap="square" lIns="0" tIns="0" rIns="0" bIns="0" rtlCol="0"/>
          <a:lstStyle/>
          <a:p>
            <a:endParaRPr/>
          </a:p>
        </p:txBody>
      </p:sp>
      <p:sp>
        <p:nvSpPr>
          <p:cNvPr id="152" name="object 71">
            <a:extLst>
              <a:ext uri="{FF2B5EF4-FFF2-40B4-BE49-F238E27FC236}">
                <a16:creationId xmlns:a16="http://schemas.microsoft.com/office/drawing/2014/main" id="{8F8E3530-9BC7-BF4B-9AAF-B1D3A6D0F660}"/>
              </a:ext>
            </a:extLst>
          </p:cNvPr>
          <p:cNvSpPr/>
          <p:nvPr/>
        </p:nvSpPr>
        <p:spPr>
          <a:xfrm>
            <a:off x="5759791" y="3655796"/>
            <a:ext cx="266291" cy="156240"/>
          </a:xfrm>
          <a:custGeom>
            <a:avLst/>
            <a:gdLst/>
            <a:ahLst/>
            <a:cxnLst/>
            <a:rect l="l" t="t" r="r" b="b"/>
            <a:pathLst>
              <a:path w="585469" h="343534">
                <a:moveTo>
                  <a:pt x="585448" y="0"/>
                </a:moveTo>
                <a:lnTo>
                  <a:pt x="0" y="0"/>
                </a:lnTo>
                <a:lnTo>
                  <a:pt x="0" y="343392"/>
                </a:lnTo>
                <a:lnTo>
                  <a:pt x="585448" y="343392"/>
                </a:lnTo>
                <a:lnTo>
                  <a:pt x="585448" y="0"/>
                </a:lnTo>
                <a:close/>
              </a:path>
            </a:pathLst>
          </a:custGeom>
          <a:solidFill>
            <a:srgbClr val="FF7900"/>
          </a:solidFill>
        </p:spPr>
        <p:txBody>
          <a:bodyPr wrap="square" lIns="0" tIns="0" rIns="0" bIns="0" rtlCol="0"/>
          <a:lstStyle/>
          <a:p>
            <a:endParaRPr/>
          </a:p>
        </p:txBody>
      </p:sp>
      <p:sp>
        <p:nvSpPr>
          <p:cNvPr id="153" name="object 72">
            <a:extLst>
              <a:ext uri="{FF2B5EF4-FFF2-40B4-BE49-F238E27FC236}">
                <a16:creationId xmlns:a16="http://schemas.microsoft.com/office/drawing/2014/main" id="{7FE7E047-583C-F540-9C99-940E2D88BF7F}"/>
              </a:ext>
            </a:extLst>
          </p:cNvPr>
          <p:cNvSpPr/>
          <p:nvPr/>
        </p:nvSpPr>
        <p:spPr>
          <a:xfrm>
            <a:off x="6822343" y="3655796"/>
            <a:ext cx="306437" cy="156240"/>
          </a:xfrm>
          <a:custGeom>
            <a:avLst/>
            <a:gdLst/>
            <a:ahLst/>
            <a:cxnLst/>
            <a:rect l="l" t="t" r="r" b="b"/>
            <a:pathLst>
              <a:path w="673734" h="343534">
                <a:moveTo>
                  <a:pt x="673267" y="0"/>
                </a:moveTo>
                <a:lnTo>
                  <a:pt x="0" y="0"/>
                </a:lnTo>
                <a:lnTo>
                  <a:pt x="0" y="343392"/>
                </a:lnTo>
                <a:lnTo>
                  <a:pt x="673267" y="343392"/>
                </a:lnTo>
                <a:lnTo>
                  <a:pt x="673267" y="0"/>
                </a:lnTo>
                <a:close/>
              </a:path>
            </a:pathLst>
          </a:custGeom>
          <a:solidFill>
            <a:srgbClr val="FF7900"/>
          </a:solidFill>
        </p:spPr>
        <p:txBody>
          <a:bodyPr wrap="square" lIns="0" tIns="0" rIns="0" bIns="0" rtlCol="0"/>
          <a:lstStyle/>
          <a:p>
            <a:endParaRPr/>
          </a:p>
        </p:txBody>
      </p:sp>
      <p:sp>
        <p:nvSpPr>
          <p:cNvPr id="154" name="object 73">
            <a:extLst>
              <a:ext uri="{FF2B5EF4-FFF2-40B4-BE49-F238E27FC236}">
                <a16:creationId xmlns:a16="http://schemas.microsoft.com/office/drawing/2014/main" id="{3A648EE1-C398-E74C-B90E-39B39B9AB084}"/>
              </a:ext>
            </a:extLst>
          </p:cNvPr>
          <p:cNvSpPr/>
          <p:nvPr/>
        </p:nvSpPr>
        <p:spPr>
          <a:xfrm>
            <a:off x="7884894" y="3655796"/>
            <a:ext cx="160006" cy="156240"/>
          </a:xfrm>
          <a:custGeom>
            <a:avLst/>
            <a:gdLst/>
            <a:ahLst/>
            <a:cxnLst/>
            <a:rect l="l" t="t" r="r" b="b"/>
            <a:pathLst>
              <a:path w="351790" h="343534">
                <a:moveTo>
                  <a:pt x="351266" y="0"/>
                </a:moveTo>
                <a:lnTo>
                  <a:pt x="0" y="0"/>
                </a:lnTo>
                <a:lnTo>
                  <a:pt x="0" y="343392"/>
                </a:lnTo>
                <a:lnTo>
                  <a:pt x="351266" y="343392"/>
                </a:lnTo>
                <a:lnTo>
                  <a:pt x="351266" y="0"/>
                </a:lnTo>
                <a:close/>
              </a:path>
            </a:pathLst>
          </a:custGeom>
          <a:solidFill>
            <a:srgbClr val="FF7900"/>
          </a:solidFill>
        </p:spPr>
        <p:txBody>
          <a:bodyPr wrap="square" lIns="0" tIns="0" rIns="0" bIns="0" rtlCol="0"/>
          <a:lstStyle/>
          <a:p>
            <a:endParaRPr/>
          </a:p>
        </p:txBody>
      </p:sp>
      <p:sp>
        <p:nvSpPr>
          <p:cNvPr id="155" name="object 74">
            <a:extLst>
              <a:ext uri="{FF2B5EF4-FFF2-40B4-BE49-F238E27FC236}">
                <a16:creationId xmlns:a16="http://schemas.microsoft.com/office/drawing/2014/main" id="{D925D4E9-2C7D-1A49-932A-027C2BB35BDC}"/>
              </a:ext>
            </a:extLst>
          </p:cNvPr>
          <p:cNvSpPr txBox="1"/>
          <p:nvPr/>
        </p:nvSpPr>
        <p:spPr>
          <a:xfrm>
            <a:off x="265228" y="3977344"/>
            <a:ext cx="8607375" cy="327196"/>
          </a:xfrm>
          <a:prstGeom prst="rect">
            <a:avLst/>
          </a:prstGeom>
        </p:spPr>
        <p:txBody>
          <a:bodyPr vert="horz" wrap="square" lIns="0" tIns="5198" rIns="0" bIns="0" rtlCol="0">
            <a:spAutoFit/>
          </a:bodyPr>
          <a:lstStyle/>
          <a:p>
            <a:pPr marL="95015">
              <a:spcBef>
                <a:spcPts val="41"/>
              </a:spcBef>
              <a:tabLst>
                <a:tab pos="3594379" algn="l"/>
                <a:tab pos="4753904" algn="l"/>
                <a:tab pos="5873863" algn="l"/>
                <a:tab pos="6945303" algn="l"/>
                <a:tab pos="7846642" algn="l"/>
              </a:tabLst>
            </a:pPr>
            <a:r>
              <a:rPr sz="1000" b="1" spc="-5" dirty="0">
                <a:latin typeface="Helvetica"/>
                <a:cs typeface="Helvetica"/>
              </a:rPr>
              <a:t>				</a:t>
            </a:r>
            <a:endParaRPr sz="1500" dirty="0">
              <a:latin typeface="Times New Roman"/>
              <a:cs typeface="Times New Roman"/>
            </a:endParaRPr>
          </a:p>
          <a:p>
            <a:pPr marL="95015">
              <a:tabLst>
                <a:tab pos="3469330" algn="l"/>
                <a:tab pos="4596509" algn="l"/>
                <a:tab pos="5702605" algn="l"/>
                <a:tab pos="6730149" algn="l"/>
                <a:tab pos="7744985" algn="l"/>
              </a:tabLst>
            </a:pPr>
            <a:r>
              <a:rPr sz="1100" b="1" spc="5" dirty="0">
                <a:solidFill>
                  <a:srgbClr val="1D1D1B"/>
                </a:solidFill>
                <a:latin typeface="Helvetica Neue"/>
                <a:cs typeface="Helvetica Neue"/>
              </a:rPr>
              <a:t>	</a:t>
            </a:r>
            <a:r>
              <a:rPr sz="1000" b="1" spc="-5" dirty="0">
                <a:latin typeface="Helvetica"/>
                <a:cs typeface="Helvetica"/>
              </a:rPr>
              <a:t>14%	25%	33%	26%	12%</a:t>
            </a:r>
            <a:endParaRPr sz="1000" dirty="0">
              <a:latin typeface="Helvetica"/>
              <a:cs typeface="Helvetica"/>
            </a:endParaRPr>
          </a:p>
        </p:txBody>
      </p:sp>
      <p:sp>
        <p:nvSpPr>
          <p:cNvPr id="156" name="object 75">
            <a:extLst>
              <a:ext uri="{FF2B5EF4-FFF2-40B4-BE49-F238E27FC236}">
                <a16:creationId xmlns:a16="http://schemas.microsoft.com/office/drawing/2014/main" id="{F3CD5F59-8853-F040-A7DE-947E21A31552}"/>
              </a:ext>
            </a:extLst>
          </p:cNvPr>
          <p:cNvSpPr/>
          <p:nvPr/>
        </p:nvSpPr>
        <p:spPr>
          <a:xfrm>
            <a:off x="3621377" y="4113645"/>
            <a:ext cx="66717" cy="156240"/>
          </a:xfrm>
          <a:custGeom>
            <a:avLst/>
            <a:gdLst/>
            <a:ahLst/>
            <a:cxnLst/>
            <a:rect l="l" t="t" r="r" b="b"/>
            <a:pathLst>
              <a:path w="146684" h="343534">
                <a:moveTo>
                  <a:pt x="146362" y="0"/>
                </a:moveTo>
                <a:lnTo>
                  <a:pt x="0" y="0"/>
                </a:lnTo>
                <a:lnTo>
                  <a:pt x="0" y="343392"/>
                </a:lnTo>
                <a:lnTo>
                  <a:pt x="146362" y="343392"/>
                </a:lnTo>
                <a:lnTo>
                  <a:pt x="146362" y="0"/>
                </a:lnTo>
                <a:close/>
              </a:path>
            </a:pathLst>
          </a:custGeom>
          <a:solidFill>
            <a:srgbClr val="FF7900"/>
          </a:solidFill>
        </p:spPr>
        <p:txBody>
          <a:bodyPr wrap="square" lIns="0" tIns="0" rIns="0" bIns="0" rtlCol="0"/>
          <a:lstStyle/>
          <a:p>
            <a:endParaRPr/>
          </a:p>
        </p:txBody>
      </p:sp>
      <p:sp>
        <p:nvSpPr>
          <p:cNvPr id="157" name="object 76">
            <a:extLst>
              <a:ext uri="{FF2B5EF4-FFF2-40B4-BE49-F238E27FC236}">
                <a16:creationId xmlns:a16="http://schemas.microsoft.com/office/drawing/2014/main" id="{8C69D1BE-7ADD-4C46-B7DA-A0C0F067735E}"/>
              </a:ext>
            </a:extLst>
          </p:cNvPr>
          <p:cNvSpPr/>
          <p:nvPr/>
        </p:nvSpPr>
        <p:spPr>
          <a:xfrm>
            <a:off x="4683928" y="4113645"/>
            <a:ext cx="119860" cy="156240"/>
          </a:xfrm>
          <a:custGeom>
            <a:avLst/>
            <a:gdLst/>
            <a:ahLst/>
            <a:cxnLst/>
            <a:rect l="l" t="t" r="r" b="b"/>
            <a:pathLst>
              <a:path w="263525" h="343534">
                <a:moveTo>
                  <a:pt x="263447" y="0"/>
                </a:moveTo>
                <a:lnTo>
                  <a:pt x="0" y="0"/>
                </a:lnTo>
                <a:lnTo>
                  <a:pt x="0" y="343392"/>
                </a:lnTo>
                <a:lnTo>
                  <a:pt x="263447" y="343392"/>
                </a:lnTo>
                <a:lnTo>
                  <a:pt x="263447" y="0"/>
                </a:lnTo>
                <a:close/>
              </a:path>
            </a:pathLst>
          </a:custGeom>
          <a:solidFill>
            <a:srgbClr val="FF7900"/>
          </a:solidFill>
        </p:spPr>
        <p:txBody>
          <a:bodyPr wrap="square" lIns="0" tIns="0" rIns="0" bIns="0" rtlCol="0"/>
          <a:lstStyle/>
          <a:p>
            <a:endParaRPr/>
          </a:p>
        </p:txBody>
      </p:sp>
      <p:sp>
        <p:nvSpPr>
          <p:cNvPr id="158" name="object 77">
            <a:extLst>
              <a:ext uri="{FF2B5EF4-FFF2-40B4-BE49-F238E27FC236}">
                <a16:creationId xmlns:a16="http://schemas.microsoft.com/office/drawing/2014/main" id="{AA6ACDFC-5CA1-2E4D-94B9-67599154CAD0}"/>
              </a:ext>
            </a:extLst>
          </p:cNvPr>
          <p:cNvSpPr/>
          <p:nvPr/>
        </p:nvSpPr>
        <p:spPr>
          <a:xfrm>
            <a:off x="5759791" y="4113645"/>
            <a:ext cx="160006" cy="156240"/>
          </a:xfrm>
          <a:custGeom>
            <a:avLst/>
            <a:gdLst/>
            <a:ahLst/>
            <a:cxnLst/>
            <a:rect l="l" t="t" r="r" b="b"/>
            <a:pathLst>
              <a:path w="351790" h="343534">
                <a:moveTo>
                  <a:pt x="351266" y="0"/>
                </a:moveTo>
                <a:lnTo>
                  <a:pt x="0" y="0"/>
                </a:lnTo>
                <a:lnTo>
                  <a:pt x="0" y="343392"/>
                </a:lnTo>
                <a:lnTo>
                  <a:pt x="351266" y="343392"/>
                </a:lnTo>
                <a:lnTo>
                  <a:pt x="351266" y="0"/>
                </a:lnTo>
                <a:close/>
              </a:path>
            </a:pathLst>
          </a:custGeom>
          <a:solidFill>
            <a:srgbClr val="FF7900"/>
          </a:solidFill>
        </p:spPr>
        <p:txBody>
          <a:bodyPr wrap="square" lIns="0" tIns="0" rIns="0" bIns="0" rtlCol="0"/>
          <a:lstStyle/>
          <a:p>
            <a:endParaRPr/>
          </a:p>
        </p:txBody>
      </p:sp>
      <p:sp>
        <p:nvSpPr>
          <p:cNvPr id="159" name="object 78">
            <a:extLst>
              <a:ext uri="{FF2B5EF4-FFF2-40B4-BE49-F238E27FC236}">
                <a16:creationId xmlns:a16="http://schemas.microsoft.com/office/drawing/2014/main" id="{B7C1890D-B078-6643-9E3A-C63286BFB061}"/>
              </a:ext>
            </a:extLst>
          </p:cNvPr>
          <p:cNvSpPr/>
          <p:nvPr/>
        </p:nvSpPr>
        <p:spPr>
          <a:xfrm>
            <a:off x="6822338" y="4113645"/>
            <a:ext cx="119860" cy="156240"/>
          </a:xfrm>
          <a:custGeom>
            <a:avLst/>
            <a:gdLst/>
            <a:ahLst/>
            <a:cxnLst/>
            <a:rect l="l" t="t" r="r" b="b"/>
            <a:pathLst>
              <a:path w="263525" h="343534">
                <a:moveTo>
                  <a:pt x="263457" y="0"/>
                </a:moveTo>
                <a:lnTo>
                  <a:pt x="0" y="0"/>
                </a:lnTo>
                <a:lnTo>
                  <a:pt x="0" y="343392"/>
                </a:lnTo>
                <a:lnTo>
                  <a:pt x="263457" y="343392"/>
                </a:lnTo>
                <a:lnTo>
                  <a:pt x="263457" y="0"/>
                </a:lnTo>
                <a:close/>
              </a:path>
            </a:pathLst>
          </a:custGeom>
          <a:solidFill>
            <a:srgbClr val="FF7900"/>
          </a:solidFill>
        </p:spPr>
        <p:txBody>
          <a:bodyPr wrap="square" lIns="0" tIns="0" rIns="0" bIns="0" rtlCol="0"/>
          <a:lstStyle/>
          <a:p>
            <a:endParaRPr/>
          </a:p>
        </p:txBody>
      </p:sp>
      <p:sp>
        <p:nvSpPr>
          <p:cNvPr id="160" name="object 79">
            <a:extLst>
              <a:ext uri="{FF2B5EF4-FFF2-40B4-BE49-F238E27FC236}">
                <a16:creationId xmlns:a16="http://schemas.microsoft.com/office/drawing/2014/main" id="{D7B2FEE6-76A7-374B-803C-AE3BAC6B7866}"/>
              </a:ext>
            </a:extLst>
          </p:cNvPr>
          <p:cNvSpPr/>
          <p:nvPr/>
        </p:nvSpPr>
        <p:spPr>
          <a:xfrm>
            <a:off x="7884890" y="4113645"/>
            <a:ext cx="66717" cy="156240"/>
          </a:xfrm>
          <a:custGeom>
            <a:avLst/>
            <a:gdLst/>
            <a:ahLst/>
            <a:cxnLst/>
            <a:rect l="l" t="t" r="r" b="b"/>
            <a:pathLst>
              <a:path w="146684" h="343534">
                <a:moveTo>
                  <a:pt x="146362" y="0"/>
                </a:moveTo>
                <a:lnTo>
                  <a:pt x="0" y="0"/>
                </a:lnTo>
                <a:lnTo>
                  <a:pt x="0" y="343392"/>
                </a:lnTo>
                <a:lnTo>
                  <a:pt x="146362" y="343392"/>
                </a:lnTo>
                <a:lnTo>
                  <a:pt x="146362" y="0"/>
                </a:lnTo>
                <a:close/>
              </a:path>
            </a:pathLst>
          </a:custGeom>
          <a:solidFill>
            <a:srgbClr val="FF7900"/>
          </a:solidFill>
        </p:spPr>
        <p:txBody>
          <a:bodyPr wrap="square" lIns="0" tIns="0" rIns="0" bIns="0" rtlCol="0"/>
          <a:lstStyle/>
          <a:p>
            <a:endParaRPr/>
          </a:p>
        </p:txBody>
      </p:sp>
      <p:sp>
        <p:nvSpPr>
          <p:cNvPr id="161" name="ZoneTexte 160">
            <a:extLst>
              <a:ext uri="{FF2B5EF4-FFF2-40B4-BE49-F238E27FC236}">
                <a16:creationId xmlns:a16="http://schemas.microsoft.com/office/drawing/2014/main" id="{985DB318-438A-F84F-BA29-2FD124450D52}"/>
              </a:ext>
            </a:extLst>
          </p:cNvPr>
          <p:cNvSpPr txBox="1"/>
          <p:nvPr/>
        </p:nvSpPr>
        <p:spPr>
          <a:xfrm>
            <a:off x="319816" y="3992638"/>
            <a:ext cx="3168947" cy="657545"/>
          </a:xfrm>
          <a:prstGeom prst="rect">
            <a:avLst/>
          </a:prstGeom>
          <a:noFill/>
        </p:spPr>
        <p:txBody>
          <a:bodyPr wrap="square" lIns="41587" tIns="20793" rIns="41587" bIns="20793" rtlCol="0">
            <a:spAutoFit/>
          </a:bodyPr>
          <a:lstStyle/>
          <a:p>
            <a:r>
              <a:rPr lang="fr-FR" sz="1100" b="1" dirty="0">
                <a:solidFill>
                  <a:schemeClr val="dk1"/>
                </a:solidFill>
                <a:latin typeface="Helvetica Neue"/>
              </a:rPr>
              <a:t>Le paiement sans contact avec votre Smartphone en magasin </a:t>
            </a:r>
          </a:p>
          <a:p>
            <a:endParaRPr lang="fr-FR" dirty="0"/>
          </a:p>
        </p:txBody>
      </p:sp>
      <p:sp>
        <p:nvSpPr>
          <p:cNvPr id="75" name="object 44">
            <a:extLst>
              <a:ext uri="{FF2B5EF4-FFF2-40B4-BE49-F238E27FC236}">
                <a16:creationId xmlns:a16="http://schemas.microsoft.com/office/drawing/2014/main" id="{41E713A6-25ED-AA4F-A53E-35A341470690}"/>
              </a:ext>
            </a:extLst>
          </p:cNvPr>
          <p:cNvSpPr/>
          <p:nvPr/>
        </p:nvSpPr>
        <p:spPr>
          <a:xfrm>
            <a:off x="274378" y="4512476"/>
            <a:ext cx="8607375" cy="450525"/>
          </a:xfrm>
          <a:custGeom>
            <a:avLst/>
            <a:gdLst/>
            <a:ahLst/>
            <a:cxnLst/>
            <a:rect l="l" t="t" r="r" b="b"/>
            <a:pathLst>
              <a:path w="18924270" h="715009">
                <a:moveTo>
                  <a:pt x="0" y="0"/>
                </a:moveTo>
                <a:lnTo>
                  <a:pt x="18923706" y="0"/>
                </a:lnTo>
                <a:lnTo>
                  <a:pt x="18923706" y="714910"/>
                </a:lnTo>
                <a:lnTo>
                  <a:pt x="0" y="714910"/>
                </a:lnTo>
                <a:lnTo>
                  <a:pt x="0" y="0"/>
                </a:lnTo>
                <a:close/>
              </a:path>
            </a:pathLst>
          </a:custGeom>
          <a:solidFill>
            <a:schemeClr val="bg1">
              <a:lumMod val="95000"/>
            </a:schemeClr>
          </a:solidFill>
        </p:spPr>
        <p:txBody>
          <a:bodyPr wrap="square" lIns="0" tIns="0" rIns="0" bIns="0" rtlCol="0"/>
          <a:lstStyle/>
          <a:p>
            <a:endParaRPr>
              <a:solidFill>
                <a:schemeClr val="bg1">
                  <a:lumMod val="75000"/>
                </a:schemeClr>
              </a:solidFill>
            </a:endParaRPr>
          </a:p>
        </p:txBody>
      </p:sp>
      <p:sp>
        <p:nvSpPr>
          <p:cNvPr id="76" name="ZoneTexte 75">
            <a:extLst>
              <a:ext uri="{FF2B5EF4-FFF2-40B4-BE49-F238E27FC236}">
                <a16:creationId xmlns:a16="http://schemas.microsoft.com/office/drawing/2014/main" id="{985DB318-438A-F84F-BA29-2FD124450D52}"/>
              </a:ext>
            </a:extLst>
          </p:cNvPr>
          <p:cNvSpPr txBox="1"/>
          <p:nvPr/>
        </p:nvSpPr>
        <p:spPr>
          <a:xfrm>
            <a:off x="274378" y="4610913"/>
            <a:ext cx="3380357" cy="213465"/>
          </a:xfrm>
          <a:prstGeom prst="rect">
            <a:avLst/>
          </a:prstGeom>
          <a:noFill/>
        </p:spPr>
        <p:txBody>
          <a:bodyPr wrap="square" lIns="41587" tIns="20793" rIns="41587" bIns="20793" rtlCol="0">
            <a:spAutoFit/>
          </a:bodyPr>
          <a:lstStyle/>
          <a:p>
            <a:r>
              <a:rPr lang="fr-FR" sz="1100" b="1" dirty="0">
                <a:solidFill>
                  <a:schemeClr val="bg1">
                    <a:lumMod val="50000"/>
                  </a:schemeClr>
                </a:solidFill>
                <a:latin typeface="Helvetica Neue"/>
              </a:rPr>
              <a:t>Sous total: le paiement avec votre Smartphone</a:t>
            </a:r>
          </a:p>
        </p:txBody>
      </p:sp>
      <p:sp>
        <p:nvSpPr>
          <p:cNvPr id="77" name="object 73">
            <a:extLst>
              <a:ext uri="{FF2B5EF4-FFF2-40B4-BE49-F238E27FC236}">
                <a16:creationId xmlns:a16="http://schemas.microsoft.com/office/drawing/2014/main" id="{3A648EE1-C398-E74C-B90E-39B39B9AB084}"/>
              </a:ext>
            </a:extLst>
          </p:cNvPr>
          <p:cNvSpPr/>
          <p:nvPr/>
        </p:nvSpPr>
        <p:spPr>
          <a:xfrm>
            <a:off x="3623267" y="4633482"/>
            <a:ext cx="160006" cy="156240"/>
          </a:xfrm>
          <a:custGeom>
            <a:avLst/>
            <a:gdLst/>
            <a:ahLst/>
            <a:cxnLst/>
            <a:rect l="l" t="t" r="r" b="b"/>
            <a:pathLst>
              <a:path w="351790" h="343534">
                <a:moveTo>
                  <a:pt x="351266" y="0"/>
                </a:moveTo>
                <a:lnTo>
                  <a:pt x="0" y="0"/>
                </a:lnTo>
                <a:lnTo>
                  <a:pt x="0" y="343392"/>
                </a:lnTo>
                <a:lnTo>
                  <a:pt x="351266" y="343392"/>
                </a:lnTo>
                <a:lnTo>
                  <a:pt x="351266" y="0"/>
                </a:lnTo>
                <a:close/>
              </a:path>
            </a:pathLst>
          </a:custGeom>
          <a:solidFill>
            <a:srgbClr val="FF7900"/>
          </a:solidFill>
        </p:spPr>
        <p:txBody>
          <a:bodyPr wrap="square" lIns="0" tIns="0" rIns="0" bIns="0" rtlCol="0"/>
          <a:lstStyle/>
          <a:p>
            <a:endParaRPr/>
          </a:p>
        </p:txBody>
      </p:sp>
      <p:sp>
        <p:nvSpPr>
          <p:cNvPr id="5" name="ZoneTexte 4"/>
          <p:cNvSpPr txBox="1"/>
          <p:nvPr/>
        </p:nvSpPr>
        <p:spPr>
          <a:xfrm>
            <a:off x="3853802" y="4610913"/>
            <a:ext cx="338864" cy="195880"/>
          </a:xfrm>
          <a:prstGeom prst="rect">
            <a:avLst/>
          </a:prstGeom>
          <a:noFill/>
        </p:spPr>
        <p:txBody>
          <a:bodyPr wrap="none" lIns="41587" tIns="20793" rIns="41587" bIns="20793" rtlCol="0">
            <a:spAutoFit/>
          </a:bodyPr>
          <a:lstStyle/>
          <a:p>
            <a:r>
              <a:rPr lang="fr-FR" sz="1000" b="1" dirty="0">
                <a:latin typeface="Helvetica" panose="020B0604020202020204" pitchFamily="34" charset="0"/>
                <a:cs typeface="Helvetica" panose="020B0604020202020204" pitchFamily="34" charset="0"/>
              </a:rPr>
              <a:t>31%</a:t>
            </a:r>
          </a:p>
        </p:txBody>
      </p:sp>
      <p:sp>
        <p:nvSpPr>
          <p:cNvPr id="85" name="object 71">
            <a:extLst>
              <a:ext uri="{FF2B5EF4-FFF2-40B4-BE49-F238E27FC236}">
                <a16:creationId xmlns:a16="http://schemas.microsoft.com/office/drawing/2014/main" id="{8F8E3530-9BC7-BF4B-9AAF-B1D3A6D0F660}"/>
              </a:ext>
            </a:extLst>
          </p:cNvPr>
          <p:cNvSpPr/>
          <p:nvPr/>
        </p:nvSpPr>
        <p:spPr>
          <a:xfrm>
            <a:off x="4655416" y="4633482"/>
            <a:ext cx="229236" cy="156240"/>
          </a:xfrm>
          <a:custGeom>
            <a:avLst/>
            <a:gdLst/>
            <a:ahLst/>
            <a:cxnLst/>
            <a:rect l="l" t="t" r="r" b="b"/>
            <a:pathLst>
              <a:path w="585469" h="343534">
                <a:moveTo>
                  <a:pt x="585448" y="0"/>
                </a:moveTo>
                <a:lnTo>
                  <a:pt x="0" y="0"/>
                </a:lnTo>
                <a:lnTo>
                  <a:pt x="0" y="343392"/>
                </a:lnTo>
                <a:lnTo>
                  <a:pt x="585448" y="343392"/>
                </a:lnTo>
                <a:lnTo>
                  <a:pt x="585448" y="0"/>
                </a:lnTo>
                <a:close/>
              </a:path>
            </a:pathLst>
          </a:custGeom>
          <a:solidFill>
            <a:srgbClr val="FF7900"/>
          </a:solidFill>
        </p:spPr>
        <p:txBody>
          <a:bodyPr wrap="square" lIns="0" tIns="0" rIns="0" bIns="0" rtlCol="0"/>
          <a:lstStyle/>
          <a:p>
            <a:endParaRPr/>
          </a:p>
        </p:txBody>
      </p:sp>
      <p:sp>
        <p:nvSpPr>
          <p:cNvPr id="86" name="ZoneTexte 85"/>
          <p:cNvSpPr txBox="1"/>
          <p:nvPr/>
        </p:nvSpPr>
        <p:spPr>
          <a:xfrm>
            <a:off x="4985194" y="4631910"/>
            <a:ext cx="338864" cy="195880"/>
          </a:xfrm>
          <a:prstGeom prst="rect">
            <a:avLst/>
          </a:prstGeom>
          <a:noFill/>
        </p:spPr>
        <p:txBody>
          <a:bodyPr wrap="none" lIns="41587" tIns="20793" rIns="41587" bIns="20793" rtlCol="0">
            <a:spAutoFit/>
          </a:bodyPr>
          <a:lstStyle/>
          <a:p>
            <a:r>
              <a:rPr lang="fr-FR" sz="1000" b="1" dirty="0">
                <a:latin typeface="Helvetica" panose="020B0604020202020204" pitchFamily="34" charset="0"/>
                <a:cs typeface="Helvetica" panose="020B0604020202020204" pitchFamily="34" charset="0"/>
              </a:rPr>
              <a:t>53%</a:t>
            </a:r>
          </a:p>
        </p:txBody>
      </p:sp>
      <p:sp>
        <p:nvSpPr>
          <p:cNvPr id="87" name="object 71">
            <a:extLst>
              <a:ext uri="{FF2B5EF4-FFF2-40B4-BE49-F238E27FC236}">
                <a16:creationId xmlns:a16="http://schemas.microsoft.com/office/drawing/2014/main" id="{8F8E3530-9BC7-BF4B-9AAF-B1D3A6D0F660}"/>
              </a:ext>
            </a:extLst>
          </p:cNvPr>
          <p:cNvSpPr/>
          <p:nvPr/>
        </p:nvSpPr>
        <p:spPr>
          <a:xfrm>
            <a:off x="5726147" y="4639525"/>
            <a:ext cx="294732" cy="156240"/>
          </a:xfrm>
          <a:custGeom>
            <a:avLst/>
            <a:gdLst/>
            <a:ahLst/>
            <a:cxnLst/>
            <a:rect l="l" t="t" r="r" b="b"/>
            <a:pathLst>
              <a:path w="585469" h="343534">
                <a:moveTo>
                  <a:pt x="585448" y="0"/>
                </a:moveTo>
                <a:lnTo>
                  <a:pt x="0" y="0"/>
                </a:lnTo>
                <a:lnTo>
                  <a:pt x="0" y="343392"/>
                </a:lnTo>
                <a:lnTo>
                  <a:pt x="585448" y="343392"/>
                </a:lnTo>
                <a:lnTo>
                  <a:pt x="585448" y="0"/>
                </a:lnTo>
                <a:close/>
              </a:path>
            </a:pathLst>
          </a:custGeom>
          <a:solidFill>
            <a:srgbClr val="FF7900"/>
          </a:solidFill>
        </p:spPr>
        <p:txBody>
          <a:bodyPr wrap="square" lIns="0" tIns="0" rIns="0" bIns="0" rtlCol="0"/>
          <a:lstStyle/>
          <a:p>
            <a:r>
              <a:rPr lang="fr-FR" dirty="0"/>
              <a:t>           </a:t>
            </a:r>
            <a:endParaRPr dirty="0"/>
          </a:p>
        </p:txBody>
      </p:sp>
      <p:sp>
        <p:nvSpPr>
          <p:cNvPr id="88" name="ZoneTexte 87"/>
          <p:cNvSpPr txBox="1"/>
          <p:nvPr/>
        </p:nvSpPr>
        <p:spPr>
          <a:xfrm>
            <a:off x="6062304" y="4631910"/>
            <a:ext cx="338864" cy="195880"/>
          </a:xfrm>
          <a:prstGeom prst="rect">
            <a:avLst/>
          </a:prstGeom>
          <a:noFill/>
        </p:spPr>
        <p:txBody>
          <a:bodyPr wrap="none" lIns="41587" tIns="20793" rIns="41587" bIns="20793" rtlCol="0">
            <a:spAutoFit/>
          </a:bodyPr>
          <a:lstStyle/>
          <a:p>
            <a:r>
              <a:rPr lang="fr-FR" sz="1000" b="1" dirty="0">
                <a:latin typeface="Helvetica" panose="020B0604020202020204" pitchFamily="34" charset="0"/>
                <a:cs typeface="Helvetica" panose="020B0604020202020204" pitchFamily="34" charset="0"/>
              </a:rPr>
              <a:t>59%</a:t>
            </a:r>
          </a:p>
        </p:txBody>
      </p:sp>
      <p:sp>
        <p:nvSpPr>
          <p:cNvPr id="89" name="object 59">
            <a:extLst>
              <a:ext uri="{FF2B5EF4-FFF2-40B4-BE49-F238E27FC236}">
                <a16:creationId xmlns:a16="http://schemas.microsoft.com/office/drawing/2014/main" id="{A97E8DBE-2CA8-3046-A9A0-5D3E3C85E064}"/>
              </a:ext>
            </a:extLst>
          </p:cNvPr>
          <p:cNvSpPr/>
          <p:nvPr/>
        </p:nvSpPr>
        <p:spPr>
          <a:xfrm>
            <a:off x="6782336" y="4639525"/>
            <a:ext cx="327479" cy="149886"/>
          </a:xfrm>
          <a:custGeom>
            <a:avLst/>
            <a:gdLst/>
            <a:ahLst/>
            <a:cxnLst/>
            <a:rect l="l" t="t" r="r" b="b"/>
            <a:pathLst>
              <a:path w="702945" h="329565">
                <a:moveTo>
                  <a:pt x="702533" y="0"/>
                </a:moveTo>
                <a:lnTo>
                  <a:pt x="0" y="0"/>
                </a:lnTo>
                <a:lnTo>
                  <a:pt x="0" y="329089"/>
                </a:lnTo>
                <a:lnTo>
                  <a:pt x="702533" y="329089"/>
                </a:lnTo>
                <a:lnTo>
                  <a:pt x="702533" y="0"/>
                </a:lnTo>
                <a:close/>
              </a:path>
            </a:pathLst>
          </a:custGeom>
          <a:solidFill>
            <a:srgbClr val="FF7900"/>
          </a:solidFill>
        </p:spPr>
        <p:txBody>
          <a:bodyPr wrap="square" lIns="0" tIns="0" rIns="0" bIns="0" rtlCol="0"/>
          <a:lstStyle/>
          <a:p>
            <a:endParaRPr/>
          </a:p>
        </p:txBody>
      </p:sp>
      <p:sp>
        <p:nvSpPr>
          <p:cNvPr id="90" name="ZoneTexte 89"/>
          <p:cNvSpPr txBox="1"/>
          <p:nvPr/>
        </p:nvSpPr>
        <p:spPr>
          <a:xfrm>
            <a:off x="7136710" y="4616443"/>
            <a:ext cx="338864" cy="195880"/>
          </a:xfrm>
          <a:prstGeom prst="rect">
            <a:avLst/>
          </a:prstGeom>
          <a:noFill/>
        </p:spPr>
        <p:txBody>
          <a:bodyPr wrap="none" lIns="41587" tIns="20793" rIns="41587" bIns="20793" rtlCol="0">
            <a:spAutoFit/>
          </a:bodyPr>
          <a:lstStyle/>
          <a:p>
            <a:r>
              <a:rPr lang="fr-FR" sz="1000" b="1" dirty="0">
                <a:latin typeface="Helvetica" panose="020B0604020202020204" pitchFamily="34" charset="0"/>
                <a:cs typeface="Helvetica" panose="020B0604020202020204" pitchFamily="34" charset="0"/>
              </a:rPr>
              <a:t>66%</a:t>
            </a:r>
          </a:p>
        </p:txBody>
      </p:sp>
      <p:sp>
        <p:nvSpPr>
          <p:cNvPr id="91" name="object 73">
            <a:extLst>
              <a:ext uri="{FF2B5EF4-FFF2-40B4-BE49-F238E27FC236}">
                <a16:creationId xmlns:a16="http://schemas.microsoft.com/office/drawing/2014/main" id="{3A648EE1-C398-E74C-B90E-39B39B9AB084}"/>
              </a:ext>
            </a:extLst>
          </p:cNvPr>
          <p:cNvSpPr/>
          <p:nvPr/>
        </p:nvSpPr>
        <p:spPr>
          <a:xfrm>
            <a:off x="7884890" y="4633580"/>
            <a:ext cx="180114" cy="156240"/>
          </a:xfrm>
          <a:custGeom>
            <a:avLst/>
            <a:gdLst/>
            <a:ahLst/>
            <a:cxnLst/>
            <a:rect l="l" t="t" r="r" b="b"/>
            <a:pathLst>
              <a:path w="351790" h="343534">
                <a:moveTo>
                  <a:pt x="351266" y="0"/>
                </a:moveTo>
                <a:lnTo>
                  <a:pt x="0" y="0"/>
                </a:lnTo>
                <a:lnTo>
                  <a:pt x="0" y="343392"/>
                </a:lnTo>
                <a:lnTo>
                  <a:pt x="351266" y="343392"/>
                </a:lnTo>
                <a:lnTo>
                  <a:pt x="351266" y="0"/>
                </a:lnTo>
                <a:close/>
              </a:path>
            </a:pathLst>
          </a:custGeom>
          <a:solidFill>
            <a:srgbClr val="FF7900"/>
          </a:solidFill>
        </p:spPr>
        <p:txBody>
          <a:bodyPr wrap="square" lIns="0" tIns="0" rIns="0" bIns="0" rtlCol="0"/>
          <a:lstStyle/>
          <a:p>
            <a:endParaRPr/>
          </a:p>
        </p:txBody>
      </p:sp>
      <p:sp>
        <p:nvSpPr>
          <p:cNvPr id="92" name="ZoneTexte 91"/>
          <p:cNvSpPr txBox="1"/>
          <p:nvPr/>
        </p:nvSpPr>
        <p:spPr>
          <a:xfrm>
            <a:off x="8072483" y="4631910"/>
            <a:ext cx="338864" cy="195880"/>
          </a:xfrm>
          <a:prstGeom prst="rect">
            <a:avLst/>
          </a:prstGeom>
          <a:noFill/>
        </p:spPr>
        <p:txBody>
          <a:bodyPr wrap="none" lIns="41587" tIns="20793" rIns="41587" bIns="20793" rtlCol="0">
            <a:spAutoFit/>
          </a:bodyPr>
          <a:lstStyle/>
          <a:p>
            <a:r>
              <a:rPr lang="fr-FR" sz="1000" b="1" dirty="0">
                <a:latin typeface="Helvetica" panose="020B0604020202020204" pitchFamily="34" charset="0"/>
                <a:cs typeface="Helvetica" panose="020B0604020202020204" pitchFamily="34" charset="0"/>
              </a:rPr>
              <a:t>36%</a:t>
            </a:r>
          </a:p>
        </p:txBody>
      </p:sp>
    </p:spTree>
    <p:extLst>
      <p:ext uri="{BB962C8B-B14F-4D97-AF65-F5344CB8AC3E}">
        <p14:creationId xmlns:p14="http://schemas.microsoft.com/office/powerpoint/2010/main" val="37459351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5669" y="81283"/>
            <a:ext cx="8368331" cy="713427"/>
          </a:xfrm>
          <a:prstGeom prst="rect">
            <a:avLst/>
          </a:prstGeom>
        </p:spPr>
        <p:txBody>
          <a:bodyPr vert="horz" wrap="square" lIns="0" tIns="5487" rIns="0" bIns="0" rtlCol="0">
            <a:spAutoFit/>
          </a:bodyPr>
          <a:lstStyle/>
          <a:p>
            <a:pPr marL="5776" marR="2310">
              <a:lnSpc>
                <a:spcPct val="100000"/>
              </a:lnSpc>
              <a:spcBef>
                <a:spcPts val="43"/>
              </a:spcBef>
            </a:pPr>
            <a:r>
              <a:rPr sz="2300" spc="-18" dirty="0"/>
              <a:t>Dans </a:t>
            </a:r>
            <a:r>
              <a:rPr sz="2300" spc="-2" dirty="0"/>
              <a:t>5 </a:t>
            </a:r>
            <a:r>
              <a:rPr sz="2300" spc="-18" dirty="0"/>
              <a:t>ans, </a:t>
            </a:r>
            <a:r>
              <a:rPr sz="2300" spc="-14" dirty="0"/>
              <a:t>le </a:t>
            </a:r>
            <a:r>
              <a:rPr sz="2300" spc="-20" dirty="0"/>
              <a:t>mobile </a:t>
            </a:r>
            <a:r>
              <a:rPr sz="2300" spc="-18" dirty="0"/>
              <a:t>sera </a:t>
            </a:r>
            <a:r>
              <a:rPr sz="2300" spc="-14" dirty="0"/>
              <a:t>le </a:t>
            </a:r>
            <a:r>
              <a:rPr sz="2300" spc="-20" dirty="0"/>
              <a:t>moyen </a:t>
            </a:r>
            <a:r>
              <a:rPr sz="2300" spc="-18" dirty="0"/>
              <a:t>de </a:t>
            </a:r>
            <a:r>
              <a:rPr sz="2300" spc="-18" dirty="0" err="1"/>
              <a:t>paiement</a:t>
            </a:r>
            <a:r>
              <a:rPr lang="fr-FR" sz="2300" spc="-18" dirty="0"/>
              <a:t> </a:t>
            </a:r>
            <a:r>
              <a:rPr sz="2300" spc="-18" dirty="0"/>
              <a:t>le plus courant</a:t>
            </a:r>
          </a:p>
        </p:txBody>
      </p:sp>
      <p:sp>
        <p:nvSpPr>
          <p:cNvPr id="3" name="object 3"/>
          <p:cNvSpPr txBox="1"/>
          <p:nvPr/>
        </p:nvSpPr>
        <p:spPr>
          <a:xfrm>
            <a:off x="775669" y="913127"/>
            <a:ext cx="7595643" cy="282539"/>
          </a:xfrm>
          <a:prstGeom prst="rect">
            <a:avLst/>
          </a:prstGeom>
        </p:spPr>
        <p:txBody>
          <a:bodyPr vert="horz" wrap="square" lIns="0" tIns="5487" rIns="0" bIns="0" rtlCol="0">
            <a:spAutoFit/>
          </a:bodyPr>
          <a:lstStyle/>
          <a:p>
            <a:pPr marL="5776" marR="2310">
              <a:lnSpc>
                <a:spcPct val="100499"/>
              </a:lnSpc>
              <a:spcBef>
                <a:spcPts val="43"/>
              </a:spcBef>
            </a:pPr>
            <a:r>
              <a:rPr sz="900" b="1" spc="2" dirty="0">
                <a:latin typeface="Helvetica Neue"/>
                <a:cs typeface="Helvetica Neue"/>
              </a:rPr>
              <a:t>Selon vous, dans cinq ans, </a:t>
            </a:r>
            <a:r>
              <a:rPr sz="900" b="1" dirty="0">
                <a:latin typeface="Helvetica Neue"/>
                <a:cs typeface="Helvetica Neue"/>
              </a:rPr>
              <a:t>le </a:t>
            </a:r>
            <a:r>
              <a:rPr sz="900" b="1" spc="2" dirty="0">
                <a:latin typeface="Helvetica Neue"/>
                <a:cs typeface="Helvetica Neue"/>
              </a:rPr>
              <a:t>paiement sans contact depuis un Smartphone en magasin </a:t>
            </a:r>
            <a:r>
              <a:rPr sz="900" b="1" dirty="0">
                <a:latin typeface="Helvetica Neue"/>
                <a:cs typeface="Helvetica Neue"/>
              </a:rPr>
              <a:t>sera-t-il </a:t>
            </a:r>
            <a:r>
              <a:rPr sz="900" b="1" spc="2" dirty="0">
                <a:latin typeface="Helvetica Neue"/>
                <a:cs typeface="Helvetica Neue"/>
              </a:rPr>
              <a:t>devenu </a:t>
            </a:r>
            <a:r>
              <a:rPr sz="900" b="1" dirty="0">
                <a:latin typeface="Helvetica Neue"/>
                <a:cs typeface="Helvetica Neue"/>
              </a:rPr>
              <a:t>le </a:t>
            </a:r>
            <a:r>
              <a:rPr sz="900" b="1" spc="2" dirty="0">
                <a:latin typeface="Helvetica Neue"/>
                <a:cs typeface="Helvetica Neue"/>
              </a:rPr>
              <a:t>moyen de paiement </a:t>
            </a:r>
            <a:r>
              <a:rPr sz="900" b="1" dirty="0">
                <a:latin typeface="Helvetica Neue"/>
                <a:cs typeface="Helvetica Neue"/>
              </a:rPr>
              <a:t>le </a:t>
            </a:r>
            <a:r>
              <a:rPr sz="900" b="1" spc="2" dirty="0">
                <a:latin typeface="Helvetica Neue"/>
                <a:cs typeface="Helvetica Neue"/>
              </a:rPr>
              <a:t>plus  courant ou non</a:t>
            </a:r>
            <a:r>
              <a:rPr sz="900" b="1" spc="-7" dirty="0">
                <a:latin typeface="Helvetica Neue"/>
                <a:cs typeface="Helvetica Neue"/>
              </a:rPr>
              <a:t> </a:t>
            </a:r>
            <a:r>
              <a:rPr sz="900" b="1" spc="2" dirty="0">
                <a:latin typeface="Helvetica Neue"/>
                <a:cs typeface="Helvetica Neue"/>
              </a:rPr>
              <a:t>?</a:t>
            </a:r>
            <a:endParaRPr sz="900" dirty="0">
              <a:latin typeface="Helvetica Neue"/>
              <a:cs typeface="Helvetica Neue"/>
            </a:endParaRPr>
          </a:p>
        </p:txBody>
      </p:sp>
      <p:sp>
        <p:nvSpPr>
          <p:cNvPr id="9" name="object 9"/>
          <p:cNvSpPr/>
          <p:nvPr/>
        </p:nvSpPr>
        <p:spPr>
          <a:xfrm>
            <a:off x="0" y="1369051"/>
            <a:ext cx="9144000" cy="3774307"/>
          </a:xfrm>
          <a:custGeom>
            <a:avLst/>
            <a:gdLst/>
            <a:ahLst/>
            <a:cxnLst/>
            <a:rect l="l" t="t" r="r" b="b"/>
            <a:pathLst>
              <a:path w="20104100" h="8298815">
                <a:moveTo>
                  <a:pt x="0" y="8298333"/>
                </a:moveTo>
                <a:lnTo>
                  <a:pt x="20104099" y="8298333"/>
                </a:lnTo>
                <a:lnTo>
                  <a:pt x="20104099" y="0"/>
                </a:lnTo>
                <a:lnTo>
                  <a:pt x="0" y="0"/>
                </a:lnTo>
                <a:lnTo>
                  <a:pt x="0" y="8298333"/>
                </a:lnTo>
                <a:close/>
              </a:path>
            </a:pathLst>
          </a:custGeom>
          <a:solidFill>
            <a:srgbClr val="D5D5D5"/>
          </a:solidFill>
        </p:spPr>
        <p:txBody>
          <a:bodyPr wrap="square" lIns="0" tIns="0" rIns="0" bIns="0" rtlCol="0"/>
          <a:lstStyle/>
          <a:p>
            <a:endParaRPr/>
          </a:p>
        </p:txBody>
      </p:sp>
      <p:sp>
        <p:nvSpPr>
          <p:cNvPr id="10" name="object 10"/>
          <p:cNvSpPr txBox="1"/>
          <p:nvPr/>
        </p:nvSpPr>
        <p:spPr>
          <a:xfrm>
            <a:off x="2348763" y="1860637"/>
            <a:ext cx="334741" cy="326141"/>
          </a:xfrm>
          <a:prstGeom prst="rect">
            <a:avLst/>
          </a:prstGeom>
        </p:spPr>
        <p:txBody>
          <a:bodyPr vert="horz" wrap="square" lIns="0" tIns="5487" rIns="0" bIns="0" rtlCol="0">
            <a:spAutoFit/>
          </a:bodyPr>
          <a:lstStyle/>
          <a:p>
            <a:pPr marL="5776">
              <a:lnSpc>
                <a:spcPts val="914"/>
              </a:lnSpc>
              <a:spcBef>
                <a:spcPts val="43"/>
              </a:spcBef>
            </a:pPr>
            <a:r>
              <a:rPr sz="800" b="1" spc="-2" dirty="0">
                <a:latin typeface="Helvetica Neue"/>
                <a:cs typeface="Helvetica Neue"/>
              </a:rPr>
              <a:t>France</a:t>
            </a:r>
            <a:endParaRPr sz="800" dirty="0">
              <a:latin typeface="Helvetica Neue"/>
              <a:cs typeface="Helvetica Neue"/>
            </a:endParaRPr>
          </a:p>
          <a:p>
            <a:pPr marL="5776">
              <a:lnSpc>
                <a:spcPts val="696"/>
              </a:lnSpc>
            </a:pPr>
            <a:r>
              <a:rPr sz="600" spc="5" dirty="0">
                <a:latin typeface="Helvetica Neue"/>
                <a:cs typeface="Helvetica Neue"/>
              </a:rPr>
              <a:t>N =</a:t>
            </a:r>
            <a:r>
              <a:rPr sz="600" spc="-43" dirty="0">
                <a:latin typeface="Helvetica Neue"/>
                <a:cs typeface="Helvetica Neue"/>
              </a:rPr>
              <a:t> </a:t>
            </a:r>
            <a:r>
              <a:rPr sz="600" spc="5" dirty="0">
                <a:latin typeface="Helvetica Neue"/>
                <a:cs typeface="Helvetica Neue"/>
              </a:rPr>
              <a:t>2024</a:t>
            </a:r>
            <a:endParaRPr sz="600" dirty="0">
              <a:latin typeface="Helvetica Neue"/>
              <a:cs typeface="Helvetica Neue"/>
            </a:endParaRPr>
          </a:p>
        </p:txBody>
      </p:sp>
      <p:sp>
        <p:nvSpPr>
          <p:cNvPr id="11" name="object 11"/>
          <p:cNvSpPr/>
          <p:nvPr/>
        </p:nvSpPr>
        <p:spPr>
          <a:xfrm>
            <a:off x="2174764" y="1825904"/>
            <a:ext cx="101664" cy="289954"/>
          </a:xfrm>
          <a:custGeom>
            <a:avLst/>
            <a:gdLst/>
            <a:ahLst/>
            <a:cxnLst/>
            <a:rect l="l" t="t" r="r" b="b"/>
            <a:pathLst>
              <a:path w="223520" h="637539">
                <a:moveTo>
                  <a:pt x="0" y="0"/>
                </a:moveTo>
                <a:lnTo>
                  <a:pt x="0" y="637006"/>
                </a:lnTo>
                <a:lnTo>
                  <a:pt x="41970" y="618440"/>
                </a:lnTo>
                <a:lnTo>
                  <a:pt x="80733" y="594610"/>
                </a:lnTo>
                <a:lnTo>
                  <a:pt x="115828" y="565970"/>
                </a:lnTo>
                <a:lnTo>
                  <a:pt x="146793" y="532973"/>
                </a:lnTo>
                <a:lnTo>
                  <a:pt x="173163" y="496073"/>
                </a:lnTo>
                <a:lnTo>
                  <a:pt x="194479" y="455722"/>
                </a:lnTo>
                <a:lnTo>
                  <a:pt x="210276" y="412374"/>
                </a:lnTo>
                <a:lnTo>
                  <a:pt x="220094" y="366484"/>
                </a:lnTo>
                <a:lnTo>
                  <a:pt x="223469" y="318503"/>
                </a:lnTo>
                <a:lnTo>
                  <a:pt x="220094" y="270522"/>
                </a:lnTo>
                <a:lnTo>
                  <a:pt x="210276" y="224631"/>
                </a:lnTo>
                <a:lnTo>
                  <a:pt x="194479" y="181284"/>
                </a:lnTo>
                <a:lnTo>
                  <a:pt x="173163" y="140933"/>
                </a:lnTo>
                <a:lnTo>
                  <a:pt x="146793" y="104033"/>
                </a:lnTo>
                <a:lnTo>
                  <a:pt x="115828" y="71036"/>
                </a:lnTo>
                <a:lnTo>
                  <a:pt x="80733" y="42395"/>
                </a:lnTo>
                <a:lnTo>
                  <a:pt x="41970" y="18566"/>
                </a:lnTo>
                <a:lnTo>
                  <a:pt x="0" y="0"/>
                </a:lnTo>
                <a:close/>
              </a:path>
            </a:pathLst>
          </a:custGeom>
          <a:solidFill>
            <a:srgbClr val="C60E33"/>
          </a:solidFill>
        </p:spPr>
        <p:txBody>
          <a:bodyPr wrap="square" lIns="0" tIns="0" rIns="0" bIns="0" rtlCol="0"/>
          <a:lstStyle/>
          <a:p>
            <a:endParaRPr/>
          </a:p>
        </p:txBody>
      </p:sp>
      <p:sp>
        <p:nvSpPr>
          <p:cNvPr id="12" name="object 12"/>
          <p:cNvSpPr/>
          <p:nvPr/>
        </p:nvSpPr>
        <p:spPr>
          <a:xfrm>
            <a:off x="1967853" y="1825904"/>
            <a:ext cx="101664" cy="289954"/>
          </a:xfrm>
          <a:custGeom>
            <a:avLst/>
            <a:gdLst/>
            <a:ahLst/>
            <a:cxnLst/>
            <a:rect l="l" t="t" r="r" b="b"/>
            <a:pathLst>
              <a:path w="223520" h="637539">
                <a:moveTo>
                  <a:pt x="223469" y="0"/>
                </a:moveTo>
                <a:lnTo>
                  <a:pt x="181499" y="18566"/>
                </a:lnTo>
                <a:lnTo>
                  <a:pt x="142735" y="42395"/>
                </a:lnTo>
                <a:lnTo>
                  <a:pt x="107640" y="71036"/>
                </a:lnTo>
                <a:lnTo>
                  <a:pt x="76676" y="104033"/>
                </a:lnTo>
                <a:lnTo>
                  <a:pt x="50305" y="140933"/>
                </a:lnTo>
                <a:lnTo>
                  <a:pt x="28990" y="181284"/>
                </a:lnTo>
                <a:lnTo>
                  <a:pt x="13192" y="224631"/>
                </a:lnTo>
                <a:lnTo>
                  <a:pt x="3375" y="270522"/>
                </a:lnTo>
                <a:lnTo>
                  <a:pt x="0" y="318503"/>
                </a:lnTo>
                <a:lnTo>
                  <a:pt x="3375" y="366484"/>
                </a:lnTo>
                <a:lnTo>
                  <a:pt x="13192" y="412374"/>
                </a:lnTo>
                <a:lnTo>
                  <a:pt x="28990" y="455722"/>
                </a:lnTo>
                <a:lnTo>
                  <a:pt x="50305" y="496073"/>
                </a:lnTo>
                <a:lnTo>
                  <a:pt x="76676" y="532973"/>
                </a:lnTo>
                <a:lnTo>
                  <a:pt x="107640" y="565970"/>
                </a:lnTo>
                <a:lnTo>
                  <a:pt x="142735" y="594610"/>
                </a:lnTo>
                <a:lnTo>
                  <a:pt x="181499" y="618440"/>
                </a:lnTo>
                <a:lnTo>
                  <a:pt x="223469" y="637006"/>
                </a:lnTo>
                <a:lnTo>
                  <a:pt x="223469" y="0"/>
                </a:lnTo>
                <a:close/>
              </a:path>
            </a:pathLst>
          </a:custGeom>
          <a:solidFill>
            <a:srgbClr val="354083"/>
          </a:solidFill>
        </p:spPr>
        <p:txBody>
          <a:bodyPr wrap="square" lIns="0" tIns="0" rIns="0" bIns="0" rtlCol="0"/>
          <a:lstStyle/>
          <a:p>
            <a:endParaRPr/>
          </a:p>
        </p:txBody>
      </p:sp>
      <p:sp>
        <p:nvSpPr>
          <p:cNvPr id="13" name="object 13"/>
          <p:cNvSpPr/>
          <p:nvPr/>
        </p:nvSpPr>
        <p:spPr>
          <a:xfrm>
            <a:off x="2069494" y="1816497"/>
            <a:ext cx="105419" cy="308726"/>
          </a:xfrm>
          <a:custGeom>
            <a:avLst/>
            <a:gdLst/>
            <a:ahLst/>
            <a:cxnLst/>
            <a:rect l="l" t="t" r="r" b="b"/>
            <a:pathLst>
              <a:path w="231775" h="678814">
                <a:moveTo>
                  <a:pt x="115724" y="0"/>
                </a:moveTo>
                <a:lnTo>
                  <a:pt x="85553" y="1383"/>
                </a:lnTo>
                <a:lnTo>
                  <a:pt x="56157" y="5413"/>
                </a:lnTo>
                <a:lnTo>
                  <a:pt x="27614" y="11909"/>
                </a:lnTo>
                <a:lnTo>
                  <a:pt x="0" y="20690"/>
                </a:lnTo>
                <a:lnTo>
                  <a:pt x="0" y="657697"/>
                </a:lnTo>
                <a:lnTo>
                  <a:pt x="27614" y="666473"/>
                </a:lnTo>
                <a:lnTo>
                  <a:pt x="56157" y="672970"/>
                </a:lnTo>
                <a:lnTo>
                  <a:pt x="85553" y="677002"/>
                </a:lnTo>
                <a:lnTo>
                  <a:pt x="115724" y="678387"/>
                </a:lnTo>
                <a:lnTo>
                  <a:pt x="145895" y="677002"/>
                </a:lnTo>
                <a:lnTo>
                  <a:pt x="175290" y="672970"/>
                </a:lnTo>
                <a:lnTo>
                  <a:pt x="203833" y="666473"/>
                </a:lnTo>
                <a:lnTo>
                  <a:pt x="231448" y="657697"/>
                </a:lnTo>
                <a:lnTo>
                  <a:pt x="231448" y="20690"/>
                </a:lnTo>
                <a:lnTo>
                  <a:pt x="203833" y="11909"/>
                </a:lnTo>
                <a:lnTo>
                  <a:pt x="175290" y="5413"/>
                </a:lnTo>
                <a:lnTo>
                  <a:pt x="145895" y="1383"/>
                </a:lnTo>
                <a:lnTo>
                  <a:pt x="115724" y="0"/>
                </a:lnTo>
                <a:close/>
              </a:path>
            </a:pathLst>
          </a:custGeom>
          <a:solidFill>
            <a:srgbClr val="FFFFFF"/>
          </a:solidFill>
        </p:spPr>
        <p:txBody>
          <a:bodyPr wrap="square" lIns="0" tIns="0" rIns="0" bIns="0" rtlCol="0"/>
          <a:lstStyle/>
          <a:p>
            <a:endParaRPr/>
          </a:p>
        </p:txBody>
      </p:sp>
      <p:sp>
        <p:nvSpPr>
          <p:cNvPr id="14" name="object 14"/>
          <p:cNvSpPr txBox="1"/>
          <p:nvPr/>
        </p:nvSpPr>
        <p:spPr>
          <a:xfrm>
            <a:off x="6954952" y="1861093"/>
            <a:ext cx="418209" cy="326141"/>
          </a:xfrm>
          <a:prstGeom prst="rect">
            <a:avLst/>
          </a:prstGeom>
        </p:spPr>
        <p:txBody>
          <a:bodyPr vert="horz" wrap="square" lIns="0" tIns="5487" rIns="0" bIns="0" rtlCol="0">
            <a:spAutoFit/>
          </a:bodyPr>
          <a:lstStyle/>
          <a:p>
            <a:pPr marL="5776">
              <a:lnSpc>
                <a:spcPts val="914"/>
              </a:lnSpc>
              <a:spcBef>
                <a:spcPts val="43"/>
              </a:spcBef>
            </a:pPr>
            <a:r>
              <a:rPr sz="800" b="1" spc="-2" dirty="0">
                <a:latin typeface="Helvetica Neue"/>
                <a:cs typeface="Helvetica Neue"/>
              </a:rPr>
              <a:t>Espagne</a:t>
            </a:r>
            <a:endParaRPr sz="800" dirty="0">
              <a:latin typeface="Helvetica Neue"/>
              <a:cs typeface="Helvetica Neue"/>
            </a:endParaRPr>
          </a:p>
          <a:p>
            <a:pPr marL="5776">
              <a:lnSpc>
                <a:spcPts val="696"/>
              </a:lnSpc>
            </a:pPr>
            <a:r>
              <a:rPr sz="600" spc="5" dirty="0">
                <a:latin typeface="Helvetica Neue"/>
                <a:cs typeface="Helvetica Neue"/>
              </a:rPr>
              <a:t>N =</a:t>
            </a:r>
            <a:r>
              <a:rPr sz="600" spc="-14" dirty="0">
                <a:latin typeface="Helvetica Neue"/>
                <a:cs typeface="Helvetica Neue"/>
              </a:rPr>
              <a:t> </a:t>
            </a:r>
            <a:r>
              <a:rPr sz="600" spc="5" dirty="0">
                <a:latin typeface="Helvetica Neue"/>
                <a:cs typeface="Helvetica Neue"/>
              </a:rPr>
              <a:t>2015</a:t>
            </a:r>
            <a:endParaRPr sz="600" dirty="0">
              <a:latin typeface="Helvetica Neue"/>
              <a:cs typeface="Helvetica Neue"/>
            </a:endParaRPr>
          </a:p>
        </p:txBody>
      </p:sp>
      <p:sp>
        <p:nvSpPr>
          <p:cNvPr id="15" name="object 15"/>
          <p:cNvSpPr/>
          <p:nvPr/>
        </p:nvSpPr>
        <p:spPr>
          <a:xfrm>
            <a:off x="6576721" y="1816952"/>
            <a:ext cx="307648" cy="307621"/>
          </a:xfrm>
          <a:prstGeom prst="rect">
            <a:avLst/>
          </a:prstGeom>
          <a:blipFill>
            <a:blip r:embed="rId2" cstate="print"/>
            <a:stretch>
              <a:fillRect/>
            </a:stretch>
          </a:blipFill>
        </p:spPr>
        <p:txBody>
          <a:bodyPr wrap="square" lIns="0" tIns="0" rIns="0" bIns="0" rtlCol="0"/>
          <a:lstStyle/>
          <a:p>
            <a:endParaRPr/>
          </a:p>
        </p:txBody>
      </p:sp>
      <p:sp>
        <p:nvSpPr>
          <p:cNvPr id="16" name="object 16"/>
          <p:cNvSpPr/>
          <p:nvPr/>
        </p:nvSpPr>
        <p:spPr>
          <a:xfrm>
            <a:off x="4490110" y="2842170"/>
            <a:ext cx="759593" cy="1519080"/>
          </a:xfrm>
          <a:custGeom>
            <a:avLst/>
            <a:gdLst/>
            <a:ahLst/>
            <a:cxnLst/>
            <a:rect l="l" t="t" r="r" b="b"/>
            <a:pathLst>
              <a:path w="1670050" h="3340100">
                <a:moveTo>
                  <a:pt x="1550968" y="0"/>
                </a:moveTo>
                <a:lnTo>
                  <a:pt x="118771" y="0"/>
                </a:lnTo>
                <a:lnTo>
                  <a:pt x="72542" y="9332"/>
                </a:lnTo>
                <a:lnTo>
                  <a:pt x="34789" y="34785"/>
                </a:lnTo>
                <a:lnTo>
                  <a:pt x="9334" y="72538"/>
                </a:lnTo>
                <a:lnTo>
                  <a:pt x="0" y="118771"/>
                </a:lnTo>
                <a:lnTo>
                  <a:pt x="0" y="1669739"/>
                </a:lnTo>
                <a:lnTo>
                  <a:pt x="127158" y="3221116"/>
                </a:lnTo>
                <a:lnTo>
                  <a:pt x="140269" y="3267190"/>
                </a:lnTo>
                <a:lnTo>
                  <a:pt x="168807" y="3304816"/>
                </a:lnTo>
                <a:lnTo>
                  <a:pt x="208640" y="3330186"/>
                </a:lnTo>
                <a:lnTo>
                  <a:pt x="255636" y="3339489"/>
                </a:lnTo>
                <a:lnTo>
                  <a:pt x="1414103" y="3339489"/>
                </a:lnTo>
                <a:lnTo>
                  <a:pt x="1461100" y="3330186"/>
                </a:lnTo>
                <a:lnTo>
                  <a:pt x="1500935" y="3304816"/>
                </a:lnTo>
                <a:lnTo>
                  <a:pt x="1529474" y="3267190"/>
                </a:lnTo>
                <a:lnTo>
                  <a:pt x="1542581" y="3221116"/>
                </a:lnTo>
                <a:lnTo>
                  <a:pt x="1669739" y="1669739"/>
                </a:lnTo>
                <a:lnTo>
                  <a:pt x="1669739" y="118771"/>
                </a:lnTo>
                <a:lnTo>
                  <a:pt x="1660406" y="72538"/>
                </a:lnTo>
                <a:lnTo>
                  <a:pt x="1634954" y="34785"/>
                </a:lnTo>
                <a:lnTo>
                  <a:pt x="1597201" y="9332"/>
                </a:lnTo>
                <a:lnTo>
                  <a:pt x="1550968" y="0"/>
                </a:lnTo>
                <a:close/>
              </a:path>
            </a:pathLst>
          </a:custGeom>
          <a:solidFill>
            <a:srgbClr val="5A5A5A"/>
          </a:solidFill>
        </p:spPr>
        <p:txBody>
          <a:bodyPr wrap="square" lIns="0" tIns="0" rIns="0" bIns="0" rtlCol="0"/>
          <a:lstStyle/>
          <a:p>
            <a:endParaRPr/>
          </a:p>
        </p:txBody>
      </p:sp>
      <p:sp>
        <p:nvSpPr>
          <p:cNvPr id="17" name="object 17"/>
          <p:cNvSpPr/>
          <p:nvPr/>
        </p:nvSpPr>
        <p:spPr>
          <a:xfrm>
            <a:off x="4382065" y="2842170"/>
            <a:ext cx="759593" cy="1519080"/>
          </a:xfrm>
          <a:custGeom>
            <a:avLst/>
            <a:gdLst/>
            <a:ahLst/>
            <a:cxnLst/>
            <a:rect l="l" t="t" r="r" b="b"/>
            <a:pathLst>
              <a:path w="1670050" h="3340100">
                <a:moveTo>
                  <a:pt x="1550968" y="0"/>
                </a:moveTo>
                <a:lnTo>
                  <a:pt x="118771" y="0"/>
                </a:lnTo>
                <a:lnTo>
                  <a:pt x="72538" y="9332"/>
                </a:lnTo>
                <a:lnTo>
                  <a:pt x="34785" y="34785"/>
                </a:lnTo>
                <a:lnTo>
                  <a:pt x="9332" y="72538"/>
                </a:lnTo>
                <a:lnTo>
                  <a:pt x="0" y="118771"/>
                </a:lnTo>
                <a:lnTo>
                  <a:pt x="0" y="1669739"/>
                </a:lnTo>
                <a:lnTo>
                  <a:pt x="127158" y="3221116"/>
                </a:lnTo>
                <a:lnTo>
                  <a:pt x="140269" y="3267190"/>
                </a:lnTo>
                <a:lnTo>
                  <a:pt x="168807" y="3304816"/>
                </a:lnTo>
                <a:lnTo>
                  <a:pt x="208640" y="3330186"/>
                </a:lnTo>
                <a:lnTo>
                  <a:pt x="255636" y="3339489"/>
                </a:lnTo>
                <a:lnTo>
                  <a:pt x="1414103" y="3339489"/>
                </a:lnTo>
                <a:lnTo>
                  <a:pt x="1461100" y="3330186"/>
                </a:lnTo>
                <a:lnTo>
                  <a:pt x="1500935" y="3304816"/>
                </a:lnTo>
                <a:lnTo>
                  <a:pt x="1529474" y="3267190"/>
                </a:lnTo>
                <a:lnTo>
                  <a:pt x="1542581" y="3221116"/>
                </a:lnTo>
                <a:lnTo>
                  <a:pt x="1669739" y="1669739"/>
                </a:lnTo>
                <a:lnTo>
                  <a:pt x="1669739" y="118771"/>
                </a:lnTo>
                <a:lnTo>
                  <a:pt x="1660406" y="72538"/>
                </a:lnTo>
                <a:lnTo>
                  <a:pt x="1634954" y="34785"/>
                </a:lnTo>
                <a:lnTo>
                  <a:pt x="1597201" y="9332"/>
                </a:lnTo>
                <a:lnTo>
                  <a:pt x="1550968" y="0"/>
                </a:lnTo>
                <a:close/>
              </a:path>
            </a:pathLst>
          </a:custGeom>
          <a:solidFill>
            <a:srgbClr val="000000"/>
          </a:solidFill>
        </p:spPr>
        <p:txBody>
          <a:bodyPr wrap="square" lIns="0" tIns="0" rIns="0" bIns="0" rtlCol="0"/>
          <a:lstStyle/>
          <a:p>
            <a:endParaRPr/>
          </a:p>
        </p:txBody>
      </p:sp>
      <p:sp>
        <p:nvSpPr>
          <p:cNvPr id="18" name="object 18"/>
          <p:cNvSpPr/>
          <p:nvPr/>
        </p:nvSpPr>
        <p:spPr>
          <a:xfrm>
            <a:off x="4444315" y="2989485"/>
            <a:ext cx="635112" cy="444172"/>
          </a:xfrm>
          <a:custGeom>
            <a:avLst/>
            <a:gdLst/>
            <a:ahLst/>
            <a:cxnLst/>
            <a:rect l="l" t="t" r="r" b="b"/>
            <a:pathLst>
              <a:path w="1396365" h="976629">
                <a:moveTo>
                  <a:pt x="1348513" y="0"/>
                </a:moveTo>
                <a:lnTo>
                  <a:pt x="47506" y="0"/>
                </a:lnTo>
                <a:lnTo>
                  <a:pt x="29013" y="3732"/>
                </a:lnTo>
                <a:lnTo>
                  <a:pt x="13913" y="13913"/>
                </a:lnTo>
                <a:lnTo>
                  <a:pt x="3732" y="29013"/>
                </a:lnTo>
                <a:lnTo>
                  <a:pt x="0" y="47506"/>
                </a:lnTo>
                <a:lnTo>
                  <a:pt x="0" y="928788"/>
                </a:lnTo>
                <a:lnTo>
                  <a:pt x="3732" y="947281"/>
                </a:lnTo>
                <a:lnTo>
                  <a:pt x="13913" y="962381"/>
                </a:lnTo>
                <a:lnTo>
                  <a:pt x="29013" y="972562"/>
                </a:lnTo>
                <a:lnTo>
                  <a:pt x="47506" y="976294"/>
                </a:lnTo>
                <a:lnTo>
                  <a:pt x="1348513" y="976294"/>
                </a:lnTo>
                <a:lnTo>
                  <a:pt x="1367006" y="972562"/>
                </a:lnTo>
                <a:lnTo>
                  <a:pt x="1382107" y="962381"/>
                </a:lnTo>
                <a:lnTo>
                  <a:pt x="1392287" y="947281"/>
                </a:lnTo>
                <a:lnTo>
                  <a:pt x="1396020" y="928788"/>
                </a:lnTo>
                <a:lnTo>
                  <a:pt x="1396020" y="47506"/>
                </a:lnTo>
                <a:lnTo>
                  <a:pt x="1392287" y="29013"/>
                </a:lnTo>
                <a:lnTo>
                  <a:pt x="1382107" y="13913"/>
                </a:lnTo>
                <a:lnTo>
                  <a:pt x="1367006" y="3732"/>
                </a:lnTo>
                <a:lnTo>
                  <a:pt x="1348513" y="0"/>
                </a:lnTo>
                <a:close/>
              </a:path>
            </a:pathLst>
          </a:custGeom>
          <a:solidFill>
            <a:srgbClr val="B5E8F7"/>
          </a:solidFill>
        </p:spPr>
        <p:txBody>
          <a:bodyPr wrap="square" lIns="0" tIns="0" rIns="0" bIns="0" rtlCol="0"/>
          <a:lstStyle/>
          <a:p>
            <a:endParaRPr/>
          </a:p>
        </p:txBody>
      </p:sp>
      <p:sp>
        <p:nvSpPr>
          <p:cNvPr id="19" name="object 19"/>
          <p:cNvSpPr/>
          <p:nvPr/>
        </p:nvSpPr>
        <p:spPr>
          <a:xfrm>
            <a:off x="4443278" y="3470855"/>
            <a:ext cx="294884" cy="62380"/>
          </a:xfrm>
          <a:custGeom>
            <a:avLst/>
            <a:gdLst/>
            <a:ahLst/>
            <a:cxnLst/>
            <a:rect l="l" t="t" r="r" b="b"/>
            <a:pathLst>
              <a:path w="648334" h="137159">
                <a:moveTo>
                  <a:pt x="579385" y="0"/>
                </a:moveTo>
                <a:lnTo>
                  <a:pt x="68427" y="0"/>
                </a:lnTo>
                <a:lnTo>
                  <a:pt x="41793" y="5377"/>
                </a:lnTo>
                <a:lnTo>
                  <a:pt x="20042" y="20042"/>
                </a:lnTo>
                <a:lnTo>
                  <a:pt x="5377" y="41793"/>
                </a:lnTo>
                <a:lnTo>
                  <a:pt x="0" y="68427"/>
                </a:lnTo>
                <a:lnTo>
                  <a:pt x="5377" y="95067"/>
                </a:lnTo>
                <a:lnTo>
                  <a:pt x="20042" y="116821"/>
                </a:lnTo>
                <a:lnTo>
                  <a:pt x="41793" y="131487"/>
                </a:lnTo>
                <a:lnTo>
                  <a:pt x="68427" y="136864"/>
                </a:lnTo>
                <a:lnTo>
                  <a:pt x="579385" y="136864"/>
                </a:lnTo>
                <a:lnTo>
                  <a:pt x="606025" y="131487"/>
                </a:lnTo>
                <a:lnTo>
                  <a:pt x="627779" y="116821"/>
                </a:lnTo>
                <a:lnTo>
                  <a:pt x="642445" y="95067"/>
                </a:lnTo>
                <a:lnTo>
                  <a:pt x="647823" y="68427"/>
                </a:lnTo>
                <a:lnTo>
                  <a:pt x="642445" y="41793"/>
                </a:lnTo>
                <a:lnTo>
                  <a:pt x="627779" y="20042"/>
                </a:lnTo>
                <a:lnTo>
                  <a:pt x="606025" y="5377"/>
                </a:lnTo>
                <a:lnTo>
                  <a:pt x="579385" y="0"/>
                </a:lnTo>
                <a:close/>
              </a:path>
            </a:pathLst>
          </a:custGeom>
          <a:solidFill>
            <a:srgbClr val="808080"/>
          </a:solidFill>
        </p:spPr>
        <p:txBody>
          <a:bodyPr wrap="square" lIns="0" tIns="0" rIns="0" bIns="0" rtlCol="0"/>
          <a:lstStyle/>
          <a:p>
            <a:endParaRPr/>
          </a:p>
        </p:txBody>
      </p:sp>
      <p:sp>
        <p:nvSpPr>
          <p:cNvPr id="20" name="object 20"/>
          <p:cNvSpPr/>
          <p:nvPr/>
        </p:nvSpPr>
        <p:spPr>
          <a:xfrm>
            <a:off x="4785656" y="3470855"/>
            <a:ext cx="294884" cy="62380"/>
          </a:xfrm>
          <a:custGeom>
            <a:avLst/>
            <a:gdLst/>
            <a:ahLst/>
            <a:cxnLst/>
            <a:rect l="l" t="t" r="r" b="b"/>
            <a:pathLst>
              <a:path w="648334" h="137159">
                <a:moveTo>
                  <a:pt x="579385" y="0"/>
                </a:moveTo>
                <a:lnTo>
                  <a:pt x="68427" y="0"/>
                </a:lnTo>
                <a:lnTo>
                  <a:pt x="41793" y="5377"/>
                </a:lnTo>
                <a:lnTo>
                  <a:pt x="20042" y="20042"/>
                </a:lnTo>
                <a:lnTo>
                  <a:pt x="5377" y="41793"/>
                </a:lnTo>
                <a:lnTo>
                  <a:pt x="0" y="68427"/>
                </a:lnTo>
                <a:lnTo>
                  <a:pt x="5377" y="95067"/>
                </a:lnTo>
                <a:lnTo>
                  <a:pt x="20042" y="116821"/>
                </a:lnTo>
                <a:lnTo>
                  <a:pt x="41793" y="131487"/>
                </a:lnTo>
                <a:lnTo>
                  <a:pt x="68427" y="136864"/>
                </a:lnTo>
                <a:lnTo>
                  <a:pt x="579385" y="136864"/>
                </a:lnTo>
                <a:lnTo>
                  <a:pt x="606025" y="131487"/>
                </a:lnTo>
                <a:lnTo>
                  <a:pt x="627779" y="116821"/>
                </a:lnTo>
                <a:lnTo>
                  <a:pt x="642445" y="95067"/>
                </a:lnTo>
                <a:lnTo>
                  <a:pt x="647823" y="68427"/>
                </a:lnTo>
                <a:lnTo>
                  <a:pt x="642445" y="41793"/>
                </a:lnTo>
                <a:lnTo>
                  <a:pt x="627779" y="20042"/>
                </a:lnTo>
                <a:lnTo>
                  <a:pt x="606025" y="5377"/>
                </a:lnTo>
                <a:lnTo>
                  <a:pt x="579385" y="0"/>
                </a:lnTo>
                <a:close/>
              </a:path>
            </a:pathLst>
          </a:custGeom>
          <a:solidFill>
            <a:srgbClr val="808080"/>
          </a:solidFill>
        </p:spPr>
        <p:txBody>
          <a:bodyPr wrap="square" lIns="0" tIns="0" rIns="0" bIns="0" rtlCol="0"/>
          <a:lstStyle/>
          <a:p>
            <a:endParaRPr/>
          </a:p>
        </p:txBody>
      </p:sp>
      <p:sp>
        <p:nvSpPr>
          <p:cNvPr id="21" name="object 21"/>
          <p:cNvSpPr/>
          <p:nvPr/>
        </p:nvSpPr>
        <p:spPr>
          <a:xfrm>
            <a:off x="4485813" y="4168007"/>
            <a:ext cx="145276" cy="120429"/>
          </a:xfrm>
          <a:custGeom>
            <a:avLst/>
            <a:gdLst/>
            <a:ahLst/>
            <a:cxnLst/>
            <a:rect l="l" t="t" r="r" b="b"/>
            <a:pathLst>
              <a:path w="319404" h="264795">
                <a:moveTo>
                  <a:pt x="264609" y="0"/>
                </a:moveTo>
                <a:lnTo>
                  <a:pt x="54752" y="0"/>
                </a:lnTo>
                <a:lnTo>
                  <a:pt x="33439" y="4302"/>
                </a:lnTo>
                <a:lnTo>
                  <a:pt x="16036" y="16036"/>
                </a:lnTo>
                <a:lnTo>
                  <a:pt x="4302" y="33439"/>
                </a:lnTo>
                <a:lnTo>
                  <a:pt x="0" y="54752"/>
                </a:lnTo>
                <a:lnTo>
                  <a:pt x="0" y="209867"/>
                </a:lnTo>
                <a:lnTo>
                  <a:pt x="4302" y="231174"/>
                </a:lnTo>
                <a:lnTo>
                  <a:pt x="16036" y="248574"/>
                </a:lnTo>
                <a:lnTo>
                  <a:pt x="33439" y="260307"/>
                </a:lnTo>
                <a:lnTo>
                  <a:pt x="54752" y="264609"/>
                </a:lnTo>
                <a:lnTo>
                  <a:pt x="264609" y="264609"/>
                </a:lnTo>
                <a:lnTo>
                  <a:pt x="285922" y="260307"/>
                </a:lnTo>
                <a:lnTo>
                  <a:pt x="303325" y="248574"/>
                </a:lnTo>
                <a:lnTo>
                  <a:pt x="315059" y="231174"/>
                </a:lnTo>
                <a:lnTo>
                  <a:pt x="319362" y="209867"/>
                </a:lnTo>
                <a:lnTo>
                  <a:pt x="319362" y="54752"/>
                </a:lnTo>
                <a:lnTo>
                  <a:pt x="315059" y="33439"/>
                </a:lnTo>
                <a:lnTo>
                  <a:pt x="303325" y="16036"/>
                </a:lnTo>
                <a:lnTo>
                  <a:pt x="285922" y="4302"/>
                </a:lnTo>
                <a:lnTo>
                  <a:pt x="264609" y="0"/>
                </a:lnTo>
                <a:close/>
              </a:path>
            </a:pathLst>
          </a:custGeom>
          <a:solidFill>
            <a:srgbClr val="FF7900"/>
          </a:solidFill>
        </p:spPr>
        <p:txBody>
          <a:bodyPr wrap="square" lIns="0" tIns="0" rIns="0" bIns="0" rtlCol="0"/>
          <a:lstStyle/>
          <a:p>
            <a:endParaRPr/>
          </a:p>
        </p:txBody>
      </p:sp>
      <p:sp>
        <p:nvSpPr>
          <p:cNvPr id="22" name="object 22"/>
          <p:cNvSpPr/>
          <p:nvPr/>
        </p:nvSpPr>
        <p:spPr>
          <a:xfrm>
            <a:off x="4892516" y="4168007"/>
            <a:ext cx="145276" cy="120429"/>
          </a:xfrm>
          <a:custGeom>
            <a:avLst/>
            <a:gdLst/>
            <a:ahLst/>
            <a:cxnLst/>
            <a:rect l="l" t="t" r="r" b="b"/>
            <a:pathLst>
              <a:path w="319404" h="264795">
                <a:moveTo>
                  <a:pt x="264609" y="0"/>
                </a:moveTo>
                <a:lnTo>
                  <a:pt x="54752" y="0"/>
                </a:lnTo>
                <a:lnTo>
                  <a:pt x="33439" y="4302"/>
                </a:lnTo>
                <a:lnTo>
                  <a:pt x="16036" y="16036"/>
                </a:lnTo>
                <a:lnTo>
                  <a:pt x="4302" y="33439"/>
                </a:lnTo>
                <a:lnTo>
                  <a:pt x="0" y="54752"/>
                </a:lnTo>
                <a:lnTo>
                  <a:pt x="0" y="209867"/>
                </a:lnTo>
                <a:lnTo>
                  <a:pt x="4302" y="231174"/>
                </a:lnTo>
                <a:lnTo>
                  <a:pt x="16036" y="248574"/>
                </a:lnTo>
                <a:lnTo>
                  <a:pt x="33439" y="260307"/>
                </a:lnTo>
                <a:lnTo>
                  <a:pt x="54752" y="264609"/>
                </a:lnTo>
                <a:lnTo>
                  <a:pt x="264609" y="264609"/>
                </a:lnTo>
                <a:lnTo>
                  <a:pt x="285922" y="260307"/>
                </a:lnTo>
                <a:lnTo>
                  <a:pt x="303325" y="248574"/>
                </a:lnTo>
                <a:lnTo>
                  <a:pt x="315059" y="231174"/>
                </a:lnTo>
                <a:lnTo>
                  <a:pt x="319362" y="209867"/>
                </a:lnTo>
                <a:lnTo>
                  <a:pt x="319362" y="54752"/>
                </a:lnTo>
                <a:lnTo>
                  <a:pt x="315059" y="33439"/>
                </a:lnTo>
                <a:lnTo>
                  <a:pt x="303325" y="16036"/>
                </a:lnTo>
                <a:lnTo>
                  <a:pt x="285922" y="4302"/>
                </a:lnTo>
                <a:lnTo>
                  <a:pt x="264609" y="0"/>
                </a:lnTo>
                <a:close/>
              </a:path>
            </a:pathLst>
          </a:custGeom>
          <a:solidFill>
            <a:srgbClr val="50BD86"/>
          </a:solidFill>
        </p:spPr>
        <p:txBody>
          <a:bodyPr wrap="square" lIns="0" tIns="0" rIns="0" bIns="0" rtlCol="0"/>
          <a:lstStyle/>
          <a:p>
            <a:endParaRPr/>
          </a:p>
        </p:txBody>
      </p:sp>
      <p:sp>
        <p:nvSpPr>
          <p:cNvPr id="23" name="object 23"/>
          <p:cNvSpPr/>
          <p:nvPr/>
        </p:nvSpPr>
        <p:spPr>
          <a:xfrm>
            <a:off x="4689163" y="4168007"/>
            <a:ext cx="145276" cy="120429"/>
          </a:xfrm>
          <a:custGeom>
            <a:avLst/>
            <a:gdLst/>
            <a:ahLst/>
            <a:cxnLst/>
            <a:rect l="l" t="t" r="r" b="b"/>
            <a:pathLst>
              <a:path w="319404" h="264795">
                <a:moveTo>
                  <a:pt x="264609" y="0"/>
                </a:moveTo>
                <a:lnTo>
                  <a:pt x="54752" y="0"/>
                </a:lnTo>
                <a:lnTo>
                  <a:pt x="33444" y="4302"/>
                </a:lnTo>
                <a:lnTo>
                  <a:pt x="16040" y="16036"/>
                </a:lnTo>
                <a:lnTo>
                  <a:pt x="4304" y="33439"/>
                </a:lnTo>
                <a:lnTo>
                  <a:pt x="0" y="54752"/>
                </a:lnTo>
                <a:lnTo>
                  <a:pt x="0" y="209867"/>
                </a:lnTo>
                <a:lnTo>
                  <a:pt x="4304" y="231174"/>
                </a:lnTo>
                <a:lnTo>
                  <a:pt x="16040" y="248574"/>
                </a:lnTo>
                <a:lnTo>
                  <a:pt x="33444" y="260307"/>
                </a:lnTo>
                <a:lnTo>
                  <a:pt x="54752" y="264609"/>
                </a:lnTo>
                <a:lnTo>
                  <a:pt x="264609" y="264609"/>
                </a:lnTo>
                <a:lnTo>
                  <a:pt x="285922" y="260307"/>
                </a:lnTo>
                <a:lnTo>
                  <a:pt x="303325" y="248574"/>
                </a:lnTo>
                <a:lnTo>
                  <a:pt x="315059" y="231174"/>
                </a:lnTo>
                <a:lnTo>
                  <a:pt x="319362" y="209867"/>
                </a:lnTo>
                <a:lnTo>
                  <a:pt x="319362" y="54752"/>
                </a:lnTo>
                <a:lnTo>
                  <a:pt x="315059" y="33439"/>
                </a:lnTo>
                <a:lnTo>
                  <a:pt x="303325" y="16036"/>
                </a:lnTo>
                <a:lnTo>
                  <a:pt x="285922" y="4302"/>
                </a:lnTo>
                <a:lnTo>
                  <a:pt x="264609" y="0"/>
                </a:lnTo>
                <a:close/>
              </a:path>
            </a:pathLst>
          </a:custGeom>
          <a:solidFill>
            <a:srgbClr val="FFC203"/>
          </a:solidFill>
        </p:spPr>
        <p:txBody>
          <a:bodyPr wrap="square" lIns="0" tIns="0" rIns="0" bIns="0" rtlCol="0"/>
          <a:lstStyle/>
          <a:p>
            <a:endParaRPr/>
          </a:p>
        </p:txBody>
      </p:sp>
      <p:sp>
        <p:nvSpPr>
          <p:cNvPr id="24" name="object 24"/>
          <p:cNvSpPr/>
          <p:nvPr/>
        </p:nvSpPr>
        <p:spPr>
          <a:xfrm>
            <a:off x="4896667" y="3647327"/>
            <a:ext cx="145276" cy="89816"/>
          </a:xfrm>
          <a:custGeom>
            <a:avLst/>
            <a:gdLst/>
            <a:ahLst/>
            <a:cxnLst/>
            <a:rect l="l" t="t" r="r" b="b"/>
            <a:pathLst>
              <a:path w="319404" h="197484">
                <a:moveTo>
                  <a:pt x="264609" y="0"/>
                </a:moveTo>
                <a:lnTo>
                  <a:pt x="54752" y="0"/>
                </a:lnTo>
                <a:lnTo>
                  <a:pt x="33439" y="4043"/>
                </a:lnTo>
                <a:lnTo>
                  <a:pt x="16036" y="15071"/>
                </a:lnTo>
                <a:lnTo>
                  <a:pt x="4302" y="31429"/>
                </a:lnTo>
                <a:lnTo>
                  <a:pt x="0" y="51464"/>
                </a:lnTo>
                <a:lnTo>
                  <a:pt x="0" y="145807"/>
                </a:lnTo>
                <a:lnTo>
                  <a:pt x="4302" y="165835"/>
                </a:lnTo>
                <a:lnTo>
                  <a:pt x="16036" y="182190"/>
                </a:lnTo>
                <a:lnTo>
                  <a:pt x="33439" y="193217"/>
                </a:lnTo>
                <a:lnTo>
                  <a:pt x="54752" y="197261"/>
                </a:lnTo>
                <a:lnTo>
                  <a:pt x="264609" y="197261"/>
                </a:lnTo>
                <a:lnTo>
                  <a:pt x="285916" y="193217"/>
                </a:lnTo>
                <a:lnTo>
                  <a:pt x="303316" y="182190"/>
                </a:lnTo>
                <a:lnTo>
                  <a:pt x="315049" y="165835"/>
                </a:lnTo>
                <a:lnTo>
                  <a:pt x="319351" y="145807"/>
                </a:lnTo>
                <a:lnTo>
                  <a:pt x="319351" y="51464"/>
                </a:lnTo>
                <a:lnTo>
                  <a:pt x="315049" y="31429"/>
                </a:lnTo>
                <a:lnTo>
                  <a:pt x="303316" y="15071"/>
                </a:lnTo>
                <a:lnTo>
                  <a:pt x="285916" y="4043"/>
                </a:lnTo>
                <a:lnTo>
                  <a:pt x="264609" y="0"/>
                </a:lnTo>
                <a:close/>
              </a:path>
            </a:pathLst>
          </a:custGeom>
          <a:solidFill>
            <a:srgbClr val="808080"/>
          </a:solidFill>
        </p:spPr>
        <p:txBody>
          <a:bodyPr wrap="square" lIns="0" tIns="0" rIns="0" bIns="0" rtlCol="0"/>
          <a:lstStyle/>
          <a:p>
            <a:endParaRPr/>
          </a:p>
        </p:txBody>
      </p:sp>
      <p:sp>
        <p:nvSpPr>
          <p:cNvPr id="25" name="object 25"/>
          <p:cNvSpPr/>
          <p:nvPr/>
        </p:nvSpPr>
        <p:spPr>
          <a:xfrm>
            <a:off x="4691239" y="3647327"/>
            <a:ext cx="145276" cy="89816"/>
          </a:xfrm>
          <a:custGeom>
            <a:avLst/>
            <a:gdLst/>
            <a:ahLst/>
            <a:cxnLst/>
            <a:rect l="l" t="t" r="r" b="b"/>
            <a:pathLst>
              <a:path w="319404" h="197484">
                <a:moveTo>
                  <a:pt x="264609" y="0"/>
                </a:moveTo>
                <a:lnTo>
                  <a:pt x="54752" y="0"/>
                </a:lnTo>
                <a:lnTo>
                  <a:pt x="33439" y="4043"/>
                </a:lnTo>
                <a:lnTo>
                  <a:pt x="16036" y="15071"/>
                </a:lnTo>
                <a:lnTo>
                  <a:pt x="4302" y="31429"/>
                </a:lnTo>
                <a:lnTo>
                  <a:pt x="0" y="51464"/>
                </a:lnTo>
                <a:lnTo>
                  <a:pt x="0" y="145807"/>
                </a:lnTo>
                <a:lnTo>
                  <a:pt x="4302" y="165835"/>
                </a:lnTo>
                <a:lnTo>
                  <a:pt x="16036" y="182190"/>
                </a:lnTo>
                <a:lnTo>
                  <a:pt x="33439" y="193217"/>
                </a:lnTo>
                <a:lnTo>
                  <a:pt x="54752" y="197261"/>
                </a:lnTo>
                <a:lnTo>
                  <a:pt x="264609" y="197261"/>
                </a:lnTo>
                <a:lnTo>
                  <a:pt x="285917" y="193217"/>
                </a:lnTo>
                <a:lnTo>
                  <a:pt x="303321" y="182190"/>
                </a:lnTo>
                <a:lnTo>
                  <a:pt x="315057" y="165835"/>
                </a:lnTo>
                <a:lnTo>
                  <a:pt x="319362" y="145807"/>
                </a:lnTo>
                <a:lnTo>
                  <a:pt x="319362" y="51464"/>
                </a:lnTo>
                <a:lnTo>
                  <a:pt x="315057" y="31429"/>
                </a:lnTo>
                <a:lnTo>
                  <a:pt x="303321" y="15071"/>
                </a:lnTo>
                <a:lnTo>
                  <a:pt x="285917" y="4043"/>
                </a:lnTo>
                <a:lnTo>
                  <a:pt x="264609" y="0"/>
                </a:lnTo>
                <a:close/>
              </a:path>
            </a:pathLst>
          </a:custGeom>
          <a:solidFill>
            <a:srgbClr val="808080"/>
          </a:solidFill>
        </p:spPr>
        <p:txBody>
          <a:bodyPr wrap="square" lIns="0" tIns="0" rIns="0" bIns="0" rtlCol="0"/>
          <a:lstStyle/>
          <a:p>
            <a:endParaRPr/>
          </a:p>
        </p:txBody>
      </p:sp>
      <p:sp>
        <p:nvSpPr>
          <p:cNvPr id="26" name="object 26"/>
          <p:cNvSpPr/>
          <p:nvPr/>
        </p:nvSpPr>
        <p:spPr>
          <a:xfrm>
            <a:off x="4485813" y="3647327"/>
            <a:ext cx="145276" cy="89816"/>
          </a:xfrm>
          <a:custGeom>
            <a:avLst/>
            <a:gdLst/>
            <a:ahLst/>
            <a:cxnLst/>
            <a:rect l="l" t="t" r="r" b="b"/>
            <a:pathLst>
              <a:path w="319404" h="197484">
                <a:moveTo>
                  <a:pt x="264609" y="0"/>
                </a:moveTo>
                <a:lnTo>
                  <a:pt x="54752" y="0"/>
                </a:lnTo>
                <a:lnTo>
                  <a:pt x="33439" y="4043"/>
                </a:lnTo>
                <a:lnTo>
                  <a:pt x="16036" y="15071"/>
                </a:lnTo>
                <a:lnTo>
                  <a:pt x="4302" y="31429"/>
                </a:lnTo>
                <a:lnTo>
                  <a:pt x="0" y="51464"/>
                </a:lnTo>
                <a:lnTo>
                  <a:pt x="0" y="145807"/>
                </a:lnTo>
                <a:lnTo>
                  <a:pt x="4302" y="165835"/>
                </a:lnTo>
                <a:lnTo>
                  <a:pt x="16036" y="182190"/>
                </a:lnTo>
                <a:lnTo>
                  <a:pt x="33439" y="193217"/>
                </a:lnTo>
                <a:lnTo>
                  <a:pt x="54752" y="197261"/>
                </a:lnTo>
                <a:lnTo>
                  <a:pt x="264609" y="197261"/>
                </a:lnTo>
                <a:lnTo>
                  <a:pt x="285922" y="193217"/>
                </a:lnTo>
                <a:lnTo>
                  <a:pt x="303325" y="182190"/>
                </a:lnTo>
                <a:lnTo>
                  <a:pt x="315059" y="165835"/>
                </a:lnTo>
                <a:lnTo>
                  <a:pt x="319362" y="145807"/>
                </a:lnTo>
                <a:lnTo>
                  <a:pt x="319362" y="51464"/>
                </a:lnTo>
                <a:lnTo>
                  <a:pt x="315059" y="31429"/>
                </a:lnTo>
                <a:lnTo>
                  <a:pt x="303325" y="15071"/>
                </a:lnTo>
                <a:lnTo>
                  <a:pt x="285922" y="4043"/>
                </a:lnTo>
                <a:lnTo>
                  <a:pt x="264609" y="0"/>
                </a:lnTo>
                <a:close/>
              </a:path>
            </a:pathLst>
          </a:custGeom>
          <a:solidFill>
            <a:srgbClr val="808080"/>
          </a:solidFill>
        </p:spPr>
        <p:txBody>
          <a:bodyPr wrap="square" lIns="0" tIns="0" rIns="0" bIns="0" rtlCol="0"/>
          <a:lstStyle/>
          <a:p>
            <a:endParaRPr/>
          </a:p>
        </p:txBody>
      </p:sp>
      <p:sp>
        <p:nvSpPr>
          <p:cNvPr id="27" name="object 27"/>
          <p:cNvSpPr/>
          <p:nvPr/>
        </p:nvSpPr>
        <p:spPr>
          <a:xfrm>
            <a:off x="4896667" y="3770199"/>
            <a:ext cx="145276" cy="89816"/>
          </a:xfrm>
          <a:custGeom>
            <a:avLst/>
            <a:gdLst/>
            <a:ahLst/>
            <a:cxnLst/>
            <a:rect l="l" t="t" r="r" b="b"/>
            <a:pathLst>
              <a:path w="319404" h="197484">
                <a:moveTo>
                  <a:pt x="264609" y="0"/>
                </a:moveTo>
                <a:lnTo>
                  <a:pt x="54752" y="0"/>
                </a:lnTo>
                <a:lnTo>
                  <a:pt x="33439" y="4043"/>
                </a:lnTo>
                <a:lnTo>
                  <a:pt x="16036" y="15071"/>
                </a:lnTo>
                <a:lnTo>
                  <a:pt x="4302" y="31429"/>
                </a:lnTo>
                <a:lnTo>
                  <a:pt x="0" y="51464"/>
                </a:lnTo>
                <a:lnTo>
                  <a:pt x="0" y="145796"/>
                </a:lnTo>
                <a:lnTo>
                  <a:pt x="4302" y="165831"/>
                </a:lnTo>
                <a:lnTo>
                  <a:pt x="16036" y="182189"/>
                </a:lnTo>
                <a:lnTo>
                  <a:pt x="33439" y="193217"/>
                </a:lnTo>
                <a:lnTo>
                  <a:pt x="54752" y="197261"/>
                </a:lnTo>
                <a:lnTo>
                  <a:pt x="264609" y="197261"/>
                </a:lnTo>
                <a:lnTo>
                  <a:pt x="285916" y="193217"/>
                </a:lnTo>
                <a:lnTo>
                  <a:pt x="303316" y="182189"/>
                </a:lnTo>
                <a:lnTo>
                  <a:pt x="315049" y="165831"/>
                </a:lnTo>
                <a:lnTo>
                  <a:pt x="319351" y="145796"/>
                </a:lnTo>
                <a:lnTo>
                  <a:pt x="319351" y="51464"/>
                </a:lnTo>
                <a:lnTo>
                  <a:pt x="315049" y="31429"/>
                </a:lnTo>
                <a:lnTo>
                  <a:pt x="303316" y="15071"/>
                </a:lnTo>
                <a:lnTo>
                  <a:pt x="285916" y="4043"/>
                </a:lnTo>
                <a:lnTo>
                  <a:pt x="264609" y="0"/>
                </a:lnTo>
                <a:close/>
              </a:path>
            </a:pathLst>
          </a:custGeom>
          <a:solidFill>
            <a:srgbClr val="808080"/>
          </a:solidFill>
        </p:spPr>
        <p:txBody>
          <a:bodyPr wrap="square" lIns="0" tIns="0" rIns="0" bIns="0" rtlCol="0"/>
          <a:lstStyle/>
          <a:p>
            <a:endParaRPr/>
          </a:p>
        </p:txBody>
      </p:sp>
      <p:sp>
        <p:nvSpPr>
          <p:cNvPr id="28" name="object 28"/>
          <p:cNvSpPr/>
          <p:nvPr/>
        </p:nvSpPr>
        <p:spPr>
          <a:xfrm>
            <a:off x="4691239" y="3770199"/>
            <a:ext cx="145276" cy="89816"/>
          </a:xfrm>
          <a:custGeom>
            <a:avLst/>
            <a:gdLst/>
            <a:ahLst/>
            <a:cxnLst/>
            <a:rect l="l" t="t" r="r" b="b"/>
            <a:pathLst>
              <a:path w="319404" h="197484">
                <a:moveTo>
                  <a:pt x="264609" y="0"/>
                </a:moveTo>
                <a:lnTo>
                  <a:pt x="54752" y="0"/>
                </a:lnTo>
                <a:lnTo>
                  <a:pt x="33439" y="4043"/>
                </a:lnTo>
                <a:lnTo>
                  <a:pt x="16036" y="15071"/>
                </a:lnTo>
                <a:lnTo>
                  <a:pt x="4302" y="31429"/>
                </a:lnTo>
                <a:lnTo>
                  <a:pt x="0" y="51464"/>
                </a:lnTo>
                <a:lnTo>
                  <a:pt x="0" y="145796"/>
                </a:lnTo>
                <a:lnTo>
                  <a:pt x="4302" y="165831"/>
                </a:lnTo>
                <a:lnTo>
                  <a:pt x="16036" y="182189"/>
                </a:lnTo>
                <a:lnTo>
                  <a:pt x="33439" y="193217"/>
                </a:lnTo>
                <a:lnTo>
                  <a:pt x="54752" y="197261"/>
                </a:lnTo>
                <a:lnTo>
                  <a:pt x="264609" y="197261"/>
                </a:lnTo>
                <a:lnTo>
                  <a:pt x="285917" y="193217"/>
                </a:lnTo>
                <a:lnTo>
                  <a:pt x="303321" y="182189"/>
                </a:lnTo>
                <a:lnTo>
                  <a:pt x="315057" y="165831"/>
                </a:lnTo>
                <a:lnTo>
                  <a:pt x="319362" y="145796"/>
                </a:lnTo>
                <a:lnTo>
                  <a:pt x="319362" y="51464"/>
                </a:lnTo>
                <a:lnTo>
                  <a:pt x="315057" y="31429"/>
                </a:lnTo>
                <a:lnTo>
                  <a:pt x="303321" y="15071"/>
                </a:lnTo>
                <a:lnTo>
                  <a:pt x="285917" y="4043"/>
                </a:lnTo>
                <a:lnTo>
                  <a:pt x="264609" y="0"/>
                </a:lnTo>
                <a:close/>
              </a:path>
            </a:pathLst>
          </a:custGeom>
          <a:solidFill>
            <a:srgbClr val="808080"/>
          </a:solidFill>
        </p:spPr>
        <p:txBody>
          <a:bodyPr wrap="square" lIns="0" tIns="0" rIns="0" bIns="0" rtlCol="0"/>
          <a:lstStyle/>
          <a:p>
            <a:endParaRPr/>
          </a:p>
        </p:txBody>
      </p:sp>
      <p:sp>
        <p:nvSpPr>
          <p:cNvPr id="29" name="object 29"/>
          <p:cNvSpPr/>
          <p:nvPr/>
        </p:nvSpPr>
        <p:spPr>
          <a:xfrm>
            <a:off x="4485813" y="3770199"/>
            <a:ext cx="145276" cy="89816"/>
          </a:xfrm>
          <a:custGeom>
            <a:avLst/>
            <a:gdLst/>
            <a:ahLst/>
            <a:cxnLst/>
            <a:rect l="l" t="t" r="r" b="b"/>
            <a:pathLst>
              <a:path w="319404" h="197484">
                <a:moveTo>
                  <a:pt x="264609" y="0"/>
                </a:moveTo>
                <a:lnTo>
                  <a:pt x="54752" y="0"/>
                </a:lnTo>
                <a:lnTo>
                  <a:pt x="33439" y="4043"/>
                </a:lnTo>
                <a:lnTo>
                  <a:pt x="16036" y="15071"/>
                </a:lnTo>
                <a:lnTo>
                  <a:pt x="4302" y="31429"/>
                </a:lnTo>
                <a:lnTo>
                  <a:pt x="0" y="51464"/>
                </a:lnTo>
                <a:lnTo>
                  <a:pt x="0" y="145796"/>
                </a:lnTo>
                <a:lnTo>
                  <a:pt x="4302" y="165831"/>
                </a:lnTo>
                <a:lnTo>
                  <a:pt x="16036" y="182189"/>
                </a:lnTo>
                <a:lnTo>
                  <a:pt x="33439" y="193217"/>
                </a:lnTo>
                <a:lnTo>
                  <a:pt x="54752" y="197261"/>
                </a:lnTo>
                <a:lnTo>
                  <a:pt x="264609" y="197261"/>
                </a:lnTo>
                <a:lnTo>
                  <a:pt x="285922" y="193217"/>
                </a:lnTo>
                <a:lnTo>
                  <a:pt x="303325" y="182189"/>
                </a:lnTo>
                <a:lnTo>
                  <a:pt x="315059" y="165831"/>
                </a:lnTo>
                <a:lnTo>
                  <a:pt x="319362" y="145796"/>
                </a:lnTo>
                <a:lnTo>
                  <a:pt x="319362" y="51464"/>
                </a:lnTo>
                <a:lnTo>
                  <a:pt x="315059" y="31429"/>
                </a:lnTo>
                <a:lnTo>
                  <a:pt x="303325" y="15071"/>
                </a:lnTo>
                <a:lnTo>
                  <a:pt x="285922" y="4043"/>
                </a:lnTo>
                <a:lnTo>
                  <a:pt x="264609" y="0"/>
                </a:lnTo>
                <a:close/>
              </a:path>
            </a:pathLst>
          </a:custGeom>
          <a:solidFill>
            <a:srgbClr val="808080"/>
          </a:solidFill>
        </p:spPr>
        <p:txBody>
          <a:bodyPr wrap="square" lIns="0" tIns="0" rIns="0" bIns="0" rtlCol="0"/>
          <a:lstStyle/>
          <a:p>
            <a:endParaRPr/>
          </a:p>
        </p:txBody>
      </p:sp>
      <p:sp>
        <p:nvSpPr>
          <p:cNvPr id="30" name="object 30"/>
          <p:cNvSpPr/>
          <p:nvPr/>
        </p:nvSpPr>
        <p:spPr>
          <a:xfrm>
            <a:off x="4896667" y="3893069"/>
            <a:ext cx="145276" cy="89816"/>
          </a:xfrm>
          <a:custGeom>
            <a:avLst/>
            <a:gdLst/>
            <a:ahLst/>
            <a:cxnLst/>
            <a:rect l="l" t="t" r="r" b="b"/>
            <a:pathLst>
              <a:path w="319404" h="197484">
                <a:moveTo>
                  <a:pt x="264609" y="0"/>
                </a:moveTo>
                <a:lnTo>
                  <a:pt x="54752" y="0"/>
                </a:lnTo>
                <a:lnTo>
                  <a:pt x="33439" y="4043"/>
                </a:lnTo>
                <a:lnTo>
                  <a:pt x="16036" y="15071"/>
                </a:lnTo>
                <a:lnTo>
                  <a:pt x="4302" y="31429"/>
                </a:lnTo>
                <a:lnTo>
                  <a:pt x="0" y="51464"/>
                </a:lnTo>
                <a:lnTo>
                  <a:pt x="0" y="145807"/>
                </a:lnTo>
                <a:lnTo>
                  <a:pt x="4302" y="165835"/>
                </a:lnTo>
                <a:lnTo>
                  <a:pt x="16036" y="182190"/>
                </a:lnTo>
                <a:lnTo>
                  <a:pt x="33439" y="193217"/>
                </a:lnTo>
                <a:lnTo>
                  <a:pt x="54752" y="197261"/>
                </a:lnTo>
                <a:lnTo>
                  <a:pt x="264609" y="197261"/>
                </a:lnTo>
                <a:lnTo>
                  <a:pt x="285916" y="193217"/>
                </a:lnTo>
                <a:lnTo>
                  <a:pt x="303316" y="182190"/>
                </a:lnTo>
                <a:lnTo>
                  <a:pt x="315049" y="165835"/>
                </a:lnTo>
                <a:lnTo>
                  <a:pt x="319351" y="145807"/>
                </a:lnTo>
                <a:lnTo>
                  <a:pt x="319351" y="51464"/>
                </a:lnTo>
                <a:lnTo>
                  <a:pt x="315049" y="31429"/>
                </a:lnTo>
                <a:lnTo>
                  <a:pt x="303316" y="15071"/>
                </a:lnTo>
                <a:lnTo>
                  <a:pt x="285916" y="4043"/>
                </a:lnTo>
                <a:lnTo>
                  <a:pt x="264609" y="0"/>
                </a:lnTo>
                <a:close/>
              </a:path>
            </a:pathLst>
          </a:custGeom>
          <a:solidFill>
            <a:srgbClr val="808080"/>
          </a:solidFill>
        </p:spPr>
        <p:txBody>
          <a:bodyPr wrap="square" lIns="0" tIns="0" rIns="0" bIns="0" rtlCol="0"/>
          <a:lstStyle/>
          <a:p>
            <a:endParaRPr/>
          </a:p>
        </p:txBody>
      </p:sp>
      <p:sp>
        <p:nvSpPr>
          <p:cNvPr id="31" name="object 31"/>
          <p:cNvSpPr/>
          <p:nvPr/>
        </p:nvSpPr>
        <p:spPr>
          <a:xfrm>
            <a:off x="4691239" y="3893069"/>
            <a:ext cx="145276" cy="89816"/>
          </a:xfrm>
          <a:custGeom>
            <a:avLst/>
            <a:gdLst/>
            <a:ahLst/>
            <a:cxnLst/>
            <a:rect l="l" t="t" r="r" b="b"/>
            <a:pathLst>
              <a:path w="319404" h="197484">
                <a:moveTo>
                  <a:pt x="264609" y="0"/>
                </a:moveTo>
                <a:lnTo>
                  <a:pt x="54752" y="0"/>
                </a:lnTo>
                <a:lnTo>
                  <a:pt x="33439" y="4043"/>
                </a:lnTo>
                <a:lnTo>
                  <a:pt x="16036" y="15071"/>
                </a:lnTo>
                <a:lnTo>
                  <a:pt x="4302" y="31429"/>
                </a:lnTo>
                <a:lnTo>
                  <a:pt x="0" y="51464"/>
                </a:lnTo>
                <a:lnTo>
                  <a:pt x="0" y="145807"/>
                </a:lnTo>
                <a:lnTo>
                  <a:pt x="4302" y="165835"/>
                </a:lnTo>
                <a:lnTo>
                  <a:pt x="16036" y="182190"/>
                </a:lnTo>
                <a:lnTo>
                  <a:pt x="33439" y="193217"/>
                </a:lnTo>
                <a:lnTo>
                  <a:pt x="54752" y="197261"/>
                </a:lnTo>
                <a:lnTo>
                  <a:pt x="264609" y="197261"/>
                </a:lnTo>
                <a:lnTo>
                  <a:pt x="285917" y="193217"/>
                </a:lnTo>
                <a:lnTo>
                  <a:pt x="303321" y="182190"/>
                </a:lnTo>
                <a:lnTo>
                  <a:pt x="315057" y="165835"/>
                </a:lnTo>
                <a:lnTo>
                  <a:pt x="319362" y="145807"/>
                </a:lnTo>
                <a:lnTo>
                  <a:pt x="319362" y="51464"/>
                </a:lnTo>
                <a:lnTo>
                  <a:pt x="315057" y="31429"/>
                </a:lnTo>
                <a:lnTo>
                  <a:pt x="303321" y="15071"/>
                </a:lnTo>
                <a:lnTo>
                  <a:pt x="285917" y="4043"/>
                </a:lnTo>
                <a:lnTo>
                  <a:pt x="264609" y="0"/>
                </a:lnTo>
                <a:close/>
              </a:path>
            </a:pathLst>
          </a:custGeom>
          <a:solidFill>
            <a:srgbClr val="808080"/>
          </a:solidFill>
        </p:spPr>
        <p:txBody>
          <a:bodyPr wrap="square" lIns="0" tIns="0" rIns="0" bIns="0" rtlCol="0"/>
          <a:lstStyle/>
          <a:p>
            <a:endParaRPr/>
          </a:p>
        </p:txBody>
      </p:sp>
      <p:sp>
        <p:nvSpPr>
          <p:cNvPr id="32" name="object 32"/>
          <p:cNvSpPr/>
          <p:nvPr/>
        </p:nvSpPr>
        <p:spPr>
          <a:xfrm>
            <a:off x="4485813" y="3893069"/>
            <a:ext cx="145276" cy="89816"/>
          </a:xfrm>
          <a:custGeom>
            <a:avLst/>
            <a:gdLst/>
            <a:ahLst/>
            <a:cxnLst/>
            <a:rect l="l" t="t" r="r" b="b"/>
            <a:pathLst>
              <a:path w="319404" h="197484">
                <a:moveTo>
                  <a:pt x="264609" y="0"/>
                </a:moveTo>
                <a:lnTo>
                  <a:pt x="54752" y="0"/>
                </a:lnTo>
                <a:lnTo>
                  <a:pt x="33439" y="4043"/>
                </a:lnTo>
                <a:lnTo>
                  <a:pt x="16036" y="15071"/>
                </a:lnTo>
                <a:lnTo>
                  <a:pt x="4302" y="31429"/>
                </a:lnTo>
                <a:lnTo>
                  <a:pt x="0" y="51464"/>
                </a:lnTo>
                <a:lnTo>
                  <a:pt x="0" y="145807"/>
                </a:lnTo>
                <a:lnTo>
                  <a:pt x="4302" y="165835"/>
                </a:lnTo>
                <a:lnTo>
                  <a:pt x="16036" y="182190"/>
                </a:lnTo>
                <a:lnTo>
                  <a:pt x="33439" y="193217"/>
                </a:lnTo>
                <a:lnTo>
                  <a:pt x="54752" y="197261"/>
                </a:lnTo>
                <a:lnTo>
                  <a:pt x="264609" y="197261"/>
                </a:lnTo>
                <a:lnTo>
                  <a:pt x="285922" y="193217"/>
                </a:lnTo>
                <a:lnTo>
                  <a:pt x="303325" y="182190"/>
                </a:lnTo>
                <a:lnTo>
                  <a:pt x="315059" y="165835"/>
                </a:lnTo>
                <a:lnTo>
                  <a:pt x="319362" y="145807"/>
                </a:lnTo>
                <a:lnTo>
                  <a:pt x="319362" y="51464"/>
                </a:lnTo>
                <a:lnTo>
                  <a:pt x="315059" y="31429"/>
                </a:lnTo>
                <a:lnTo>
                  <a:pt x="303325" y="15071"/>
                </a:lnTo>
                <a:lnTo>
                  <a:pt x="285922" y="4043"/>
                </a:lnTo>
                <a:lnTo>
                  <a:pt x="264609" y="0"/>
                </a:lnTo>
                <a:close/>
              </a:path>
            </a:pathLst>
          </a:custGeom>
          <a:solidFill>
            <a:srgbClr val="808080"/>
          </a:solidFill>
        </p:spPr>
        <p:txBody>
          <a:bodyPr wrap="square" lIns="0" tIns="0" rIns="0" bIns="0" rtlCol="0"/>
          <a:lstStyle/>
          <a:p>
            <a:endParaRPr/>
          </a:p>
        </p:txBody>
      </p:sp>
      <p:sp>
        <p:nvSpPr>
          <p:cNvPr id="33" name="object 33"/>
          <p:cNvSpPr/>
          <p:nvPr/>
        </p:nvSpPr>
        <p:spPr>
          <a:xfrm>
            <a:off x="4896667" y="4015939"/>
            <a:ext cx="145276" cy="89816"/>
          </a:xfrm>
          <a:custGeom>
            <a:avLst/>
            <a:gdLst/>
            <a:ahLst/>
            <a:cxnLst/>
            <a:rect l="l" t="t" r="r" b="b"/>
            <a:pathLst>
              <a:path w="319404" h="197484">
                <a:moveTo>
                  <a:pt x="264609" y="0"/>
                </a:moveTo>
                <a:lnTo>
                  <a:pt x="54752" y="0"/>
                </a:lnTo>
                <a:lnTo>
                  <a:pt x="33439" y="4045"/>
                </a:lnTo>
                <a:lnTo>
                  <a:pt x="16036" y="15075"/>
                </a:lnTo>
                <a:lnTo>
                  <a:pt x="4302" y="31434"/>
                </a:lnTo>
                <a:lnTo>
                  <a:pt x="0" y="51464"/>
                </a:lnTo>
                <a:lnTo>
                  <a:pt x="0" y="145807"/>
                </a:lnTo>
                <a:lnTo>
                  <a:pt x="4302" y="165835"/>
                </a:lnTo>
                <a:lnTo>
                  <a:pt x="16036" y="182190"/>
                </a:lnTo>
                <a:lnTo>
                  <a:pt x="33439" y="193217"/>
                </a:lnTo>
                <a:lnTo>
                  <a:pt x="54752" y="197261"/>
                </a:lnTo>
                <a:lnTo>
                  <a:pt x="264609" y="197261"/>
                </a:lnTo>
                <a:lnTo>
                  <a:pt x="285916" y="193217"/>
                </a:lnTo>
                <a:lnTo>
                  <a:pt x="303316" y="182190"/>
                </a:lnTo>
                <a:lnTo>
                  <a:pt x="315049" y="165835"/>
                </a:lnTo>
                <a:lnTo>
                  <a:pt x="319351" y="145807"/>
                </a:lnTo>
                <a:lnTo>
                  <a:pt x="319351" y="51464"/>
                </a:lnTo>
                <a:lnTo>
                  <a:pt x="315049" y="31434"/>
                </a:lnTo>
                <a:lnTo>
                  <a:pt x="303316" y="15075"/>
                </a:lnTo>
                <a:lnTo>
                  <a:pt x="285916" y="4045"/>
                </a:lnTo>
                <a:lnTo>
                  <a:pt x="264609" y="0"/>
                </a:lnTo>
                <a:close/>
              </a:path>
            </a:pathLst>
          </a:custGeom>
          <a:solidFill>
            <a:srgbClr val="808080"/>
          </a:solidFill>
        </p:spPr>
        <p:txBody>
          <a:bodyPr wrap="square" lIns="0" tIns="0" rIns="0" bIns="0" rtlCol="0"/>
          <a:lstStyle/>
          <a:p>
            <a:endParaRPr/>
          </a:p>
        </p:txBody>
      </p:sp>
      <p:sp>
        <p:nvSpPr>
          <p:cNvPr id="34" name="object 34"/>
          <p:cNvSpPr/>
          <p:nvPr/>
        </p:nvSpPr>
        <p:spPr>
          <a:xfrm>
            <a:off x="4691239" y="4015939"/>
            <a:ext cx="145276" cy="89816"/>
          </a:xfrm>
          <a:custGeom>
            <a:avLst/>
            <a:gdLst/>
            <a:ahLst/>
            <a:cxnLst/>
            <a:rect l="l" t="t" r="r" b="b"/>
            <a:pathLst>
              <a:path w="319404" h="197484">
                <a:moveTo>
                  <a:pt x="264609" y="0"/>
                </a:moveTo>
                <a:lnTo>
                  <a:pt x="54752" y="0"/>
                </a:lnTo>
                <a:lnTo>
                  <a:pt x="33439" y="4045"/>
                </a:lnTo>
                <a:lnTo>
                  <a:pt x="16036" y="15075"/>
                </a:lnTo>
                <a:lnTo>
                  <a:pt x="4302" y="31434"/>
                </a:lnTo>
                <a:lnTo>
                  <a:pt x="0" y="51464"/>
                </a:lnTo>
                <a:lnTo>
                  <a:pt x="0" y="145807"/>
                </a:lnTo>
                <a:lnTo>
                  <a:pt x="4302" y="165835"/>
                </a:lnTo>
                <a:lnTo>
                  <a:pt x="16036" y="182190"/>
                </a:lnTo>
                <a:lnTo>
                  <a:pt x="33439" y="193217"/>
                </a:lnTo>
                <a:lnTo>
                  <a:pt x="54752" y="197261"/>
                </a:lnTo>
                <a:lnTo>
                  <a:pt x="264609" y="197261"/>
                </a:lnTo>
                <a:lnTo>
                  <a:pt x="285917" y="193217"/>
                </a:lnTo>
                <a:lnTo>
                  <a:pt x="303321" y="182190"/>
                </a:lnTo>
                <a:lnTo>
                  <a:pt x="315057" y="165835"/>
                </a:lnTo>
                <a:lnTo>
                  <a:pt x="319362" y="145807"/>
                </a:lnTo>
                <a:lnTo>
                  <a:pt x="319362" y="51464"/>
                </a:lnTo>
                <a:lnTo>
                  <a:pt x="315057" y="31434"/>
                </a:lnTo>
                <a:lnTo>
                  <a:pt x="303321" y="15075"/>
                </a:lnTo>
                <a:lnTo>
                  <a:pt x="285917" y="4045"/>
                </a:lnTo>
                <a:lnTo>
                  <a:pt x="264609" y="0"/>
                </a:lnTo>
                <a:close/>
              </a:path>
            </a:pathLst>
          </a:custGeom>
          <a:solidFill>
            <a:srgbClr val="808080"/>
          </a:solidFill>
        </p:spPr>
        <p:txBody>
          <a:bodyPr wrap="square" lIns="0" tIns="0" rIns="0" bIns="0" rtlCol="0"/>
          <a:lstStyle/>
          <a:p>
            <a:endParaRPr/>
          </a:p>
        </p:txBody>
      </p:sp>
      <p:sp>
        <p:nvSpPr>
          <p:cNvPr id="35" name="object 35"/>
          <p:cNvSpPr/>
          <p:nvPr/>
        </p:nvSpPr>
        <p:spPr>
          <a:xfrm>
            <a:off x="4485813" y="4015939"/>
            <a:ext cx="145276" cy="89816"/>
          </a:xfrm>
          <a:custGeom>
            <a:avLst/>
            <a:gdLst/>
            <a:ahLst/>
            <a:cxnLst/>
            <a:rect l="l" t="t" r="r" b="b"/>
            <a:pathLst>
              <a:path w="319404" h="197484">
                <a:moveTo>
                  <a:pt x="264609" y="0"/>
                </a:moveTo>
                <a:lnTo>
                  <a:pt x="54752" y="0"/>
                </a:lnTo>
                <a:lnTo>
                  <a:pt x="33439" y="4045"/>
                </a:lnTo>
                <a:lnTo>
                  <a:pt x="16036" y="15075"/>
                </a:lnTo>
                <a:lnTo>
                  <a:pt x="4302" y="31434"/>
                </a:lnTo>
                <a:lnTo>
                  <a:pt x="0" y="51464"/>
                </a:lnTo>
                <a:lnTo>
                  <a:pt x="0" y="145807"/>
                </a:lnTo>
                <a:lnTo>
                  <a:pt x="4302" y="165835"/>
                </a:lnTo>
                <a:lnTo>
                  <a:pt x="16036" y="182190"/>
                </a:lnTo>
                <a:lnTo>
                  <a:pt x="33439" y="193217"/>
                </a:lnTo>
                <a:lnTo>
                  <a:pt x="54752" y="197261"/>
                </a:lnTo>
                <a:lnTo>
                  <a:pt x="264609" y="197261"/>
                </a:lnTo>
                <a:lnTo>
                  <a:pt x="285922" y="193217"/>
                </a:lnTo>
                <a:lnTo>
                  <a:pt x="303325" y="182190"/>
                </a:lnTo>
                <a:lnTo>
                  <a:pt x="315059" y="165835"/>
                </a:lnTo>
                <a:lnTo>
                  <a:pt x="319362" y="145807"/>
                </a:lnTo>
                <a:lnTo>
                  <a:pt x="319362" y="51464"/>
                </a:lnTo>
                <a:lnTo>
                  <a:pt x="315059" y="31434"/>
                </a:lnTo>
                <a:lnTo>
                  <a:pt x="303325" y="15075"/>
                </a:lnTo>
                <a:lnTo>
                  <a:pt x="285922" y="4045"/>
                </a:lnTo>
                <a:lnTo>
                  <a:pt x="264609" y="0"/>
                </a:lnTo>
                <a:close/>
              </a:path>
            </a:pathLst>
          </a:custGeom>
          <a:solidFill>
            <a:srgbClr val="808080"/>
          </a:solidFill>
        </p:spPr>
        <p:txBody>
          <a:bodyPr wrap="square" lIns="0" tIns="0" rIns="0" bIns="0" rtlCol="0"/>
          <a:lstStyle/>
          <a:p>
            <a:endParaRPr/>
          </a:p>
        </p:txBody>
      </p:sp>
      <p:sp>
        <p:nvSpPr>
          <p:cNvPr id="36" name="object 36"/>
          <p:cNvSpPr/>
          <p:nvPr/>
        </p:nvSpPr>
        <p:spPr>
          <a:xfrm>
            <a:off x="4444314" y="2910637"/>
            <a:ext cx="635112" cy="0"/>
          </a:xfrm>
          <a:custGeom>
            <a:avLst/>
            <a:gdLst/>
            <a:ahLst/>
            <a:cxnLst/>
            <a:rect l="l" t="t" r="r" b="b"/>
            <a:pathLst>
              <a:path w="1396365">
                <a:moveTo>
                  <a:pt x="0" y="0"/>
                </a:moveTo>
                <a:lnTo>
                  <a:pt x="1396020" y="0"/>
                </a:lnTo>
              </a:path>
            </a:pathLst>
          </a:custGeom>
          <a:ln w="47904">
            <a:solidFill>
              <a:srgbClr val="0A1F27"/>
            </a:solidFill>
          </a:ln>
        </p:spPr>
        <p:txBody>
          <a:bodyPr wrap="square" lIns="0" tIns="0" rIns="0" bIns="0" rtlCol="0"/>
          <a:lstStyle/>
          <a:p>
            <a:endParaRPr/>
          </a:p>
        </p:txBody>
      </p:sp>
      <p:sp>
        <p:nvSpPr>
          <p:cNvPr id="37" name="object 37"/>
          <p:cNvSpPr/>
          <p:nvPr/>
        </p:nvSpPr>
        <p:spPr>
          <a:xfrm>
            <a:off x="4462993" y="2445868"/>
            <a:ext cx="789053" cy="464965"/>
          </a:xfrm>
          <a:custGeom>
            <a:avLst/>
            <a:gdLst/>
            <a:ahLst/>
            <a:cxnLst/>
            <a:rect l="l" t="t" r="r" b="b"/>
            <a:pathLst>
              <a:path w="1734820" h="1022350">
                <a:moveTo>
                  <a:pt x="1734753" y="0"/>
                </a:moveTo>
                <a:lnTo>
                  <a:pt x="410584" y="0"/>
                </a:lnTo>
                <a:lnTo>
                  <a:pt x="362701" y="2762"/>
                </a:lnTo>
                <a:lnTo>
                  <a:pt x="316441" y="10843"/>
                </a:lnTo>
                <a:lnTo>
                  <a:pt x="272111" y="23936"/>
                </a:lnTo>
                <a:lnTo>
                  <a:pt x="230020" y="41732"/>
                </a:lnTo>
                <a:lnTo>
                  <a:pt x="190475" y="63924"/>
                </a:lnTo>
                <a:lnTo>
                  <a:pt x="153785" y="90202"/>
                </a:lnTo>
                <a:lnTo>
                  <a:pt x="120258" y="120259"/>
                </a:lnTo>
                <a:lnTo>
                  <a:pt x="90201" y="153787"/>
                </a:lnTo>
                <a:lnTo>
                  <a:pt x="63923" y="190478"/>
                </a:lnTo>
                <a:lnTo>
                  <a:pt x="41732" y="230024"/>
                </a:lnTo>
                <a:lnTo>
                  <a:pt x="23936" y="272117"/>
                </a:lnTo>
                <a:lnTo>
                  <a:pt x="10843" y="316448"/>
                </a:lnTo>
                <a:lnTo>
                  <a:pt x="2762" y="362710"/>
                </a:lnTo>
                <a:lnTo>
                  <a:pt x="0" y="410594"/>
                </a:lnTo>
                <a:lnTo>
                  <a:pt x="0" y="1021926"/>
                </a:lnTo>
                <a:lnTo>
                  <a:pt x="1324158" y="1021926"/>
                </a:lnTo>
                <a:lnTo>
                  <a:pt x="1324158" y="410594"/>
                </a:lnTo>
                <a:lnTo>
                  <a:pt x="1326920" y="362710"/>
                </a:lnTo>
                <a:lnTo>
                  <a:pt x="1335002" y="316448"/>
                </a:lnTo>
                <a:lnTo>
                  <a:pt x="1348095" y="272117"/>
                </a:lnTo>
                <a:lnTo>
                  <a:pt x="1365891" y="230024"/>
                </a:lnTo>
                <a:lnTo>
                  <a:pt x="1388082" y="190478"/>
                </a:lnTo>
                <a:lnTo>
                  <a:pt x="1414360" y="153787"/>
                </a:lnTo>
                <a:lnTo>
                  <a:pt x="1444418" y="120259"/>
                </a:lnTo>
                <a:lnTo>
                  <a:pt x="1477946" y="90202"/>
                </a:lnTo>
                <a:lnTo>
                  <a:pt x="1514637" y="63924"/>
                </a:lnTo>
                <a:lnTo>
                  <a:pt x="1554183" y="41732"/>
                </a:lnTo>
                <a:lnTo>
                  <a:pt x="1596275" y="23936"/>
                </a:lnTo>
                <a:lnTo>
                  <a:pt x="1640606" y="10843"/>
                </a:lnTo>
                <a:lnTo>
                  <a:pt x="1686868" y="2762"/>
                </a:lnTo>
                <a:lnTo>
                  <a:pt x="1734753" y="0"/>
                </a:lnTo>
                <a:close/>
              </a:path>
            </a:pathLst>
          </a:custGeom>
          <a:solidFill>
            <a:srgbClr val="E6E6E6"/>
          </a:solidFill>
        </p:spPr>
        <p:txBody>
          <a:bodyPr wrap="square" lIns="0" tIns="0" rIns="0" bIns="0" rtlCol="0"/>
          <a:lstStyle/>
          <a:p>
            <a:endParaRPr/>
          </a:p>
        </p:txBody>
      </p:sp>
      <p:sp>
        <p:nvSpPr>
          <p:cNvPr id="38" name="object 38"/>
          <p:cNvSpPr txBox="1"/>
          <p:nvPr/>
        </p:nvSpPr>
        <p:spPr>
          <a:xfrm>
            <a:off x="4803770" y="2684283"/>
            <a:ext cx="202461" cy="134869"/>
          </a:xfrm>
          <a:prstGeom prst="rect">
            <a:avLst/>
          </a:prstGeom>
        </p:spPr>
        <p:txBody>
          <a:bodyPr vert="horz" wrap="square" lIns="0" tIns="7220" rIns="0" bIns="0" rtlCol="0">
            <a:spAutoFit/>
          </a:bodyPr>
          <a:lstStyle/>
          <a:p>
            <a:pPr marL="5776">
              <a:spcBef>
                <a:spcPts val="57"/>
              </a:spcBef>
            </a:pPr>
            <a:r>
              <a:rPr sz="800" b="1" spc="5" dirty="0">
                <a:solidFill>
                  <a:srgbClr val="B7B6B6"/>
                </a:solidFill>
                <a:latin typeface="Helvetica"/>
                <a:cs typeface="Helvetica"/>
              </a:rPr>
              <a:t>20€</a:t>
            </a:r>
            <a:endParaRPr sz="800">
              <a:latin typeface="Helvetica"/>
              <a:cs typeface="Helvetica"/>
            </a:endParaRPr>
          </a:p>
        </p:txBody>
      </p:sp>
      <p:sp>
        <p:nvSpPr>
          <p:cNvPr id="39" name="object 39"/>
          <p:cNvSpPr/>
          <p:nvPr/>
        </p:nvSpPr>
        <p:spPr>
          <a:xfrm>
            <a:off x="4497624" y="2632741"/>
            <a:ext cx="529693" cy="0"/>
          </a:xfrm>
          <a:custGeom>
            <a:avLst/>
            <a:gdLst/>
            <a:ahLst/>
            <a:cxnLst/>
            <a:rect l="l" t="t" r="r" b="b"/>
            <a:pathLst>
              <a:path w="1164590">
                <a:moveTo>
                  <a:pt x="0" y="0"/>
                </a:moveTo>
                <a:lnTo>
                  <a:pt x="1163995" y="0"/>
                </a:lnTo>
              </a:path>
            </a:pathLst>
          </a:custGeom>
          <a:ln w="39590">
            <a:solidFill>
              <a:srgbClr val="B7B6B6"/>
            </a:solidFill>
          </a:ln>
        </p:spPr>
        <p:txBody>
          <a:bodyPr wrap="square" lIns="0" tIns="0" rIns="0" bIns="0" rtlCol="0"/>
          <a:lstStyle/>
          <a:p>
            <a:endParaRPr/>
          </a:p>
        </p:txBody>
      </p:sp>
      <p:sp>
        <p:nvSpPr>
          <p:cNvPr id="40" name="object 40"/>
          <p:cNvSpPr/>
          <p:nvPr/>
        </p:nvSpPr>
        <p:spPr>
          <a:xfrm>
            <a:off x="4497624" y="2675958"/>
            <a:ext cx="529693" cy="0"/>
          </a:xfrm>
          <a:custGeom>
            <a:avLst/>
            <a:gdLst/>
            <a:ahLst/>
            <a:cxnLst/>
            <a:rect l="l" t="t" r="r" b="b"/>
            <a:pathLst>
              <a:path w="1164590">
                <a:moveTo>
                  <a:pt x="0" y="0"/>
                </a:moveTo>
                <a:lnTo>
                  <a:pt x="1163995" y="0"/>
                </a:lnTo>
              </a:path>
            </a:pathLst>
          </a:custGeom>
          <a:ln w="39590">
            <a:solidFill>
              <a:srgbClr val="B7B6B6"/>
            </a:solidFill>
          </a:ln>
        </p:spPr>
        <p:txBody>
          <a:bodyPr wrap="square" lIns="0" tIns="0" rIns="0" bIns="0" rtlCol="0"/>
          <a:lstStyle/>
          <a:p>
            <a:endParaRPr/>
          </a:p>
        </p:txBody>
      </p:sp>
      <p:sp>
        <p:nvSpPr>
          <p:cNvPr id="41" name="object 41"/>
          <p:cNvSpPr/>
          <p:nvPr/>
        </p:nvSpPr>
        <p:spPr>
          <a:xfrm>
            <a:off x="4595995" y="2460773"/>
            <a:ext cx="566951" cy="0"/>
          </a:xfrm>
          <a:custGeom>
            <a:avLst/>
            <a:gdLst/>
            <a:ahLst/>
            <a:cxnLst/>
            <a:rect l="l" t="t" r="r" b="b"/>
            <a:pathLst>
              <a:path w="1246504">
                <a:moveTo>
                  <a:pt x="0" y="0"/>
                </a:moveTo>
                <a:lnTo>
                  <a:pt x="1246066" y="0"/>
                </a:lnTo>
              </a:path>
            </a:pathLst>
          </a:custGeom>
          <a:ln w="24784">
            <a:solidFill>
              <a:srgbClr val="B7B6B6"/>
            </a:solidFill>
          </a:ln>
        </p:spPr>
        <p:txBody>
          <a:bodyPr wrap="square" lIns="0" tIns="0" rIns="0" bIns="0" rtlCol="0"/>
          <a:lstStyle/>
          <a:p>
            <a:endParaRPr/>
          </a:p>
        </p:txBody>
      </p:sp>
      <p:sp>
        <p:nvSpPr>
          <p:cNvPr id="42" name="object 42"/>
          <p:cNvSpPr/>
          <p:nvPr/>
        </p:nvSpPr>
        <p:spPr>
          <a:xfrm>
            <a:off x="4554125" y="2484969"/>
            <a:ext cx="557998" cy="0"/>
          </a:xfrm>
          <a:custGeom>
            <a:avLst/>
            <a:gdLst/>
            <a:ahLst/>
            <a:cxnLst/>
            <a:rect l="l" t="t" r="r" b="b"/>
            <a:pathLst>
              <a:path w="1226820">
                <a:moveTo>
                  <a:pt x="0" y="0"/>
                </a:moveTo>
                <a:lnTo>
                  <a:pt x="1226643" y="0"/>
                </a:lnTo>
              </a:path>
            </a:pathLst>
          </a:custGeom>
          <a:ln w="34187">
            <a:solidFill>
              <a:srgbClr val="B7B6B6"/>
            </a:solidFill>
          </a:ln>
        </p:spPr>
        <p:txBody>
          <a:bodyPr wrap="square" lIns="0" tIns="0" rIns="0" bIns="0" rtlCol="0"/>
          <a:lstStyle/>
          <a:p>
            <a:endParaRPr/>
          </a:p>
        </p:txBody>
      </p:sp>
      <p:sp>
        <p:nvSpPr>
          <p:cNvPr id="43" name="object 43"/>
          <p:cNvSpPr/>
          <p:nvPr/>
        </p:nvSpPr>
        <p:spPr>
          <a:xfrm>
            <a:off x="4507882" y="2565876"/>
            <a:ext cx="529693" cy="0"/>
          </a:xfrm>
          <a:custGeom>
            <a:avLst/>
            <a:gdLst/>
            <a:ahLst/>
            <a:cxnLst/>
            <a:rect l="l" t="t" r="r" b="b"/>
            <a:pathLst>
              <a:path w="1164590">
                <a:moveTo>
                  <a:pt x="0" y="0"/>
                </a:moveTo>
                <a:lnTo>
                  <a:pt x="1163995" y="0"/>
                </a:lnTo>
              </a:path>
            </a:pathLst>
          </a:custGeom>
          <a:ln w="39590">
            <a:solidFill>
              <a:srgbClr val="B7B6B6"/>
            </a:solidFill>
          </a:ln>
        </p:spPr>
        <p:txBody>
          <a:bodyPr wrap="square" lIns="0" tIns="0" rIns="0" bIns="0" rtlCol="0"/>
          <a:lstStyle/>
          <a:p>
            <a:endParaRPr/>
          </a:p>
        </p:txBody>
      </p:sp>
      <p:sp>
        <p:nvSpPr>
          <p:cNvPr id="44" name="object 44"/>
          <p:cNvSpPr/>
          <p:nvPr/>
        </p:nvSpPr>
        <p:spPr>
          <a:xfrm>
            <a:off x="4548049" y="2783998"/>
            <a:ext cx="232499" cy="0"/>
          </a:xfrm>
          <a:custGeom>
            <a:avLst/>
            <a:gdLst/>
            <a:ahLst/>
            <a:cxnLst/>
            <a:rect l="l" t="t" r="r" b="b"/>
            <a:pathLst>
              <a:path w="511175">
                <a:moveTo>
                  <a:pt x="0" y="0"/>
                </a:moveTo>
                <a:lnTo>
                  <a:pt x="510727" y="0"/>
                </a:lnTo>
              </a:path>
            </a:pathLst>
          </a:custGeom>
          <a:ln w="39590">
            <a:solidFill>
              <a:srgbClr val="B7B6B6"/>
            </a:solidFill>
          </a:ln>
        </p:spPr>
        <p:txBody>
          <a:bodyPr wrap="square" lIns="0" tIns="0" rIns="0" bIns="0" rtlCol="0"/>
          <a:lstStyle/>
          <a:p>
            <a:endParaRPr/>
          </a:p>
        </p:txBody>
      </p:sp>
      <p:sp>
        <p:nvSpPr>
          <p:cNvPr id="45" name="object 45"/>
          <p:cNvSpPr/>
          <p:nvPr/>
        </p:nvSpPr>
        <p:spPr>
          <a:xfrm>
            <a:off x="4548049" y="2732676"/>
            <a:ext cx="232499" cy="0"/>
          </a:xfrm>
          <a:custGeom>
            <a:avLst/>
            <a:gdLst/>
            <a:ahLst/>
            <a:cxnLst/>
            <a:rect l="l" t="t" r="r" b="b"/>
            <a:pathLst>
              <a:path w="511175">
                <a:moveTo>
                  <a:pt x="0" y="0"/>
                </a:moveTo>
                <a:lnTo>
                  <a:pt x="510727" y="0"/>
                </a:lnTo>
              </a:path>
            </a:pathLst>
          </a:custGeom>
          <a:ln w="39590">
            <a:solidFill>
              <a:srgbClr val="B7B6B6"/>
            </a:solidFill>
          </a:ln>
        </p:spPr>
        <p:txBody>
          <a:bodyPr wrap="square" lIns="0" tIns="0" rIns="0" bIns="0" rtlCol="0"/>
          <a:lstStyle/>
          <a:p>
            <a:endParaRPr/>
          </a:p>
        </p:txBody>
      </p:sp>
      <p:sp>
        <p:nvSpPr>
          <p:cNvPr id="46" name="object 46"/>
          <p:cNvSpPr/>
          <p:nvPr/>
        </p:nvSpPr>
        <p:spPr>
          <a:xfrm>
            <a:off x="4598470" y="2838015"/>
            <a:ext cx="327809" cy="0"/>
          </a:xfrm>
          <a:custGeom>
            <a:avLst/>
            <a:gdLst/>
            <a:ahLst/>
            <a:cxnLst/>
            <a:rect l="l" t="t" r="r" b="b"/>
            <a:pathLst>
              <a:path w="720725">
                <a:moveTo>
                  <a:pt x="0" y="0"/>
                </a:moveTo>
                <a:lnTo>
                  <a:pt x="720574" y="0"/>
                </a:lnTo>
              </a:path>
            </a:pathLst>
          </a:custGeom>
          <a:ln w="39590">
            <a:solidFill>
              <a:srgbClr val="B7B6B6"/>
            </a:solidFill>
          </a:ln>
        </p:spPr>
        <p:txBody>
          <a:bodyPr wrap="square" lIns="0" tIns="0" rIns="0" bIns="0" rtlCol="0"/>
          <a:lstStyle/>
          <a:p>
            <a:endParaRPr/>
          </a:p>
        </p:txBody>
      </p:sp>
      <p:sp>
        <p:nvSpPr>
          <p:cNvPr id="47" name="object 47"/>
          <p:cNvSpPr/>
          <p:nvPr/>
        </p:nvSpPr>
        <p:spPr>
          <a:xfrm>
            <a:off x="5065264" y="2686555"/>
            <a:ext cx="1155" cy="18772"/>
          </a:xfrm>
          <a:custGeom>
            <a:avLst/>
            <a:gdLst/>
            <a:ahLst/>
            <a:cxnLst/>
            <a:rect l="l" t="t" r="r" b="b"/>
            <a:pathLst>
              <a:path w="2540" h="41275">
                <a:moveTo>
                  <a:pt x="0" y="0"/>
                </a:moveTo>
                <a:lnTo>
                  <a:pt x="0" y="41056"/>
                </a:lnTo>
                <a:lnTo>
                  <a:pt x="2052" y="41056"/>
                </a:lnTo>
                <a:lnTo>
                  <a:pt x="1161" y="30890"/>
                </a:lnTo>
                <a:lnTo>
                  <a:pt x="519" y="20657"/>
                </a:lnTo>
                <a:lnTo>
                  <a:pt x="130" y="10359"/>
                </a:lnTo>
                <a:lnTo>
                  <a:pt x="0" y="0"/>
                </a:lnTo>
                <a:close/>
              </a:path>
            </a:pathLst>
          </a:custGeom>
          <a:solidFill>
            <a:srgbClr val="E6E6E6"/>
          </a:solidFill>
        </p:spPr>
        <p:txBody>
          <a:bodyPr wrap="square" lIns="0" tIns="0" rIns="0" bIns="0" rtlCol="0"/>
          <a:lstStyle/>
          <a:p>
            <a:endParaRPr/>
          </a:p>
        </p:txBody>
      </p:sp>
      <p:sp>
        <p:nvSpPr>
          <p:cNvPr id="48" name="object 48"/>
          <p:cNvSpPr/>
          <p:nvPr/>
        </p:nvSpPr>
        <p:spPr>
          <a:xfrm>
            <a:off x="5065262" y="2445868"/>
            <a:ext cx="379508" cy="222086"/>
          </a:xfrm>
          <a:custGeom>
            <a:avLst/>
            <a:gdLst/>
            <a:ahLst/>
            <a:cxnLst/>
            <a:rect l="l" t="t" r="r" b="b"/>
            <a:pathLst>
              <a:path w="834390" h="488314">
                <a:moveTo>
                  <a:pt x="427704" y="0"/>
                </a:moveTo>
                <a:lnTo>
                  <a:pt x="410594" y="0"/>
                </a:lnTo>
                <a:lnTo>
                  <a:pt x="362710" y="2762"/>
                </a:lnTo>
                <a:lnTo>
                  <a:pt x="316448" y="10843"/>
                </a:lnTo>
                <a:lnTo>
                  <a:pt x="272117" y="23936"/>
                </a:lnTo>
                <a:lnTo>
                  <a:pt x="230024" y="41732"/>
                </a:lnTo>
                <a:lnTo>
                  <a:pt x="190478" y="63924"/>
                </a:lnTo>
                <a:lnTo>
                  <a:pt x="153787" y="90202"/>
                </a:lnTo>
                <a:lnTo>
                  <a:pt x="120259" y="120259"/>
                </a:lnTo>
                <a:lnTo>
                  <a:pt x="90202" y="153787"/>
                </a:lnTo>
                <a:lnTo>
                  <a:pt x="63924" y="190478"/>
                </a:lnTo>
                <a:lnTo>
                  <a:pt x="41732" y="230024"/>
                </a:lnTo>
                <a:lnTo>
                  <a:pt x="23936" y="272117"/>
                </a:lnTo>
                <a:lnTo>
                  <a:pt x="10843" y="316448"/>
                </a:lnTo>
                <a:lnTo>
                  <a:pt x="2762" y="362710"/>
                </a:lnTo>
                <a:lnTo>
                  <a:pt x="0" y="410594"/>
                </a:lnTo>
                <a:lnTo>
                  <a:pt x="0" y="488152"/>
                </a:lnTo>
                <a:lnTo>
                  <a:pt x="834320" y="488152"/>
                </a:lnTo>
                <a:lnTo>
                  <a:pt x="834320" y="354010"/>
                </a:lnTo>
                <a:lnTo>
                  <a:pt x="825450" y="308727"/>
                </a:lnTo>
                <a:lnTo>
                  <a:pt x="811765" y="265370"/>
                </a:lnTo>
                <a:lnTo>
                  <a:pt x="793561" y="224234"/>
                </a:lnTo>
                <a:lnTo>
                  <a:pt x="771131" y="185615"/>
                </a:lnTo>
                <a:lnTo>
                  <a:pt x="744770" y="149808"/>
                </a:lnTo>
                <a:lnTo>
                  <a:pt x="714772" y="117108"/>
                </a:lnTo>
                <a:lnTo>
                  <a:pt x="681433" y="87809"/>
                </a:lnTo>
                <a:lnTo>
                  <a:pt x="645046" y="62209"/>
                </a:lnTo>
                <a:lnTo>
                  <a:pt x="605905" y="40601"/>
                </a:lnTo>
                <a:lnTo>
                  <a:pt x="564307" y="23280"/>
                </a:lnTo>
                <a:lnTo>
                  <a:pt x="520544" y="10543"/>
                </a:lnTo>
                <a:lnTo>
                  <a:pt x="474911" y="2685"/>
                </a:lnTo>
                <a:lnTo>
                  <a:pt x="427704" y="0"/>
                </a:lnTo>
                <a:close/>
              </a:path>
            </a:pathLst>
          </a:custGeom>
          <a:solidFill>
            <a:srgbClr val="DEDDDD"/>
          </a:solidFill>
        </p:spPr>
        <p:txBody>
          <a:bodyPr wrap="square" lIns="0" tIns="0" rIns="0" bIns="0" rtlCol="0"/>
          <a:lstStyle/>
          <a:p>
            <a:endParaRPr/>
          </a:p>
        </p:txBody>
      </p:sp>
      <p:sp>
        <p:nvSpPr>
          <p:cNvPr id="49" name="object 49"/>
          <p:cNvSpPr/>
          <p:nvPr/>
        </p:nvSpPr>
        <p:spPr>
          <a:xfrm>
            <a:off x="3786667" y="3441347"/>
            <a:ext cx="748040" cy="313635"/>
          </a:xfrm>
          <a:custGeom>
            <a:avLst/>
            <a:gdLst/>
            <a:ahLst/>
            <a:cxnLst/>
            <a:rect l="l" t="t" r="r" b="b"/>
            <a:pathLst>
              <a:path w="1644650" h="689609">
                <a:moveTo>
                  <a:pt x="1455709" y="0"/>
                </a:moveTo>
                <a:lnTo>
                  <a:pt x="1403593" y="8249"/>
                </a:lnTo>
                <a:lnTo>
                  <a:pt x="150510" y="355485"/>
                </a:lnTo>
                <a:lnTo>
                  <a:pt x="101582" y="375237"/>
                </a:lnTo>
                <a:lnTo>
                  <a:pt x="60680" y="404049"/>
                </a:lnTo>
                <a:lnTo>
                  <a:pt x="29191" y="439883"/>
                </a:lnTo>
                <a:lnTo>
                  <a:pt x="8502" y="480702"/>
                </a:lnTo>
                <a:lnTo>
                  <a:pt x="0" y="524472"/>
                </a:lnTo>
                <a:lnTo>
                  <a:pt x="5070" y="569153"/>
                </a:lnTo>
                <a:lnTo>
                  <a:pt x="24619" y="613330"/>
                </a:lnTo>
                <a:lnTo>
                  <a:pt x="54435" y="646482"/>
                </a:lnTo>
                <a:lnTo>
                  <a:pt x="93181" y="670834"/>
                </a:lnTo>
                <a:lnTo>
                  <a:pt x="138621" y="685351"/>
                </a:lnTo>
                <a:lnTo>
                  <a:pt x="188517" y="689002"/>
                </a:lnTo>
                <a:lnTo>
                  <a:pt x="240633" y="680752"/>
                </a:lnTo>
                <a:lnTo>
                  <a:pt x="1493716" y="333517"/>
                </a:lnTo>
                <a:lnTo>
                  <a:pt x="1542645" y="313764"/>
                </a:lnTo>
                <a:lnTo>
                  <a:pt x="1583547" y="284953"/>
                </a:lnTo>
                <a:lnTo>
                  <a:pt x="1615035" y="249119"/>
                </a:lnTo>
                <a:lnTo>
                  <a:pt x="1635724" y="208299"/>
                </a:lnTo>
                <a:lnTo>
                  <a:pt x="1644227" y="164530"/>
                </a:lnTo>
                <a:lnTo>
                  <a:pt x="1639156" y="119848"/>
                </a:lnTo>
                <a:lnTo>
                  <a:pt x="1619607" y="75671"/>
                </a:lnTo>
                <a:lnTo>
                  <a:pt x="1589791" y="42519"/>
                </a:lnTo>
                <a:lnTo>
                  <a:pt x="1551045" y="18168"/>
                </a:lnTo>
                <a:lnTo>
                  <a:pt x="1505605" y="3650"/>
                </a:lnTo>
                <a:lnTo>
                  <a:pt x="1455709" y="0"/>
                </a:lnTo>
                <a:close/>
              </a:path>
            </a:pathLst>
          </a:custGeom>
          <a:solidFill>
            <a:srgbClr val="F4CFB1"/>
          </a:solidFill>
        </p:spPr>
        <p:txBody>
          <a:bodyPr wrap="square" lIns="0" tIns="0" rIns="0" bIns="0" rtlCol="0"/>
          <a:lstStyle/>
          <a:p>
            <a:endParaRPr/>
          </a:p>
        </p:txBody>
      </p:sp>
      <p:sp>
        <p:nvSpPr>
          <p:cNvPr id="50" name="object 50"/>
          <p:cNvSpPr/>
          <p:nvPr/>
        </p:nvSpPr>
        <p:spPr>
          <a:xfrm>
            <a:off x="4213844" y="3646134"/>
            <a:ext cx="248673" cy="201293"/>
          </a:xfrm>
          <a:custGeom>
            <a:avLst/>
            <a:gdLst/>
            <a:ahLst/>
            <a:cxnLst/>
            <a:rect l="l" t="t" r="r" b="b"/>
            <a:pathLst>
              <a:path w="546734" h="442595">
                <a:moveTo>
                  <a:pt x="389592" y="0"/>
                </a:moveTo>
                <a:lnTo>
                  <a:pt x="347630" y="3212"/>
                </a:lnTo>
                <a:lnTo>
                  <a:pt x="306725" y="17913"/>
                </a:lnTo>
                <a:lnTo>
                  <a:pt x="86532" y="130423"/>
                </a:lnTo>
                <a:lnTo>
                  <a:pt x="51045" y="155514"/>
                </a:lnTo>
                <a:lnTo>
                  <a:pt x="24361" y="188057"/>
                </a:lnTo>
                <a:lnTo>
                  <a:pt x="7130" y="225951"/>
                </a:lnTo>
                <a:lnTo>
                  <a:pt x="0" y="267097"/>
                </a:lnTo>
                <a:lnTo>
                  <a:pt x="3616" y="309394"/>
                </a:lnTo>
                <a:lnTo>
                  <a:pt x="18629" y="350741"/>
                </a:lnTo>
                <a:lnTo>
                  <a:pt x="45435" y="389682"/>
                </a:lnTo>
                <a:lnTo>
                  <a:pt x="78020" y="416888"/>
                </a:lnTo>
                <a:lnTo>
                  <a:pt x="115821" y="434628"/>
                </a:lnTo>
                <a:lnTo>
                  <a:pt x="156747" y="442229"/>
                </a:lnTo>
                <a:lnTo>
                  <a:pt x="198706" y="439017"/>
                </a:lnTo>
                <a:lnTo>
                  <a:pt x="239606" y="424320"/>
                </a:lnTo>
                <a:lnTo>
                  <a:pt x="459799" y="311810"/>
                </a:lnTo>
                <a:lnTo>
                  <a:pt x="495286" y="286719"/>
                </a:lnTo>
                <a:lnTo>
                  <a:pt x="521970" y="254176"/>
                </a:lnTo>
                <a:lnTo>
                  <a:pt x="539202" y="216280"/>
                </a:lnTo>
                <a:lnTo>
                  <a:pt x="546335" y="175132"/>
                </a:lnTo>
                <a:lnTo>
                  <a:pt x="542721" y="132833"/>
                </a:lnTo>
                <a:lnTo>
                  <a:pt x="527713" y="91482"/>
                </a:lnTo>
                <a:lnTo>
                  <a:pt x="500907" y="52550"/>
                </a:lnTo>
                <a:lnTo>
                  <a:pt x="468321" y="25342"/>
                </a:lnTo>
                <a:lnTo>
                  <a:pt x="430519" y="7601"/>
                </a:lnTo>
                <a:lnTo>
                  <a:pt x="389592" y="0"/>
                </a:lnTo>
                <a:close/>
              </a:path>
            </a:pathLst>
          </a:custGeom>
          <a:solidFill>
            <a:srgbClr val="D4A687"/>
          </a:solidFill>
        </p:spPr>
        <p:txBody>
          <a:bodyPr wrap="square" lIns="0" tIns="0" rIns="0" bIns="0" rtlCol="0"/>
          <a:lstStyle/>
          <a:p>
            <a:endParaRPr/>
          </a:p>
        </p:txBody>
      </p:sp>
      <p:sp>
        <p:nvSpPr>
          <p:cNvPr id="51" name="object 51"/>
          <p:cNvSpPr/>
          <p:nvPr/>
        </p:nvSpPr>
        <p:spPr>
          <a:xfrm>
            <a:off x="4160959" y="3807315"/>
            <a:ext cx="255027" cy="194939"/>
          </a:xfrm>
          <a:custGeom>
            <a:avLst/>
            <a:gdLst/>
            <a:ahLst/>
            <a:cxnLst/>
            <a:rect l="l" t="t" r="r" b="b"/>
            <a:pathLst>
              <a:path w="560704" h="428625">
                <a:moveTo>
                  <a:pt x="374886" y="0"/>
                </a:moveTo>
                <a:lnTo>
                  <a:pt x="332251" y="10990"/>
                </a:lnTo>
                <a:lnTo>
                  <a:pt x="99776" y="104077"/>
                </a:lnTo>
                <a:lnTo>
                  <a:pt x="61680" y="126150"/>
                </a:lnTo>
                <a:lnTo>
                  <a:pt x="31812" y="156643"/>
                </a:lnTo>
                <a:lnTo>
                  <a:pt x="11015" y="193485"/>
                </a:lnTo>
                <a:lnTo>
                  <a:pt x="130" y="234604"/>
                </a:lnTo>
                <a:lnTo>
                  <a:pt x="0" y="277930"/>
                </a:lnTo>
                <a:lnTo>
                  <a:pt x="11465" y="321389"/>
                </a:lnTo>
                <a:lnTo>
                  <a:pt x="35066" y="363541"/>
                </a:lnTo>
                <a:lnTo>
                  <a:pt x="65549" y="394329"/>
                </a:lnTo>
                <a:lnTo>
                  <a:pt x="102149" y="416000"/>
                </a:lnTo>
                <a:lnTo>
                  <a:pt x="142813" y="427669"/>
                </a:lnTo>
                <a:lnTo>
                  <a:pt x="185487" y="428451"/>
                </a:lnTo>
                <a:lnTo>
                  <a:pt x="228118" y="417460"/>
                </a:lnTo>
                <a:lnTo>
                  <a:pt x="419623" y="340782"/>
                </a:lnTo>
                <a:lnTo>
                  <a:pt x="556375" y="208446"/>
                </a:lnTo>
                <a:lnTo>
                  <a:pt x="560239" y="193846"/>
                </a:lnTo>
                <a:lnTo>
                  <a:pt x="560370" y="150521"/>
                </a:lnTo>
                <a:lnTo>
                  <a:pt x="548904" y="107061"/>
                </a:lnTo>
                <a:lnTo>
                  <a:pt x="525310" y="64909"/>
                </a:lnTo>
                <a:lnTo>
                  <a:pt x="494825" y="34121"/>
                </a:lnTo>
                <a:lnTo>
                  <a:pt x="458225" y="12450"/>
                </a:lnTo>
                <a:lnTo>
                  <a:pt x="417561" y="781"/>
                </a:lnTo>
                <a:lnTo>
                  <a:pt x="374886" y="0"/>
                </a:lnTo>
                <a:close/>
              </a:path>
            </a:pathLst>
          </a:custGeom>
          <a:solidFill>
            <a:srgbClr val="D4A687"/>
          </a:solidFill>
        </p:spPr>
        <p:txBody>
          <a:bodyPr wrap="square" lIns="0" tIns="0" rIns="0" bIns="0" rtlCol="0"/>
          <a:lstStyle/>
          <a:p>
            <a:endParaRPr/>
          </a:p>
        </p:txBody>
      </p:sp>
      <p:sp>
        <p:nvSpPr>
          <p:cNvPr id="52" name="object 52"/>
          <p:cNvSpPr/>
          <p:nvPr/>
        </p:nvSpPr>
        <p:spPr>
          <a:xfrm>
            <a:off x="4150033" y="3978840"/>
            <a:ext cx="181378" cy="144110"/>
          </a:xfrm>
          <a:custGeom>
            <a:avLst/>
            <a:gdLst/>
            <a:ahLst/>
            <a:cxnLst/>
            <a:rect l="l" t="t" r="r" b="b"/>
            <a:pathLst>
              <a:path w="398779" h="316865">
                <a:moveTo>
                  <a:pt x="373630" y="0"/>
                </a:moveTo>
                <a:lnTo>
                  <a:pt x="327925" y="1368"/>
                </a:lnTo>
                <a:lnTo>
                  <a:pt x="113795" y="41503"/>
                </a:lnTo>
                <a:lnTo>
                  <a:pt x="70944" y="57463"/>
                </a:lnTo>
                <a:lnTo>
                  <a:pt x="36464" y="85305"/>
                </a:lnTo>
                <a:lnTo>
                  <a:pt x="12201" y="122219"/>
                </a:lnTo>
                <a:lnTo>
                  <a:pt x="0" y="165397"/>
                </a:lnTo>
                <a:lnTo>
                  <a:pt x="1704" y="212031"/>
                </a:lnTo>
                <a:lnTo>
                  <a:pt x="2270" y="214921"/>
                </a:lnTo>
                <a:lnTo>
                  <a:pt x="18262" y="258762"/>
                </a:lnTo>
                <a:lnTo>
                  <a:pt x="45835" y="294161"/>
                </a:lnTo>
                <a:lnTo>
                  <a:pt x="78707" y="316791"/>
                </a:lnTo>
                <a:lnTo>
                  <a:pt x="398363" y="7458"/>
                </a:lnTo>
                <a:lnTo>
                  <a:pt x="373630" y="0"/>
                </a:lnTo>
                <a:close/>
              </a:path>
            </a:pathLst>
          </a:custGeom>
          <a:solidFill>
            <a:srgbClr val="D4A687"/>
          </a:solidFill>
        </p:spPr>
        <p:txBody>
          <a:bodyPr wrap="square" lIns="0" tIns="0" rIns="0" bIns="0" rtlCol="0"/>
          <a:lstStyle/>
          <a:p>
            <a:endParaRPr/>
          </a:p>
        </p:txBody>
      </p:sp>
      <p:sp>
        <p:nvSpPr>
          <p:cNvPr id="53" name="object 53"/>
          <p:cNvSpPr/>
          <p:nvPr/>
        </p:nvSpPr>
        <p:spPr>
          <a:xfrm>
            <a:off x="3462480" y="3486415"/>
            <a:ext cx="813313" cy="864951"/>
          </a:xfrm>
          <a:custGeom>
            <a:avLst/>
            <a:gdLst/>
            <a:ahLst/>
            <a:cxnLst/>
            <a:rect l="l" t="t" r="r" b="b"/>
            <a:pathLst>
              <a:path w="1788159" h="1901825">
                <a:moveTo>
                  <a:pt x="1191513" y="0"/>
                </a:moveTo>
                <a:lnTo>
                  <a:pt x="1153522" y="4513"/>
                </a:lnTo>
                <a:lnTo>
                  <a:pt x="1111946" y="13643"/>
                </a:lnTo>
                <a:lnTo>
                  <a:pt x="1066373" y="27455"/>
                </a:lnTo>
                <a:lnTo>
                  <a:pt x="1016391" y="46018"/>
                </a:lnTo>
                <a:lnTo>
                  <a:pt x="961587" y="69399"/>
                </a:lnTo>
                <a:lnTo>
                  <a:pt x="168888" y="522924"/>
                </a:lnTo>
                <a:lnTo>
                  <a:pt x="128860" y="579037"/>
                </a:lnTo>
                <a:lnTo>
                  <a:pt x="94597" y="633172"/>
                </a:lnTo>
                <a:lnTo>
                  <a:pt x="65919" y="685338"/>
                </a:lnTo>
                <a:lnTo>
                  <a:pt x="42645" y="735539"/>
                </a:lnTo>
                <a:lnTo>
                  <a:pt x="24596" y="783784"/>
                </a:lnTo>
                <a:lnTo>
                  <a:pt x="11592" y="830079"/>
                </a:lnTo>
                <a:lnTo>
                  <a:pt x="3453" y="874432"/>
                </a:lnTo>
                <a:lnTo>
                  <a:pt x="0" y="916848"/>
                </a:lnTo>
                <a:lnTo>
                  <a:pt x="1051" y="957335"/>
                </a:lnTo>
                <a:lnTo>
                  <a:pt x="6427" y="995900"/>
                </a:lnTo>
                <a:lnTo>
                  <a:pt x="29434" y="1067290"/>
                </a:lnTo>
                <a:lnTo>
                  <a:pt x="67582" y="1131073"/>
                </a:lnTo>
                <a:lnTo>
                  <a:pt x="90797" y="1162605"/>
                </a:lnTo>
                <a:lnTo>
                  <a:pt x="114680" y="1196187"/>
                </a:lnTo>
                <a:lnTo>
                  <a:pt x="165735" y="1269187"/>
                </a:lnTo>
                <a:lnTo>
                  <a:pt x="193549" y="1308446"/>
                </a:lnTo>
                <a:lnTo>
                  <a:pt x="223316" y="1349439"/>
                </a:lnTo>
                <a:lnTo>
                  <a:pt x="255357" y="1392088"/>
                </a:lnTo>
                <a:lnTo>
                  <a:pt x="289992" y="1436313"/>
                </a:lnTo>
                <a:lnTo>
                  <a:pt x="327543" y="1482036"/>
                </a:lnTo>
                <a:lnTo>
                  <a:pt x="418905" y="1590454"/>
                </a:lnTo>
                <a:lnTo>
                  <a:pt x="457855" y="1635849"/>
                </a:lnTo>
                <a:lnTo>
                  <a:pt x="495730" y="1678733"/>
                </a:lnTo>
                <a:lnTo>
                  <a:pt x="532703" y="1718795"/>
                </a:lnTo>
                <a:lnTo>
                  <a:pt x="568946" y="1755722"/>
                </a:lnTo>
                <a:lnTo>
                  <a:pt x="604632" y="1789204"/>
                </a:lnTo>
                <a:lnTo>
                  <a:pt x="639932" y="1818929"/>
                </a:lnTo>
                <a:lnTo>
                  <a:pt x="675018" y="1844586"/>
                </a:lnTo>
                <a:lnTo>
                  <a:pt x="710064" y="1865862"/>
                </a:lnTo>
                <a:lnTo>
                  <a:pt x="745242" y="1882447"/>
                </a:lnTo>
                <a:lnTo>
                  <a:pt x="816680" y="1900296"/>
                </a:lnTo>
                <a:lnTo>
                  <a:pt x="854520" y="1901298"/>
                </a:lnTo>
                <a:lnTo>
                  <a:pt x="892943" y="1897356"/>
                </a:lnTo>
                <a:lnTo>
                  <a:pt x="931976" y="1888944"/>
                </a:lnTo>
                <a:lnTo>
                  <a:pt x="971647" y="1876541"/>
                </a:lnTo>
                <a:lnTo>
                  <a:pt x="1011981" y="1860624"/>
                </a:lnTo>
                <a:lnTo>
                  <a:pt x="1053005" y="1841670"/>
                </a:lnTo>
                <a:lnTo>
                  <a:pt x="1094747" y="1820156"/>
                </a:lnTo>
                <a:lnTo>
                  <a:pt x="1137233" y="1796558"/>
                </a:lnTo>
                <a:lnTo>
                  <a:pt x="1180488" y="1771355"/>
                </a:lnTo>
                <a:lnTo>
                  <a:pt x="1247770" y="1731057"/>
                </a:lnTo>
                <a:lnTo>
                  <a:pt x="1756131" y="1239112"/>
                </a:lnTo>
                <a:lnTo>
                  <a:pt x="1766243" y="1179616"/>
                </a:lnTo>
                <a:lnTo>
                  <a:pt x="1769515" y="1157520"/>
                </a:lnTo>
                <a:lnTo>
                  <a:pt x="1773638" y="1131073"/>
                </a:lnTo>
                <a:lnTo>
                  <a:pt x="1782156" y="1067290"/>
                </a:lnTo>
                <a:lnTo>
                  <a:pt x="1787700" y="989717"/>
                </a:lnTo>
                <a:lnTo>
                  <a:pt x="1788058" y="946223"/>
                </a:lnTo>
                <a:lnTo>
                  <a:pt x="1786110" y="899930"/>
                </a:lnTo>
                <a:lnTo>
                  <a:pt x="1781334" y="851054"/>
                </a:lnTo>
                <a:lnTo>
                  <a:pt x="1773211" y="799816"/>
                </a:lnTo>
                <a:lnTo>
                  <a:pt x="1761220" y="746434"/>
                </a:lnTo>
                <a:lnTo>
                  <a:pt x="1744840" y="691126"/>
                </a:lnTo>
                <a:lnTo>
                  <a:pt x="1723552" y="634112"/>
                </a:lnTo>
                <a:lnTo>
                  <a:pt x="1696835" y="575611"/>
                </a:lnTo>
                <a:lnTo>
                  <a:pt x="1664169" y="515841"/>
                </a:lnTo>
                <a:lnTo>
                  <a:pt x="1625032" y="455020"/>
                </a:lnTo>
                <a:lnTo>
                  <a:pt x="1577987" y="383944"/>
                </a:lnTo>
                <a:lnTo>
                  <a:pt x="1517945" y="281481"/>
                </a:lnTo>
                <a:lnTo>
                  <a:pt x="1490796" y="235833"/>
                </a:lnTo>
                <a:lnTo>
                  <a:pt x="1465013" y="193995"/>
                </a:lnTo>
                <a:lnTo>
                  <a:pt x="1440182" y="156037"/>
                </a:lnTo>
                <a:lnTo>
                  <a:pt x="1415891" y="122023"/>
                </a:lnTo>
                <a:lnTo>
                  <a:pt x="1391728" y="92022"/>
                </a:lnTo>
                <a:lnTo>
                  <a:pt x="1342135" y="44326"/>
                </a:lnTo>
                <a:lnTo>
                  <a:pt x="1288103" y="13485"/>
                </a:lnTo>
                <a:lnTo>
                  <a:pt x="1226332" y="35"/>
                </a:lnTo>
                <a:lnTo>
                  <a:pt x="1191513" y="0"/>
                </a:lnTo>
                <a:close/>
              </a:path>
            </a:pathLst>
          </a:custGeom>
          <a:solidFill>
            <a:srgbClr val="F4CFB1"/>
          </a:solidFill>
        </p:spPr>
        <p:txBody>
          <a:bodyPr wrap="square" lIns="0" tIns="0" rIns="0" bIns="0" rtlCol="0"/>
          <a:lstStyle/>
          <a:p>
            <a:endParaRPr/>
          </a:p>
        </p:txBody>
      </p:sp>
      <p:sp>
        <p:nvSpPr>
          <p:cNvPr id="54" name="object 54"/>
          <p:cNvSpPr/>
          <p:nvPr/>
        </p:nvSpPr>
        <p:spPr>
          <a:xfrm>
            <a:off x="3117926" y="3896442"/>
            <a:ext cx="748329" cy="734992"/>
          </a:xfrm>
          <a:custGeom>
            <a:avLst/>
            <a:gdLst/>
            <a:ahLst/>
            <a:cxnLst/>
            <a:rect l="l" t="t" r="r" b="b"/>
            <a:pathLst>
              <a:path w="1645284" h="1616075">
                <a:moveTo>
                  <a:pt x="977687" y="0"/>
                </a:moveTo>
                <a:lnTo>
                  <a:pt x="0" y="823399"/>
                </a:lnTo>
                <a:lnTo>
                  <a:pt x="667236" y="1615657"/>
                </a:lnTo>
                <a:lnTo>
                  <a:pt x="1644923" y="792258"/>
                </a:lnTo>
                <a:lnTo>
                  <a:pt x="977687" y="0"/>
                </a:lnTo>
                <a:close/>
              </a:path>
            </a:pathLst>
          </a:custGeom>
          <a:solidFill>
            <a:srgbClr val="F4CFB1"/>
          </a:solidFill>
        </p:spPr>
        <p:txBody>
          <a:bodyPr wrap="square" lIns="0" tIns="0" rIns="0" bIns="0" rtlCol="0"/>
          <a:lstStyle/>
          <a:p>
            <a:endParaRPr/>
          </a:p>
        </p:txBody>
      </p:sp>
      <p:sp>
        <p:nvSpPr>
          <p:cNvPr id="55" name="object 55"/>
          <p:cNvSpPr/>
          <p:nvPr/>
        </p:nvSpPr>
        <p:spPr>
          <a:xfrm>
            <a:off x="3637589" y="2863075"/>
            <a:ext cx="929996" cy="1365439"/>
          </a:xfrm>
          <a:custGeom>
            <a:avLst/>
            <a:gdLst/>
            <a:ahLst/>
            <a:cxnLst/>
            <a:rect l="l" t="t" r="r" b="b"/>
            <a:pathLst>
              <a:path w="2044700" h="3002279">
                <a:moveTo>
                  <a:pt x="954581" y="0"/>
                </a:moveTo>
                <a:lnTo>
                  <a:pt x="908637" y="1850"/>
                </a:lnTo>
                <a:lnTo>
                  <a:pt x="864903" y="13632"/>
                </a:lnTo>
                <a:lnTo>
                  <a:pt x="824938" y="34529"/>
                </a:lnTo>
                <a:lnTo>
                  <a:pt x="790303" y="63726"/>
                </a:lnTo>
                <a:lnTo>
                  <a:pt x="762559" y="100408"/>
                </a:lnTo>
                <a:lnTo>
                  <a:pt x="743265" y="143759"/>
                </a:lnTo>
                <a:lnTo>
                  <a:pt x="8900" y="2486641"/>
                </a:lnTo>
                <a:lnTo>
                  <a:pt x="0" y="2533233"/>
                </a:lnTo>
                <a:lnTo>
                  <a:pt x="1844" y="2579174"/>
                </a:lnTo>
                <a:lnTo>
                  <a:pt x="13617" y="2622906"/>
                </a:lnTo>
                <a:lnTo>
                  <a:pt x="34504" y="2662867"/>
                </a:lnTo>
                <a:lnTo>
                  <a:pt x="63689" y="2697498"/>
                </a:lnTo>
                <a:lnTo>
                  <a:pt x="100357" y="2725239"/>
                </a:lnTo>
                <a:lnTo>
                  <a:pt x="143691" y="2744528"/>
                </a:lnTo>
                <a:lnTo>
                  <a:pt x="965574" y="3002150"/>
                </a:lnTo>
                <a:lnTo>
                  <a:pt x="1397533" y="2584140"/>
                </a:lnTo>
                <a:lnTo>
                  <a:pt x="2035508" y="548815"/>
                </a:lnTo>
                <a:lnTo>
                  <a:pt x="2044412" y="502207"/>
                </a:lnTo>
                <a:lnTo>
                  <a:pt x="2042572" y="456251"/>
                </a:lnTo>
                <a:lnTo>
                  <a:pt x="2030803" y="412508"/>
                </a:lnTo>
                <a:lnTo>
                  <a:pt x="2009919" y="372537"/>
                </a:lnTo>
                <a:lnTo>
                  <a:pt x="1980737" y="337900"/>
                </a:lnTo>
                <a:lnTo>
                  <a:pt x="1944071" y="310156"/>
                </a:lnTo>
                <a:lnTo>
                  <a:pt x="1900737" y="290865"/>
                </a:lnTo>
                <a:lnTo>
                  <a:pt x="1001173" y="8894"/>
                </a:lnTo>
                <a:lnTo>
                  <a:pt x="954581" y="0"/>
                </a:lnTo>
                <a:close/>
              </a:path>
            </a:pathLst>
          </a:custGeom>
          <a:solidFill>
            <a:srgbClr val="FFFFFF"/>
          </a:solidFill>
        </p:spPr>
        <p:txBody>
          <a:bodyPr wrap="square" lIns="0" tIns="0" rIns="0" bIns="0" rtlCol="0"/>
          <a:lstStyle/>
          <a:p>
            <a:endParaRPr/>
          </a:p>
        </p:txBody>
      </p:sp>
      <p:sp>
        <p:nvSpPr>
          <p:cNvPr id="56" name="object 56"/>
          <p:cNvSpPr/>
          <p:nvPr/>
        </p:nvSpPr>
        <p:spPr>
          <a:xfrm>
            <a:off x="3702881" y="3020902"/>
            <a:ext cx="797717" cy="1070287"/>
          </a:xfrm>
          <a:custGeom>
            <a:avLst/>
            <a:gdLst/>
            <a:ahLst/>
            <a:cxnLst/>
            <a:rect l="l" t="t" r="r" b="b"/>
            <a:pathLst>
              <a:path w="1753870" h="2353309">
                <a:moveTo>
                  <a:pt x="626891" y="0"/>
                </a:moveTo>
                <a:lnTo>
                  <a:pt x="0" y="1999960"/>
                </a:lnTo>
                <a:lnTo>
                  <a:pt x="1126740" y="2353132"/>
                </a:lnTo>
                <a:lnTo>
                  <a:pt x="1753621" y="353172"/>
                </a:lnTo>
                <a:lnTo>
                  <a:pt x="626891" y="0"/>
                </a:lnTo>
                <a:close/>
              </a:path>
            </a:pathLst>
          </a:custGeom>
          <a:solidFill>
            <a:srgbClr val="5A5A5A"/>
          </a:solidFill>
        </p:spPr>
        <p:txBody>
          <a:bodyPr wrap="square" lIns="0" tIns="0" rIns="0" bIns="0" rtlCol="0"/>
          <a:lstStyle/>
          <a:p>
            <a:endParaRPr/>
          </a:p>
        </p:txBody>
      </p:sp>
      <p:sp>
        <p:nvSpPr>
          <p:cNvPr id="57" name="object 57"/>
          <p:cNvSpPr/>
          <p:nvPr/>
        </p:nvSpPr>
        <p:spPr>
          <a:xfrm>
            <a:off x="4214765" y="3004439"/>
            <a:ext cx="103854" cy="50378"/>
          </a:xfrm>
          <a:prstGeom prst="rect">
            <a:avLst/>
          </a:prstGeom>
          <a:blipFill>
            <a:blip r:embed="rId3" cstate="print"/>
            <a:stretch>
              <a:fillRect/>
            </a:stretch>
          </a:blipFill>
        </p:spPr>
        <p:txBody>
          <a:bodyPr wrap="square" lIns="0" tIns="0" rIns="0" bIns="0" rtlCol="0"/>
          <a:lstStyle/>
          <a:p>
            <a:endParaRPr/>
          </a:p>
        </p:txBody>
      </p:sp>
      <p:sp>
        <p:nvSpPr>
          <p:cNvPr id="58" name="object 58"/>
          <p:cNvSpPr/>
          <p:nvPr/>
        </p:nvSpPr>
        <p:spPr>
          <a:xfrm>
            <a:off x="3866197" y="4060344"/>
            <a:ext cx="133434" cy="69023"/>
          </a:xfrm>
          <a:custGeom>
            <a:avLst/>
            <a:gdLst/>
            <a:ahLst/>
            <a:cxnLst/>
            <a:rect l="l" t="t" r="r" b="b"/>
            <a:pathLst>
              <a:path w="293370" h="151765">
                <a:moveTo>
                  <a:pt x="35291" y="0"/>
                </a:moveTo>
                <a:lnTo>
                  <a:pt x="21406" y="5163"/>
                </a:lnTo>
                <a:lnTo>
                  <a:pt x="9828" y="15623"/>
                </a:lnTo>
                <a:lnTo>
                  <a:pt x="2136" y="30427"/>
                </a:lnTo>
                <a:lnTo>
                  <a:pt x="0" y="46980"/>
                </a:lnTo>
                <a:lnTo>
                  <a:pt x="3523" y="62219"/>
                </a:lnTo>
                <a:lnTo>
                  <a:pt x="11963" y="74430"/>
                </a:lnTo>
                <a:lnTo>
                  <a:pt x="24575" y="81901"/>
                </a:lnTo>
                <a:lnTo>
                  <a:pt x="242945" y="150339"/>
                </a:lnTo>
                <a:lnTo>
                  <a:pt x="257567" y="151412"/>
                </a:lnTo>
                <a:lnTo>
                  <a:pt x="271461" y="146206"/>
                </a:lnTo>
                <a:lnTo>
                  <a:pt x="283045" y="135703"/>
                </a:lnTo>
                <a:lnTo>
                  <a:pt x="290734" y="120885"/>
                </a:lnTo>
                <a:lnTo>
                  <a:pt x="292873" y="104343"/>
                </a:lnTo>
                <a:lnTo>
                  <a:pt x="289344" y="89151"/>
                </a:lnTo>
                <a:lnTo>
                  <a:pt x="280895" y="76989"/>
                </a:lnTo>
                <a:lnTo>
                  <a:pt x="268274" y="69535"/>
                </a:lnTo>
                <a:lnTo>
                  <a:pt x="49904" y="1087"/>
                </a:lnTo>
                <a:lnTo>
                  <a:pt x="35291" y="0"/>
                </a:lnTo>
                <a:close/>
              </a:path>
            </a:pathLst>
          </a:custGeom>
          <a:solidFill>
            <a:srgbClr val="FF7900"/>
          </a:solidFill>
        </p:spPr>
        <p:txBody>
          <a:bodyPr wrap="square" lIns="0" tIns="0" rIns="0" bIns="0" rtlCol="0"/>
          <a:lstStyle/>
          <a:p>
            <a:endParaRPr/>
          </a:p>
        </p:txBody>
      </p:sp>
      <p:sp>
        <p:nvSpPr>
          <p:cNvPr id="59" name="object 59"/>
          <p:cNvSpPr/>
          <p:nvPr/>
        </p:nvSpPr>
        <p:spPr>
          <a:xfrm>
            <a:off x="3209071" y="4045346"/>
            <a:ext cx="462399" cy="517527"/>
          </a:xfrm>
          <a:custGeom>
            <a:avLst/>
            <a:gdLst/>
            <a:ahLst/>
            <a:cxnLst/>
            <a:rect l="l" t="t" r="r" b="b"/>
            <a:pathLst>
              <a:path w="1016634" h="1137920">
                <a:moveTo>
                  <a:pt x="229385" y="0"/>
                </a:moveTo>
                <a:lnTo>
                  <a:pt x="785" y="189564"/>
                </a:lnTo>
                <a:lnTo>
                  <a:pt x="0" y="198046"/>
                </a:lnTo>
                <a:lnTo>
                  <a:pt x="778447" y="1136750"/>
                </a:lnTo>
                <a:lnTo>
                  <a:pt x="786918" y="1137546"/>
                </a:lnTo>
                <a:lnTo>
                  <a:pt x="1015518" y="947981"/>
                </a:lnTo>
                <a:lnTo>
                  <a:pt x="1016304" y="939510"/>
                </a:lnTo>
                <a:lnTo>
                  <a:pt x="237856" y="795"/>
                </a:lnTo>
                <a:lnTo>
                  <a:pt x="229385" y="0"/>
                </a:lnTo>
                <a:close/>
              </a:path>
            </a:pathLst>
          </a:custGeom>
          <a:solidFill>
            <a:srgbClr val="EBEAEA"/>
          </a:solidFill>
        </p:spPr>
        <p:txBody>
          <a:bodyPr wrap="square" lIns="0" tIns="0" rIns="0" bIns="0" rtlCol="0"/>
          <a:lstStyle/>
          <a:p>
            <a:endParaRPr/>
          </a:p>
        </p:txBody>
      </p:sp>
      <p:sp>
        <p:nvSpPr>
          <p:cNvPr id="60" name="object 60"/>
          <p:cNvSpPr/>
          <p:nvPr/>
        </p:nvSpPr>
        <p:spPr>
          <a:xfrm>
            <a:off x="3283218" y="4101462"/>
            <a:ext cx="44087" cy="44084"/>
          </a:xfrm>
          <a:prstGeom prst="rect">
            <a:avLst/>
          </a:prstGeom>
          <a:blipFill>
            <a:blip r:embed="rId4" cstate="print"/>
            <a:stretch>
              <a:fillRect/>
            </a:stretch>
          </a:blipFill>
        </p:spPr>
        <p:txBody>
          <a:bodyPr wrap="square" lIns="0" tIns="0" rIns="0" bIns="0" rtlCol="0"/>
          <a:lstStyle/>
          <a:p>
            <a:endParaRPr/>
          </a:p>
        </p:txBody>
      </p:sp>
      <p:sp>
        <p:nvSpPr>
          <p:cNvPr id="61" name="object 61"/>
          <p:cNvSpPr/>
          <p:nvPr/>
        </p:nvSpPr>
        <p:spPr>
          <a:xfrm>
            <a:off x="1819026" y="4098542"/>
            <a:ext cx="1782300" cy="1032166"/>
          </a:xfrm>
          <a:custGeom>
            <a:avLst/>
            <a:gdLst/>
            <a:ahLst/>
            <a:cxnLst/>
            <a:rect l="l" t="t" r="r" b="b"/>
            <a:pathLst>
              <a:path w="3918584" h="2269490">
                <a:moveTo>
                  <a:pt x="3065440" y="0"/>
                </a:moveTo>
                <a:lnTo>
                  <a:pt x="3055789" y="1001"/>
                </a:lnTo>
                <a:lnTo>
                  <a:pt x="3046925" y="5789"/>
                </a:lnTo>
                <a:lnTo>
                  <a:pt x="0" y="2269168"/>
                </a:lnTo>
                <a:lnTo>
                  <a:pt x="2290446" y="2269168"/>
                </a:lnTo>
                <a:lnTo>
                  <a:pt x="3909056" y="1045411"/>
                </a:lnTo>
                <a:lnTo>
                  <a:pt x="3915400" y="1037580"/>
                </a:lnTo>
                <a:lnTo>
                  <a:pt x="3918168" y="1028277"/>
                </a:lnTo>
                <a:lnTo>
                  <a:pt x="3917249" y="1018646"/>
                </a:lnTo>
                <a:lnTo>
                  <a:pt x="3912532" y="1009831"/>
                </a:lnTo>
                <a:lnTo>
                  <a:pt x="3082526" y="8951"/>
                </a:lnTo>
                <a:lnTo>
                  <a:pt x="3074734" y="2683"/>
                </a:lnTo>
                <a:lnTo>
                  <a:pt x="3065440" y="0"/>
                </a:lnTo>
                <a:close/>
              </a:path>
            </a:pathLst>
          </a:custGeom>
          <a:solidFill>
            <a:srgbClr val="4AB4E6"/>
          </a:solidFill>
        </p:spPr>
        <p:txBody>
          <a:bodyPr wrap="square" lIns="0" tIns="0" rIns="0" bIns="0" rtlCol="0"/>
          <a:lstStyle/>
          <a:p>
            <a:endParaRPr/>
          </a:p>
        </p:txBody>
      </p:sp>
      <p:sp>
        <p:nvSpPr>
          <p:cNvPr id="62" name="object 62"/>
          <p:cNvSpPr/>
          <p:nvPr/>
        </p:nvSpPr>
        <p:spPr>
          <a:xfrm>
            <a:off x="3498141" y="3369802"/>
            <a:ext cx="330697" cy="548717"/>
          </a:xfrm>
          <a:custGeom>
            <a:avLst/>
            <a:gdLst/>
            <a:ahLst/>
            <a:cxnLst/>
            <a:rect l="l" t="t" r="r" b="b"/>
            <a:pathLst>
              <a:path w="727075" h="1206500">
                <a:moveTo>
                  <a:pt x="572159" y="0"/>
                </a:moveTo>
                <a:lnTo>
                  <a:pt x="533031" y="127"/>
                </a:lnTo>
                <a:lnTo>
                  <a:pt x="495561" y="13989"/>
                </a:lnTo>
                <a:lnTo>
                  <a:pt x="459713" y="45152"/>
                </a:lnTo>
                <a:lnTo>
                  <a:pt x="425451" y="97182"/>
                </a:lnTo>
                <a:lnTo>
                  <a:pt x="15809" y="971082"/>
                </a:lnTo>
                <a:lnTo>
                  <a:pt x="2446" y="1012846"/>
                </a:lnTo>
                <a:lnTo>
                  <a:pt x="0" y="1055839"/>
                </a:lnTo>
                <a:lnTo>
                  <a:pt x="8208" y="1097647"/>
                </a:lnTo>
                <a:lnTo>
                  <a:pt x="26806" y="1135856"/>
                </a:lnTo>
                <a:lnTo>
                  <a:pt x="55532" y="1168052"/>
                </a:lnTo>
                <a:lnTo>
                  <a:pt x="94121" y="1191819"/>
                </a:lnTo>
                <a:lnTo>
                  <a:pt x="149662" y="1205949"/>
                </a:lnTo>
                <a:lnTo>
                  <a:pt x="197212" y="1202909"/>
                </a:lnTo>
                <a:lnTo>
                  <a:pt x="243750" y="1187913"/>
                </a:lnTo>
                <a:lnTo>
                  <a:pt x="286201" y="1163067"/>
                </a:lnTo>
                <a:lnTo>
                  <a:pt x="321490" y="1130478"/>
                </a:lnTo>
                <a:lnTo>
                  <a:pt x="346543" y="1092251"/>
                </a:lnTo>
                <a:lnTo>
                  <a:pt x="683716" y="355163"/>
                </a:lnTo>
                <a:lnTo>
                  <a:pt x="710535" y="272346"/>
                </a:lnTo>
                <a:lnTo>
                  <a:pt x="721212" y="222486"/>
                </a:lnTo>
                <a:lnTo>
                  <a:pt x="726533" y="174395"/>
                </a:lnTo>
                <a:lnTo>
                  <a:pt x="724723" y="129489"/>
                </a:lnTo>
                <a:lnTo>
                  <a:pt x="714002" y="89185"/>
                </a:lnTo>
                <a:lnTo>
                  <a:pt x="692594" y="54901"/>
                </a:lnTo>
                <a:lnTo>
                  <a:pt x="658722" y="28053"/>
                </a:lnTo>
                <a:lnTo>
                  <a:pt x="612983" y="10040"/>
                </a:lnTo>
                <a:lnTo>
                  <a:pt x="572159" y="0"/>
                </a:lnTo>
                <a:close/>
              </a:path>
            </a:pathLst>
          </a:custGeom>
          <a:solidFill>
            <a:srgbClr val="D4A687"/>
          </a:solidFill>
        </p:spPr>
        <p:txBody>
          <a:bodyPr wrap="square" lIns="0" tIns="0" rIns="0" bIns="0" rtlCol="0"/>
          <a:lstStyle/>
          <a:p>
            <a:endParaRPr/>
          </a:p>
        </p:txBody>
      </p:sp>
      <p:sp>
        <p:nvSpPr>
          <p:cNvPr id="63" name="object 63"/>
          <p:cNvSpPr/>
          <p:nvPr/>
        </p:nvSpPr>
        <p:spPr>
          <a:xfrm>
            <a:off x="3479241" y="3361781"/>
            <a:ext cx="350337" cy="557381"/>
          </a:xfrm>
          <a:custGeom>
            <a:avLst/>
            <a:gdLst/>
            <a:ahLst/>
            <a:cxnLst/>
            <a:rect l="l" t="t" r="r" b="b"/>
            <a:pathLst>
              <a:path w="770254" h="1225550">
                <a:moveTo>
                  <a:pt x="579721" y="0"/>
                </a:moveTo>
                <a:lnTo>
                  <a:pt x="541789" y="4743"/>
                </a:lnTo>
                <a:lnTo>
                  <a:pt x="481691" y="52252"/>
                </a:lnTo>
                <a:lnTo>
                  <a:pt x="463799" y="100028"/>
                </a:lnTo>
                <a:lnTo>
                  <a:pt x="438661" y="194930"/>
                </a:lnTo>
                <a:lnTo>
                  <a:pt x="383673" y="318983"/>
                </a:lnTo>
                <a:lnTo>
                  <a:pt x="256888" y="555367"/>
                </a:lnTo>
                <a:lnTo>
                  <a:pt x="16357" y="987257"/>
                </a:lnTo>
                <a:lnTo>
                  <a:pt x="2068" y="1029262"/>
                </a:lnTo>
                <a:lnTo>
                  <a:pt x="0" y="1071961"/>
                </a:lnTo>
                <a:lnTo>
                  <a:pt x="9369" y="1113254"/>
                </a:lnTo>
                <a:lnTo>
                  <a:pt x="29395" y="1151038"/>
                </a:lnTo>
                <a:lnTo>
                  <a:pt x="59297" y="1183214"/>
                </a:lnTo>
                <a:lnTo>
                  <a:pt x="98292" y="1207680"/>
                </a:lnTo>
                <a:lnTo>
                  <a:pt x="145792" y="1223005"/>
                </a:lnTo>
                <a:lnTo>
                  <a:pt x="190774" y="1225277"/>
                </a:lnTo>
                <a:lnTo>
                  <a:pt x="234191" y="1216677"/>
                </a:lnTo>
                <a:lnTo>
                  <a:pt x="273836" y="1197933"/>
                </a:lnTo>
                <a:lnTo>
                  <a:pt x="307504" y="1169771"/>
                </a:lnTo>
                <a:lnTo>
                  <a:pt x="332986" y="1132918"/>
                </a:lnTo>
                <a:lnTo>
                  <a:pt x="727131" y="357203"/>
                </a:lnTo>
                <a:lnTo>
                  <a:pt x="743725" y="319638"/>
                </a:lnTo>
                <a:lnTo>
                  <a:pt x="757160" y="276527"/>
                </a:lnTo>
                <a:lnTo>
                  <a:pt x="766206" y="230223"/>
                </a:lnTo>
                <a:lnTo>
                  <a:pt x="769634" y="183082"/>
                </a:lnTo>
                <a:lnTo>
                  <a:pt x="766214" y="137455"/>
                </a:lnTo>
                <a:lnTo>
                  <a:pt x="754718" y="95697"/>
                </a:lnTo>
                <a:lnTo>
                  <a:pt x="733915" y="60162"/>
                </a:lnTo>
                <a:lnTo>
                  <a:pt x="702577" y="33203"/>
                </a:lnTo>
                <a:lnTo>
                  <a:pt x="660671" y="16007"/>
                </a:lnTo>
                <a:lnTo>
                  <a:pt x="620061" y="4589"/>
                </a:lnTo>
                <a:lnTo>
                  <a:pt x="579721" y="0"/>
                </a:lnTo>
                <a:close/>
              </a:path>
            </a:pathLst>
          </a:custGeom>
          <a:solidFill>
            <a:srgbClr val="F4CFB1"/>
          </a:solidFill>
        </p:spPr>
        <p:txBody>
          <a:bodyPr wrap="square" lIns="0" tIns="0" rIns="0" bIns="0" rtlCol="0"/>
          <a:lstStyle/>
          <a:p>
            <a:endParaRPr/>
          </a:p>
        </p:txBody>
      </p:sp>
      <p:sp>
        <p:nvSpPr>
          <p:cNvPr id="64" name="object 64"/>
          <p:cNvSpPr/>
          <p:nvPr/>
        </p:nvSpPr>
        <p:spPr>
          <a:xfrm>
            <a:off x="3669030" y="3359551"/>
            <a:ext cx="95310" cy="119563"/>
          </a:xfrm>
          <a:custGeom>
            <a:avLst/>
            <a:gdLst/>
            <a:ahLst/>
            <a:cxnLst/>
            <a:rect l="l" t="t" r="r" b="b"/>
            <a:pathLst>
              <a:path w="209550" h="262890">
                <a:moveTo>
                  <a:pt x="145508" y="0"/>
                </a:moveTo>
                <a:lnTo>
                  <a:pt x="97453" y="14279"/>
                </a:lnTo>
                <a:lnTo>
                  <a:pt x="64018" y="54675"/>
                </a:lnTo>
                <a:lnTo>
                  <a:pt x="41760" y="106869"/>
                </a:lnTo>
                <a:lnTo>
                  <a:pt x="20053" y="161063"/>
                </a:lnTo>
                <a:lnTo>
                  <a:pt x="4323" y="205935"/>
                </a:lnTo>
                <a:lnTo>
                  <a:pt x="0" y="230157"/>
                </a:lnTo>
                <a:lnTo>
                  <a:pt x="7770" y="241250"/>
                </a:lnTo>
                <a:lnTo>
                  <a:pt x="24103" y="252326"/>
                </a:lnTo>
                <a:lnTo>
                  <a:pt x="48079" y="260469"/>
                </a:lnTo>
                <a:lnTo>
                  <a:pt x="78772" y="262763"/>
                </a:lnTo>
                <a:lnTo>
                  <a:pt x="106750" y="260404"/>
                </a:lnTo>
                <a:lnTo>
                  <a:pt x="154236" y="227393"/>
                </a:lnTo>
                <a:lnTo>
                  <a:pt x="171024" y="191305"/>
                </a:lnTo>
                <a:lnTo>
                  <a:pt x="188621" y="139194"/>
                </a:lnTo>
                <a:lnTo>
                  <a:pt x="202611" y="90117"/>
                </a:lnTo>
                <a:lnTo>
                  <a:pt x="208930" y="51364"/>
                </a:lnTo>
                <a:lnTo>
                  <a:pt x="206275" y="35702"/>
                </a:lnTo>
                <a:lnTo>
                  <a:pt x="175062" y="5473"/>
                </a:lnTo>
                <a:lnTo>
                  <a:pt x="145508" y="0"/>
                </a:lnTo>
                <a:close/>
              </a:path>
            </a:pathLst>
          </a:custGeom>
          <a:solidFill>
            <a:srgbClr val="DDD4CA"/>
          </a:solidFill>
        </p:spPr>
        <p:txBody>
          <a:bodyPr wrap="square" lIns="0" tIns="0" rIns="0" bIns="0" rtlCol="0"/>
          <a:lstStyle/>
          <a:p>
            <a:endParaRPr/>
          </a:p>
        </p:txBody>
      </p:sp>
      <p:sp>
        <p:nvSpPr>
          <p:cNvPr id="65" name="object 65"/>
          <p:cNvSpPr/>
          <p:nvPr/>
        </p:nvSpPr>
        <p:spPr>
          <a:xfrm>
            <a:off x="4201601" y="3691594"/>
            <a:ext cx="244918" cy="154218"/>
          </a:xfrm>
          <a:custGeom>
            <a:avLst/>
            <a:gdLst/>
            <a:ahLst/>
            <a:cxnLst/>
            <a:rect l="l" t="t" r="r" b="b"/>
            <a:pathLst>
              <a:path w="538479" h="339090">
                <a:moveTo>
                  <a:pt x="371601" y="0"/>
                </a:moveTo>
                <a:lnTo>
                  <a:pt x="138613" y="20920"/>
                </a:lnTo>
                <a:lnTo>
                  <a:pt x="91107" y="33662"/>
                </a:lnTo>
                <a:lnTo>
                  <a:pt x="51209" y="60105"/>
                </a:lnTo>
                <a:lnTo>
                  <a:pt x="21203" y="97410"/>
                </a:lnTo>
                <a:lnTo>
                  <a:pt x="3372" y="142738"/>
                </a:lnTo>
                <a:lnTo>
                  <a:pt x="0" y="193250"/>
                </a:lnTo>
                <a:lnTo>
                  <a:pt x="282" y="196433"/>
                </a:lnTo>
                <a:lnTo>
                  <a:pt x="12464" y="245424"/>
                </a:lnTo>
                <a:lnTo>
                  <a:pt x="37947" y="286515"/>
                </a:lnTo>
                <a:lnTo>
                  <a:pt x="73987" y="317359"/>
                </a:lnTo>
                <a:lnTo>
                  <a:pt x="117842" y="335607"/>
                </a:lnTo>
                <a:lnTo>
                  <a:pt x="166769" y="338911"/>
                </a:lnTo>
                <a:lnTo>
                  <a:pt x="399757" y="318000"/>
                </a:lnTo>
                <a:lnTo>
                  <a:pt x="447264" y="305259"/>
                </a:lnTo>
                <a:lnTo>
                  <a:pt x="487165" y="278815"/>
                </a:lnTo>
                <a:lnTo>
                  <a:pt x="517174" y="241508"/>
                </a:lnTo>
                <a:lnTo>
                  <a:pt x="535007" y="196177"/>
                </a:lnTo>
                <a:lnTo>
                  <a:pt x="538381" y="145660"/>
                </a:lnTo>
                <a:lnTo>
                  <a:pt x="538098" y="142487"/>
                </a:lnTo>
                <a:lnTo>
                  <a:pt x="525912" y="93493"/>
                </a:lnTo>
                <a:lnTo>
                  <a:pt x="500429" y="52400"/>
                </a:lnTo>
                <a:lnTo>
                  <a:pt x="464388" y="21557"/>
                </a:lnTo>
                <a:lnTo>
                  <a:pt x="420532" y="3308"/>
                </a:lnTo>
                <a:lnTo>
                  <a:pt x="371601" y="0"/>
                </a:lnTo>
                <a:close/>
              </a:path>
            </a:pathLst>
          </a:custGeom>
          <a:solidFill>
            <a:srgbClr val="F4CFB1"/>
          </a:solidFill>
        </p:spPr>
        <p:txBody>
          <a:bodyPr wrap="square" lIns="0" tIns="0" rIns="0" bIns="0" rtlCol="0"/>
          <a:lstStyle/>
          <a:p>
            <a:endParaRPr/>
          </a:p>
        </p:txBody>
      </p:sp>
      <p:sp>
        <p:nvSpPr>
          <p:cNvPr id="66" name="object 66"/>
          <p:cNvSpPr/>
          <p:nvPr/>
        </p:nvSpPr>
        <p:spPr>
          <a:xfrm>
            <a:off x="4203181" y="3723890"/>
            <a:ext cx="113700" cy="101672"/>
          </a:xfrm>
          <a:prstGeom prst="rect">
            <a:avLst/>
          </a:prstGeom>
          <a:blipFill>
            <a:blip r:embed="rId5" cstate="print"/>
            <a:stretch>
              <a:fillRect/>
            </a:stretch>
          </a:blipFill>
        </p:spPr>
        <p:txBody>
          <a:bodyPr wrap="square" lIns="0" tIns="0" rIns="0" bIns="0" rtlCol="0"/>
          <a:lstStyle/>
          <a:p>
            <a:endParaRPr/>
          </a:p>
        </p:txBody>
      </p:sp>
      <p:sp>
        <p:nvSpPr>
          <p:cNvPr id="67" name="object 67"/>
          <p:cNvSpPr/>
          <p:nvPr/>
        </p:nvSpPr>
        <p:spPr>
          <a:xfrm>
            <a:off x="4148816" y="3854951"/>
            <a:ext cx="248095" cy="154796"/>
          </a:xfrm>
          <a:custGeom>
            <a:avLst/>
            <a:gdLst/>
            <a:ahLst/>
            <a:cxnLst/>
            <a:rect l="l" t="t" r="r" b="b"/>
            <a:pathLst>
              <a:path w="545465" h="340359">
                <a:moveTo>
                  <a:pt x="376522" y="0"/>
                </a:moveTo>
                <a:lnTo>
                  <a:pt x="140142" y="20334"/>
                </a:lnTo>
                <a:lnTo>
                  <a:pt x="91970" y="33010"/>
                </a:lnTo>
                <a:lnTo>
                  <a:pt x="51562" y="59490"/>
                </a:lnTo>
                <a:lnTo>
                  <a:pt x="21226" y="96927"/>
                </a:lnTo>
                <a:lnTo>
                  <a:pt x="3269" y="142473"/>
                </a:lnTo>
                <a:lnTo>
                  <a:pt x="0" y="193282"/>
                </a:lnTo>
                <a:lnTo>
                  <a:pt x="293" y="196486"/>
                </a:lnTo>
                <a:lnTo>
                  <a:pt x="12804" y="245807"/>
                </a:lnTo>
                <a:lnTo>
                  <a:pt x="38788" y="287222"/>
                </a:lnTo>
                <a:lnTo>
                  <a:pt x="75456" y="318362"/>
                </a:lnTo>
                <a:lnTo>
                  <a:pt x="120017" y="336856"/>
                </a:lnTo>
                <a:lnTo>
                  <a:pt x="169680" y="340335"/>
                </a:lnTo>
                <a:lnTo>
                  <a:pt x="355022" y="324391"/>
                </a:lnTo>
                <a:lnTo>
                  <a:pt x="545056" y="140494"/>
                </a:lnTo>
                <a:lnTo>
                  <a:pt x="533399" y="94533"/>
                </a:lnTo>
                <a:lnTo>
                  <a:pt x="507414" y="53114"/>
                </a:lnTo>
                <a:lnTo>
                  <a:pt x="470746" y="21973"/>
                </a:lnTo>
                <a:lnTo>
                  <a:pt x="426185" y="3478"/>
                </a:lnTo>
                <a:lnTo>
                  <a:pt x="376522" y="0"/>
                </a:lnTo>
                <a:close/>
              </a:path>
            </a:pathLst>
          </a:custGeom>
          <a:solidFill>
            <a:srgbClr val="F4CFB1"/>
          </a:solidFill>
        </p:spPr>
        <p:txBody>
          <a:bodyPr wrap="square" lIns="0" tIns="0" rIns="0" bIns="0" rtlCol="0"/>
          <a:lstStyle/>
          <a:p>
            <a:endParaRPr/>
          </a:p>
        </p:txBody>
      </p:sp>
      <p:sp>
        <p:nvSpPr>
          <p:cNvPr id="68" name="object 68"/>
          <p:cNvSpPr/>
          <p:nvPr/>
        </p:nvSpPr>
        <p:spPr>
          <a:xfrm>
            <a:off x="4150326" y="3887936"/>
            <a:ext cx="111899" cy="99153"/>
          </a:xfrm>
          <a:prstGeom prst="rect">
            <a:avLst/>
          </a:prstGeom>
          <a:blipFill>
            <a:blip r:embed="rId6" cstate="print"/>
            <a:stretch>
              <a:fillRect/>
            </a:stretch>
          </a:blipFill>
        </p:spPr>
        <p:txBody>
          <a:bodyPr wrap="square" lIns="0" tIns="0" rIns="0" bIns="0" rtlCol="0"/>
          <a:lstStyle/>
          <a:p>
            <a:endParaRPr/>
          </a:p>
        </p:txBody>
      </p:sp>
      <p:sp>
        <p:nvSpPr>
          <p:cNvPr id="69" name="object 69"/>
          <p:cNvSpPr/>
          <p:nvPr/>
        </p:nvSpPr>
        <p:spPr>
          <a:xfrm>
            <a:off x="4107800" y="4021814"/>
            <a:ext cx="182245" cy="136890"/>
          </a:xfrm>
          <a:custGeom>
            <a:avLst/>
            <a:gdLst/>
            <a:ahLst/>
            <a:cxnLst/>
            <a:rect l="l" t="t" r="r" b="b"/>
            <a:pathLst>
              <a:path w="400684" h="300990">
                <a:moveTo>
                  <a:pt x="381161" y="0"/>
                </a:moveTo>
                <a:lnTo>
                  <a:pt x="142288" y="19664"/>
                </a:lnTo>
                <a:lnTo>
                  <a:pt x="93570" y="31536"/>
                </a:lnTo>
                <a:lnTo>
                  <a:pt x="52638" y="56108"/>
                </a:lnTo>
                <a:lnTo>
                  <a:pt x="21836" y="90746"/>
                </a:lnTo>
                <a:lnTo>
                  <a:pt x="3509" y="132811"/>
                </a:lnTo>
                <a:lnTo>
                  <a:pt x="0" y="179669"/>
                </a:lnTo>
                <a:lnTo>
                  <a:pt x="282" y="182622"/>
                </a:lnTo>
                <a:lnTo>
                  <a:pt x="12720" y="228051"/>
                </a:lnTo>
                <a:lnTo>
                  <a:pt x="38799" y="266136"/>
                </a:lnTo>
                <a:lnTo>
                  <a:pt x="75713" y="294705"/>
                </a:lnTo>
                <a:lnTo>
                  <a:pt x="90862" y="300394"/>
                </a:lnTo>
                <a:lnTo>
                  <a:pt x="400106" y="1136"/>
                </a:lnTo>
                <a:lnTo>
                  <a:pt x="381161" y="0"/>
                </a:lnTo>
                <a:close/>
              </a:path>
            </a:pathLst>
          </a:custGeom>
          <a:solidFill>
            <a:srgbClr val="F4CFB1"/>
          </a:solidFill>
        </p:spPr>
        <p:txBody>
          <a:bodyPr wrap="square" lIns="0" tIns="0" rIns="0" bIns="0" rtlCol="0"/>
          <a:lstStyle/>
          <a:p>
            <a:endParaRPr/>
          </a:p>
        </p:txBody>
      </p:sp>
      <p:sp>
        <p:nvSpPr>
          <p:cNvPr id="70" name="object 70"/>
          <p:cNvSpPr/>
          <p:nvPr/>
        </p:nvSpPr>
        <p:spPr>
          <a:xfrm>
            <a:off x="4110231" y="4055509"/>
            <a:ext cx="101598" cy="89090"/>
          </a:xfrm>
          <a:prstGeom prst="rect">
            <a:avLst/>
          </a:prstGeom>
          <a:blipFill>
            <a:blip r:embed="rId7" cstate="print"/>
            <a:stretch>
              <a:fillRect/>
            </a:stretch>
          </a:blipFill>
        </p:spPr>
        <p:txBody>
          <a:bodyPr wrap="square" lIns="0" tIns="0" rIns="0" bIns="0" rtlCol="0"/>
          <a:lstStyle/>
          <a:p>
            <a:endParaRPr/>
          </a:p>
        </p:txBody>
      </p:sp>
      <p:sp>
        <p:nvSpPr>
          <p:cNvPr id="71" name="object 71"/>
          <p:cNvSpPr/>
          <p:nvPr/>
        </p:nvSpPr>
        <p:spPr>
          <a:xfrm>
            <a:off x="3907868" y="3321622"/>
            <a:ext cx="404057" cy="404029"/>
          </a:xfrm>
          <a:custGeom>
            <a:avLst/>
            <a:gdLst/>
            <a:ahLst/>
            <a:cxnLst/>
            <a:rect l="l" t="t" r="r" b="b"/>
            <a:pathLst>
              <a:path w="888365" h="888365">
                <a:moveTo>
                  <a:pt x="466738" y="0"/>
                </a:moveTo>
                <a:lnTo>
                  <a:pt x="419942" y="77"/>
                </a:lnTo>
                <a:lnTo>
                  <a:pt x="373925" y="5032"/>
                </a:lnTo>
                <a:lnTo>
                  <a:pt x="329023" y="14672"/>
                </a:lnTo>
                <a:lnTo>
                  <a:pt x="285571" y="28807"/>
                </a:lnTo>
                <a:lnTo>
                  <a:pt x="243905" y="47243"/>
                </a:lnTo>
                <a:lnTo>
                  <a:pt x="204361" y="69791"/>
                </a:lnTo>
                <a:lnTo>
                  <a:pt x="167275" y="96259"/>
                </a:lnTo>
                <a:lnTo>
                  <a:pt x="132982" y="126454"/>
                </a:lnTo>
                <a:lnTo>
                  <a:pt x="101817" y="160187"/>
                </a:lnTo>
                <a:lnTo>
                  <a:pt x="74117" y="197265"/>
                </a:lnTo>
                <a:lnTo>
                  <a:pt x="50218" y="237496"/>
                </a:lnTo>
                <a:lnTo>
                  <a:pt x="30454" y="280690"/>
                </a:lnTo>
                <a:lnTo>
                  <a:pt x="15162" y="326655"/>
                </a:lnTo>
                <a:lnTo>
                  <a:pt x="4912" y="374002"/>
                </a:lnTo>
                <a:lnTo>
                  <a:pt x="51" y="420015"/>
                </a:lnTo>
                <a:lnTo>
                  <a:pt x="0" y="468037"/>
                </a:lnTo>
                <a:lnTo>
                  <a:pt x="4954" y="514054"/>
                </a:lnTo>
                <a:lnTo>
                  <a:pt x="14595" y="558956"/>
                </a:lnTo>
                <a:lnTo>
                  <a:pt x="28730" y="602408"/>
                </a:lnTo>
                <a:lnTo>
                  <a:pt x="47167" y="644073"/>
                </a:lnTo>
                <a:lnTo>
                  <a:pt x="69716" y="683617"/>
                </a:lnTo>
                <a:lnTo>
                  <a:pt x="96185" y="720704"/>
                </a:lnTo>
                <a:lnTo>
                  <a:pt x="126383" y="754997"/>
                </a:lnTo>
                <a:lnTo>
                  <a:pt x="160117" y="786162"/>
                </a:lnTo>
                <a:lnTo>
                  <a:pt x="197197" y="813861"/>
                </a:lnTo>
                <a:lnTo>
                  <a:pt x="237432" y="837761"/>
                </a:lnTo>
                <a:lnTo>
                  <a:pt x="280629" y="857525"/>
                </a:lnTo>
                <a:lnTo>
                  <a:pt x="326598" y="872816"/>
                </a:lnTo>
                <a:lnTo>
                  <a:pt x="373941" y="883067"/>
                </a:lnTo>
                <a:lnTo>
                  <a:pt x="421177" y="888057"/>
                </a:lnTo>
                <a:lnTo>
                  <a:pt x="467971" y="887979"/>
                </a:lnTo>
                <a:lnTo>
                  <a:pt x="513986" y="883025"/>
                </a:lnTo>
                <a:lnTo>
                  <a:pt x="558886" y="873384"/>
                </a:lnTo>
                <a:lnTo>
                  <a:pt x="602337" y="859250"/>
                </a:lnTo>
                <a:lnTo>
                  <a:pt x="644002" y="840812"/>
                </a:lnTo>
                <a:lnTo>
                  <a:pt x="683546" y="818264"/>
                </a:lnTo>
                <a:lnTo>
                  <a:pt x="720632" y="791796"/>
                </a:lnTo>
                <a:lnTo>
                  <a:pt x="754925" y="761599"/>
                </a:lnTo>
                <a:lnTo>
                  <a:pt x="786089" y="727866"/>
                </a:lnTo>
                <a:lnTo>
                  <a:pt x="813788" y="690787"/>
                </a:lnTo>
                <a:lnTo>
                  <a:pt x="837686" y="650554"/>
                </a:lnTo>
                <a:lnTo>
                  <a:pt x="857448" y="607358"/>
                </a:lnTo>
                <a:lnTo>
                  <a:pt x="872738" y="561391"/>
                </a:lnTo>
                <a:lnTo>
                  <a:pt x="882989" y="514047"/>
                </a:lnTo>
                <a:lnTo>
                  <a:pt x="887979" y="466809"/>
                </a:lnTo>
                <a:lnTo>
                  <a:pt x="887902" y="420015"/>
                </a:lnTo>
                <a:lnTo>
                  <a:pt x="882947" y="373999"/>
                </a:lnTo>
                <a:lnTo>
                  <a:pt x="873307" y="329098"/>
                </a:lnTo>
                <a:lnTo>
                  <a:pt x="859172" y="285647"/>
                </a:lnTo>
                <a:lnTo>
                  <a:pt x="840736" y="243982"/>
                </a:lnTo>
                <a:lnTo>
                  <a:pt x="818188" y="204438"/>
                </a:lnTo>
                <a:lnTo>
                  <a:pt x="791720" y="167352"/>
                </a:lnTo>
                <a:lnTo>
                  <a:pt x="761524" y="133059"/>
                </a:lnTo>
                <a:lnTo>
                  <a:pt x="727792" y="101895"/>
                </a:lnTo>
                <a:lnTo>
                  <a:pt x="690714" y="74195"/>
                </a:lnTo>
                <a:lnTo>
                  <a:pt x="650483" y="50296"/>
                </a:lnTo>
                <a:lnTo>
                  <a:pt x="607289" y="30532"/>
                </a:lnTo>
                <a:lnTo>
                  <a:pt x="561324" y="15240"/>
                </a:lnTo>
                <a:lnTo>
                  <a:pt x="513977" y="4990"/>
                </a:lnTo>
                <a:lnTo>
                  <a:pt x="466738" y="0"/>
                </a:lnTo>
                <a:close/>
              </a:path>
            </a:pathLst>
          </a:custGeom>
          <a:solidFill>
            <a:srgbClr val="FF7900"/>
          </a:solidFill>
        </p:spPr>
        <p:txBody>
          <a:bodyPr wrap="square" lIns="0" tIns="0" rIns="0" bIns="0" rtlCol="0"/>
          <a:lstStyle/>
          <a:p>
            <a:endParaRPr/>
          </a:p>
        </p:txBody>
      </p:sp>
      <p:sp>
        <p:nvSpPr>
          <p:cNvPr id="72" name="object 72"/>
          <p:cNvSpPr txBox="1"/>
          <p:nvPr/>
        </p:nvSpPr>
        <p:spPr>
          <a:xfrm rot="1020000">
            <a:off x="3918972" y="3440239"/>
            <a:ext cx="361734" cy="184831"/>
          </a:xfrm>
          <a:prstGeom prst="rect">
            <a:avLst/>
          </a:prstGeom>
        </p:spPr>
        <p:txBody>
          <a:bodyPr vert="horz" wrap="square" lIns="0" tIns="0" rIns="0" bIns="0" rtlCol="0">
            <a:spAutoFit/>
          </a:bodyPr>
          <a:lstStyle/>
          <a:p>
            <a:pPr>
              <a:lnSpc>
                <a:spcPts val="1399"/>
              </a:lnSpc>
            </a:pPr>
            <a:r>
              <a:rPr sz="1500" b="1" dirty="0">
                <a:solidFill>
                  <a:srgbClr val="FFFFFF"/>
                </a:solidFill>
                <a:latin typeface="Helvetica"/>
                <a:cs typeface="Helvetica"/>
              </a:rPr>
              <a:t>Oui</a:t>
            </a:r>
            <a:endParaRPr sz="1500">
              <a:latin typeface="Helvetica"/>
              <a:cs typeface="Helvetica"/>
            </a:endParaRPr>
          </a:p>
        </p:txBody>
      </p:sp>
      <p:sp>
        <p:nvSpPr>
          <p:cNvPr id="73" name="object 73"/>
          <p:cNvSpPr/>
          <p:nvPr/>
        </p:nvSpPr>
        <p:spPr>
          <a:xfrm>
            <a:off x="4698393" y="3147561"/>
            <a:ext cx="166937" cy="144399"/>
          </a:xfrm>
          <a:custGeom>
            <a:avLst/>
            <a:gdLst/>
            <a:ahLst/>
            <a:cxnLst/>
            <a:rect l="l" t="t" r="r" b="b"/>
            <a:pathLst>
              <a:path w="367029" h="317500">
                <a:moveTo>
                  <a:pt x="20656" y="96023"/>
                </a:moveTo>
                <a:lnTo>
                  <a:pt x="11181" y="99828"/>
                </a:lnTo>
                <a:lnTo>
                  <a:pt x="3933" y="106993"/>
                </a:lnTo>
                <a:lnTo>
                  <a:pt x="127" y="116072"/>
                </a:lnTo>
                <a:lnTo>
                  <a:pt x="0" y="125918"/>
                </a:lnTo>
                <a:lnTo>
                  <a:pt x="3789" y="135387"/>
                </a:lnTo>
                <a:lnTo>
                  <a:pt x="119649" y="312083"/>
                </a:lnTo>
                <a:lnTo>
                  <a:pt x="127293" y="316386"/>
                </a:lnTo>
                <a:lnTo>
                  <a:pt x="143973" y="316994"/>
                </a:lnTo>
                <a:lnTo>
                  <a:pt x="151879" y="313266"/>
                </a:lnTo>
                <a:lnTo>
                  <a:pt x="203076" y="246745"/>
                </a:lnTo>
                <a:lnTo>
                  <a:pt x="138256" y="246745"/>
                </a:lnTo>
                <a:lnTo>
                  <a:pt x="46751" y="107220"/>
                </a:lnTo>
                <a:lnTo>
                  <a:pt x="39585" y="99963"/>
                </a:lnTo>
                <a:lnTo>
                  <a:pt x="30505" y="96150"/>
                </a:lnTo>
                <a:lnTo>
                  <a:pt x="20656" y="96023"/>
                </a:lnTo>
                <a:close/>
              </a:path>
              <a:path w="367029" h="317500">
                <a:moveTo>
                  <a:pt x="337648" y="0"/>
                </a:moveTo>
                <a:lnTo>
                  <a:pt x="328307" y="3107"/>
                </a:lnTo>
                <a:lnTo>
                  <a:pt x="320607" y="9788"/>
                </a:lnTo>
                <a:lnTo>
                  <a:pt x="138256" y="246745"/>
                </a:lnTo>
                <a:lnTo>
                  <a:pt x="203076" y="246745"/>
                </a:lnTo>
                <a:lnTo>
                  <a:pt x="361317" y="41138"/>
                </a:lnTo>
                <a:lnTo>
                  <a:pt x="365819" y="31981"/>
                </a:lnTo>
                <a:lnTo>
                  <a:pt x="366438" y="22149"/>
                </a:lnTo>
                <a:lnTo>
                  <a:pt x="363326" y="12805"/>
                </a:lnTo>
                <a:lnTo>
                  <a:pt x="356637" y="5108"/>
                </a:lnTo>
                <a:lnTo>
                  <a:pt x="347476" y="616"/>
                </a:lnTo>
                <a:lnTo>
                  <a:pt x="337648" y="0"/>
                </a:lnTo>
                <a:close/>
              </a:path>
            </a:pathLst>
          </a:custGeom>
          <a:solidFill>
            <a:srgbClr val="50BD86"/>
          </a:solidFill>
        </p:spPr>
        <p:txBody>
          <a:bodyPr wrap="square" lIns="0" tIns="0" rIns="0" bIns="0" rtlCol="0"/>
          <a:lstStyle/>
          <a:p>
            <a:endParaRPr/>
          </a:p>
        </p:txBody>
      </p:sp>
      <p:sp>
        <p:nvSpPr>
          <p:cNvPr id="74" name="object 74"/>
          <p:cNvSpPr/>
          <p:nvPr/>
        </p:nvSpPr>
        <p:spPr>
          <a:xfrm>
            <a:off x="4637850" y="3064421"/>
            <a:ext cx="285931" cy="285910"/>
          </a:xfrm>
          <a:custGeom>
            <a:avLst/>
            <a:gdLst/>
            <a:ahLst/>
            <a:cxnLst/>
            <a:rect l="l" t="t" r="r" b="b"/>
            <a:pathLst>
              <a:path w="628650" h="628650">
                <a:moveTo>
                  <a:pt x="324953" y="0"/>
                </a:moveTo>
                <a:lnTo>
                  <a:pt x="278463" y="1835"/>
                </a:lnTo>
                <a:lnTo>
                  <a:pt x="233843" y="10242"/>
                </a:lnTo>
                <a:lnTo>
                  <a:pt x="191600" y="24746"/>
                </a:lnTo>
                <a:lnTo>
                  <a:pt x="152240" y="44876"/>
                </a:lnTo>
                <a:lnTo>
                  <a:pt x="116269" y="70157"/>
                </a:lnTo>
                <a:lnTo>
                  <a:pt x="84195" y="100117"/>
                </a:lnTo>
                <a:lnTo>
                  <a:pt x="56524" y="134283"/>
                </a:lnTo>
                <a:lnTo>
                  <a:pt x="33762" y="172181"/>
                </a:lnTo>
                <a:lnTo>
                  <a:pt x="16417" y="213339"/>
                </a:lnTo>
                <a:lnTo>
                  <a:pt x="4994" y="257283"/>
                </a:lnTo>
                <a:lnTo>
                  <a:pt x="0" y="303540"/>
                </a:lnTo>
                <a:lnTo>
                  <a:pt x="1835" y="350030"/>
                </a:lnTo>
                <a:lnTo>
                  <a:pt x="10243" y="394650"/>
                </a:lnTo>
                <a:lnTo>
                  <a:pt x="24748" y="436893"/>
                </a:lnTo>
                <a:lnTo>
                  <a:pt x="44879" y="476253"/>
                </a:lnTo>
                <a:lnTo>
                  <a:pt x="70162" y="512223"/>
                </a:lnTo>
                <a:lnTo>
                  <a:pt x="100123" y="544298"/>
                </a:lnTo>
                <a:lnTo>
                  <a:pt x="134290" y="571969"/>
                </a:lnTo>
                <a:lnTo>
                  <a:pt x="172190" y="594730"/>
                </a:lnTo>
                <a:lnTo>
                  <a:pt x="213348" y="612076"/>
                </a:lnTo>
                <a:lnTo>
                  <a:pt x="257293" y="623499"/>
                </a:lnTo>
                <a:lnTo>
                  <a:pt x="303550" y="628493"/>
                </a:lnTo>
                <a:lnTo>
                  <a:pt x="350040" y="626658"/>
                </a:lnTo>
                <a:lnTo>
                  <a:pt x="394659" y="618250"/>
                </a:lnTo>
                <a:lnTo>
                  <a:pt x="436902" y="603745"/>
                </a:lnTo>
                <a:lnTo>
                  <a:pt x="476260" y="583614"/>
                </a:lnTo>
                <a:lnTo>
                  <a:pt x="485465" y="577144"/>
                </a:lnTo>
                <a:lnTo>
                  <a:pt x="305299" y="577144"/>
                </a:lnTo>
                <a:lnTo>
                  <a:pt x="258246" y="571295"/>
                </a:lnTo>
                <a:lnTo>
                  <a:pt x="214216" y="557551"/>
                </a:lnTo>
                <a:lnTo>
                  <a:pt x="173931" y="536687"/>
                </a:lnTo>
                <a:lnTo>
                  <a:pt x="138114" y="509475"/>
                </a:lnTo>
                <a:lnTo>
                  <a:pt x="107488" y="476690"/>
                </a:lnTo>
                <a:lnTo>
                  <a:pt x="82776" y="439105"/>
                </a:lnTo>
                <a:lnTo>
                  <a:pt x="64700" y="397494"/>
                </a:lnTo>
                <a:lnTo>
                  <a:pt x="53983" y="352630"/>
                </a:lnTo>
                <a:lnTo>
                  <a:pt x="51349" y="305289"/>
                </a:lnTo>
                <a:lnTo>
                  <a:pt x="57198" y="258239"/>
                </a:lnTo>
                <a:lnTo>
                  <a:pt x="70942" y="214211"/>
                </a:lnTo>
                <a:lnTo>
                  <a:pt x="91806" y="173928"/>
                </a:lnTo>
                <a:lnTo>
                  <a:pt x="119018" y="138112"/>
                </a:lnTo>
                <a:lnTo>
                  <a:pt x="151803" y="107487"/>
                </a:lnTo>
                <a:lnTo>
                  <a:pt x="189388" y="82775"/>
                </a:lnTo>
                <a:lnTo>
                  <a:pt x="230999" y="64700"/>
                </a:lnTo>
                <a:lnTo>
                  <a:pt x="275863" y="53983"/>
                </a:lnTo>
                <a:lnTo>
                  <a:pt x="323204" y="51349"/>
                </a:lnTo>
                <a:lnTo>
                  <a:pt x="485598" y="51349"/>
                </a:lnTo>
                <a:lnTo>
                  <a:pt x="456312" y="33761"/>
                </a:lnTo>
                <a:lnTo>
                  <a:pt x="415154" y="16416"/>
                </a:lnTo>
                <a:lnTo>
                  <a:pt x="371210" y="4993"/>
                </a:lnTo>
                <a:lnTo>
                  <a:pt x="324953" y="0"/>
                </a:lnTo>
                <a:close/>
              </a:path>
              <a:path w="628650" h="628650">
                <a:moveTo>
                  <a:pt x="485598" y="51349"/>
                </a:moveTo>
                <a:lnTo>
                  <a:pt x="323204" y="51349"/>
                </a:lnTo>
                <a:lnTo>
                  <a:pt x="370254" y="57201"/>
                </a:lnTo>
                <a:lnTo>
                  <a:pt x="414282" y="70946"/>
                </a:lnTo>
                <a:lnTo>
                  <a:pt x="454565" y="91811"/>
                </a:lnTo>
                <a:lnTo>
                  <a:pt x="490381" y="119021"/>
                </a:lnTo>
                <a:lnTo>
                  <a:pt x="521006" y="151805"/>
                </a:lnTo>
                <a:lnTo>
                  <a:pt x="545718" y="189388"/>
                </a:lnTo>
                <a:lnTo>
                  <a:pt x="563793" y="230996"/>
                </a:lnTo>
                <a:lnTo>
                  <a:pt x="574510" y="275856"/>
                </a:lnTo>
                <a:lnTo>
                  <a:pt x="577144" y="323194"/>
                </a:lnTo>
                <a:lnTo>
                  <a:pt x="571292" y="370247"/>
                </a:lnTo>
                <a:lnTo>
                  <a:pt x="557547" y="414277"/>
                </a:lnTo>
                <a:lnTo>
                  <a:pt x="536682" y="454562"/>
                </a:lnTo>
                <a:lnTo>
                  <a:pt x="509471" y="490379"/>
                </a:lnTo>
                <a:lnTo>
                  <a:pt x="476688" y="521005"/>
                </a:lnTo>
                <a:lnTo>
                  <a:pt x="439105" y="545717"/>
                </a:lnTo>
                <a:lnTo>
                  <a:pt x="397497" y="563793"/>
                </a:lnTo>
                <a:lnTo>
                  <a:pt x="352637" y="574510"/>
                </a:lnTo>
                <a:lnTo>
                  <a:pt x="305299" y="577144"/>
                </a:lnTo>
                <a:lnTo>
                  <a:pt x="485465" y="577144"/>
                </a:lnTo>
                <a:lnTo>
                  <a:pt x="544302" y="528370"/>
                </a:lnTo>
                <a:lnTo>
                  <a:pt x="571972" y="494203"/>
                </a:lnTo>
                <a:lnTo>
                  <a:pt x="594732" y="456303"/>
                </a:lnTo>
                <a:lnTo>
                  <a:pt x="612077" y="415144"/>
                </a:lnTo>
                <a:lnTo>
                  <a:pt x="623500" y="371200"/>
                </a:lnTo>
                <a:lnTo>
                  <a:pt x="628493" y="324942"/>
                </a:lnTo>
                <a:lnTo>
                  <a:pt x="626658" y="278453"/>
                </a:lnTo>
                <a:lnTo>
                  <a:pt x="618251" y="233834"/>
                </a:lnTo>
                <a:lnTo>
                  <a:pt x="603747" y="191591"/>
                </a:lnTo>
                <a:lnTo>
                  <a:pt x="583617" y="152233"/>
                </a:lnTo>
                <a:lnTo>
                  <a:pt x="558336" y="116264"/>
                </a:lnTo>
                <a:lnTo>
                  <a:pt x="528376" y="84191"/>
                </a:lnTo>
                <a:lnTo>
                  <a:pt x="494210" y="56521"/>
                </a:lnTo>
                <a:lnTo>
                  <a:pt x="485598" y="51349"/>
                </a:lnTo>
                <a:close/>
              </a:path>
            </a:pathLst>
          </a:custGeom>
          <a:solidFill>
            <a:srgbClr val="FFFFFF"/>
          </a:solidFill>
        </p:spPr>
        <p:txBody>
          <a:bodyPr wrap="square" lIns="0" tIns="0" rIns="0" bIns="0" rtlCol="0"/>
          <a:lstStyle/>
          <a:p>
            <a:endParaRPr/>
          </a:p>
        </p:txBody>
      </p:sp>
      <p:sp>
        <p:nvSpPr>
          <p:cNvPr id="75" name="object 75"/>
          <p:cNvSpPr/>
          <p:nvPr/>
        </p:nvSpPr>
        <p:spPr>
          <a:xfrm>
            <a:off x="1567554" y="2410405"/>
            <a:ext cx="1303728" cy="1303636"/>
          </a:xfrm>
          <a:custGeom>
            <a:avLst/>
            <a:gdLst/>
            <a:ahLst/>
            <a:cxnLst/>
            <a:rect l="l" t="t" r="r" b="b"/>
            <a:pathLst>
              <a:path w="2866390" h="2866390">
                <a:moveTo>
                  <a:pt x="1433066" y="0"/>
                </a:moveTo>
                <a:lnTo>
                  <a:pt x="1384800" y="797"/>
                </a:lnTo>
                <a:lnTo>
                  <a:pt x="1336934" y="3173"/>
                </a:lnTo>
                <a:lnTo>
                  <a:pt x="1289493" y="7102"/>
                </a:lnTo>
                <a:lnTo>
                  <a:pt x="1242502" y="12559"/>
                </a:lnTo>
                <a:lnTo>
                  <a:pt x="1195985" y="19519"/>
                </a:lnTo>
                <a:lnTo>
                  <a:pt x="1149968" y="27957"/>
                </a:lnTo>
                <a:lnTo>
                  <a:pt x="1104476" y="37848"/>
                </a:lnTo>
                <a:lnTo>
                  <a:pt x="1059534" y="49166"/>
                </a:lnTo>
                <a:lnTo>
                  <a:pt x="1015168" y="61888"/>
                </a:lnTo>
                <a:lnTo>
                  <a:pt x="971401" y="75987"/>
                </a:lnTo>
                <a:lnTo>
                  <a:pt x="928260" y="91438"/>
                </a:lnTo>
                <a:lnTo>
                  <a:pt x="885769" y="108217"/>
                </a:lnTo>
                <a:lnTo>
                  <a:pt x="843954" y="126299"/>
                </a:lnTo>
                <a:lnTo>
                  <a:pt x="802839" y="145658"/>
                </a:lnTo>
                <a:lnTo>
                  <a:pt x="762449" y="166269"/>
                </a:lnTo>
                <a:lnTo>
                  <a:pt x="722811" y="188107"/>
                </a:lnTo>
                <a:lnTo>
                  <a:pt x="683948" y="211147"/>
                </a:lnTo>
                <a:lnTo>
                  <a:pt x="645886" y="235364"/>
                </a:lnTo>
                <a:lnTo>
                  <a:pt x="608649" y="260734"/>
                </a:lnTo>
                <a:lnTo>
                  <a:pt x="572264" y="287230"/>
                </a:lnTo>
                <a:lnTo>
                  <a:pt x="536755" y="314827"/>
                </a:lnTo>
                <a:lnTo>
                  <a:pt x="502147" y="343502"/>
                </a:lnTo>
                <a:lnTo>
                  <a:pt x="468465" y="373228"/>
                </a:lnTo>
                <a:lnTo>
                  <a:pt x="435735" y="403981"/>
                </a:lnTo>
                <a:lnTo>
                  <a:pt x="403981" y="435735"/>
                </a:lnTo>
                <a:lnTo>
                  <a:pt x="373228" y="468465"/>
                </a:lnTo>
                <a:lnTo>
                  <a:pt x="343502" y="502147"/>
                </a:lnTo>
                <a:lnTo>
                  <a:pt x="314827" y="536755"/>
                </a:lnTo>
                <a:lnTo>
                  <a:pt x="287230" y="572264"/>
                </a:lnTo>
                <a:lnTo>
                  <a:pt x="260734" y="608649"/>
                </a:lnTo>
                <a:lnTo>
                  <a:pt x="235364" y="645886"/>
                </a:lnTo>
                <a:lnTo>
                  <a:pt x="211147" y="683948"/>
                </a:lnTo>
                <a:lnTo>
                  <a:pt x="188107" y="722811"/>
                </a:lnTo>
                <a:lnTo>
                  <a:pt x="166269" y="762449"/>
                </a:lnTo>
                <a:lnTo>
                  <a:pt x="145658" y="802839"/>
                </a:lnTo>
                <a:lnTo>
                  <a:pt x="126299" y="843954"/>
                </a:lnTo>
                <a:lnTo>
                  <a:pt x="108217" y="885769"/>
                </a:lnTo>
                <a:lnTo>
                  <a:pt x="91438" y="928260"/>
                </a:lnTo>
                <a:lnTo>
                  <a:pt x="75987" y="971401"/>
                </a:lnTo>
                <a:lnTo>
                  <a:pt x="61888" y="1015168"/>
                </a:lnTo>
                <a:lnTo>
                  <a:pt x="49166" y="1059534"/>
                </a:lnTo>
                <a:lnTo>
                  <a:pt x="37848" y="1104476"/>
                </a:lnTo>
                <a:lnTo>
                  <a:pt x="27957" y="1149968"/>
                </a:lnTo>
                <a:lnTo>
                  <a:pt x="19519" y="1195985"/>
                </a:lnTo>
                <a:lnTo>
                  <a:pt x="12559" y="1242502"/>
                </a:lnTo>
                <a:lnTo>
                  <a:pt x="7102" y="1289493"/>
                </a:lnTo>
                <a:lnTo>
                  <a:pt x="3173" y="1336934"/>
                </a:lnTo>
                <a:lnTo>
                  <a:pt x="797" y="1384800"/>
                </a:lnTo>
                <a:lnTo>
                  <a:pt x="0" y="1433066"/>
                </a:lnTo>
                <a:lnTo>
                  <a:pt x="797" y="1481331"/>
                </a:lnTo>
                <a:lnTo>
                  <a:pt x="3173" y="1529197"/>
                </a:lnTo>
                <a:lnTo>
                  <a:pt x="7102" y="1576638"/>
                </a:lnTo>
                <a:lnTo>
                  <a:pt x="12559" y="1623630"/>
                </a:lnTo>
                <a:lnTo>
                  <a:pt x="19519" y="1670147"/>
                </a:lnTo>
                <a:lnTo>
                  <a:pt x="27957" y="1716164"/>
                </a:lnTo>
                <a:lnTo>
                  <a:pt x="37848" y="1761655"/>
                </a:lnTo>
                <a:lnTo>
                  <a:pt x="49166" y="1806597"/>
                </a:lnTo>
                <a:lnTo>
                  <a:pt x="61888" y="1850964"/>
                </a:lnTo>
                <a:lnTo>
                  <a:pt x="75987" y="1894731"/>
                </a:lnTo>
                <a:lnTo>
                  <a:pt x="91438" y="1937872"/>
                </a:lnTo>
                <a:lnTo>
                  <a:pt x="108217" y="1980363"/>
                </a:lnTo>
                <a:lnTo>
                  <a:pt x="126299" y="2022178"/>
                </a:lnTo>
                <a:lnTo>
                  <a:pt x="145658" y="2063293"/>
                </a:lnTo>
                <a:lnTo>
                  <a:pt x="166269" y="2103682"/>
                </a:lnTo>
                <a:lnTo>
                  <a:pt x="188107" y="2143321"/>
                </a:lnTo>
                <a:lnTo>
                  <a:pt x="211147" y="2182184"/>
                </a:lnTo>
                <a:lnTo>
                  <a:pt x="235364" y="2220246"/>
                </a:lnTo>
                <a:lnTo>
                  <a:pt x="260734" y="2257482"/>
                </a:lnTo>
                <a:lnTo>
                  <a:pt x="287230" y="2293867"/>
                </a:lnTo>
                <a:lnTo>
                  <a:pt x="314827" y="2329377"/>
                </a:lnTo>
                <a:lnTo>
                  <a:pt x="343502" y="2363985"/>
                </a:lnTo>
                <a:lnTo>
                  <a:pt x="373228" y="2397666"/>
                </a:lnTo>
                <a:lnTo>
                  <a:pt x="403981" y="2430397"/>
                </a:lnTo>
                <a:lnTo>
                  <a:pt x="435735" y="2462151"/>
                </a:lnTo>
                <a:lnTo>
                  <a:pt x="468465" y="2492904"/>
                </a:lnTo>
                <a:lnTo>
                  <a:pt x="502147" y="2522630"/>
                </a:lnTo>
                <a:lnTo>
                  <a:pt x="536755" y="2551304"/>
                </a:lnTo>
                <a:lnTo>
                  <a:pt x="572264" y="2578902"/>
                </a:lnTo>
                <a:lnTo>
                  <a:pt x="608649" y="2605398"/>
                </a:lnTo>
                <a:lnTo>
                  <a:pt x="645886" y="2630767"/>
                </a:lnTo>
                <a:lnTo>
                  <a:pt x="683948" y="2654985"/>
                </a:lnTo>
                <a:lnTo>
                  <a:pt x="722811" y="2678025"/>
                </a:lnTo>
                <a:lnTo>
                  <a:pt x="762449" y="2699863"/>
                </a:lnTo>
                <a:lnTo>
                  <a:pt x="802839" y="2720474"/>
                </a:lnTo>
                <a:lnTo>
                  <a:pt x="843954" y="2739833"/>
                </a:lnTo>
                <a:lnTo>
                  <a:pt x="885769" y="2757914"/>
                </a:lnTo>
                <a:lnTo>
                  <a:pt x="928260" y="2774693"/>
                </a:lnTo>
                <a:lnTo>
                  <a:pt x="971401" y="2790145"/>
                </a:lnTo>
                <a:lnTo>
                  <a:pt x="1015168" y="2804244"/>
                </a:lnTo>
                <a:lnTo>
                  <a:pt x="1059534" y="2816965"/>
                </a:lnTo>
                <a:lnTo>
                  <a:pt x="1104476" y="2828284"/>
                </a:lnTo>
                <a:lnTo>
                  <a:pt x="1149968" y="2838175"/>
                </a:lnTo>
                <a:lnTo>
                  <a:pt x="1195985" y="2846613"/>
                </a:lnTo>
                <a:lnTo>
                  <a:pt x="1242502" y="2853573"/>
                </a:lnTo>
                <a:lnTo>
                  <a:pt x="1289493" y="2859030"/>
                </a:lnTo>
                <a:lnTo>
                  <a:pt x="1336934" y="2862959"/>
                </a:lnTo>
                <a:lnTo>
                  <a:pt x="1384800" y="2865335"/>
                </a:lnTo>
                <a:lnTo>
                  <a:pt x="1433066" y="2866132"/>
                </a:lnTo>
                <a:lnTo>
                  <a:pt x="1481331" y="2865335"/>
                </a:lnTo>
                <a:lnTo>
                  <a:pt x="1529197" y="2862959"/>
                </a:lnTo>
                <a:lnTo>
                  <a:pt x="1576638" y="2859030"/>
                </a:lnTo>
                <a:lnTo>
                  <a:pt x="1623630" y="2853573"/>
                </a:lnTo>
                <a:lnTo>
                  <a:pt x="1670147" y="2846613"/>
                </a:lnTo>
                <a:lnTo>
                  <a:pt x="1716164" y="2838175"/>
                </a:lnTo>
                <a:lnTo>
                  <a:pt x="1761655" y="2828284"/>
                </a:lnTo>
                <a:lnTo>
                  <a:pt x="1806597" y="2816965"/>
                </a:lnTo>
                <a:lnTo>
                  <a:pt x="1850964" y="2804244"/>
                </a:lnTo>
                <a:lnTo>
                  <a:pt x="1894731" y="2790145"/>
                </a:lnTo>
                <a:lnTo>
                  <a:pt x="1937872" y="2774693"/>
                </a:lnTo>
                <a:lnTo>
                  <a:pt x="1980363" y="2757914"/>
                </a:lnTo>
                <a:lnTo>
                  <a:pt x="2022178" y="2739833"/>
                </a:lnTo>
                <a:lnTo>
                  <a:pt x="2063293" y="2720474"/>
                </a:lnTo>
                <a:lnTo>
                  <a:pt x="2103682" y="2699863"/>
                </a:lnTo>
                <a:lnTo>
                  <a:pt x="2143321" y="2678025"/>
                </a:lnTo>
                <a:lnTo>
                  <a:pt x="2182184" y="2654985"/>
                </a:lnTo>
                <a:lnTo>
                  <a:pt x="2220246" y="2630767"/>
                </a:lnTo>
                <a:lnTo>
                  <a:pt x="2257482" y="2605398"/>
                </a:lnTo>
                <a:lnTo>
                  <a:pt x="2293867" y="2578902"/>
                </a:lnTo>
                <a:lnTo>
                  <a:pt x="2329377" y="2551304"/>
                </a:lnTo>
                <a:lnTo>
                  <a:pt x="2363985" y="2522630"/>
                </a:lnTo>
                <a:lnTo>
                  <a:pt x="2397666" y="2492904"/>
                </a:lnTo>
                <a:lnTo>
                  <a:pt x="2430397" y="2462151"/>
                </a:lnTo>
                <a:lnTo>
                  <a:pt x="2462151" y="2430397"/>
                </a:lnTo>
                <a:lnTo>
                  <a:pt x="2492904" y="2397666"/>
                </a:lnTo>
                <a:lnTo>
                  <a:pt x="2522630" y="2363985"/>
                </a:lnTo>
                <a:lnTo>
                  <a:pt x="2551304" y="2329377"/>
                </a:lnTo>
                <a:lnTo>
                  <a:pt x="2578902" y="2293867"/>
                </a:lnTo>
                <a:lnTo>
                  <a:pt x="2605398" y="2257482"/>
                </a:lnTo>
                <a:lnTo>
                  <a:pt x="2630767" y="2220246"/>
                </a:lnTo>
                <a:lnTo>
                  <a:pt x="2654985" y="2182184"/>
                </a:lnTo>
                <a:lnTo>
                  <a:pt x="2678025" y="2143321"/>
                </a:lnTo>
                <a:lnTo>
                  <a:pt x="2699863" y="2103682"/>
                </a:lnTo>
                <a:lnTo>
                  <a:pt x="2720474" y="2063293"/>
                </a:lnTo>
                <a:lnTo>
                  <a:pt x="2739833" y="2022178"/>
                </a:lnTo>
                <a:lnTo>
                  <a:pt x="2757914" y="1980363"/>
                </a:lnTo>
                <a:lnTo>
                  <a:pt x="2774693" y="1937872"/>
                </a:lnTo>
                <a:lnTo>
                  <a:pt x="2790145" y="1894731"/>
                </a:lnTo>
                <a:lnTo>
                  <a:pt x="2804244" y="1850964"/>
                </a:lnTo>
                <a:lnTo>
                  <a:pt x="2816965" y="1806597"/>
                </a:lnTo>
                <a:lnTo>
                  <a:pt x="2828284" y="1761655"/>
                </a:lnTo>
                <a:lnTo>
                  <a:pt x="2838175" y="1716164"/>
                </a:lnTo>
                <a:lnTo>
                  <a:pt x="2846613" y="1670147"/>
                </a:lnTo>
                <a:lnTo>
                  <a:pt x="2853573" y="1623630"/>
                </a:lnTo>
                <a:lnTo>
                  <a:pt x="2859030" y="1576638"/>
                </a:lnTo>
                <a:lnTo>
                  <a:pt x="2862959" y="1529197"/>
                </a:lnTo>
                <a:lnTo>
                  <a:pt x="2865335" y="1481331"/>
                </a:lnTo>
                <a:lnTo>
                  <a:pt x="2866132" y="1433066"/>
                </a:lnTo>
                <a:lnTo>
                  <a:pt x="2865335" y="1384800"/>
                </a:lnTo>
                <a:lnTo>
                  <a:pt x="2862959" y="1336934"/>
                </a:lnTo>
                <a:lnTo>
                  <a:pt x="2859030" y="1289493"/>
                </a:lnTo>
                <a:lnTo>
                  <a:pt x="2853573" y="1242502"/>
                </a:lnTo>
                <a:lnTo>
                  <a:pt x="2846613" y="1195985"/>
                </a:lnTo>
                <a:lnTo>
                  <a:pt x="2838175" y="1149968"/>
                </a:lnTo>
                <a:lnTo>
                  <a:pt x="2828284" y="1104476"/>
                </a:lnTo>
                <a:lnTo>
                  <a:pt x="2816965" y="1059534"/>
                </a:lnTo>
                <a:lnTo>
                  <a:pt x="2804244" y="1015168"/>
                </a:lnTo>
                <a:lnTo>
                  <a:pt x="2790145" y="971401"/>
                </a:lnTo>
                <a:lnTo>
                  <a:pt x="2774693" y="928260"/>
                </a:lnTo>
                <a:lnTo>
                  <a:pt x="2757914" y="885769"/>
                </a:lnTo>
                <a:lnTo>
                  <a:pt x="2739833" y="843954"/>
                </a:lnTo>
                <a:lnTo>
                  <a:pt x="2720474" y="802839"/>
                </a:lnTo>
                <a:lnTo>
                  <a:pt x="2699863" y="762449"/>
                </a:lnTo>
                <a:lnTo>
                  <a:pt x="2678025" y="722811"/>
                </a:lnTo>
                <a:lnTo>
                  <a:pt x="2654985" y="683948"/>
                </a:lnTo>
                <a:lnTo>
                  <a:pt x="2630767" y="645886"/>
                </a:lnTo>
                <a:lnTo>
                  <a:pt x="2605398" y="608649"/>
                </a:lnTo>
                <a:lnTo>
                  <a:pt x="2578902" y="572264"/>
                </a:lnTo>
                <a:lnTo>
                  <a:pt x="2551304" y="536755"/>
                </a:lnTo>
                <a:lnTo>
                  <a:pt x="2522630" y="502147"/>
                </a:lnTo>
                <a:lnTo>
                  <a:pt x="2492904" y="468465"/>
                </a:lnTo>
                <a:lnTo>
                  <a:pt x="2462151" y="435735"/>
                </a:lnTo>
                <a:lnTo>
                  <a:pt x="2430397" y="403981"/>
                </a:lnTo>
                <a:lnTo>
                  <a:pt x="2397666" y="373228"/>
                </a:lnTo>
                <a:lnTo>
                  <a:pt x="2363985" y="343502"/>
                </a:lnTo>
                <a:lnTo>
                  <a:pt x="2329377" y="314827"/>
                </a:lnTo>
                <a:lnTo>
                  <a:pt x="2293867" y="287230"/>
                </a:lnTo>
                <a:lnTo>
                  <a:pt x="2257482" y="260734"/>
                </a:lnTo>
                <a:lnTo>
                  <a:pt x="2220246" y="235364"/>
                </a:lnTo>
                <a:lnTo>
                  <a:pt x="2182184" y="211147"/>
                </a:lnTo>
                <a:lnTo>
                  <a:pt x="2143321" y="188107"/>
                </a:lnTo>
                <a:lnTo>
                  <a:pt x="2103682" y="166269"/>
                </a:lnTo>
                <a:lnTo>
                  <a:pt x="2063293" y="145658"/>
                </a:lnTo>
                <a:lnTo>
                  <a:pt x="2022178" y="126299"/>
                </a:lnTo>
                <a:lnTo>
                  <a:pt x="1980363" y="108217"/>
                </a:lnTo>
                <a:lnTo>
                  <a:pt x="1937872" y="91438"/>
                </a:lnTo>
                <a:lnTo>
                  <a:pt x="1894731" y="75987"/>
                </a:lnTo>
                <a:lnTo>
                  <a:pt x="1850964" y="61888"/>
                </a:lnTo>
                <a:lnTo>
                  <a:pt x="1806597" y="49166"/>
                </a:lnTo>
                <a:lnTo>
                  <a:pt x="1761655" y="37848"/>
                </a:lnTo>
                <a:lnTo>
                  <a:pt x="1716164" y="27957"/>
                </a:lnTo>
                <a:lnTo>
                  <a:pt x="1670147" y="19519"/>
                </a:lnTo>
                <a:lnTo>
                  <a:pt x="1623630" y="12559"/>
                </a:lnTo>
                <a:lnTo>
                  <a:pt x="1576638" y="7102"/>
                </a:lnTo>
                <a:lnTo>
                  <a:pt x="1529197" y="3173"/>
                </a:lnTo>
                <a:lnTo>
                  <a:pt x="1481331" y="797"/>
                </a:lnTo>
                <a:lnTo>
                  <a:pt x="1433066" y="0"/>
                </a:lnTo>
                <a:close/>
              </a:path>
            </a:pathLst>
          </a:custGeom>
          <a:solidFill>
            <a:srgbClr val="FFFFFF"/>
          </a:solidFill>
        </p:spPr>
        <p:txBody>
          <a:bodyPr wrap="square" lIns="0" tIns="0" rIns="0" bIns="0" rtlCol="0"/>
          <a:lstStyle/>
          <a:p>
            <a:endParaRPr/>
          </a:p>
        </p:txBody>
      </p:sp>
      <p:sp>
        <p:nvSpPr>
          <p:cNvPr id="76" name="object 76"/>
          <p:cNvSpPr/>
          <p:nvPr/>
        </p:nvSpPr>
        <p:spPr>
          <a:xfrm>
            <a:off x="6301946" y="2410405"/>
            <a:ext cx="1303728" cy="1303636"/>
          </a:xfrm>
          <a:custGeom>
            <a:avLst/>
            <a:gdLst/>
            <a:ahLst/>
            <a:cxnLst/>
            <a:rect l="l" t="t" r="r" b="b"/>
            <a:pathLst>
              <a:path w="2866390" h="2866390">
                <a:moveTo>
                  <a:pt x="1433076" y="0"/>
                </a:moveTo>
                <a:lnTo>
                  <a:pt x="1384811" y="797"/>
                </a:lnTo>
                <a:lnTo>
                  <a:pt x="1336945" y="3173"/>
                </a:lnTo>
                <a:lnTo>
                  <a:pt x="1289504" y="7102"/>
                </a:lnTo>
                <a:lnTo>
                  <a:pt x="1242512" y="12559"/>
                </a:lnTo>
                <a:lnTo>
                  <a:pt x="1195995" y="19519"/>
                </a:lnTo>
                <a:lnTo>
                  <a:pt x="1149978" y="27957"/>
                </a:lnTo>
                <a:lnTo>
                  <a:pt x="1104486" y="37848"/>
                </a:lnTo>
                <a:lnTo>
                  <a:pt x="1059544" y="49166"/>
                </a:lnTo>
                <a:lnTo>
                  <a:pt x="1015177" y="61888"/>
                </a:lnTo>
                <a:lnTo>
                  <a:pt x="971410" y="75987"/>
                </a:lnTo>
                <a:lnTo>
                  <a:pt x="928269" y="91438"/>
                </a:lnTo>
                <a:lnTo>
                  <a:pt x="885778" y="108217"/>
                </a:lnTo>
                <a:lnTo>
                  <a:pt x="843962" y="126299"/>
                </a:lnTo>
                <a:lnTo>
                  <a:pt x="802847" y="145658"/>
                </a:lnTo>
                <a:lnTo>
                  <a:pt x="762457" y="166269"/>
                </a:lnTo>
                <a:lnTo>
                  <a:pt x="722818" y="188107"/>
                </a:lnTo>
                <a:lnTo>
                  <a:pt x="683955" y="211147"/>
                </a:lnTo>
                <a:lnTo>
                  <a:pt x="645893" y="235364"/>
                </a:lnTo>
                <a:lnTo>
                  <a:pt x="608656" y="260734"/>
                </a:lnTo>
                <a:lnTo>
                  <a:pt x="572271" y="287230"/>
                </a:lnTo>
                <a:lnTo>
                  <a:pt x="536761" y="314827"/>
                </a:lnTo>
                <a:lnTo>
                  <a:pt x="502153" y="343502"/>
                </a:lnTo>
                <a:lnTo>
                  <a:pt x="468471" y="373228"/>
                </a:lnTo>
                <a:lnTo>
                  <a:pt x="435740" y="403981"/>
                </a:lnTo>
                <a:lnTo>
                  <a:pt x="403986" y="435735"/>
                </a:lnTo>
                <a:lnTo>
                  <a:pt x="373233" y="468465"/>
                </a:lnTo>
                <a:lnTo>
                  <a:pt x="343506" y="502147"/>
                </a:lnTo>
                <a:lnTo>
                  <a:pt x="314832" y="536755"/>
                </a:lnTo>
                <a:lnTo>
                  <a:pt x="287233" y="572264"/>
                </a:lnTo>
                <a:lnTo>
                  <a:pt x="260737" y="608649"/>
                </a:lnTo>
                <a:lnTo>
                  <a:pt x="235368" y="645886"/>
                </a:lnTo>
                <a:lnTo>
                  <a:pt x="211150" y="683948"/>
                </a:lnTo>
                <a:lnTo>
                  <a:pt x="188109" y="722811"/>
                </a:lnTo>
                <a:lnTo>
                  <a:pt x="166271" y="762449"/>
                </a:lnTo>
                <a:lnTo>
                  <a:pt x="145660" y="802839"/>
                </a:lnTo>
                <a:lnTo>
                  <a:pt x="126301" y="843954"/>
                </a:lnTo>
                <a:lnTo>
                  <a:pt x="108219" y="885769"/>
                </a:lnTo>
                <a:lnTo>
                  <a:pt x="91440" y="928260"/>
                </a:lnTo>
                <a:lnTo>
                  <a:pt x="75988" y="971401"/>
                </a:lnTo>
                <a:lnTo>
                  <a:pt x="61889" y="1015168"/>
                </a:lnTo>
                <a:lnTo>
                  <a:pt x="49167" y="1059534"/>
                </a:lnTo>
                <a:lnTo>
                  <a:pt x="37848" y="1104476"/>
                </a:lnTo>
                <a:lnTo>
                  <a:pt x="27957" y="1149968"/>
                </a:lnTo>
                <a:lnTo>
                  <a:pt x="19519" y="1195985"/>
                </a:lnTo>
                <a:lnTo>
                  <a:pt x="12559" y="1242502"/>
                </a:lnTo>
                <a:lnTo>
                  <a:pt x="7102" y="1289493"/>
                </a:lnTo>
                <a:lnTo>
                  <a:pt x="3173" y="1336934"/>
                </a:lnTo>
                <a:lnTo>
                  <a:pt x="797" y="1384800"/>
                </a:lnTo>
                <a:lnTo>
                  <a:pt x="0" y="1433066"/>
                </a:lnTo>
                <a:lnTo>
                  <a:pt x="797" y="1481331"/>
                </a:lnTo>
                <a:lnTo>
                  <a:pt x="3173" y="1529197"/>
                </a:lnTo>
                <a:lnTo>
                  <a:pt x="7102" y="1576638"/>
                </a:lnTo>
                <a:lnTo>
                  <a:pt x="12559" y="1623630"/>
                </a:lnTo>
                <a:lnTo>
                  <a:pt x="19519" y="1670147"/>
                </a:lnTo>
                <a:lnTo>
                  <a:pt x="27957" y="1716164"/>
                </a:lnTo>
                <a:lnTo>
                  <a:pt x="37848" y="1761655"/>
                </a:lnTo>
                <a:lnTo>
                  <a:pt x="49167" y="1806597"/>
                </a:lnTo>
                <a:lnTo>
                  <a:pt x="61889" y="1850964"/>
                </a:lnTo>
                <a:lnTo>
                  <a:pt x="75988" y="1894731"/>
                </a:lnTo>
                <a:lnTo>
                  <a:pt x="91440" y="1937872"/>
                </a:lnTo>
                <a:lnTo>
                  <a:pt x="108219" y="1980363"/>
                </a:lnTo>
                <a:lnTo>
                  <a:pt x="126301" y="2022178"/>
                </a:lnTo>
                <a:lnTo>
                  <a:pt x="145660" y="2063293"/>
                </a:lnTo>
                <a:lnTo>
                  <a:pt x="166271" y="2103682"/>
                </a:lnTo>
                <a:lnTo>
                  <a:pt x="188109" y="2143321"/>
                </a:lnTo>
                <a:lnTo>
                  <a:pt x="211150" y="2182184"/>
                </a:lnTo>
                <a:lnTo>
                  <a:pt x="235368" y="2220246"/>
                </a:lnTo>
                <a:lnTo>
                  <a:pt x="260737" y="2257482"/>
                </a:lnTo>
                <a:lnTo>
                  <a:pt x="287233" y="2293867"/>
                </a:lnTo>
                <a:lnTo>
                  <a:pt x="314832" y="2329377"/>
                </a:lnTo>
                <a:lnTo>
                  <a:pt x="343506" y="2363985"/>
                </a:lnTo>
                <a:lnTo>
                  <a:pt x="373233" y="2397666"/>
                </a:lnTo>
                <a:lnTo>
                  <a:pt x="403986" y="2430397"/>
                </a:lnTo>
                <a:lnTo>
                  <a:pt x="435740" y="2462151"/>
                </a:lnTo>
                <a:lnTo>
                  <a:pt x="468471" y="2492904"/>
                </a:lnTo>
                <a:lnTo>
                  <a:pt x="502153" y="2522630"/>
                </a:lnTo>
                <a:lnTo>
                  <a:pt x="536761" y="2551304"/>
                </a:lnTo>
                <a:lnTo>
                  <a:pt x="572271" y="2578902"/>
                </a:lnTo>
                <a:lnTo>
                  <a:pt x="608656" y="2605398"/>
                </a:lnTo>
                <a:lnTo>
                  <a:pt x="645893" y="2630767"/>
                </a:lnTo>
                <a:lnTo>
                  <a:pt x="683955" y="2654985"/>
                </a:lnTo>
                <a:lnTo>
                  <a:pt x="722818" y="2678025"/>
                </a:lnTo>
                <a:lnTo>
                  <a:pt x="762457" y="2699863"/>
                </a:lnTo>
                <a:lnTo>
                  <a:pt x="802847" y="2720474"/>
                </a:lnTo>
                <a:lnTo>
                  <a:pt x="843962" y="2739833"/>
                </a:lnTo>
                <a:lnTo>
                  <a:pt x="885778" y="2757914"/>
                </a:lnTo>
                <a:lnTo>
                  <a:pt x="928269" y="2774693"/>
                </a:lnTo>
                <a:lnTo>
                  <a:pt x="971410" y="2790145"/>
                </a:lnTo>
                <a:lnTo>
                  <a:pt x="1015177" y="2804244"/>
                </a:lnTo>
                <a:lnTo>
                  <a:pt x="1059544" y="2816965"/>
                </a:lnTo>
                <a:lnTo>
                  <a:pt x="1104486" y="2828284"/>
                </a:lnTo>
                <a:lnTo>
                  <a:pt x="1149978" y="2838175"/>
                </a:lnTo>
                <a:lnTo>
                  <a:pt x="1195995" y="2846613"/>
                </a:lnTo>
                <a:lnTo>
                  <a:pt x="1242512" y="2853573"/>
                </a:lnTo>
                <a:lnTo>
                  <a:pt x="1289504" y="2859030"/>
                </a:lnTo>
                <a:lnTo>
                  <a:pt x="1336945" y="2862959"/>
                </a:lnTo>
                <a:lnTo>
                  <a:pt x="1384811" y="2865335"/>
                </a:lnTo>
                <a:lnTo>
                  <a:pt x="1433076" y="2866132"/>
                </a:lnTo>
                <a:lnTo>
                  <a:pt x="1481342" y="2865335"/>
                </a:lnTo>
                <a:lnTo>
                  <a:pt x="1529208" y="2862959"/>
                </a:lnTo>
                <a:lnTo>
                  <a:pt x="1576649" y="2859030"/>
                </a:lnTo>
                <a:lnTo>
                  <a:pt x="1623640" y="2853573"/>
                </a:lnTo>
                <a:lnTo>
                  <a:pt x="1670157" y="2846613"/>
                </a:lnTo>
                <a:lnTo>
                  <a:pt x="1716174" y="2838175"/>
                </a:lnTo>
                <a:lnTo>
                  <a:pt x="1761666" y="2828284"/>
                </a:lnTo>
                <a:lnTo>
                  <a:pt x="1806608" y="2816965"/>
                </a:lnTo>
                <a:lnTo>
                  <a:pt x="1850974" y="2804244"/>
                </a:lnTo>
                <a:lnTo>
                  <a:pt x="1894741" y="2790145"/>
                </a:lnTo>
                <a:lnTo>
                  <a:pt x="1937882" y="2774693"/>
                </a:lnTo>
                <a:lnTo>
                  <a:pt x="1980373" y="2757914"/>
                </a:lnTo>
                <a:lnTo>
                  <a:pt x="2022189" y="2739833"/>
                </a:lnTo>
                <a:lnTo>
                  <a:pt x="2063303" y="2720474"/>
                </a:lnTo>
                <a:lnTo>
                  <a:pt x="2103693" y="2699863"/>
                </a:lnTo>
                <a:lnTo>
                  <a:pt x="2143332" y="2678025"/>
                </a:lnTo>
                <a:lnTo>
                  <a:pt x="2182194" y="2654985"/>
                </a:lnTo>
                <a:lnTo>
                  <a:pt x="2220257" y="2630767"/>
                </a:lnTo>
                <a:lnTo>
                  <a:pt x="2257493" y="2605398"/>
                </a:lnTo>
                <a:lnTo>
                  <a:pt x="2293878" y="2578902"/>
                </a:lnTo>
                <a:lnTo>
                  <a:pt x="2329387" y="2551304"/>
                </a:lnTo>
                <a:lnTo>
                  <a:pt x="2363995" y="2522630"/>
                </a:lnTo>
                <a:lnTo>
                  <a:pt x="2397677" y="2492904"/>
                </a:lnTo>
                <a:lnTo>
                  <a:pt x="2430407" y="2462151"/>
                </a:lnTo>
                <a:lnTo>
                  <a:pt x="2462161" y="2430397"/>
                </a:lnTo>
                <a:lnTo>
                  <a:pt x="2492914" y="2397666"/>
                </a:lnTo>
                <a:lnTo>
                  <a:pt x="2522640" y="2363985"/>
                </a:lnTo>
                <a:lnTo>
                  <a:pt x="2551315" y="2329377"/>
                </a:lnTo>
                <a:lnTo>
                  <a:pt x="2578913" y="2293867"/>
                </a:lnTo>
                <a:lnTo>
                  <a:pt x="2605409" y="2257482"/>
                </a:lnTo>
                <a:lnTo>
                  <a:pt x="2630778" y="2220246"/>
                </a:lnTo>
                <a:lnTo>
                  <a:pt x="2654995" y="2182184"/>
                </a:lnTo>
                <a:lnTo>
                  <a:pt x="2678035" y="2143321"/>
                </a:lnTo>
                <a:lnTo>
                  <a:pt x="2699873" y="2103682"/>
                </a:lnTo>
                <a:lnTo>
                  <a:pt x="2720484" y="2063293"/>
                </a:lnTo>
                <a:lnTo>
                  <a:pt x="2739843" y="2022178"/>
                </a:lnTo>
                <a:lnTo>
                  <a:pt x="2757925" y="1980363"/>
                </a:lnTo>
                <a:lnTo>
                  <a:pt x="2774704" y="1937872"/>
                </a:lnTo>
                <a:lnTo>
                  <a:pt x="2790155" y="1894731"/>
                </a:lnTo>
                <a:lnTo>
                  <a:pt x="2804254" y="1850964"/>
                </a:lnTo>
                <a:lnTo>
                  <a:pt x="2816976" y="1806597"/>
                </a:lnTo>
                <a:lnTo>
                  <a:pt x="2828294" y="1761655"/>
                </a:lnTo>
                <a:lnTo>
                  <a:pt x="2838185" y="1716164"/>
                </a:lnTo>
                <a:lnTo>
                  <a:pt x="2846623" y="1670147"/>
                </a:lnTo>
                <a:lnTo>
                  <a:pt x="2853583" y="1623630"/>
                </a:lnTo>
                <a:lnTo>
                  <a:pt x="2859040" y="1576638"/>
                </a:lnTo>
                <a:lnTo>
                  <a:pt x="2862969" y="1529197"/>
                </a:lnTo>
                <a:lnTo>
                  <a:pt x="2865345" y="1481331"/>
                </a:lnTo>
                <a:lnTo>
                  <a:pt x="2866143" y="1433066"/>
                </a:lnTo>
                <a:lnTo>
                  <a:pt x="2865345" y="1384800"/>
                </a:lnTo>
                <a:lnTo>
                  <a:pt x="2862969" y="1336934"/>
                </a:lnTo>
                <a:lnTo>
                  <a:pt x="2859040" y="1289493"/>
                </a:lnTo>
                <a:lnTo>
                  <a:pt x="2853583" y="1242502"/>
                </a:lnTo>
                <a:lnTo>
                  <a:pt x="2846623" y="1195985"/>
                </a:lnTo>
                <a:lnTo>
                  <a:pt x="2838185" y="1149968"/>
                </a:lnTo>
                <a:lnTo>
                  <a:pt x="2828294" y="1104476"/>
                </a:lnTo>
                <a:lnTo>
                  <a:pt x="2816976" y="1059534"/>
                </a:lnTo>
                <a:lnTo>
                  <a:pt x="2804254" y="1015168"/>
                </a:lnTo>
                <a:lnTo>
                  <a:pt x="2790155" y="971401"/>
                </a:lnTo>
                <a:lnTo>
                  <a:pt x="2774704" y="928260"/>
                </a:lnTo>
                <a:lnTo>
                  <a:pt x="2757925" y="885769"/>
                </a:lnTo>
                <a:lnTo>
                  <a:pt x="2739843" y="843954"/>
                </a:lnTo>
                <a:lnTo>
                  <a:pt x="2720484" y="802839"/>
                </a:lnTo>
                <a:lnTo>
                  <a:pt x="2699873" y="762449"/>
                </a:lnTo>
                <a:lnTo>
                  <a:pt x="2678035" y="722811"/>
                </a:lnTo>
                <a:lnTo>
                  <a:pt x="2654995" y="683948"/>
                </a:lnTo>
                <a:lnTo>
                  <a:pt x="2630778" y="645886"/>
                </a:lnTo>
                <a:lnTo>
                  <a:pt x="2605409" y="608649"/>
                </a:lnTo>
                <a:lnTo>
                  <a:pt x="2578913" y="572264"/>
                </a:lnTo>
                <a:lnTo>
                  <a:pt x="2551315" y="536755"/>
                </a:lnTo>
                <a:lnTo>
                  <a:pt x="2522640" y="502147"/>
                </a:lnTo>
                <a:lnTo>
                  <a:pt x="2492914" y="468465"/>
                </a:lnTo>
                <a:lnTo>
                  <a:pt x="2462161" y="435735"/>
                </a:lnTo>
                <a:lnTo>
                  <a:pt x="2430407" y="403981"/>
                </a:lnTo>
                <a:lnTo>
                  <a:pt x="2397677" y="373228"/>
                </a:lnTo>
                <a:lnTo>
                  <a:pt x="2363995" y="343502"/>
                </a:lnTo>
                <a:lnTo>
                  <a:pt x="2329387" y="314827"/>
                </a:lnTo>
                <a:lnTo>
                  <a:pt x="2293878" y="287230"/>
                </a:lnTo>
                <a:lnTo>
                  <a:pt x="2257493" y="260734"/>
                </a:lnTo>
                <a:lnTo>
                  <a:pt x="2220257" y="235364"/>
                </a:lnTo>
                <a:lnTo>
                  <a:pt x="2182194" y="211147"/>
                </a:lnTo>
                <a:lnTo>
                  <a:pt x="2143332" y="188107"/>
                </a:lnTo>
                <a:lnTo>
                  <a:pt x="2103693" y="166269"/>
                </a:lnTo>
                <a:lnTo>
                  <a:pt x="2063303" y="145658"/>
                </a:lnTo>
                <a:lnTo>
                  <a:pt x="2022189" y="126299"/>
                </a:lnTo>
                <a:lnTo>
                  <a:pt x="1980373" y="108217"/>
                </a:lnTo>
                <a:lnTo>
                  <a:pt x="1937882" y="91438"/>
                </a:lnTo>
                <a:lnTo>
                  <a:pt x="1894741" y="75987"/>
                </a:lnTo>
                <a:lnTo>
                  <a:pt x="1850974" y="61888"/>
                </a:lnTo>
                <a:lnTo>
                  <a:pt x="1806608" y="49166"/>
                </a:lnTo>
                <a:lnTo>
                  <a:pt x="1761666" y="37848"/>
                </a:lnTo>
                <a:lnTo>
                  <a:pt x="1716174" y="27957"/>
                </a:lnTo>
                <a:lnTo>
                  <a:pt x="1670157" y="19519"/>
                </a:lnTo>
                <a:lnTo>
                  <a:pt x="1623640" y="12559"/>
                </a:lnTo>
                <a:lnTo>
                  <a:pt x="1576649" y="7102"/>
                </a:lnTo>
                <a:lnTo>
                  <a:pt x="1529208" y="3173"/>
                </a:lnTo>
                <a:lnTo>
                  <a:pt x="1481342" y="797"/>
                </a:lnTo>
                <a:lnTo>
                  <a:pt x="1433076" y="0"/>
                </a:lnTo>
                <a:close/>
              </a:path>
            </a:pathLst>
          </a:custGeom>
          <a:solidFill>
            <a:srgbClr val="FFFFFF"/>
          </a:solidFill>
        </p:spPr>
        <p:txBody>
          <a:bodyPr wrap="square" lIns="0" tIns="0" rIns="0" bIns="0" rtlCol="0"/>
          <a:lstStyle/>
          <a:p>
            <a:endParaRPr/>
          </a:p>
        </p:txBody>
      </p:sp>
      <p:sp>
        <p:nvSpPr>
          <p:cNvPr id="77" name="object 77"/>
          <p:cNvSpPr txBox="1"/>
          <p:nvPr/>
        </p:nvSpPr>
        <p:spPr>
          <a:xfrm>
            <a:off x="1942937" y="2905261"/>
            <a:ext cx="514675" cy="297462"/>
          </a:xfrm>
          <a:prstGeom prst="rect">
            <a:avLst/>
          </a:prstGeom>
        </p:spPr>
        <p:txBody>
          <a:bodyPr vert="horz" wrap="square" lIns="0" tIns="6931" rIns="0" bIns="0" rtlCol="0">
            <a:spAutoFit/>
          </a:bodyPr>
          <a:lstStyle/>
          <a:p>
            <a:pPr marL="5776">
              <a:spcBef>
                <a:spcPts val="55"/>
              </a:spcBef>
            </a:pPr>
            <a:r>
              <a:rPr sz="1900" b="1" spc="7" dirty="0">
                <a:solidFill>
                  <a:srgbClr val="FF7900"/>
                </a:solidFill>
                <a:latin typeface="Helvetica Neue"/>
                <a:cs typeface="Helvetica Neue"/>
              </a:rPr>
              <a:t>57%</a:t>
            </a:r>
            <a:endParaRPr sz="1900">
              <a:latin typeface="Helvetica Neue"/>
              <a:cs typeface="Helvetica Neue"/>
            </a:endParaRPr>
          </a:p>
        </p:txBody>
      </p:sp>
      <p:sp>
        <p:nvSpPr>
          <p:cNvPr id="78" name="object 78"/>
          <p:cNvSpPr/>
          <p:nvPr/>
        </p:nvSpPr>
        <p:spPr>
          <a:xfrm>
            <a:off x="1757855" y="2618529"/>
            <a:ext cx="930285" cy="911737"/>
          </a:xfrm>
          <a:custGeom>
            <a:avLst/>
            <a:gdLst/>
            <a:ahLst/>
            <a:cxnLst/>
            <a:rect l="l" t="t" r="r" b="b"/>
            <a:pathLst>
              <a:path w="2045335" h="2004695">
                <a:moveTo>
                  <a:pt x="2045330" y="1002137"/>
                </a:moveTo>
                <a:lnTo>
                  <a:pt x="2044217" y="1049311"/>
                </a:lnTo>
                <a:lnTo>
                  <a:pt x="2040910" y="1095925"/>
                </a:lnTo>
                <a:lnTo>
                  <a:pt x="2035459" y="1141928"/>
                </a:lnTo>
                <a:lnTo>
                  <a:pt x="2027913" y="1187275"/>
                </a:lnTo>
                <a:lnTo>
                  <a:pt x="2018321" y="1231915"/>
                </a:lnTo>
                <a:lnTo>
                  <a:pt x="2006731" y="1275802"/>
                </a:lnTo>
                <a:lnTo>
                  <a:pt x="1993194" y="1318886"/>
                </a:lnTo>
                <a:lnTo>
                  <a:pt x="1977758" y="1361121"/>
                </a:lnTo>
                <a:lnTo>
                  <a:pt x="1960472" y="1402457"/>
                </a:lnTo>
                <a:lnTo>
                  <a:pt x="1941386" y="1442847"/>
                </a:lnTo>
                <a:lnTo>
                  <a:pt x="1920548" y="1482242"/>
                </a:lnTo>
                <a:lnTo>
                  <a:pt x="1898007" y="1520595"/>
                </a:lnTo>
                <a:lnTo>
                  <a:pt x="1873814" y="1557857"/>
                </a:lnTo>
                <a:lnTo>
                  <a:pt x="1848016" y="1593980"/>
                </a:lnTo>
                <a:lnTo>
                  <a:pt x="1820663" y="1628916"/>
                </a:lnTo>
                <a:lnTo>
                  <a:pt x="1791804" y="1662617"/>
                </a:lnTo>
                <a:lnTo>
                  <a:pt x="1761489" y="1695035"/>
                </a:lnTo>
                <a:lnTo>
                  <a:pt x="1729765" y="1726121"/>
                </a:lnTo>
                <a:lnTo>
                  <a:pt x="1696683" y="1755828"/>
                </a:lnTo>
                <a:lnTo>
                  <a:pt x="1662292" y="1784107"/>
                </a:lnTo>
                <a:lnTo>
                  <a:pt x="1626640" y="1810911"/>
                </a:lnTo>
                <a:lnTo>
                  <a:pt x="1589776" y="1836191"/>
                </a:lnTo>
                <a:lnTo>
                  <a:pt x="1551751" y="1859899"/>
                </a:lnTo>
                <a:lnTo>
                  <a:pt x="1512612" y="1881986"/>
                </a:lnTo>
                <a:lnTo>
                  <a:pt x="1472410" y="1902406"/>
                </a:lnTo>
                <a:lnTo>
                  <a:pt x="1431193" y="1921109"/>
                </a:lnTo>
                <a:lnTo>
                  <a:pt x="1389009" y="1938048"/>
                </a:lnTo>
                <a:lnTo>
                  <a:pt x="1345910" y="1953174"/>
                </a:lnTo>
                <a:lnTo>
                  <a:pt x="1301942" y="1966440"/>
                </a:lnTo>
                <a:lnTo>
                  <a:pt x="1257156" y="1977796"/>
                </a:lnTo>
                <a:lnTo>
                  <a:pt x="1211601" y="1987196"/>
                </a:lnTo>
                <a:lnTo>
                  <a:pt x="1165326" y="1994591"/>
                </a:lnTo>
                <a:lnTo>
                  <a:pt x="1118380" y="1999932"/>
                </a:lnTo>
                <a:lnTo>
                  <a:pt x="1070811" y="2003172"/>
                </a:lnTo>
                <a:lnTo>
                  <a:pt x="1022670" y="2004263"/>
                </a:lnTo>
                <a:lnTo>
                  <a:pt x="974528" y="2003172"/>
                </a:lnTo>
                <a:lnTo>
                  <a:pt x="926959" y="1999932"/>
                </a:lnTo>
                <a:lnTo>
                  <a:pt x="880011" y="1994591"/>
                </a:lnTo>
                <a:lnTo>
                  <a:pt x="833735" y="1987196"/>
                </a:lnTo>
                <a:lnTo>
                  <a:pt x="788179" y="1977796"/>
                </a:lnTo>
                <a:lnTo>
                  <a:pt x="743393" y="1966440"/>
                </a:lnTo>
                <a:lnTo>
                  <a:pt x="699425" y="1953174"/>
                </a:lnTo>
                <a:lnTo>
                  <a:pt x="656325" y="1938048"/>
                </a:lnTo>
                <a:lnTo>
                  <a:pt x="614141" y="1921109"/>
                </a:lnTo>
                <a:lnTo>
                  <a:pt x="572923" y="1902406"/>
                </a:lnTo>
                <a:lnTo>
                  <a:pt x="532720" y="1881986"/>
                </a:lnTo>
                <a:lnTo>
                  <a:pt x="493581" y="1859899"/>
                </a:lnTo>
                <a:lnTo>
                  <a:pt x="455556" y="1836191"/>
                </a:lnTo>
                <a:lnTo>
                  <a:pt x="418692" y="1810911"/>
                </a:lnTo>
                <a:lnTo>
                  <a:pt x="383040" y="1784107"/>
                </a:lnTo>
                <a:lnTo>
                  <a:pt x="348648" y="1755828"/>
                </a:lnTo>
                <a:lnTo>
                  <a:pt x="315566" y="1726121"/>
                </a:lnTo>
                <a:lnTo>
                  <a:pt x="283842" y="1695035"/>
                </a:lnTo>
                <a:lnTo>
                  <a:pt x="253526" y="1662617"/>
                </a:lnTo>
                <a:lnTo>
                  <a:pt x="224667" y="1628916"/>
                </a:lnTo>
                <a:lnTo>
                  <a:pt x="197314" y="1593980"/>
                </a:lnTo>
                <a:lnTo>
                  <a:pt x="171516" y="1557857"/>
                </a:lnTo>
                <a:lnTo>
                  <a:pt x="147323" y="1520595"/>
                </a:lnTo>
                <a:lnTo>
                  <a:pt x="124782" y="1482242"/>
                </a:lnTo>
                <a:lnTo>
                  <a:pt x="103944" y="1442847"/>
                </a:lnTo>
                <a:lnTo>
                  <a:pt x="84858" y="1402457"/>
                </a:lnTo>
                <a:lnTo>
                  <a:pt x="67572" y="1361121"/>
                </a:lnTo>
                <a:lnTo>
                  <a:pt x="52135" y="1318886"/>
                </a:lnTo>
                <a:lnTo>
                  <a:pt x="38598" y="1275802"/>
                </a:lnTo>
                <a:lnTo>
                  <a:pt x="27009" y="1231915"/>
                </a:lnTo>
                <a:lnTo>
                  <a:pt x="17416" y="1187275"/>
                </a:lnTo>
                <a:lnTo>
                  <a:pt x="9870" y="1141928"/>
                </a:lnTo>
                <a:lnTo>
                  <a:pt x="4419" y="1095925"/>
                </a:lnTo>
                <a:lnTo>
                  <a:pt x="1113" y="1049311"/>
                </a:lnTo>
                <a:lnTo>
                  <a:pt x="0" y="1002137"/>
                </a:lnTo>
                <a:lnTo>
                  <a:pt x="1113" y="954962"/>
                </a:lnTo>
                <a:lnTo>
                  <a:pt x="4419" y="908348"/>
                </a:lnTo>
                <a:lnTo>
                  <a:pt x="9870" y="862344"/>
                </a:lnTo>
                <a:lnTo>
                  <a:pt x="17416" y="816998"/>
                </a:lnTo>
                <a:lnTo>
                  <a:pt x="27009" y="772357"/>
                </a:lnTo>
                <a:lnTo>
                  <a:pt x="38598" y="728471"/>
                </a:lnTo>
                <a:lnTo>
                  <a:pt x="52135" y="685386"/>
                </a:lnTo>
                <a:lnTo>
                  <a:pt x="67572" y="643151"/>
                </a:lnTo>
                <a:lnTo>
                  <a:pt x="84858" y="601815"/>
                </a:lnTo>
                <a:lnTo>
                  <a:pt x="103944" y="561424"/>
                </a:lnTo>
                <a:lnTo>
                  <a:pt x="124782" y="522029"/>
                </a:lnTo>
                <a:lnTo>
                  <a:pt x="147323" y="483676"/>
                </a:lnTo>
                <a:lnTo>
                  <a:pt x="171516" y="446413"/>
                </a:lnTo>
                <a:lnTo>
                  <a:pt x="197314" y="410290"/>
                </a:lnTo>
                <a:lnTo>
                  <a:pt x="224667" y="375353"/>
                </a:lnTo>
                <a:lnTo>
                  <a:pt x="253526" y="341652"/>
                </a:lnTo>
                <a:lnTo>
                  <a:pt x="283842" y="309234"/>
                </a:lnTo>
                <a:lnTo>
                  <a:pt x="315566" y="278147"/>
                </a:lnTo>
                <a:lnTo>
                  <a:pt x="348648" y="248439"/>
                </a:lnTo>
                <a:lnTo>
                  <a:pt x="383040" y="220159"/>
                </a:lnTo>
                <a:lnTo>
                  <a:pt x="418692" y="193355"/>
                </a:lnTo>
                <a:lnTo>
                  <a:pt x="455556" y="168075"/>
                </a:lnTo>
                <a:lnTo>
                  <a:pt x="493581" y="144367"/>
                </a:lnTo>
                <a:lnTo>
                  <a:pt x="532720" y="122279"/>
                </a:lnTo>
                <a:lnTo>
                  <a:pt x="572923" y="101859"/>
                </a:lnTo>
                <a:lnTo>
                  <a:pt x="614141" y="83155"/>
                </a:lnTo>
                <a:lnTo>
                  <a:pt x="656325" y="66216"/>
                </a:lnTo>
                <a:lnTo>
                  <a:pt x="699425" y="51090"/>
                </a:lnTo>
                <a:lnTo>
                  <a:pt x="743393" y="37824"/>
                </a:lnTo>
                <a:lnTo>
                  <a:pt x="788179" y="26467"/>
                </a:lnTo>
                <a:lnTo>
                  <a:pt x="833735" y="17067"/>
                </a:lnTo>
                <a:lnTo>
                  <a:pt x="880011" y="9672"/>
                </a:lnTo>
                <a:lnTo>
                  <a:pt x="926959" y="4331"/>
                </a:lnTo>
                <a:lnTo>
                  <a:pt x="974528" y="1090"/>
                </a:lnTo>
                <a:lnTo>
                  <a:pt x="1022670" y="0"/>
                </a:lnTo>
                <a:lnTo>
                  <a:pt x="1070811" y="1090"/>
                </a:lnTo>
                <a:lnTo>
                  <a:pt x="1118380" y="4331"/>
                </a:lnTo>
                <a:lnTo>
                  <a:pt x="1165326" y="9672"/>
                </a:lnTo>
                <a:lnTo>
                  <a:pt x="1211601" y="17067"/>
                </a:lnTo>
                <a:lnTo>
                  <a:pt x="1257156" y="26467"/>
                </a:lnTo>
                <a:lnTo>
                  <a:pt x="1301942" y="37824"/>
                </a:lnTo>
                <a:lnTo>
                  <a:pt x="1345910" y="51090"/>
                </a:lnTo>
                <a:lnTo>
                  <a:pt x="1389009" y="66216"/>
                </a:lnTo>
                <a:lnTo>
                  <a:pt x="1431193" y="83155"/>
                </a:lnTo>
                <a:lnTo>
                  <a:pt x="1472410" y="101859"/>
                </a:lnTo>
                <a:lnTo>
                  <a:pt x="1512612" y="122279"/>
                </a:lnTo>
                <a:lnTo>
                  <a:pt x="1551751" y="144367"/>
                </a:lnTo>
                <a:lnTo>
                  <a:pt x="1589776" y="168075"/>
                </a:lnTo>
                <a:lnTo>
                  <a:pt x="1626640" y="193355"/>
                </a:lnTo>
                <a:lnTo>
                  <a:pt x="1662292" y="220159"/>
                </a:lnTo>
                <a:lnTo>
                  <a:pt x="1696683" y="248439"/>
                </a:lnTo>
                <a:lnTo>
                  <a:pt x="1729765" y="278147"/>
                </a:lnTo>
                <a:lnTo>
                  <a:pt x="1761489" y="309234"/>
                </a:lnTo>
                <a:lnTo>
                  <a:pt x="1791804" y="341652"/>
                </a:lnTo>
                <a:lnTo>
                  <a:pt x="1820663" y="375353"/>
                </a:lnTo>
                <a:lnTo>
                  <a:pt x="1848016" y="410290"/>
                </a:lnTo>
                <a:lnTo>
                  <a:pt x="1873814" y="446413"/>
                </a:lnTo>
                <a:lnTo>
                  <a:pt x="1898007" y="483676"/>
                </a:lnTo>
                <a:lnTo>
                  <a:pt x="1920548" y="522029"/>
                </a:lnTo>
                <a:lnTo>
                  <a:pt x="1941386" y="561424"/>
                </a:lnTo>
                <a:lnTo>
                  <a:pt x="1960472" y="601815"/>
                </a:lnTo>
                <a:lnTo>
                  <a:pt x="1977758" y="643151"/>
                </a:lnTo>
                <a:lnTo>
                  <a:pt x="1993194" y="685386"/>
                </a:lnTo>
                <a:lnTo>
                  <a:pt x="2006731" y="728471"/>
                </a:lnTo>
                <a:lnTo>
                  <a:pt x="2018321" y="772357"/>
                </a:lnTo>
                <a:lnTo>
                  <a:pt x="2027913" y="816998"/>
                </a:lnTo>
                <a:lnTo>
                  <a:pt x="2035459" y="862344"/>
                </a:lnTo>
                <a:lnTo>
                  <a:pt x="2040910" y="908348"/>
                </a:lnTo>
                <a:lnTo>
                  <a:pt x="2044217" y="954962"/>
                </a:lnTo>
                <a:lnTo>
                  <a:pt x="2045330" y="1002137"/>
                </a:lnTo>
                <a:close/>
              </a:path>
            </a:pathLst>
          </a:custGeom>
          <a:ln w="20355">
            <a:solidFill>
              <a:srgbClr val="808080"/>
            </a:solidFill>
          </a:ln>
        </p:spPr>
        <p:txBody>
          <a:bodyPr wrap="square" lIns="0" tIns="0" rIns="0" bIns="0" rtlCol="0"/>
          <a:lstStyle/>
          <a:p>
            <a:endParaRPr/>
          </a:p>
        </p:txBody>
      </p:sp>
      <p:sp>
        <p:nvSpPr>
          <p:cNvPr id="79" name="object 79"/>
          <p:cNvSpPr/>
          <p:nvPr/>
        </p:nvSpPr>
        <p:spPr>
          <a:xfrm>
            <a:off x="1975090" y="2487175"/>
            <a:ext cx="819956" cy="1149995"/>
          </a:xfrm>
          <a:custGeom>
            <a:avLst/>
            <a:gdLst/>
            <a:ahLst/>
            <a:cxnLst/>
            <a:rect l="l" t="t" r="r" b="b"/>
            <a:pathLst>
              <a:path w="1802764" h="2528570">
                <a:moveTo>
                  <a:pt x="252997" y="1870560"/>
                </a:moveTo>
                <a:lnTo>
                  <a:pt x="0" y="2408209"/>
                </a:lnTo>
                <a:lnTo>
                  <a:pt x="46297" y="2428872"/>
                </a:lnTo>
                <a:lnTo>
                  <a:pt x="93300" y="2447630"/>
                </a:lnTo>
                <a:lnTo>
                  <a:pt x="140949" y="2464469"/>
                </a:lnTo>
                <a:lnTo>
                  <a:pt x="189184" y="2479376"/>
                </a:lnTo>
                <a:lnTo>
                  <a:pt x="237947" y="2492338"/>
                </a:lnTo>
                <a:lnTo>
                  <a:pt x="287179" y="2503342"/>
                </a:lnTo>
                <a:lnTo>
                  <a:pt x="336821" y="2512375"/>
                </a:lnTo>
                <a:lnTo>
                  <a:pt x="386812" y="2519423"/>
                </a:lnTo>
                <a:lnTo>
                  <a:pt x="437095" y="2524474"/>
                </a:lnTo>
                <a:lnTo>
                  <a:pt x="487610" y="2527514"/>
                </a:lnTo>
                <a:lnTo>
                  <a:pt x="538297" y="2528530"/>
                </a:lnTo>
                <a:lnTo>
                  <a:pt x="586792" y="2527617"/>
                </a:lnTo>
                <a:lnTo>
                  <a:pt x="634824" y="2524900"/>
                </a:lnTo>
                <a:lnTo>
                  <a:pt x="682363" y="2520412"/>
                </a:lnTo>
                <a:lnTo>
                  <a:pt x="729374" y="2514185"/>
                </a:lnTo>
                <a:lnTo>
                  <a:pt x="775824" y="2506253"/>
                </a:lnTo>
                <a:lnTo>
                  <a:pt x="821683" y="2496647"/>
                </a:lnTo>
                <a:lnTo>
                  <a:pt x="866915" y="2485401"/>
                </a:lnTo>
                <a:lnTo>
                  <a:pt x="911490" y="2472547"/>
                </a:lnTo>
                <a:lnTo>
                  <a:pt x="955374" y="2458119"/>
                </a:lnTo>
                <a:lnTo>
                  <a:pt x="998534" y="2442149"/>
                </a:lnTo>
                <a:lnTo>
                  <a:pt x="1040937" y="2424669"/>
                </a:lnTo>
                <a:lnTo>
                  <a:pt x="1082551" y="2405712"/>
                </a:lnTo>
                <a:lnTo>
                  <a:pt x="1123344" y="2385312"/>
                </a:lnTo>
                <a:lnTo>
                  <a:pt x="1163282" y="2363500"/>
                </a:lnTo>
                <a:lnTo>
                  <a:pt x="1202332" y="2340310"/>
                </a:lnTo>
                <a:lnTo>
                  <a:pt x="1240463" y="2315775"/>
                </a:lnTo>
                <a:lnTo>
                  <a:pt x="1277640" y="2289926"/>
                </a:lnTo>
                <a:lnTo>
                  <a:pt x="1313832" y="2262797"/>
                </a:lnTo>
                <a:lnTo>
                  <a:pt x="1349006" y="2234421"/>
                </a:lnTo>
                <a:lnTo>
                  <a:pt x="1383128" y="2204830"/>
                </a:lnTo>
                <a:lnTo>
                  <a:pt x="1416167" y="2174057"/>
                </a:lnTo>
                <a:lnTo>
                  <a:pt x="1448090" y="2142135"/>
                </a:lnTo>
                <a:lnTo>
                  <a:pt x="1478863" y="2109096"/>
                </a:lnTo>
                <a:lnTo>
                  <a:pt x="1508454" y="2074973"/>
                </a:lnTo>
                <a:lnTo>
                  <a:pt x="1536830" y="2039800"/>
                </a:lnTo>
                <a:lnTo>
                  <a:pt x="1563959" y="2003608"/>
                </a:lnTo>
                <a:lnTo>
                  <a:pt x="1589807" y="1966430"/>
                </a:lnTo>
                <a:lnTo>
                  <a:pt x="1610472" y="1934315"/>
                </a:lnTo>
                <a:lnTo>
                  <a:pt x="522753" y="1934315"/>
                </a:lnTo>
                <a:lnTo>
                  <a:pt x="477353" y="1931734"/>
                </a:lnTo>
                <a:lnTo>
                  <a:pt x="431928" y="1926007"/>
                </a:lnTo>
                <a:lnTo>
                  <a:pt x="386629" y="1917081"/>
                </a:lnTo>
                <a:lnTo>
                  <a:pt x="341607" y="1904900"/>
                </a:lnTo>
                <a:lnTo>
                  <a:pt x="297013" y="1889412"/>
                </a:lnTo>
                <a:lnTo>
                  <a:pt x="252997" y="1870560"/>
                </a:lnTo>
                <a:close/>
              </a:path>
              <a:path w="1802764" h="2528570">
                <a:moveTo>
                  <a:pt x="538297" y="0"/>
                </a:moveTo>
                <a:lnTo>
                  <a:pt x="538297" y="594212"/>
                </a:lnTo>
                <a:lnTo>
                  <a:pt x="587482" y="596019"/>
                </a:lnTo>
                <a:lnTo>
                  <a:pt x="636270" y="601411"/>
                </a:lnTo>
                <a:lnTo>
                  <a:pt x="684469" y="610346"/>
                </a:lnTo>
                <a:lnTo>
                  <a:pt x="731886" y="622781"/>
                </a:lnTo>
                <a:lnTo>
                  <a:pt x="778327" y="638673"/>
                </a:lnTo>
                <a:lnTo>
                  <a:pt x="823597" y="657979"/>
                </a:lnTo>
                <a:lnTo>
                  <a:pt x="866180" y="679877"/>
                </a:lnTo>
                <a:lnTo>
                  <a:pt x="906541" y="704363"/>
                </a:lnTo>
                <a:lnTo>
                  <a:pt x="944625" y="731288"/>
                </a:lnTo>
                <a:lnTo>
                  <a:pt x="980378" y="760501"/>
                </a:lnTo>
                <a:lnTo>
                  <a:pt x="1013745" y="791851"/>
                </a:lnTo>
                <a:lnTo>
                  <a:pt x="1044674" y="825187"/>
                </a:lnTo>
                <a:lnTo>
                  <a:pt x="1073108" y="860357"/>
                </a:lnTo>
                <a:lnTo>
                  <a:pt x="1098994" y="897213"/>
                </a:lnTo>
                <a:lnTo>
                  <a:pt x="1122303" y="935650"/>
                </a:lnTo>
                <a:lnTo>
                  <a:pt x="1142905" y="975372"/>
                </a:lnTo>
                <a:lnTo>
                  <a:pt x="1160821" y="1016375"/>
                </a:lnTo>
                <a:lnTo>
                  <a:pt x="1175972" y="1058459"/>
                </a:lnTo>
                <a:lnTo>
                  <a:pt x="1188302" y="1101472"/>
                </a:lnTo>
                <a:lnTo>
                  <a:pt x="1197759" y="1145265"/>
                </a:lnTo>
                <a:lnTo>
                  <a:pt x="1204288" y="1189686"/>
                </a:lnTo>
                <a:lnTo>
                  <a:pt x="1207834" y="1234584"/>
                </a:lnTo>
                <a:lnTo>
                  <a:pt x="1208343" y="1279809"/>
                </a:lnTo>
                <a:lnTo>
                  <a:pt x="1205761" y="1325209"/>
                </a:lnTo>
                <a:lnTo>
                  <a:pt x="1200034" y="1370634"/>
                </a:lnTo>
                <a:lnTo>
                  <a:pt x="1191106" y="1415933"/>
                </a:lnTo>
                <a:lnTo>
                  <a:pt x="1178925" y="1460955"/>
                </a:lnTo>
                <a:lnTo>
                  <a:pt x="1163435" y="1505549"/>
                </a:lnTo>
                <a:lnTo>
                  <a:pt x="1144582" y="1549565"/>
                </a:lnTo>
                <a:lnTo>
                  <a:pt x="1122685" y="1592148"/>
                </a:lnTo>
                <a:lnTo>
                  <a:pt x="1098199" y="1632508"/>
                </a:lnTo>
                <a:lnTo>
                  <a:pt x="1071274" y="1670592"/>
                </a:lnTo>
                <a:lnTo>
                  <a:pt x="1042061" y="1706345"/>
                </a:lnTo>
                <a:lnTo>
                  <a:pt x="1010711" y="1739713"/>
                </a:lnTo>
                <a:lnTo>
                  <a:pt x="977375" y="1770641"/>
                </a:lnTo>
                <a:lnTo>
                  <a:pt x="942204" y="1799076"/>
                </a:lnTo>
                <a:lnTo>
                  <a:pt x="905349" y="1824962"/>
                </a:lnTo>
                <a:lnTo>
                  <a:pt x="866961" y="1848246"/>
                </a:lnTo>
                <a:lnTo>
                  <a:pt x="827190" y="1868873"/>
                </a:lnTo>
                <a:lnTo>
                  <a:pt x="786187" y="1886790"/>
                </a:lnTo>
                <a:lnTo>
                  <a:pt x="744103" y="1901940"/>
                </a:lnTo>
                <a:lnTo>
                  <a:pt x="701090" y="1914272"/>
                </a:lnTo>
                <a:lnTo>
                  <a:pt x="657297" y="1923729"/>
                </a:lnTo>
                <a:lnTo>
                  <a:pt x="612876" y="1930258"/>
                </a:lnTo>
                <a:lnTo>
                  <a:pt x="567978" y="1933805"/>
                </a:lnTo>
                <a:lnTo>
                  <a:pt x="522753" y="1934315"/>
                </a:lnTo>
                <a:lnTo>
                  <a:pt x="1610472" y="1934315"/>
                </a:lnTo>
                <a:lnTo>
                  <a:pt x="1637533" y="1889249"/>
                </a:lnTo>
                <a:lnTo>
                  <a:pt x="1659345" y="1849311"/>
                </a:lnTo>
                <a:lnTo>
                  <a:pt x="1679745" y="1808519"/>
                </a:lnTo>
                <a:lnTo>
                  <a:pt x="1698701" y="1766904"/>
                </a:lnTo>
                <a:lnTo>
                  <a:pt x="1716181" y="1724501"/>
                </a:lnTo>
                <a:lnTo>
                  <a:pt x="1732152" y="1681341"/>
                </a:lnTo>
                <a:lnTo>
                  <a:pt x="1746580" y="1637457"/>
                </a:lnTo>
                <a:lnTo>
                  <a:pt x="1759434" y="1592883"/>
                </a:lnTo>
                <a:lnTo>
                  <a:pt x="1770679" y="1547650"/>
                </a:lnTo>
                <a:lnTo>
                  <a:pt x="1780285" y="1501792"/>
                </a:lnTo>
                <a:lnTo>
                  <a:pt x="1788218" y="1455341"/>
                </a:lnTo>
                <a:lnTo>
                  <a:pt x="1794444" y="1408330"/>
                </a:lnTo>
                <a:lnTo>
                  <a:pt x="1798933" y="1360792"/>
                </a:lnTo>
                <a:lnTo>
                  <a:pt x="1801649" y="1312759"/>
                </a:lnTo>
                <a:lnTo>
                  <a:pt x="1802562" y="1264265"/>
                </a:lnTo>
                <a:lnTo>
                  <a:pt x="1801649" y="1215771"/>
                </a:lnTo>
                <a:lnTo>
                  <a:pt x="1798933" y="1167739"/>
                </a:lnTo>
                <a:lnTo>
                  <a:pt x="1794444" y="1120201"/>
                </a:lnTo>
                <a:lnTo>
                  <a:pt x="1788218" y="1073191"/>
                </a:lnTo>
                <a:lnTo>
                  <a:pt x="1780285" y="1026740"/>
                </a:lnTo>
                <a:lnTo>
                  <a:pt x="1770679" y="980882"/>
                </a:lnTo>
                <a:lnTo>
                  <a:pt x="1759419" y="935601"/>
                </a:lnTo>
                <a:lnTo>
                  <a:pt x="1746580" y="891076"/>
                </a:lnTo>
                <a:lnTo>
                  <a:pt x="1732152" y="847192"/>
                </a:lnTo>
                <a:lnTo>
                  <a:pt x="1716181" y="804033"/>
                </a:lnTo>
                <a:lnTo>
                  <a:pt x="1698701" y="761629"/>
                </a:lnTo>
                <a:lnTo>
                  <a:pt x="1679745" y="720015"/>
                </a:lnTo>
                <a:lnTo>
                  <a:pt x="1659345" y="679223"/>
                </a:lnTo>
                <a:lnTo>
                  <a:pt x="1637533" y="639285"/>
                </a:lnTo>
                <a:lnTo>
                  <a:pt x="1614343" y="600234"/>
                </a:lnTo>
                <a:lnTo>
                  <a:pt x="1589807" y="562104"/>
                </a:lnTo>
                <a:lnTo>
                  <a:pt x="1563959" y="524926"/>
                </a:lnTo>
                <a:lnTo>
                  <a:pt x="1536830" y="488734"/>
                </a:lnTo>
                <a:lnTo>
                  <a:pt x="1508454" y="453560"/>
                </a:lnTo>
                <a:lnTo>
                  <a:pt x="1478863" y="419438"/>
                </a:lnTo>
                <a:lnTo>
                  <a:pt x="1448090" y="386399"/>
                </a:lnTo>
                <a:lnTo>
                  <a:pt x="1416167" y="354476"/>
                </a:lnTo>
                <a:lnTo>
                  <a:pt x="1383128" y="323703"/>
                </a:lnTo>
                <a:lnTo>
                  <a:pt x="1349006" y="294112"/>
                </a:lnTo>
                <a:lnTo>
                  <a:pt x="1313832" y="265735"/>
                </a:lnTo>
                <a:lnTo>
                  <a:pt x="1277640" y="238606"/>
                </a:lnTo>
                <a:lnTo>
                  <a:pt x="1240463" y="212757"/>
                </a:lnTo>
                <a:lnTo>
                  <a:pt x="1202332" y="188221"/>
                </a:lnTo>
                <a:lnTo>
                  <a:pt x="1163282" y="165031"/>
                </a:lnTo>
                <a:lnTo>
                  <a:pt x="1123344" y="143219"/>
                </a:lnTo>
                <a:lnTo>
                  <a:pt x="1082551" y="122819"/>
                </a:lnTo>
                <a:lnTo>
                  <a:pt x="1040937" y="103862"/>
                </a:lnTo>
                <a:lnTo>
                  <a:pt x="998534" y="86382"/>
                </a:lnTo>
                <a:lnTo>
                  <a:pt x="955374" y="70411"/>
                </a:lnTo>
                <a:lnTo>
                  <a:pt x="911490" y="55983"/>
                </a:lnTo>
                <a:lnTo>
                  <a:pt x="866915" y="43129"/>
                </a:lnTo>
                <a:lnTo>
                  <a:pt x="821683" y="31883"/>
                </a:lnTo>
                <a:lnTo>
                  <a:pt x="775824" y="22277"/>
                </a:lnTo>
                <a:lnTo>
                  <a:pt x="729374" y="14345"/>
                </a:lnTo>
                <a:lnTo>
                  <a:pt x="682363" y="8118"/>
                </a:lnTo>
                <a:lnTo>
                  <a:pt x="634824" y="3629"/>
                </a:lnTo>
                <a:lnTo>
                  <a:pt x="586792" y="912"/>
                </a:lnTo>
                <a:lnTo>
                  <a:pt x="538297" y="0"/>
                </a:lnTo>
                <a:close/>
              </a:path>
            </a:pathLst>
          </a:custGeom>
          <a:solidFill>
            <a:srgbClr val="FF7900"/>
          </a:solidFill>
        </p:spPr>
        <p:txBody>
          <a:bodyPr wrap="square" lIns="0" tIns="0" rIns="0" bIns="0" rtlCol="0"/>
          <a:lstStyle/>
          <a:p>
            <a:endParaRPr/>
          </a:p>
        </p:txBody>
      </p:sp>
      <p:sp>
        <p:nvSpPr>
          <p:cNvPr id="80" name="object 80"/>
          <p:cNvSpPr txBox="1"/>
          <p:nvPr/>
        </p:nvSpPr>
        <p:spPr>
          <a:xfrm>
            <a:off x="6714385" y="2905261"/>
            <a:ext cx="514675" cy="297462"/>
          </a:xfrm>
          <a:prstGeom prst="rect">
            <a:avLst/>
          </a:prstGeom>
        </p:spPr>
        <p:txBody>
          <a:bodyPr vert="horz" wrap="square" lIns="0" tIns="6931" rIns="0" bIns="0" rtlCol="0">
            <a:spAutoFit/>
          </a:bodyPr>
          <a:lstStyle/>
          <a:p>
            <a:pPr marL="5776">
              <a:spcBef>
                <a:spcPts val="55"/>
              </a:spcBef>
            </a:pPr>
            <a:r>
              <a:rPr sz="1900" b="1" spc="7" dirty="0">
                <a:solidFill>
                  <a:srgbClr val="FF7900"/>
                </a:solidFill>
                <a:latin typeface="Helvetica Neue"/>
                <a:cs typeface="Helvetica Neue"/>
              </a:rPr>
              <a:t>83%</a:t>
            </a:r>
            <a:endParaRPr sz="1900">
              <a:latin typeface="Helvetica Neue"/>
              <a:cs typeface="Helvetica Neue"/>
            </a:endParaRPr>
          </a:p>
        </p:txBody>
      </p:sp>
      <p:sp>
        <p:nvSpPr>
          <p:cNvPr id="81" name="object 81"/>
          <p:cNvSpPr/>
          <p:nvPr/>
        </p:nvSpPr>
        <p:spPr>
          <a:xfrm>
            <a:off x="6497574" y="2599142"/>
            <a:ext cx="923642" cy="905094"/>
          </a:xfrm>
          <a:custGeom>
            <a:avLst/>
            <a:gdLst/>
            <a:ahLst/>
            <a:cxnLst/>
            <a:rect l="l" t="t" r="r" b="b"/>
            <a:pathLst>
              <a:path w="2030730" h="1990090">
                <a:moveTo>
                  <a:pt x="2030398" y="994807"/>
                </a:moveTo>
                <a:lnTo>
                  <a:pt x="2029228" y="1043007"/>
                </a:lnTo>
                <a:lnTo>
                  <a:pt x="2025751" y="1090615"/>
                </a:lnTo>
                <a:lnTo>
                  <a:pt x="2020022" y="1137579"/>
                </a:lnTo>
                <a:lnTo>
                  <a:pt x="2012093" y="1183847"/>
                </a:lnTo>
                <a:lnTo>
                  <a:pt x="2002018" y="1229366"/>
                </a:lnTo>
                <a:lnTo>
                  <a:pt x="1989849" y="1274085"/>
                </a:lnTo>
                <a:lnTo>
                  <a:pt x="1975640" y="1317951"/>
                </a:lnTo>
                <a:lnTo>
                  <a:pt x="1959445" y="1360912"/>
                </a:lnTo>
                <a:lnTo>
                  <a:pt x="1941316" y="1402917"/>
                </a:lnTo>
                <a:lnTo>
                  <a:pt x="1921306" y="1443912"/>
                </a:lnTo>
                <a:lnTo>
                  <a:pt x="1899470" y="1483846"/>
                </a:lnTo>
                <a:lnTo>
                  <a:pt x="1875859" y="1522668"/>
                </a:lnTo>
                <a:lnTo>
                  <a:pt x="1850527" y="1560323"/>
                </a:lnTo>
                <a:lnTo>
                  <a:pt x="1823527" y="1596762"/>
                </a:lnTo>
                <a:lnTo>
                  <a:pt x="1794913" y="1631931"/>
                </a:lnTo>
                <a:lnTo>
                  <a:pt x="1764737" y="1665778"/>
                </a:lnTo>
                <a:lnTo>
                  <a:pt x="1733053" y="1698251"/>
                </a:lnTo>
                <a:lnTo>
                  <a:pt x="1699914" y="1729299"/>
                </a:lnTo>
                <a:lnTo>
                  <a:pt x="1665373" y="1758869"/>
                </a:lnTo>
                <a:lnTo>
                  <a:pt x="1629483" y="1786908"/>
                </a:lnTo>
                <a:lnTo>
                  <a:pt x="1592298" y="1813366"/>
                </a:lnTo>
                <a:lnTo>
                  <a:pt x="1553870" y="1838189"/>
                </a:lnTo>
                <a:lnTo>
                  <a:pt x="1514254" y="1861326"/>
                </a:lnTo>
                <a:lnTo>
                  <a:pt x="1473501" y="1882724"/>
                </a:lnTo>
                <a:lnTo>
                  <a:pt x="1431665" y="1902332"/>
                </a:lnTo>
                <a:lnTo>
                  <a:pt x="1388800" y="1920097"/>
                </a:lnTo>
                <a:lnTo>
                  <a:pt x="1344959" y="1935967"/>
                </a:lnTo>
                <a:lnTo>
                  <a:pt x="1300194" y="1949890"/>
                </a:lnTo>
                <a:lnTo>
                  <a:pt x="1254559" y="1961814"/>
                </a:lnTo>
                <a:lnTo>
                  <a:pt x="1208107" y="1971687"/>
                </a:lnTo>
                <a:lnTo>
                  <a:pt x="1160891" y="1979457"/>
                </a:lnTo>
                <a:lnTo>
                  <a:pt x="1112965" y="1985071"/>
                </a:lnTo>
                <a:lnTo>
                  <a:pt x="1064382" y="1988478"/>
                </a:lnTo>
                <a:lnTo>
                  <a:pt x="1015194" y="1989625"/>
                </a:lnTo>
                <a:lnTo>
                  <a:pt x="966007" y="1988478"/>
                </a:lnTo>
                <a:lnTo>
                  <a:pt x="917424" y="1985071"/>
                </a:lnTo>
                <a:lnTo>
                  <a:pt x="869499" y="1979457"/>
                </a:lnTo>
                <a:lnTo>
                  <a:pt x="822284" y="1971687"/>
                </a:lnTo>
                <a:lnTo>
                  <a:pt x="775833" y="1961814"/>
                </a:lnTo>
                <a:lnTo>
                  <a:pt x="730198" y="1949890"/>
                </a:lnTo>
                <a:lnTo>
                  <a:pt x="685434" y="1935967"/>
                </a:lnTo>
                <a:lnTo>
                  <a:pt x="641593" y="1920097"/>
                </a:lnTo>
                <a:lnTo>
                  <a:pt x="598728" y="1902332"/>
                </a:lnTo>
                <a:lnTo>
                  <a:pt x="556893" y="1882724"/>
                </a:lnTo>
                <a:lnTo>
                  <a:pt x="516141" y="1861326"/>
                </a:lnTo>
                <a:lnTo>
                  <a:pt x="476525" y="1838189"/>
                </a:lnTo>
                <a:lnTo>
                  <a:pt x="438098" y="1813366"/>
                </a:lnTo>
                <a:lnTo>
                  <a:pt x="400913" y="1786908"/>
                </a:lnTo>
                <a:lnTo>
                  <a:pt x="365023" y="1758869"/>
                </a:lnTo>
                <a:lnTo>
                  <a:pt x="330483" y="1729299"/>
                </a:lnTo>
                <a:lnTo>
                  <a:pt x="297344" y="1698251"/>
                </a:lnTo>
                <a:lnTo>
                  <a:pt x="265660" y="1665778"/>
                </a:lnTo>
                <a:lnTo>
                  <a:pt x="235484" y="1631931"/>
                </a:lnTo>
                <a:lnTo>
                  <a:pt x="206870" y="1596762"/>
                </a:lnTo>
                <a:lnTo>
                  <a:pt x="179871" y="1560323"/>
                </a:lnTo>
                <a:lnTo>
                  <a:pt x="154539" y="1522668"/>
                </a:lnTo>
                <a:lnTo>
                  <a:pt x="130928" y="1483846"/>
                </a:lnTo>
                <a:lnTo>
                  <a:pt x="109091" y="1443912"/>
                </a:lnTo>
                <a:lnTo>
                  <a:pt x="89082" y="1402917"/>
                </a:lnTo>
                <a:lnTo>
                  <a:pt x="70953" y="1360912"/>
                </a:lnTo>
                <a:lnTo>
                  <a:pt x="54757" y="1317951"/>
                </a:lnTo>
                <a:lnTo>
                  <a:pt x="40549" y="1274085"/>
                </a:lnTo>
                <a:lnTo>
                  <a:pt x="28380" y="1229366"/>
                </a:lnTo>
                <a:lnTo>
                  <a:pt x="18305" y="1183847"/>
                </a:lnTo>
                <a:lnTo>
                  <a:pt x="10376" y="1137579"/>
                </a:lnTo>
                <a:lnTo>
                  <a:pt x="4647" y="1090615"/>
                </a:lnTo>
                <a:lnTo>
                  <a:pt x="1170" y="1043007"/>
                </a:lnTo>
                <a:lnTo>
                  <a:pt x="0" y="994807"/>
                </a:lnTo>
                <a:lnTo>
                  <a:pt x="1170" y="946608"/>
                </a:lnTo>
                <a:lnTo>
                  <a:pt x="4647" y="899000"/>
                </a:lnTo>
                <a:lnTo>
                  <a:pt x="10376" y="852037"/>
                </a:lnTo>
                <a:lnTo>
                  <a:pt x="18305" y="805770"/>
                </a:lnTo>
                <a:lnTo>
                  <a:pt x="28380" y="760252"/>
                </a:lnTo>
                <a:lnTo>
                  <a:pt x="40549" y="715534"/>
                </a:lnTo>
                <a:lnTo>
                  <a:pt x="54757" y="671668"/>
                </a:lnTo>
                <a:lnTo>
                  <a:pt x="70953" y="628707"/>
                </a:lnTo>
                <a:lnTo>
                  <a:pt x="89082" y="586704"/>
                </a:lnTo>
                <a:lnTo>
                  <a:pt x="109091" y="545709"/>
                </a:lnTo>
                <a:lnTo>
                  <a:pt x="130928" y="505775"/>
                </a:lnTo>
                <a:lnTo>
                  <a:pt x="154539" y="466954"/>
                </a:lnTo>
                <a:lnTo>
                  <a:pt x="179871" y="429298"/>
                </a:lnTo>
                <a:lnTo>
                  <a:pt x="206870" y="392860"/>
                </a:lnTo>
                <a:lnTo>
                  <a:pt x="235484" y="357692"/>
                </a:lnTo>
                <a:lnTo>
                  <a:pt x="265660" y="323845"/>
                </a:lnTo>
                <a:lnTo>
                  <a:pt x="297344" y="291372"/>
                </a:lnTo>
                <a:lnTo>
                  <a:pt x="330483" y="260324"/>
                </a:lnTo>
                <a:lnTo>
                  <a:pt x="365023" y="230755"/>
                </a:lnTo>
                <a:lnTo>
                  <a:pt x="400913" y="202715"/>
                </a:lnTo>
                <a:lnTo>
                  <a:pt x="438098" y="176258"/>
                </a:lnTo>
                <a:lnTo>
                  <a:pt x="476525" y="151435"/>
                </a:lnTo>
                <a:lnTo>
                  <a:pt x="516141" y="128298"/>
                </a:lnTo>
                <a:lnTo>
                  <a:pt x="556893" y="106900"/>
                </a:lnTo>
                <a:lnTo>
                  <a:pt x="598728" y="87292"/>
                </a:lnTo>
                <a:lnTo>
                  <a:pt x="641593" y="69527"/>
                </a:lnTo>
                <a:lnTo>
                  <a:pt x="685434" y="53657"/>
                </a:lnTo>
                <a:lnTo>
                  <a:pt x="730198" y="39734"/>
                </a:lnTo>
                <a:lnTo>
                  <a:pt x="775833" y="27810"/>
                </a:lnTo>
                <a:lnTo>
                  <a:pt x="822284" y="17937"/>
                </a:lnTo>
                <a:lnTo>
                  <a:pt x="869499" y="10168"/>
                </a:lnTo>
                <a:lnTo>
                  <a:pt x="917424" y="4553"/>
                </a:lnTo>
                <a:lnTo>
                  <a:pt x="966007" y="1147"/>
                </a:lnTo>
                <a:lnTo>
                  <a:pt x="1015194" y="0"/>
                </a:lnTo>
                <a:lnTo>
                  <a:pt x="1064382" y="1147"/>
                </a:lnTo>
                <a:lnTo>
                  <a:pt x="1112965" y="4553"/>
                </a:lnTo>
                <a:lnTo>
                  <a:pt x="1160891" y="10168"/>
                </a:lnTo>
                <a:lnTo>
                  <a:pt x="1208107" y="17937"/>
                </a:lnTo>
                <a:lnTo>
                  <a:pt x="1254559" y="27810"/>
                </a:lnTo>
                <a:lnTo>
                  <a:pt x="1300194" y="39734"/>
                </a:lnTo>
                <a:lnTo>
                  <a:pt x="1344959" y="53657"/>
                </a:lnTo>
                <a:lnTo>
                  <a:pt x="1388800" y="69527"/>
                </a:lnTo>
                <a:lnTo>
                  <a:pt x="1431665" y="87292"/>
                </a:lnTo>
                <a:lnTo>
                  <a:pt x="1473501" y="106900"/>
                </a:lnTo>
                <a:lnTo>
                  <a:pt x="1514254" y="128298"/>
                </a:lnTo>
                <a:lnTo>
                  <a:pt x="1553870" y="151435"/>
                </a:lnTo>
                <a:lnTo>
                  <a:pt x="1592298" y="176258"/>
                </a:lnTo>
                <a:lnTo>
                  <a:pt x="1629483" y="202715"/>
                </a:lnTo>
                <a:lnTo>
                  <a:pt x="1665373" y="230755"/>
                </a:lnTo>
                <a:lnTo>
                  <a:pt x="1699914" y="260324"/>
                </a:lnTo>
                <a:lnTo>
                  <a:pt x="1733053" y="291372"/>
                </a:lnTo>
                <a:lnTo>
                  <a:pt x="1764737" y="323845"/>
                </a:lnTo>
                <a:lnTo>
                  <a:pt x="1794913" y="357692"/>
                </a:lnTo>
                <a:lnTo>
                  <a:pt x="1823527" y="392860"/>
                </a:lnTo>
                <a:lnTo>
                  <a:pt x="1850527" y="429298"/>
                </a:lnTo>
                <a:lnTo>
                  <a:pt x="1875859" y="466954"/>
                </a:lnTo>
                <a:lnTo>
                  <a:pt x="1899470" y="505775"/>
                </a:lnTo>
                <a:lnTo>
                  <a:pt x="1921306" y="545709"/>
                </a:lnTo>
                <a:lnTo>
                  <a:pt x="1941316" y="586704"/>
                </a:lnTo>
                <a:lnTo>
                  <a:pt x="1959445" y="628707"/>
                </a:lnTo>
                <a:lnTo>
                  <a:pt x="1975640" y="671668"/>
                </a:lnTo>
                <a:lnTo>
                  <a:pt x="1989849" y="715534"/>
                </a:lnTo>
                <a:lnTo>
                  <a:pt x="2002018" y="760252"/>
                </a:lnTo>
                <a:lnTo>
                  <a:pt x="2012093" y="805770"/>
                </a:lnTo>
                <a:lnTo>
                  <a:pt x="2020022" y="852037"/>
                </a:lnTo>
                <a:lnTo>
                  <a:pt x="2025751" y="899000"/>
                </a:lnTo>
                <a:lnTo>
                  <a:pt x="2029228" y="946608"/>
                </a:lnTo>
                <a:lnTo>
                  <a:pt x="2030398" y="994807"/>
                </a:lnTo>
                <a:close/>
              </a:path>
            </a:pathLst>
          </a:custGeom>
          <a:ln w="20198">
            <a:solidFill>
              <a:srgbClr val="808080"/>
            </a:solidFill>
          </a:ln>
        </p:spPr>
        <p:txBody>
          <a:bodyPr wrap="square" lIns="0" tIns="0" rIns="0" bIns="0" rtlCol="0"/>
          <a:lstStyle/>
          <a:p>
            <a:endParaRPr/>
          </a:p>
        </p:txBody>
      </p:sp>
      <p:sp>
        <p:nvSpPr>
          <p:cNvPr id="82" name="object 82"/>
          <p:cNvSpPr/>
          <p:nvPr/>
        </p:nvSpPr>
        <p:spPr>
          <a:xfrm>
            <a:off x="6385695" y="2487175"/>
            <a:ext cx="1150076" cy="1149995"/>
          </a:xfrm>
          <a:custGeom>
            <a:avLst/>
            <a:gdLst/>
            <a:ahLst/>
            <a:cxnLst/>
            <a:rect l="l" t="t" r="r" b="b"/>
            <a:pathLst>
              <a:path w="2528569" h="2528570">
                <a:moveTo>
                  <a:pt x="156382" y="655205"/>
                </a:moveTo>
                <a:lnTo>
                  <a:pt x="133575" y="698666"/>
                </a:lnTo>
                <a:lnTo>
                  <a:pt x="112515" y="742888"/>
                </a:lnTo>
                <a:lnTo>
                  <a:pt x="93214" y="787816"/>
                </a:lnTo>
                <a:lnTo>
                  <a:pt x="75687" y="833397"/>
                </a:lnTo>
                <a:lnTo>
                  <a:pt x="59947" y="879578"/>
                </a:lnTo>
                <a:lnTo>
                  <a:pt x="46008" y="926307"/>
                </a:lnTo>
                <a:lnTo>
                  <a:pt x="33883" y="973529"/>
                </a:lnTo>
                <a:lnTo>
                  <a:pt x="23587" y="1021192"/>
                </a:lnTo>
                <a:lnTo>
                  <a:pt x="15132" y="1069244"/>
                </a:lnTo>
                <a:lnTo>
                  <a:pt x="8532" y="1117630"/>
                </a:lnTo>
                <a:lnTo>
                  <a:pt x="3801" y="1166297"/>
                </a:lnTo>
                <a:lnTo>
                  <a:pt x="952" y="1215193"/>
                </a:lnTo>
                <a:lnTo>
                  <a:pt x="0" y="1264265"/>
                </a:lnTo>
                <a:lnTo>
                  <a:pt x="912" y="1312759"/>
                </a:lnTo>
                <a:lnTo>
                  <a:pt x="3629" y="1360792"/>
                </a:lnTo>
                <a:lnTo>
                  <a:pt x="8118" y="1408330"/>
                </a:lnTo>
                <a:lnTo>
                  <a:pt x="14345" y="1455341"/>
                </a:lnTo>
                <a:lnTo>
                  <a:pt x="22277" y="1501792"/>
                </a:lnTo>
                <a:lnTo>
                  <a:pt x="31883" y="1547650"/>
                </a:lnTo>
                <a:lnTo>
                  <a:pt x="43129" y="1592883"/>
                </a:lnTo>
                <a:lnTo>
                  <a:pt x="55983" y="1637457"/>
                </a:lnTo>
                <a:lnTo>
                  <a:pt x="70411" y="1681341"/>
                </a:lnTo>
                <a:lnTo>
                  <a:pt x="86382" y="1724501"/>
                </a:lnTo>
                <a:lnTo>
                  <a:pt x="103862" y="1766904"/>
                </a:lnTo>
                <a:lnTo>
                  <a:pt x="122819" y="1808519"/>
                </a:lnTo>
                <a:lnTo>
                  <a:pt x="143219" y="1849311"/>
                </a:lnTo>
                <a:lnTo>
                  <a:pt x="165031" y="1889249"/>
                </a:lnTo>
                <a:lnTo>
                  <a:pt x="188221" y="1928300"/>
                </a:lnTo>
                <a:lnTo>
                  <a:pt x="212757" y="1966430"/>
                </a:lnTo>
                <a:lnTo>
                  <a:pt x="238606" y="2003608"/>
                </a:lnTo>
                <a:lnTo>
                  <a:pt x="265735" y="2039800"/>
                </a:lnTo>
                <a:lnTo>
                  <a:pt x="294112" y="2074973"/>
                </a:lnTo>
                <a:lnTo>
                  <a:pt x="323703" y="2109096"/>
                </a:lnTo>
                <a:lnTo>
                  <a:pt x="354476" y="2142135"/>
                </a:lnTo>
                <a:lnTo>
                  <a:pt x="386399" y="2174057"/>
                </a:lnTo>
                <a:lnTo>
                  <a:pt x="419438" y="2204830"/>
                </a:lnTo>
                <a:lnTo>
                  <a:pt x="453560" y="2234421"/>
                </a:lnTo>
                <a:lnTo>
                  <a:pt x="488734" y="2262797"/>
                </a:lnTo>
                <a:lnTo>
                  <a:pt x="524926" y="2289926"/>
                </a:lnTo>
                <a:lnTo>
                  <a:pt x="562104" y="2315775"/>
                </a:lnTo>
                <a:lnTo>
                  <a:pt x="600234" y="2340310"/>
                </a:lnTo>
                <a:lnTo>
                  <a:pt x="639285" y="2363500"/>
                </a:lnTo>
                <a:lnTo>
                  <a:pt x="679223" y="2385312"/>
                </a:lnTo>
                <a:lnTo>
                  <a:pt x="720015" y="2405712"/>
                </a:lnTo>
                <a:lnTo>
                  <a:pt x="761629" y="2424669"/>
                </a:lnTo>
                <a:lnTo>
                  <a:pt x="804033" y="2442149"/>
                </a:lnTo>
                <a:lnTo>
                  <a:pt x="847192" y="2458119"/>
                </a:lnTo>
                <a:lnTo>
                  <a:pt x="891076" y="2472547"/>
                </a:lnTo>
                <a:lnTo>
                  <a:pt x="935650" y="2485401"/>
                </a:lnTo>
                <a:lnTo>
                  <a:pt x="980882" y="2496647"/>
                </a:lnTo>
                <a:lnTo>
                  <a:pt x="1026740" y="2506253"/>
                </a:lnTo>
                <a:lnTo>
                  <a:pt x="1073191" y="2514185"/>
                </a:lnTo>
                <a:lnTo>
                  <a:pt x="1120201" y="2520412"/>
                </a:lnTo>
                <a:lnTo>
                  <a:pt x="1167739" y="2524900"/>
                </a:lnTo>
                <a:lnTo>
                  <a:pt x="1215771" y="2527617"/>
                </a:lnTo>
                <a:lnTo>
                  <a:pt x="1264265" y="2528530"/>
                </a:lnTo>
                <a:lnTo>
                  <a:pt x="1312759" y="2527617"/>
                </a:lnTo>
                <a:lnTo>
                  <a:pt x="1360792" y="2524900"/>
                </a:lnTo>
                <a:lnTo>
                  <a:pt x="1408330" y="2520412"/>
                </a:lnTo>
                <a:lnTo>
                  <a:pt x="1455341" y="2514185"/>
                </a:lnTo>
                <a:lnTo>
                  <a:pt x="1501792" y="2506253"/>
                </a:lnTo>
                <a:lnTo>
                  <a:pt x="1547650" y="2496647"/>
                </a:lnTo>
                <a:lnTo>
                  <a:pt x="1592883" y="2485401"/>
                </a:lnTo>
                <a:lnTo>
                  <a:pt x="1637457" y="2472547"/>
                </a:lnTo>
                <a:lnTo>
                  <a:pt x="1681341" y="2458119"/>
                </a:lnTo>
                <a:lnTo>
                  <a:pt x="1724501" y="2442149"/>
                </a:lnTo>
                <a:lnTo>
                  <a:pt x="1766904" y="2424669"/>
                </a:lnTo>
                <a:lnTo>
                  <a:pt x="1808519" y="2405712"/>
                </a:lnTo>
                <a:lnTo>
                  <a:pt x="1849311" y="2385312"/>
                </a:lnTo>
                <a:lnTo>
                  <a:pt x="1889249" y="2363500"/>
                </a:lnTo>
                <a:lnTo>
                  <a:pt x="1928300" y="2340310"/>
                </a:lnTo>
                <a:lnTo>
                  <a:pt x="1966430" y="2315775"/>
                </a:lnTo>
                <a:lnTo>
                  <a:pt x="2003608" y="2289926"/>
                </a:lnTo>
                <a:lnTo>
                  <a:pt x="2039800" y="2262797"/>
                </a:lnTo>
                <a:lnTo>
                  <a:pt x="2074973" y="2234421"/>
                </a:lnTo>
                <a:lnTo>
                  <a:pt x="2109096" y="2204830"/>
                </a:lnTo>
                <a:lnTo>
                  <a:pt x="2142135" y="2174057"/>
                </a:lnTo>
                <a:lnTo>
                  <a:pt x="2174057" y="2142135"/>
                </a:lnTo>
                <a:lnTo>
                  <a:pt x="2204830" y="2109096"/>
                </a:lnTo>
                <a:lnTo>
                  <a:pt x="2234421" y="2074973"/>
                </a:lnTo>
                <a:lnTo>
                  <a:pt x="2262797" y="2039800"/>
                </a:lnTo>
                <a:lnTo>
                  <a:pt x="2289926" y="2003608"/>
                </a:lnTo>
                <a:lnTo>
                  <a:pt x="2315775" y="1966430"/>
                </a:lnTo>
                <a:lnTo>
                  <a:pt x="2336418" y="1934348"/>
                </a:lnTo>
                <a:lnTo>
                  <a:pt x="1251847" y="1934348"/>
                </a:lnTo>
                <a:lnTo>
                  <a:pt x="1206679" y="1932017"/>
                </a:lnTo>
                <a:lnTo>
                  <a:pt x="1161530" y="1926589"/>
                </a:lnTo>
                <a:lnTo>
                  <a:pt x="1116554" y="1918020"/>
                </a:lnTo>
                <a:lnTo>
                  <a:pt x="1071905" y="1906266"/>
                </a:lnTo>
                <a:lnTo>
                  <a:pt x="1027736" y="1891281"/>
                </a:lnTo>
                <a:lnTo>
                  <a:pt x="984203" y="1873021"/>
                </a:lnTo>
                <a:lnTo>
                  <a:pt x="941458" y="1851441"/>
                </a:lnTo>
                <a:lnTo>
                  <a:pt x="900335" y="1826913"/>
                </a:lnTo>
                <a:lnTo>
                  <a:pt x="861593" y="1799941"/>
                </a:lnTo>
                <a:lnTo>
                  <a:pt x="825275" y="1770678"/>
                </a:lnTo>
                <a:lnTo>
                  <a:pt x="791428" y="1739278"/>
                </a:lnTo>
                <a:lnTo>
                  <a:pt x="760094" y="1705895"/>
                </a:lnTo>
                <a:lnTo>
                  <a:pt x="731320" y="1670683"/>
                </a:lnTo>
                <a:lnTo>
                  <a:pt x="705150" y="1633796"/>
                </a:lnTo>
                <a:lnTo>
                  <a:pt x="681629" y="1595388"/>
                </a:lnTo>
                <a:lnTo>
                  <a:pt x="660801" y="1555614"/>
                </a:lnTo>
                <a:lnTo>
                  <a:pt x="642711" y="1514626"/>
                </a:lnTo>
                <a:lnTo>
                  <a:pt x="627405" y="1472579"/>
                </a:lnTo>
                <a:lnTo>
                  <a:pt x="614926" y="1429627"/>
                </a:lnTo>
                <a:lnTo>
                  <a:pt x="605320" y="1385924"/>
                </a:lnTo>
                <a:lnTo>
                  <a:pt x="598630" y="1341625"/>
                </a:lnTo>
                <a:lnTo>
                  <a:pt x="594903" y="1296882"/>
                </a:lnTo>
                <a:lnTo>
                  <a:pt x="594183" y="1251850"/>
                </a:lnTo>
                <a:lnTo>
                  <a:pt x="596514" y="1206683"/>
                </a:lnTo>
                <a:lnTo>
                  <a:pt x="601942" y="1161535"/>
                </a:lnTo>
                <a:lnTo>
                  <a:pt x="610510" y="1116560"/>
                </a:lnTo>
                <a:lnTo>
                  <a:pt x="622264" y="1071912"/>
                </a:lnTo>
                <a:lnTo>
                  <a:pt x="637249" y="1027744"/>
                </a:lnTo>
                <a:lnTo>
                  <a:pt x="655509" y="984212"/>
                </a:lnTo>
                <a:lnTo>
                  <a:pt x="677089" y="941468"/>
                </a:lnTo>
                <a:lnTo>
                  <a:pt x="156382" y="655205"/>
                </a:lnTo>
                <a:close/>
              </a:path>
              <a:path w="2528569" h="2528570">
                <a:moveTo>
                  <a:pt x="1264265" y="0"/>
                </a:moveTo>
                <a:lnTo>
                  <a:pt x="1264265" y="594212"/>
                </a:lnTo>
                <a:lnTo>
                  <a:pt x="1312493" y="595949"/>
                </a:lnTo>
                <a:lnTo>
                  <a:pt x="1360318" y="601130"/>
                </a:lnTo>
                <a:lnTo>
                  <a:pt x="1407558" y="609710"/>
                </a:lnTo>
                <a:lnTo>
                  <a:pt x="1454033" y="621641"/>
                </a:lnTo>
                <a:lnTo>
                  <a:pt x="1499564" y="636879"/>
                </a:lnTo>
                <a:lnTo>
                  <a:pt x="1543970" y="655377"/>
                </a:lnTo>
                <a:lnTo>
                  <a:pt x="1587072" y="677089"/>
                </a:lnTo>
                <a:lnTo>
                  <a:pt x="1628194" y="701616"/>
                </a:lnTo>
                <a:lnTo>
                  <a:pt x="1666937" y="728588"/>
                </a:lnTo>
                <a:lnTo>
                  <a:pt x="1703254" y="757852"/>
                </a:lnTo>
                <a:lnTo>
                  <a:pt x="1737102" y="789252"/>
                </a:lnTo>
                <a:lnTo>
                  <a:pt x="1768435" y="822635"/>
                </a:lnTo>
                <a:lnTo>
                  <a:pt x="1797209" y="857847"/>
                </a:lnTo>
                <a:lnTo>
                  <a:pt x="1823379" y="894734"/>
                </a:lnTo>
                <a:lnTo>
                  <a:pt x="1846901" y="933141"/>
                </a:lnTo>
                <a:lnTo>
                  <a:pt x="1867729" y="972916"/>
                </a:lnTo>
                <a:lnTo>
                  <a:pt x="1885819" y="1013904"/>
                </a:lnTo>
                <a:lnTo>
                  <a:pt x="1901126" y="1055951"/>
                </a:lnTo>
                <a:lnTo>
                  <a:pt x="1913605" y="1098904"/>
                </a:lnTo>
                <a:lnTo>
                  <a:pt x="1923212" y="1142607"/>
                </a:lnTo>
                <a:lnTo>
                  <a:pt x="1929901" y="1186907"/>
                </a:lnTo>
                <a:lnTo>
                  <a:pt x="1933629" y="1231650"/>
                </a:lnTo>
                <a:lnTo>
                  <a:pt x="1934350" y="1276683"/>
                </a:lnTo>
                <a:lnTo>
                  <a:pt x="1932019" y="1321851"/>
                </a:lnTo>
                <a:lnTo>
                  <a:pt x="1926593" y="1366999"/>
                </a:lnTo>
                <a:lnTo>
                  <a:pt x="1918025" y="1411975"/>
                </a:lnTo>
                <a:lnTo>
                  <a:pt x="1906272" y="1456625"/>
                </a:lnTo>
                <a:lnTo>
                  <a:pt x="1891288" y="1500793"/>
                </a:lnTo>
                <a:lnTo>
                  <a:pt x="1873030" y="1544327"/>
                </a:lnTo>
                <a:lnTo>
                  <a:pt x="1851451" y="1587072"/>
                </a:lnTo>
                <a:lnTo>
                  <a:pt x="1826922" y="1628195"/>
                </a:lnTo>
                <a:lnTo>
                  <a:pt x="1799949" y="1666939"/>
                </a:lnTo>
                <a:lnTo>
                  <a:pt x="1770685" y="1703257"/>
                </a:lnTo>
                <a:lnTo>
                  <a:pt x="1739284" y="1737106"/>
                </a:lnTo>
                <a:lnTo>
                  <a:pt x="1705900" y="1768439"/>
                </a:lnTo>
                <a:lnTo>
                  <a:pt x="1670687" y="1797214"/>
                </a:lnTo>
                <a:lnTo>
                  <a:pt x="1633799" y="1823384"/>
                </a:lnTo>
                <a:lnTo>
                  <a:pt x="1595391" y="1846905"/>
                </a:lnTo>
                <a:lnTo>
                  <a:pt x="1555615" y="1867733"/>
                </a:lnTo>
                <a:lnTo>
                  <a:pt x="1514627" y="1885822"/>
                </a:lnTo>
                <a:lnTo>
                  <a:pt x="1472579" y="1901129"/>
                </a:lnTo>
                <a:lnTo>
                  <a:pt x="1429627" y="1913607"/>
                </a:lnTo>
                <a:lnTo>
                  <a:pt x="1385923" y="1923213"/>
                </a:lnTo>
                <a:lnTo>
                  <a:pt x="1341623" y="1929902"/>
                </a:lnTo>
                <a:lnTo>
                  <a:pt x="1296879" y="1933628"/>
                </a:lnTo>
                <a:lnTo>
                  <a:pt x="1251847" y="1934348"/>
                </a:lnTo>
                <a:lnTo>
                  <a:pt x="2336418" y="1934348"/>
                </a:lnTo>
                <a:lnTo>
                  <a:pt x="2363500" y="1889249"/>
                </a:lnTo>
                <a:lnTo>
                  <a:pt x="2385312" y="1849311"/>
                </a:lnTo>
                <a:lnTo>
                  <a:pt x="2405712" y="1808519"/>
                </a:lnTo>
                <a:lnTo>
                  <a:pt x="2424669" y="1766904"/>
                </a:lnTo>
                <a:lnTo>
                  <a:pt x="2442149" y="1724501"/>
                </a:lnTo>
                <a:lnTo>
                  <a:pt x="2458119" y="1681341"/>
                </a:lnTo>
                <a:lnTo>
                  <a:pt x="2472547" y="1637457"/>
                </a:lnTo>
                <a:lnTo>
                  <a:pt x="2485401" y="1592883"/>
                </a:lnTo>
                <a:lnTo>
                  <a:pt x="2496647" y="1547650"/>
                </a:lnTo>
                <a:lnTo>
                  <a:pt x="2506253" y="1501792"/>
                </a:lnTo>
                <a:lnTo>
                  <a:pt x="2514185" y="1455341"/>
                </a:lnTo>
                <a:lnTo>
                  <a:pt x="2520412" y="1408330"/>
                </a:lnTo>
                <a:lnTo>
                  <a:pt x="2524900" y="1360792"/>
                </a:lnTo>
                <a:lnTo>
                  <a:pt x="2527617" y="1312759"/>
                </a:lnTo>
                <a:lnTo>
                  <a:pt x="2528530" y="1264265"/>
                </a:lnTo>
                <a:lnTo>
                  <a:pt x="2527617" y="1215771"/>
                </a:lnTo>
                <a:lnTo>
                  <a:pt x="2524900" y="1167739"/>
                </a:lnTo>
                <a:lnTo>
                  <a:pt x="2520412" y="1120201"/>
                </a:lnTo>
                <a:lnTo>
                  <a:pt x="2514185" y="1073191"/>
                </a:lnTo>
                <a:lnTo>
                  <a:pt x="2506253" y="1026740"/>
                </a:lnTo>
                <a:lnTo>
                  <a:pt x="2496647" y="980882"/>
                </a:lnTo>
                <a:lnTo>
                  <a:pt x="2485401" y="935650"/>
                </a:lnTo>
                <a:lnTo>
                  <a:pt x="2472547" y="891076"/>
                </a:lnTo>
                <a:lnTo>
                  <a:pt x="2458119" y="847192"/>
                </a:lnTo>
                <a:lnTo>
                  <a:pt x="2442149" y="804033"/>
                </a:lnTo>
                <a:lnTo>
                  <a:pt x="2424669" y="761629"/>
                </a:lnTo>
                <a:lnTo>
                  <a:pt x="2405712" y="720015"/>
                </a:lnTo>
                <a:lnTo>
                  <a:pt x="2385312" y="679223"/>
                </a:lnTo>
                <a:lnTo>
                  <a:pt x="2363500" y="639285"/>
                </a:lnTo>
                <a:lnTo>
                  <a:pt x="2340310" y="600234"/>
                </a:lnTo>
                <a:lnTo>
                  <a:pt x="2315775" y="562104"/>
                </a:lnTo>
                <a:lnTo>
                  <a:pt x="2289926" y="524926"/>
                </a:lnTo>
                <a:lnTo>
                  <a:pt x="2262797" y="488734"/>
                </a:lnTo>
                <a:lnTo>
                  <a:pt x="2234421" y="453560"/>
                </a:lnTo>
                <a:lnTo>
                  <a:pt x="2204830" y="419438"/>
                </a:lnTo>
                <a:lnTo>
                  <a:pt x="2174057" y="386399"/>
                </a:lnTo>
                <a:lnTo>
                  <a:pt x="2142135" y="354476"/>
                </a:lnTo>
                <a:lnTo>
                  <a:pt x="2109096" y="323703"/>
                </a:lnTo>
                <a:lnTo>
                  <a:pt x="2074973" y="294112"/>
                </a:lnTo>
                <a:lnTo>
                  <a:pt x="2039800" y="265735"/>
                </a:lnTo>
                <a:lnTo>
                  <a:pt x="2003608" y="238606"/>
                </a:lnTo>
                <a:lnTo>
                  <a:pt x="1966430" y="212757"/>
                </a:lnTo>
                <a:lnTo>
                  <a:pt x="1928300" y="188221"/>
                </a:lnTo>
                <a:lnTo>
                  <a:pt x="1889249" y="165031"/>
                </a:lnTo>
                <a:lnTo>
                  <a:pt x="1849311" y="143219"/>
                </a:lnTo>
                <a:lnTo>
                  <a:pt x="1808519" y="122819"/>
                </a:lnTo>
                <a:lnTo>
                  <a:pt x="1766904" y="103862"/>
                </a:lnTo>
                <a:lnTo>
                  <a:pt x="1724501" y="86382"/>
                </a:lnTo>
                <a:lnTo>
                  <a:pt x="1681341" y="70411"/>
                </a:lnTo>
                <a:lnTo>
                  <a:pt x="1637457" y="55983"/>
                </a:lnTo>
                <a:lnTo>
                  <a:pt x="1592883" y="43129"/>
                </a:lnTo>
                <a:lnTo>
                  <a:pt x="1547650" y="31883"/>
                </a:lnTo>
                <a:lnTo>
                  <a:pt x="1501792" y="22277"/>
                </a:lnTo>
                <a:lnTo>
                  <a:pt x="1455341" y="14345"/>
                </a:lnTo>
                <a:lnTo>
                  <a:pt x="1408330" y="8118"/>
                </a:lnTo>
                <a:lnTo>
                  <a:pt x="1360792" y="3629"/>
                </a:lnTo>
                <a:lnTo>
                  <a:pt x="1312759" y="912"/>
                </a:lnTo>
                <a:lnTo>
                  <a:pt x="1264265" y="0"/>
                </a:lnTo>
                <a:close/>
              </a:path>
            </a:pathLst>
          </a:custGeom>
          <a:solidFill>
            <a:srgbClr val="FF7900"/>
          </a:solidFill>
        </p:spPr>
        <p:txBody>
          <a:bodyPr wrap="square" lIns="0" tIns="0" rIns="0" bIns="0" rtlCol="0"/>
          <a:lstStyle/>
          <a:p>
            <a:endParaRPr/>
          </a:p>
        </p:txBody>
      </p:sp>
      <p:sp>
        <p:nvSpPr>
          <p:cNvPr id="83" name="object 83"/>
          <p:cNvSpPr txBox="1"/>
          <p:nvPr/>
        </p:nvSpPr>
        <p:spPr>
          <a:xfrm>
            <a:off x="2409153" y="4724461"/>
            <a:ext cx="4320728" cy="183098"/>
          </a:xfrm>
          <a:prstGeom prst="rect">
            <a:avLst/>
          </a:prstGeom>
        </p:spPr>
        <p:txBody>
          <a:bodyPr vert="horz" wrap="square" lIns="0" tIns="6931" rIns="0" bIns="0" rtlCol="0">
            <a:spAutoFit/>
          </a:bodyPr>
          <a:lstStyle/>
          <a:p>
            <a:pPr marL="5776">
              <a:spcBef>
                <a:spcPts val="55"/>
              </a:spcBef>
            </a:pPr>
            <a:r>
              <a:rPr sz="1100" b="1" spc="5" dirty="0">
                <a:solidFill>
                  <a:srgbClr val="1D1D1B"/>
                </a:solidFill>
                <a:latin typeface="Helvetica Neue"/>
                <a:cs typeface="Helvetica Neue"/>
              </a:rPr>
              <a:t>Le mobile sera </a:t>
            </a:r>
            <a:r>
              <a:rPr sz="1100" b="1" spc="2" dirty="0">
                <a:solidFill>
                  <a:srgbClr val="1D1D1B"/>
                </a:solidFill>
                <a:latin typeface="Helvetica Neue"/>
                <a:cs typeface="Helvetica Neue"/>
              </a:rPr>
              <a:t>le </a:t>
            </a:r>
            <a:r>
              <a:rPr sz="1100" b="1" spc="7" dirty="0">
                <a:solidFill>
                  <a:srgbClr val="1D1D1B"/>
                </a:solidFill>
                <a:latin typeface="Helvetica Neue"/>
                <a:cs typeface="Helvetica Neue"/>
              </a:rPr>
              <a:t>moyen </a:t>
            </a:r>
            <a:r>
              <a:rPr sz="1100" b="1" spc="2" dirty="0">
                <a:solidFill>
                  <a:srgbClr val="1D1D1B"/>
                </a:solidFill>
                <a:latin typeface="Helvetica Neue"/>
                <a:cs typeface="Helvetica Neue"/>
              </a:rPr>
              <a:t>le </a:t>
            </a:r>
            <a:r>
              <a:rPr sz="1100" b="1" spc="5" dirty="0">
                <a:solidFill>
                  <a:srgbClr val="1D1D1B"/>
                </a:solidFill>
                <a:latin typeface="Helvetica Neue"/>
                <a:cs typeface="Helvetica Neue"/>
              </a:rPr>
              <a:t>plus courant pour payer en</a:t>
            </a:r>
            <a:r>
              <a:rPr sz="1100" b="1" spc="-5" dirty="0">
                <a:solidFill>
                  <a:srgbClr val="1D1D1B"/>
                </a:solidFill>
                <a:latin typeface="Helvetica Neue"/>
                <a:cs typeface="Helvetica Neue"/>
              </a:rPr>
              <a:t> </a:t>
            </a:r>
            <a:r>
              <a:rPr sz="1100" b="1" spc="5" dirty="0">
                <a:solidFill>
                  <a:srgbClr val="1D1D1B"/>
                </a:solidFill>
                <a:latin typeface="Helvetica Neue"/>
                <a:cs typeface="Helvetica Neue"/>
              </a:rPr>
              <a:t>magasin</a:t>
            </a:r>
            <a:endParaRPr sz="1100">
              <a:latin typeface="Helvetica Neue"/>
              <a:cs typeface="Helvetica Neue"/>
            </a:endParaRPr>
          </a:p>
        </p:txBody>
      </p:sp>
      <p:grpSp>
        <p:nvGrpSpPr>
          <p:cNvPr id="84" name="Groupe 83">
            <a:extLst>
              <a:ext uri="{FF2B5EF4-FFF2-40B4-BE49-F238E27FC236}">
                <a16:creationId xmlns:a16="http://schemas.microsoft.com/office/drawing/2014/main" id="{A734D351-978E-2249-B8E7-F8DEC1C50068}"/>
              </a:ext>
            </a:extLst>
          </p:cNvPr>
          <p:cNvGrpSpPr/>
          <p:nvPr/>
        </p:nvGrpSpPr>
        <p:grpSpPr>
          <a:xfrm>
            <a:off x="190894" y="197053"/>
            <a:ext cx="422542" cy="422512"/>
            <a:chOff x="419701" y="433273"/>
            <a:chExt cx="929005" cy="929005"/>
          </a:xfrm>
        </p:grpSpPr>
        <p:sp>
          <p:nvSpPr>
            <p:cNvPr id="85" name="object 4">
              <a:extLst>
                <a:ext uri="{FF2B5EF4-FFF2-40B4-BE49-F238E27FC236}">
                  <a16:creationId xmlns:a16="http://schemas.microsoft.com/office/drawing/2014/main" id="{DCD9E9D7-5EF2-214B-A87C-5E80DAABDC82}"/>
                </a:ext>
              </a:extLst>
            </p:cNvPr>
            <p:cNvSpPr/>
            <p:nvPr/>
          </p:nvSpPr>
          <p:spPr>
            <a:xfrm>
              <a:off x="419701" y="433273"/>
              <a:ext cx="929005" cy="929005"/>
            </a:xfrm>
            <a:custGeom>
              <a:avLst/>
              <a:gdLst/>
              <a:ahLst/>
              <a:cxnLst/>
              <a:rect l="l" t="t" r="r" b="b"/>
              <a:pathLst>
                <a:path w="929005" h="929005">
                  <a:moveTo>
                    <a:pt x="464341" y="0"/>
                  </a:moveTo>
                  <a:lnTo>
                    <a:pt x="416864" y="2397"/>
                  </a:lnTo>
                  <a:lnTo>
                    <a:pt x="370759" y="9434"/>
                  </a:lnTo>
                  <a:lnTo>
                    <a:pt x="326259" y="20876"/>
                  </a:lnTo>
                  <a:lnTo>
                    <a:pt x="283597" y="36491"/>
                  </a:lnTo>
                  <a:lnTo>
                    <a:pt x="243007" y="56045"/>
                  </a:lnTo>
                  <a:lnTo>
                    <a:pt x="204722" y="79304"/>
                  </a:lnTo>
                  <a:lnTo>
                    <a:pt x="168975" y="106036"/>
                  </a:lnTo>
                  <a:lnTo>
                    <a:pt x="136001" y="136006"/>
                  </a:lnTo>
                  <a:lnTo>
                    <a:pt x="106031" y="168981"/>
                  </a:lnTo>
                  <a:lnTo>
                    <a:pt x="79301" y="204729"/>
                  </a:lnTo>
                  <a:lnTo>
                    <a:pt x="56042" y="243015"/>
                  </a:lnTo>
                  <a:lnTo>
                    <a:pt x="36489" y="283606"/>
                  </a:lnTo>
                  <a:lnTo>
                    <a:pt x="20875" y="326268"/>
                  </a:lnTo>
                  <a:lnTo>
                    <a:pt x="9433" y="370769"/>
                  </a:lnTo>
                  <a:lnTo>
                    <a:pt x="2397" y="416875"/>
                  </a:lnTo>
                  <a:lnTo>
                    <a:pt x="0" y="464352"/>
                  </a:lnTo>
                  <a:lnTo>
                    <a:pt x="2397" y="511829"/>
                  </a:lnTo>
                  <a:lnTo>
                    <a:pt x="9433" y="557934"/>
                  </a:lnTo>
                  <a:lnTo>
                    <a:pt x="20875" y="602434"/>
                  </a:lnTo>
                  <a:lnTo>
                    <a:pt x="36489" y="645096"/>
                  </a:lnTo>
                  <a:lnTo>
                    <a:pt x="56042" y="685687"/>
                  </a:lnTo>
                  <a:lnTo>
                    <a:pt x="79301" y="723972"/>
                  </a:lnTo>
                  <a:lnTo>
                    <a:pt x="106031" y="759718"/>
                  </a:lnTo>
                  <a:lnTo>
                    <a:pt x="136001" y="792693"/>
                  </a:lnTo>
                  <a:lnTo>
                    <a:pt x="168975" y="822662"/>
                  </a:lnTo>
                  <a:lnTo>
                    <a:pt x="204722" y="849392"/>
                  </a:lnTo>
                  <a:lnTo>
                    <a:pt x="243007" y="872651"/>
                  </a:lnTo>
                  <a:lnTo>
                    <a:pt x="283597" y="892204"/>
                  </a:lnTo>
                  <a:lnTo>
                    <a:pt x="326259" y="907818"/>
                  </a:lnTo>
                  <a:lnTo>
                    <a:pt x="370759" y="919260"/>
                  </a:lnTo>
                  <a:lnTo>
                    <a:pt x="416864" y="926296"/>
                  </a:lnTo>
                  <a:lnTo>
                    <a:pt x="464341" y="928694"/>
                  </a:lnTo>
                  <a:lnTo>
                    <a:pt x="511818" y="926296"/>
                  </a:lnTo>
                  <a:lnTo>
                    <a:pt x="557924" y="919260"/>
                  </a:lnTo>
                  <a:lnTo>
                    <a:pt x="602425" y="907818"/>
                  </a:lnTo>
                  <a:lnTo>
                    <a:pt x="645088" y="892204"/>
                  </a:lnTo>
                  <a:lnTo>
                    <a:pt x="685678" y="872651"/>
                  </a:lnTo>
                  <a:lnTo>
                    <a:pt x="723964" y="849392"/>
                  </a:lnTo>
                  <a:lnTo>
                    <a:pt x="759712" y="822662"/>
                  </a:lnTo>
                  <a:lnTo>
                    <a:pt x="792687" y="792693"/>
                  </a:lnTo>
                  <a:lnTo>
                    <a:pt x="822658" y="759718"/>
                  </a:lnTo>
                  <a:lnTo>
                    <a:pt x="849389" y="723972"/>
                  </a:lnTo>
                  <a:lnTo>
                    <a:pt x="872649" y="685687"/>
                  </a:lnTo>
                  <a:lnTo>
                    <a:pt x="892202" y="645096"/>
                  </a:lnTo>
                  <a:lnTo>
                    <a:pt x="907817" y="602434"/>
                  </a:lnTo>
                  <a:lnTo>
                    <a:pt x="919260" y="557934"/>
                  </a:lnTo>
                  <a:lnTo>
                    <a:pt x="926296" y="511829"/>
                  </a:lnTo>
                  <a:lnTo>
                    <a:pt x="928694" y="464352"/>
                  </a:lnTo>
                  <a:lnTo>
                    <a:pt x="926296" y="416875"/>
                  </a:lnTo>
                  <a:lnTo>
                    <a:pt x="919260" y="370769"/>
                  </a:lnTo>
                  <a:lnTo>
                    <a:pt x="907817" y="326268"/>
                  </a:lnTo>
                  <a:lnTo>
                    <a:pt x="892202" y="283606"/>
                  </a:lnTo>
                  <a:lnTo>
                    <a:pt x="872649" y="243015"/>
                  </a:lnTo>
                  <a:lnTo>
                    <a:pt x="849389" y="204729"/>
                  </a:lnTo>
                  <a:lnTo>
                    <a:pt x="822658" y="168981"/>
                  </a:lnTo>
                  <a:lnTo>
                    <a:pt x="792687" y="136006"/>
                  </a:lnTo>
                  <a:lnTo>
                    <a:pt x="759712" y="106036"/>
                  </a:lnTo>
                  <a:lnTo>
                    <a:pt x="723964" y="79304"/>
                  </a:lnTo>
                  <a:lnTo>
                    <a:pt x="685678" y="56045"/>
                  </a:lnTo>
                  <a:lnTo>
                    <a:pt x="645088" y="36491"/>
                  </a:lnTo>
                  <a:lnTo>
                    <a:pt x="602425" y="20876"/>
                  </a:lnTo>
                  <a:lnTo>
                    <a:pt x="557924" y="9434"/>
                  </a:lnTo>
                  <a:lnTo>
                    <a:pt x="511818" y="2397"/>
                  </a:lnTo>
                  <a:lnTo>
                    <a:pt x="464341" y="0"/>
                  </a:lnTo>
                  <a:close/>
                </a:path>
              </a:pathLst>
            </a:custGeom>
            <a:solidFill>
              <a:srgbClr val="4AB4E6"/>
            </a:solidFill>
          </p:spPr>
          <p:txBody>
            <a:bodyPr wrap="square" lIns="0" tIns="0" rIns="0" bIns="0" rtlCol="0"/>
            <a:lstStyle/>
            <a:p>
              <a:endParaRPr/>
            </a:p>
          </p:txBody>
        </p:sp>
        <p:sp>
          <p:nvSpPr>
            <p:cNvPr id="86" name="object 5">
              <a:extLst>
                <a:ext uri="{FF2B5EF4-FFF2-40B4-BE49-F238E27FC236}">
                  <a16:creationId xmlns:a16="http://schemas.microsoft.com/office/drawing/2014/main" id="{46E89291-F897-6B42-B282-40E656F66C79}"/>
                </a:ext>
              </a:extLst>
            </p:cNvPr>
            <p:cNvSpPr/>
            <p:nvPr/>
          </p:nvSpPr>
          <p:spPr>
            <a:xfrm>
              <a:off x="664983" y="537961"/>
              <a:ext cx="568325" cy="751840"/>
            </a:xfrm>
            <a:custGeom>
              <a:avLst/>
              <a:gdLst/>
              <a:ahLst/>
              <a:cxnLst/>
              <a:rect l="l" t="t" r="r" b="b"/>
              <a:pathLst>
                <a:path w="568325" h="751840">
                  <a:moveTo>
                    <a:pt x="245217" y="0"/>
                  </a:moveTo>
                  <a:lnTo>
                    <a:pt x="0" y="624871"/>
                  </a:lnTo>
                  <a:lnTo>
                    <a:pt x="323047" y="751642"/>
                  </a:lnTo>
                  <a:lnTo>
                    <a:pt x="568265" y="126771"/>
                  </a:lnTo>
                  <a:lnTo>
                    <a:pt x="245217" y="0"/>
                  </a:lnTo>
                  <a:close/>
                </a:path>
              </a:pathLst>
            </a:custGeom>
            <a:solidFill>
              <a:srgbClr val="FFFFFF"/>
            </a:solidFill>
          </p:spPr>
          <p:txBody>
            <a:bodyPr wrap="square" lIns="0" tIns="0" rIns="0" bIns="0" rtlCol="0"/>
            <a:lstStyle/>
            <a:p>
              <a:endParaRPr/>
            </a:p>
          </p:txBody>
        </p:sp>
        <p:sp>
          <p:nvSpPr>
            <p:cNvPr id="87" name="object 6">
              <a:extLst>
                <a:ext uri="{FF2B5EF4-FFF2-40B4-BE49-F238E27FC236}">
                  <a16:creationId xmlns:a16="http://schemas.microsoft.com/office/drawing/2014/main" id="{F54435C9-08F1-A04A-97D0-E7E60B6CEA92}"/>
                </a:ext>
              </a:extLst>
            </p:cNvPr>
            <p:cNvSpPr/>
            <p:nvPr/>
          </p:nvSpPr>
          <p:spPr>
            <a:xfrm>
              <a:off x="646369" y="532081"/>
              <a:ext cx="603250" cy="768350"/>
            </a:xfrm>
            <a:custGeom>
              <a:avLst/>
              <a:gdLst/>
              <a:ahLst/>
              <a:cxnLst/>
              <a:rect l="l" t="t" r="r" b="b"/>
              <a:pathLst>
                <a:path w="603250" h="768350">
                  <a:moveTo>
                    <a:pt x="256296" y="0"/>
                  </a:moveTo>
                  <a:lnTo>
                    <a:pt x="219754" y="26215"/>
                  </a:lnTo>
                  <a:lnTo>
                    <a:pt x="2651" y="596795"/>
                  </a:lnTo>
                  <a:lnTo>
                    <a:pt x="0" y="612736"/>
                  </a:lnTo>
                  <a:lnTo>
                    <a:pt x="3541" y="627926"/>
                  </a:lnTo>
                  <a:lnTo>
                    <a:pt x="12516" y="640676"/>
                  </a:lnTo>
                  <a:lnTo>
                    <a:pt x="26168" y="649296"/>
                  </a:lnTo>
                  <a:lnTo>
                    <a:pt x="330557" y="765114"/>
                  </a:lnTo>
                  <a:lnTo>
                    <a:pt x="346484" y="767754"/>
                  </a:lnTo>
                  <a:lnTo>
                    <a:pt x="361665" y="764197"/>
                  </a:lnTo>
                  <a:lnTo>
                    <a:pt x="374408" y="755203"/>
                  </a:lnTo>
                  <a:lnTo>
                    <a:pt x="383026" y="741534"/>
                  </a:lnTo>
                  <a:lnTo>
                    <a:pt x="403008" y="689022"/>
                  </a:lnTo>
                  <a:lnTo>
                    <a:pt x="359467" y="689022"/>
                  </a:lnTo>
                  <a:lnTo>
                    <a:pt x="55162" y="573235"/>
                  </a:lnTo>
                  <a:lnTo>
                    <a:pt x="250559" y="59712"/>
                  </a:lnTo>
                  <a:lnTo>
                    <a:pt x="422217" y="59712"/>
                  </a:lnTo>
                  <a:lnTo>
                    <a:pt x="272224" y="2635"/>
                  </a:lnTo>
                  <a:lnTo>
                    <a:pt x="256296" y="0"/>
                  </a:lnTo>
                  <a:close/>
                </a:path>
                <a:path w="603250" h="768350">
                  <a:moveTo>
                    <a:pt x="422217" y="59712"/>
                  </a:moveTo>
                  <a:lnTo>
                    <a:pt x="250559" y="59712"/>
                  </a:lnTo>
                  <a:lnTo>
                    <a:pt x="554864" y="175509"/>
                  </a:lnTo>
                  <a:lnTo>
                    <a:pt x="359467" y="689022"/>
                  </a:lnTo>
                  <a:lnTo>
                    <a:pt x="403008" y="689022"/>
                  </a:lnTo>
                  <a:lnTo>
                    <a:pt x="600140" y="170954"/>
                  </a:lnTo>
                  <a:lnTo>
                    <a:pt x="602785" y="155013"/>
                  </a:lnTo>
                  <a:lnTo>
                    <a:pt x="599241" y="139824"/>
                  </a:lnTo>
                  <a:lnTo>
                    <a:pt x="590264" y="127078"/>
                  </a:lnTo>
                  <a:lnTo>
                    <a:pt x="576612" y="118464"/>
                  </a:lnTo>
                  <a:lnTo>
                    <a:pt x="558149" y="111438"/>
                  </a:lnTo>
                  <a:lnTo>
                    <a:pt x="443705" y="111438"/>
                  </a:lnTo>
                  <a:lnTo>
                    <a:pt x="376189" y="85742"/>
                  </a:lnTo>
                  <a:lnTo>
                    <a:pt x="373540" y="79837"/>
                  </a:lnTo>
                  <a:lnTo>
                    <a:pt x="377519" y="69376"/>
                  </a:lnTo>
                  <a:lnTo>
                    <a:pt x="383424" y="66727"/>
                  </a:lnTo>
                  <a:lnTo>
                    <a:pt x="440653" y="66727"/>
                  </a:lnTo>
                  <a:lnTo>
                    <a:pt x="422217" y="59712"/>
                  </a:lnTo>
                  <a:close/>
                </a:path>
                <a:path w="603250" h="768350">
                  <a:moveTo>
                    <a:pt x="440653" y="66727"/>
                  </a:moveTo>
                  <a:lnTo>
                    <a:pt x="383424" y="66727"/>
                  </a:lnTo>
                  <a:lnTo>
                    <a:pt x="450941" y="92412"/>
                  </a:lnTo>
                  <a:lnTo>
                    <a:pt x="453600" y="98318"/>
                  </a:lnTo>
                  <a:lnTo>
                    <a:pt x="449611" y="108778"/>
                  </a:lnTo>
                  <a:lnTo>
                    <a:pt x="443705" y="111438"/>
                  </a:lnTo>
                  <a:lnTo>
                    <a:pt x="558149" y="111438"/>
                  </a:lnTo>
                  <a:lnTo>
                    <a:pt x="440653" y="66727"/>
                  </a:lnTo>
                  <a:close/>
                </a:path>
              </a:pathLst>
            </a:custGeom>
            <a:solidFill>
              <a:srgbClr val="000000"/>
            </a:solidFill>
          </p:spPr>
          <p:txBody>
            <a:bodyPr wrap="square" lIns="0" tIns="0" rIns="0" bIns="0" rtlCol="0"/>
            <a:lstStyle/>
            <a:p>
              <a:endParaRPr/>
            </a:p>
          </p:txBody>
        </p:sp>
        <p:sp>
          <p:nvSpPr>
            <p:cNvPr id="88" name="object 7">
              <a:extLst>
                <a:ext uri="{FF2B5EF4-FFF2-40B4-BE49-F238E27FC236}">
                  <a16:creationId xmlns:a16="http://schemas.microsoft.com/office/drawing/2014/main" id="{D859BEFD-DEDF-3646-BCDF-19E94C11E66C}"/>
                </a:ext>
              </a:extLst>
            </p:cNvPr>
            <p:cNvSpPr/>
            <p:nvPr/>
          </p:nvSpPr>
          <p:spPr>
            <a:xfrm>
              <a:off x="542803" y="617528"/>
              <a:ext cx="207645" cy="317500"/>
            </a:xfrm>
            <a:custGeom>
              <a:avLst/>
              <a:gdLst/>
              <a:ahLst/>
              <a:cxnLst/>
              <a:rect l="l" t="t" r="r" b="b"/>
              <a:pathLst>
                <a:path w="207645" h="317500">
                  <a:moveTo>
                    <a:pt x="139782" y="0"/>
                  </a:moveTo>
                  <a:lnTo>
                    <a:pt x="97716" y="24434"/>
                  </a:lnTo>
                  <a:lnTo>
                    <a:pt x="62527" y="55767"/>
                  </a:lnTo>
                  <a:lnTo>
                    <a:pt x="34688" y="92723"/>
                  </a:lnTo>
                  <a:lnTo>
                    <a:pt x="14672" y="134028"/>
                  </a:lnTo>
                  <a:lnTo>
                    <a:pt x="2952" y="178406"/>
                  </a:lnTo>
                  <a:lnTo>
                    <a:pt x="0" y="224582"/>
                  </a:lnTo>
                  <a:lnTo>
                    <a:pt x="6288" y="271280"/>
                  </a:lnTo>
                  <a:lnTo>
                    <a:pt x="22289" y="317225"/>
                  </a:lnTo>
                  <a:lnTo>
                    <a:pt x="51481" y="303980"/>
                  </a:lnTo>
                  <a:lnTo>
                    <a:pt x="36331" y="258397"/>
                  </a:lnTo>
                  <a:lnTo>
                    <a:pt x="32098" y="212166"/>
                  </a:lnTo>
                  <a:lnTo>
                    <a:pt x="38172" y="166939"/>
                  </a:lnTo>
                  <a:lnTo>
                    <a:pt x="53942" y="124363"/>
                  </a:lnTo>
                  <a:lnTo>
                    <a:pt x="78796" y="86091"/>
                  </a:lnTo>
                  <a:lnTo>
                    <a:pt x="112122" y="53772"/>
                  </a:lnTo>
                  <a:lnTo>
                    <a:pt x="153311" y="29056"/>
                  </a:lnTo>
                  <a:lnTo>
                    <a:pt x="139782" y="0"/>
                  </a:lnTo>
                  <a:close/>
                </a:path>
                <a:path w="207645" h="317500">
                  <a:moveTo>
                    <a:pt x="166839" y="58113"/>
                  </a:moveTo>
                  <a:lnTo>
                    <a:pt x="126812" y="83176"/>
                  </a:lnTo>
                  <a:lnTo>
                    <a:pt x="95957" y="116680"/>
                  </a:lnTo>
                  <a:lnTo>
                    <a:pt x="75096" y="156406"/>
                  </a:lnTo>
                  <a:lnTo>
                    <a:pt x="65049" y="200137"/>
                  </a:lnTo>
                  <a:lnTo>
                    <a:pt x="66638" y="245656"/>
                  </a:lnTo>
                  <a:lnTo>
                    <a:pt x="80685" y="290745"/>
                  </a:lnTo>
                  <a:lnTo>
                    <a:pt x="109878" y="277509"/>
                  </a:lnTo>
                  <a:lnTo>
                    <a:pt x="97333" y="233141"/>
                  </a:lnTo>
                  <a:lnTo>
                    <a:pt x="99270" y="188787"/>
                  </a:lnTo>
                  <a:lnTo>
                    <a:pt x="114529" y="147585"/>
                  </a:lnTo>
                  <a:lnTo>
                    <a:pt x="141949" y="112671"/>
                  </a:lnTo>
                  <a:lnTo>
                    <a:pt x="180368" y="87180"/>
                  </a:lnTo>
                  <a:lnTo>
                    <a:pt x="166839" y="58113"/>
                  </a:lnTo>
                  <a:close/>
                </a:path>
                <a:path w="207645" h="317500">
                  <a:moveTo>
                    <a:pt x="193906" y="116237"/>
                  </a:moveTo>
                  <a:lnTo>
                    <a:pt x="157852" y="142264"/>
                  </a:lnTo>
                  <a:lnTo>
                    <a:pt x="135519" y="178786"/>
                  </a:lnTo>
                  <a:lnTo>
                    <a:pt x="128672" y="221043"/>
                  </a:lnTo>
                  <a:lnTo>
                    <a:pt x="139070" y="264274"/>
                  </a:lnTo>
                  <a:lnTo>
                    <a:pt x="168274" y="251039"/>
                  </a:lnTo>
                  <a:lnTo>
                    <a:pt x="160843" y="220160"/>
                  </a:lnTo>
                  <a:lnTo>
                    <a:pt x="165732" y="189977"/>
                  </a:lnTo>
                  <a:lnTo>
                    <a:pt x="181682" y="163891"/>
                  </a:lnTo>
                  <a:lnTo>
                    <a:pt x="207435" y="145304"/>
                  </a:lnTo>
                  <a:lnTo>
                    <a:pt x="193906" y="116237"/>
                  </a:lnTo>
                  <a:close/>
                </a:path>
              </a:pathLst>
            </a:custGeom>
            <a:solidFill>
              <a:srgbClr val="000000"/>
            </a:solidFill>
          </p:spPr>
          <p:txBody>
            <a:bodyPr wrap="square" lIns="0" tIns="0" rIns="0" bIns="0" rtlCol="0"/>
            <a:lstStyle/>
            <a:p>
              <a:endParaRPr/>
            </a:p>
          </p:txBody>
        </p:sp>
        <p:sp>
          <p:nvSpPr>
            <p:cNvPr id="89" name="object 8">
              <a:extLst>
                <a:ext uri="{FF2B5EF4-FFF2-40B4-BE49-F238E27FC236}">
                  <a16:creationId xmlns:a16="http://schemas.microsoft.com/office/drawing/2014/main" id="{DE61F09D-0B26-A94B-B04C-7AF911B4B7ED}"/>
                </a:ext>
              </a:extLst>
            </p:cNvPr>
            <p:cNvSpPr/>
            <p:nvPr/>
          </p:nvSpPr>
          <p:spPr>
            <a:xfrm>
              <a:off x="816706" y="793912"/>
              <a:ext cx="251460" cy="427990"/>
            </a:xfrm>
            <a:custGeom>
              <a:avLst/>
              <a:gdLst/>
              <a:ahLst/>
              <a:cxnLst/>
              <a:rect l="l" t="t" r="r" b="b"/>
              <a:pathLst>
                <a:path w="251459" h="427990">
                  <a:moveTo>
                    <a:pt x="124482" y="0"/>
                  </a:moveTo>
                  <a:lnTo>
                    <a:pt x="78903" y="10651"/>
                  </a:lnTo>
                  <a:lnTo>
                    <a:pt x="40646" y="37616"/>
                  </a:lnTo>
                  <a:lnTo>
                    <a:pt x="14778" y="78622"/>
                  </a:lnTo>
                  <a:lnTo>
                    <a:pt x="6846" y="126453"/>
                  </a:lnTo>
                  <a:lnTo>
                    <a:pt x="17502" y="172031"/>
                  </a:lnTo>
                  <a:lnTo>
                    <a:pt x="44471" y="210289"/>
                  </a:lnTo>
                  <a:lnTo>
                    <a:pt x="85478" y="236156"/>
                  </a:lnTo>
                  <a:lnTo>
                    <a:pt x="133309" y="244094"/>
                  </a:lnTo>
                  <a:lnTo>
                    <a:pt x="178887" y="233442"/>
                  </a:lnTo>
                  <a:lnTo>
                    <a:pt x="192629" y="223755"/>
                  </a:lnTo>
                  <a:lnTo>
                    <a:pt x="132573" y="223755"/>
                  </a:lnTo>
                  <a:lnTo>
                    <a:pt x="92713" y="217141"/>
                  </a:lnTo>
                  <a:lnTo>
                    <a:pt x="58540" y="195586"/>
                  </a:lnTo>
                  <a:lnTo>
                    <a:pt x="36067" y="163703"/>
                  </a:lnTo>
                  <a:lnTo>
                    <a:pt x="27190" y="125719"/>
                  </a:lnTo>
                  <a:lnTo>
                    <a:pt x="33804" y="85857"/>
                  </a:lnTo>
                  <a:lnTo>
                    <a:pt x="55358" y="51690"/>
                  </a:lnTo>
                  <a:lnTo>
                    <a:pt x="87237" y="29219"/>
                  </a:lnTo>
                  <a:lnTo>
                    <a:pt x="125218" y="20340"/>
                  </a:lnTo>
                  <a:lnTo>
                    <a:pt x="191981" y="20340"/>
                  </a:lnTo>
                  <a:lnTo>
                    <a:pt x="172313" y="7933"/>
                  </a:lnTo>
                  <a:lnTo>
                    <a:pt x="124482" y="0"/>
                  </a:lnTo>
                  <a:close/>
                </a:path>
                <a:path w="251459" h="427990">
                  <a:moveTo>
                    <a:pt x="191981" y="20340"/>
                  </a:moveTo>
                  <a:lnTo>
                    <a:pt x="125218" y="20340"/>
                  </a:lnTo>
                  <a:lnTo>
                    <a:pt x="165077" y="26948"/>
                  </a:lnTo>
                  <a:lnTo>
                    <a:pt x="199251" y="48508"/>
                  </a:lnTo>
                  <a:lnTo>
                    <a:pt x="221724" y="80390"/>
                  </a:lnTo>
                  <a:lnTo>
                    <a:pt x="230601" y="118372"/>
                  </a:lnTo>
                  <a:lnTo>
                    <a:pt x="223987" y="158232"/>
                  </a:lnTo>
                  <a:lnTo>
                    <a:pt x="202433" y="192405"/>
                  </a:lnTo>
                  <a:lnTo>
                    <a:pt x="170554" y="214878"/>
                  </a:lnTo>
                  <a:lnTo>
                    <a:pt x="132573" y="223755"/>
                  </a:lnTo>
                  <a:lnTo>
                    <a:pt x="192629" y="223755"/>
                  </a:lnTo>
                  <a:lnTo>
                    <a:pt x="217144" y="206474"/>
                  </a:lnTo>
                  <a:lnTo>
                    <a:pt x="243012" y="165467"/>
                  </a:lnTo>
                  <a:lnTo>
                    <a:pt x="250822" y="118372"/>
                  </a:lnTo>
                  <a:lnTo>
                    <a:pt x="250929" y="117574"/>
                  </a:lnTo>
                  <a:lnTo>
                    <a:pt x="240288" y="72058"/>
                  </a:lnTo>
                  <a:lnTo>
                    <a:pt x="213320" y="33801"/>
                  </a:lnTo>
                  <a:lnTo>
                    <a:pt x="191981" y="20340"/>
                  </a:lnTo>
                  <a:close/>
                </a:path>
                <a:path w="251459" h="427990">
                  <a:moveTo>
                    <a:pt x="63457" y="104977"/>
                  </a:moveTo>
                  <a:lnTo>
                    <a:pt x="58149" y="108045"/>
                  </a:lnTo>
                  <a:lnTo>
                    <a:pt x="53898" y="119228"/>
                  </a:lnTo>
                  <a:lnTo>
                    <a:pt x="56149" y="124443"/>
                  </a:lnTo>
                  <a:lnTo>
                    <a:pt x="69719" y="129605"/>
                  </a:lnTo>
                  <a:lnTo>
                    <a:pt x="68642" y="139878"/>
                  </a:lnTo>
                  <a:lnTo>
                    <a:pt x="79434" y="177151"/>
                  </a:lnTo>
                  <a:lnTo>
                    <a:pt x="122769" y="200144"/>
                  </a:lnTo>
                  <a:lnTo>
                    <a:pt x="137578" y="199884"/>
                  </a:lnTo>
                  <a:lnTo>
                    <a:pt x="167034" y="177454"/>
                  </a:lnTo>
                  <a:lnTo>
                    <a:pt x="123514" y="177454"/>
                  </a:lnTo>
                  <a:lnTo>
                    <a:pt x="113990" y="174828"/>
                  </a:lnTo>
                  <a:lnTo>
                    <a:pt x="103244" y="169080"/>
                  </a:lnTo>
                  <a:lnTo>
                    <a:pt x="95716" y="161101"/>
                  </a:lnTo>
                  <a:lnTo>
                    <a:pt x="91647" y="150727"/>
                  </a:lnTo>
                  <a:lnTo>
                    <a:pt x="91310" y="137824"/>
                  </a:lnTo>
                  <a:lnTo>
                    <a:pt x="145967" y="137824"/>
                  </a:lnTo>
                  <a:lnTo>
                    <a:pt x="145549" y="136222"/>
                  </a:lnTo>
                  <a:lnTo>
                    <a:pt x="96545" y="117574"/>
                  </a:lnTo>
                  <a:lnTo>
                    <a:pt x="97341" y="115406"/>
                  </a:lnTo>
                  <a:lnTo>
                    <a:pt x="99373" y="110139"/>
                  </a:lnTo>
                  <a:lnTo>
                    <a:pt x="99477" y="109626"/>
                  </a:lnTo>
                  <a:lnTo>
                    <a:pt x="75677" y="109626"/>
                  </a:lnTo>
                  <a:lnTo>
                    <a:pt x="63457" y="104977"/>
                  </a:lnTo>
                  <a:close/>
                </a:path>
                <a:path w="251459" h="427990">
                  <a:moveTo>
                    <a:pt x="152764" y="163886"/>
                  </a:moveTo>
                  <a:lnTo>
                    <a:pt x="148136" y="165091"/>
                  </a:lnTo>
                  <a:lnTo>
                    <a:pt x="144252" y="169088"/>
                  </a:lnTo>
                  <a:lnTo>
                    <a:pt x="138035" y="174506"/>
                  </a:lnTo>
                  <a:lnTo>
                    <a:pt x="131325" y="177322"/>
                  </a:lnTo>
                  <a:lnTo>
                    <a:pt x="123514" y="177454"/>
                  </a:lnTo>
                  <a:lnTo>
                    <a:pt x="167034" y="177454"/>
                  </a:lnTo>
                  <a:lnTo>
                    <a:pt x="167339" y="176650"/>
                  </a:lnTo>
                  <a:lnTo>
                    <a:pt x="165392" y="170965"/>
                  </a:lnTo>
                  <a:lnTo>
                    <a:pt x="160941" y="167729"/>
                  </a:lnTo>
                  <a:lnTo>
                    <a:pt x="159779" y="166808"/>
                  </a:lnTo>
                  <a:lnTo>
                    <a:pt x="158544" y="166085"/>
                  </a:lnTo>
                  <a:lnTo>
                    <a:pt x="152764" y="163886"/>
                  </a:lnTo>
                  <a:close/>
                </a:path>
                <a:path w="251459" h="427990">
                  <a:moveTo>
                    <a:pt x="145967" y="137824"/>
                  </a:moveTo>
                  <a:lnTo>
                    <a:pt x="91310" y="137824"/>
                  </a:lnTo>
                  <a:lnTo>
                    <a:pt x="137905" y="155552"/>
                  </a:lnTo>
                  <a:lnTo>
                    <a:pt x="142743" y="152934"/>
                  </a:lnTo>
                  <a:lnTo>
                    <a:pt x="146994" y="141761"/>
                  </a:lnTo>
                  <a:lnTo>
                    <a:pt x="145967" y="137824"/>
                  </a:lnTo>
                  <a:close/>
                </a:path>
                <a:path w="251459" h="427990">
                  <a:moveTo>
                    <a:pt x="163459" y="106778"/>
                  </a:moveTo>
                  <a:lnTo>
                    <a:pt x="100650" y="106778"/>
                  </a:lnTo>
                  <a:lnTo>
                    <a:pt x="158125" y="128641"/>
                  </a:lnTo>
                  <a:lnTo>
                    <a:pt x="163339" y="125364"/>
                  </a:lnTo>
                  <a:lnTo>
                    <a:pt x="167590" y="114202"/>
                  </a:lnTo>
                  <a:lnTo>
                    <a:pt x="166156" y="107804"/>
                  </a:lnTo>
                  <a:lnTo>
                    <a:pt x="163459" y="106778"/>
                  </a:lnTo>
                  <a:close/>
                </a:path>
                <a:path w="251459" h="427990">
                  <a:moveTo>
                    <a:pt x="186842" y="70092"/>
                  </a:moveTo>
                  <a:lnTo>
                    <a:pt x="141573" y="70092"/>
                  </a:lnTo>
                  <a:lnTo>
                    <a:pt x="152900" y="72580"/>
                  </a:lnTo>
                  <a:lnTo>
                    <a:pt x="161357" y="76813"/>
                  </a:lnTo>
                  <a:lnTo>
                    <a:pt x="166998" y="82202"/>
                  </a:lnTo>
                  <a:lnTo>
                    <a:pt x="170217" y="89206"/>
                  </a:lnTo>
                  <a:lnTo>
                    <a:pt x="171412" y="98286"/>
                  </a:lnTo>
                  <a:lnTo>
                    <a:pt x="171569" y="103249"/>
                  </a:lnTo>
                  <a:lnTo>
                    <a:pt x="173988" y="107574"/>
                  </a:lnTo>
                  <a:lnTo>
                    <a:pt x="180072" y="109888"/>
                  </a:lnTo>
                  <a:lnTo>
                    <a:pt x="181684" y="110830"/>
                  </a:lnTo>
                  <a:lnTo>
                    <a:pt x="183265" y="110610"/>
                  </a:lnTo>
                  <a:lnTo>
                    <a:pt x="183504" y="110610"/>
                  </a:lnTo>
                  <a:lnTo>
                    <a:pt x="183768" y="110338"/>
                  </a:lnTo>
                  <a:lnTo>
                    <a:pt x="189056" y="110181"/>
                  </a:lnTo>
                  <a:lnTo>
                    <a:pt x="193108" y="107406"/>
                  </a:lnTo>
                  <a:lnTo>
                    <a:pt x="195272" y="101679"/>
                  </a:lnTo>
                  <a:lnTo>
                    <a:pt x="195841" y="99867"/>
                  </a:lnTo>
                  <a:lnTo>
                    <a:pt x="195631" y="97354"/>
                  </a:lnTo>
                  <a:lnTo>
                    <a:pt x="193192" y="82239"/>
                  </a:lnTo>
                  <a:lnTo>
                    <a:pt x="186842" y="70092"/>
                  </a:lnTo>
                  <a:close/>
                </a:path>
                <a:path w="251459" h="427990">
                  <a:moveTo>
                    <a:pt x="183504" y="110610"/>
                  </a:moveTo>
                  <a:lnTo>
                    <a:pt x="183265" y="110610"/>
                  </a:lnTo>
                  <a:lnTo>
                    <a:pt x="183443" y="110673"/>
                  </a:lnTo>
                  <a:close/>
                </a:path>
                <a:path w="251459" h="427990">
                  <a:moveTo>
                    <a:pt x="75593" y="73345"/>
                  </a:moveTo>
                  <a:lnTo>
                    <a:pt x="69887" y="77187"/>
                  </a:lnTo>
                  <a:lnTo>
                    <a:pt x="65667" y="88276"/>
                  </a:lnTo>
                  <a:lnTo>
                    <a:pt x="67646" y="94213"/>
                  </a:lnTo>
                  <a:lnTo>
                    <a:pt x="79782" y="98831"/>
                  </a:lnTo>
                  <a:lnTo>
                    <a:pt x="78609" y="101679"/>
                  </a:lnTo>
                  <a:lnTo>
                    <a:pt x="78462" y="102307"/>
                  </a:lnTo>
                  <a:lnTo>
                    <a:pt x="76258" y="108045"/>
                  </a:lnTo>
                  <a:lnTo>
                    <a:pt x="75677" y="109626"/>
                  </a:lnTo>
                  <a:lnTo>
                    <a:pt x="99477" y="109626"/>
                  </a:lnTo>
                  <a:lnTo>
                    <a:pt x="100650" y="106778"/>
                  </a:lnTo>
                  <a:lnTo>
                    <a:pt x="163459" y="106778"/>
                  </a:lnTo>
                  <a:lnTo>
                    <a:pt x="111477" y="86999"/>
                  </a:lnTo>
                  <a:lnTo>
                    <a:pt x="119180" y="78779"/>
                  </a:lnTo>
                  <a:lnTo>
                    <a:pt x="89886" y="78779"/>
                  </a:lnTo>
                  <a:lnTo>
                    <a:pt x="75593" y="73345"/>
                  </a:lnTo>
                  <a:close/>
                </a:path>
                <a:path w="251459" h="427990">
                  <a:moveTo>
                    <a:pt x="139987" y="47560"/>
                  </a:moveTo>
                  <a:lnTo>
                    <a:pt x="103594" y="62238"/>
                  </a:lnTo>
                  <a:lnTo>
                    <a:pt x="89886" y="78779"/>
                  </a:lnTo>
                  <a:lnTo>
                    <a:pt x="119180" y="78779"/>
                  </a:lnTo>
                  <a:lnTo>
                    <a:pt x="120737" y="77118"/>
                  </a:lnTo>
                  <a:lnTo>
                    <a:pt x="130810" y="71544"/>
                  </a:lnTo>
                  <a:lnTo>
                    <a:pt x="141573" y="70092"/>
                  </a:lnTo>
                  <a:lnTo>
                    <a:pt x="186842" y="70092"/>
                  </a:lnTo>
                  <a:lnTo>
                    <a:pt x="186616" y="69659"/>
                  </a:lnTo>
                  <a:lnTo>
                    <a:pt x="175839" y="59544"/>
                  </a:lnTo>
                  <a:lnTo>
                    <a:pt x="160795" y="51827"/>
                  </a:lnTo>
                  <a:lnTo>
                    <a:pt x="150326" y="48743"/>
                  </a:lnTo>
                  <a:lnTo>
                    <a:pt x="139987" y="47560"/>
                  </a:lnTo>
                  <a:close/>
                </a:path>
                <a:path w="251459" h="427990">
                  <a:moveTo>
                    <a:pt x="19604" y="386996"/>
                  </a:moveTo>
                  <a:lnTo>
                    <a:pt x="12010" y="388771"/>
                  </a:lnTo>
                  <a:lnTo>
                    <a:pt x="5635" y="393265"/>
                  </a:lnTo>
                  <a:lnTo>
                    <a:pt x="1323" y="400099"/>
                  </a:lnTo>
                  <a:lnTo>
                    <a:pt x="0" y="408071"/>
                  </a:lnTo>
                  <a:lnTo>
                    <a:pt x="1775" y="415668"/>
                  </a:lnTo>
                  <a:lnTo>
                    <a:pt x="6269" y="422046"/>
                  </a:lnTo>
                  <a:lnTo>
                    <a:pt x="13103" y="426360"/>
                  </a:lnTo>
                  <a:lnTo>
                    <a:pt x="21074" y="427678"/>
                  </a:lnTo>
                  <a:lnTo>
                    <a:pt x="28672" y="425899"/>
                  </a:lnTo>
                  <a:lnTo>
                    <a:pt x="35050" y="421404"/>
                  </a:lnTo>
                  <a:lnTo>
                    <a:pt x="39364" y="414570"/>
                  </a:lnTo>
                  <a:lnTo>
                    <a:pt x="40683" y="406599"/>
                  </a:lnTo>
                  <a:lnTo>
                    <a:pt x="38907" y="399002"/>
                  </a:lnTo>
                  <a:lnTo>
                    <a:pt x="34412" y="392627"/>
                  </a:lnTo>
                  <a:lnTo>
                    <a:pt x="27574" y="388319"/>
                  </a:lnTo>
                  <a:lnTo>
                    <a:pt x="19604" y="386996"/>
                  </a:lnTo>
                  <a:close/>
                </a:path>
              </a:pathLst>
            </a:custGeom>
            <a:solidFill>
              <a:srgbClr val="D9771B"/>
            </a:solidFill>
          </p:spPr>
          <p:txBody>
            <a:bodyPr wrap="square" lIns="0" tIns="0" rIns="0" bIns="0" rtlCol="0"/>
            <a:lstStyle/>
            <a:p>
              <a:endParaRPr/>
            </a:p>
          </p:txBody>
        </p:sp>
      </p:grpSp>
    </p:spTree>
    <p:extLst>
      <p:ext uri="{BB962C8B-B14F-4D97-AF65-F5344CB8AC3E}">
        <p14:creationId xmlns:p14="http://schemas.microsoft.com/office/powerpoint/2010/main" val="1062914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5279" y="103652"/>
            <a:ext cx="8073441" cy="316103"/>
          </a:xfrm>
          <a:prstGeom prst="rect">
            <a:avLst/>
          </a:prstGeom>
        </p:spPr>
        <p:txBody>
          <a:bodyPr vert="horz" wrap="square" lIns="0" tIns="5198" rIns="0" bIns="0" rtlCol="0">
            <a:spAutoFit/>
          </a:bodyPr>
          <a:lstStyle/>
          <a:p>
            <a:pPr marL="246056" marR="2310">
              <a:lnSpc>
                <a:spcPct val="100800"/>
              </a:lnSpc>
              <a:spcBef>
                <a:spcPts val="41"/>
              </a:spcBef>
            </a:pPr>
            <a:r>
              <a:rPr lang="fr-FR" spc="-11" dirty="0"/>
              <a:t>Le smartphone libère le montant du paiement sans contact</a:t>
            </a:r>
            <a:endParaRPr spc="-16" dirty="0"/>
          </a:p>
        </p:txBody>
      </p:sp>
      <p:sp>
        <p:nvSpPr>
          <p:cNvPr id="3" name="object 3"/>
          <p:cNvSpPr txBox="1"/>
          <p:nvPr/>
        </p:nvSpPr>
        <p:spPr>
          <a:xfrm>
            <a:off x="775669" y="665681"/>
            <a:ext cx="6817565" cy="283415"/>
          </a:xfrm>
          <a:prstGeom prst="rect">
            <a:avLst/>
          </a:prstGeom>
        </p:spPr>
        <p:txBody>
          <a:bodyPr vert="horz" wrap="square" lIns="0" tIns="6354" rIns="0" bIns="0" rtlCol="0">
            <a:spAutoFit/>
          </a:bodyPr>
          <a:lstStyle/>
          <a:p>
            <a:pPr marL="5776">
              <a:spcBef>
                <a:spcPts val="50"/>
              </a:spcBef>
            </a:pPr>
            <a:r>
              <a:rPr lang="fr-FR" sz="900" b="1" spc="2" dirty="0">
                <a:latin typeface="Helvetica Neue"/>
                <a:cs typeface="Helvetica Neue"/>
              </a:rPr>
              <a:t>Jusqu’à combien seriez-vous prêt à dépenser en </a:t>
            </a:r>
            <a:r>
              <a:rPr lang="fr-FR" sz="900" b="1" dirty="0">
                <a:latin typeface="Helvetica Neue"/>
                <a:cs typeface="Helvetica Neue"/>
              </a:rPr>
              <a:t>utilisant le </a:t>
            </a:r>
            <a:r>
              <a:rPr lang="fr-FR" sz="900" b="1" spc="2" dirty="0">
                <a:latin typeface="Helvetica Neue"/>
                <a:cs typeface="Helvetica Neue"/>
              </a:rPr>
              <a:t>paiement sans contact depuis un Smartphone en magasin</a:t>
            </a:r>
            <a:r>
              <a:rPr lang="fr-FR" sz="900" b="1" spc="-9" dirty="0">
                <a:latin typeface="Helvetica Neue"/>
                <a:cs typeface="Helvetica Neue"/>
              </a:rPr>
              <a:t> </a:t>
            </a:r>
            <a:r>
              <a:rPr lang="fr-FR" sz="900" b="1" spc="2" dirty="0">
                <a:latin typeface="Helvetica Neue"/>
                <a:cs typeface="Helvetica Neue"/>
              </a:rPr>
              <a:t>?</a:t>
            </a:r>
            <a:endParaRPr lang="fr-FR" sz="900" dirty="0">
              <a:latin typeface="Helvetica Neue"/>
              <a:cs typeface="Helvetica Neue"/>
            </a:endParaRPr>
          </a:p>
          <a:p>
            <a:pPr marL="5776">
              <a:spcBef>
                <a:spcPts val="7"/>
              </a:spcBef>
            </a:pPr>
            <a:r>
              <a:rPr lang="fr-FR" sz="900" spc="-18" dirty="0">
                <a:latin typeface="Helvetica Neue"/>
                <a:cs typeface="Helvetica Neue"/>
              </a:rPr>
              <a:t>Somme </a:t>
            </a:r>
            <a:r>
              <a:rPr lang="fr-FR" sz="900" spc="-20" dirty="0">
                <a:latin typeface="Helvetica Neue"/>
                <a:cs typeface="Helvetica Neue"/>
              </a:rPr>
              <a:t>consentie </a:t>
            </a:r>
            <a:r>
              <a:rPr lang="fr-FR" sz="900" spc="-11" dirty="0">
                <a:latin typeface="Helvetica Neue"/>
                <a:cs typeface="Helvetica Neue"/>
              </a:rPr>
              <a:t>en </a:t>
            </a:r>
            <a:r>
              <a:rPr lang="fr-FR" sz="900" spc="-20" dirty="0">
                <a:latin typeface="Helvetica Neue"/>
                <a:cs typeface="Helvetica Neue"/>
              </a:rPr>
              <a:t>moyenne </a:t>
            </a:r>
            <a:r>
              <a:rPr lang="fr-FR" sz="900" spc="-11" dirty="0">
                <a:latin typeface="Helvetica Neue"/>
                <a:cs typeface="Helvetica Neue"/>
              </a:rPr>
              <a:t>et par achat </a:t>
            </a:r>
            <a:endParaRPr lang="fr-FR" sz="900" dirty="0">
              <a:latin typeface="Helvetica Neue"/>
              <a:cs typeface="Helvetica Neue"/>
            </a:endParaRPr>
          </a:p>
        </p:txBody>
      </p:sp>
      <p:sp>
        <p:nvSpPr>
          <p:cNvPr id="4" name="object 4"/>
          <p:cNvSpPr/>
          <p:nvPr/>
        </p:nvSpPr>
        <p:spPr>
          <a:xfrm>
            <a:off x="10109" y="1330494"/>
            <a:ext cx="9144000" cy="3813006"/>
          </a:xfrm>
          <a:custGeom>
            <a:avLst/>
            <a:gdLst/>
            <a:ahLst/>
            <a:cxnLst/>
            <a:rect l="l" t="t" r="r" b="b"/>
            <a:pathLst>
              <a:path w="20104100" h="8383905">
                <a:moveTo>
                  <a:pt x="0" y="8383514"/>
                </a:moveTo>
                <a:lnTo>
                  <a:pt x="20104099" y="8383514"/>
                </a:lnTo>
                <a:lnTo>
                  <a:pt x="20104099" y="0"/>
                </a:lnTo>
                <a:lnTo>
                  <a:pt x="0" y="0"/>
                </a:lnTo>
                <a:lnTo>
                  <a:pt x="0" y="8383514"/>
                </a:lnTo>
                <a:close/>
              </a:path>
            </a:pathLst>
          </a:custGeom>
          <a:solidFill>
            <a:srgbClr val="D5D5D5"/>
          </a:solidFill>
        </p:spPr>
        <p:txBody>
          <a:bodyPr wrap="square" lIns="0" tIns="0" rIns="0" bIns="0" rtlCol="0"/>
          <a:lstStyle/>
          <a:p>
            <a:endParaRPr/>
          </a:p>
        </p:txBody>
      </p:sp>
      <p:sp>
        <p:nvSpPr>
          <p:cNvPr id="5" name="object 5"/>
          <p:cNvSpPr/>
          <p:nvPr/>
        </p:nvSpPr>
        <p:spPr>
          <a:xfrm>
            <a:off x="4574692" y="1475069"/>
            <a:ext cx="101664" cy="289954"/>
          </a:xfrm>
          <a:custGeom>
            <a:avLst/>
            <a:gdLst/>
            <a:ahLst/>
            <a:cxnLst/>
            <a:rect l="l" t="t" r="r" b="b"/>
            <a:pathLst>
              <a:path w="223520" h="637539">
                <a:moveTo>
                  <a:pt x="0" y="0"/>
                </a:moveTo>
                <a:lnTo>
                  <a:pt x="0" y="637006"/>
                </a:lnTo>
                <a:lnTo>
                  <a:pt x="41970" y="618440"/>
                </a:lnTo>
                <a:lnTo>
                  <a:pt x="80733" y="594610"/>
                </a:lnTo>
                <a:lnTo>
                  <a:pt x="115828" y="565970"/>
                </a:lnTo>
                <a:lnTo>
                  <a:pt x="146793" y="532973"/>
                </a:lnTo>
                <a:lnTo>
                  <a:pt x="173163" y="496073"/>
                </a:lnTo>
                <a:lnTo>
                  <a:pt x="194479" y="455722"/>
                </a:lnTo>
                <a:lnTo>
                  <a:pt x="210276" y="412374"/>
                </a:lnTo>
                <a:lnTo>
                  <a:pt x="220094" y="366484"/>
                </a:lnTo>
                <a:lnTo>
                  <a:pt x="223469" y="318503"/>
                </a:lnTo>
                <a:lnTo>
                  <a:pt x="220094" y="270522"/>
                </a:lnTo>
                <a:lnTo>
                  <a:pt x="210276" y="224631"/>
                </a:lnTo>
                <a:lnTo>
                  <a:pt x="194479" y="181284"/>
                </a:lnTo>
                <a:lnTo>
                  <a:pt x="173163" y="140933"/>
                </a:lnTo>
                <a:lnTo>
                  <a:pt x="146793" y="104033"/>
                </a:lnTo>
                <a:lnTo>
                  <a:pt x="115828" y="71036"/>
                </a:lnTo>
                <a:lnTo>
                  <a:pt x="80733" y="42395"/>
                </a:lnTo>
                <a:lnTo>
                  <a:pt x="41970" y="18566"/>
                </a:lnTo>
                <a:lnTo>
                  <a:pt x="0" y="0"/>
                </a:lnTo>
                <a:close/>
              </a:path>
            </a:pathLst>
          </a:custGeom>
          <a:solidFill>
            <a:srgbClr val="C60E33"/>
          </a:solidFill>
        </p:spPr>
        <p:txBody>
          <a:bodyPr wrap="square" lIns="0" tIns="0" rIns="0" bIns="0" rtlCol="0"/>
          <a:lstStyle/>
          <a:p>
            <a:endParaRPr/>
          </a:p>
        </p:txBody>
      </p:sp>
      <p:sp>
        <p:nvSpPr>
          <p:cNvPr id="6" name="object 6"/>
          <p:cNvSpPr/>
          <p:nvPr/>
        </p:nvSpPr>
        <p:spPr>
          <a:xfrm>
            <a:off x="4367782" y="1475069"/>
            <a:ext cx="101664" cy="289954"/>
          </a:xfrm>
          <a:custGeom>
            <a:avLst/>
            <a:gdLst/>
            <a:ahLst/>
            <a:cxnLst/>
            <a:rect l="l" t="t" r="r" b="b"/>
            <a:pathLst>
              <a:path w="223520" h="637539">
                <a:moveTo>
                  <a:pt x="223469" y="0"/>
                </a:moveTo>
                <a:lnTo>
                  <a:pt x="181499" y="18566"/>
                </a:lnTo>
                <a:lnTo>
                  <a:pt x="142735" y="42395"/>
                </a:lnTo>
                <a:lnTo>
                  <a:pt x="107640" y="71036"/>
                </a:lnTo>
                <a:lnTo>
                  <a:pt x="76676" y="104033"/>
                </a:lnTo>
                <a:lnTo>
                  <a:pt x="50305" y="140933"/>
                </a:lnTo>
                <a:lnTo>
                  <a:pt x="28990" y="181284"/>
                </a:lnTo>
                <a:lnTo>
                  <a:pt x="13192" y="224631"/>
                </a:lnTo>
                <a:lnTo>
                  <a:pt x="3375" y="270522"/>
                </a:lnTo>
                <a:lnTo>
                  <a:pt x="0" y="318503"/>
                </a:lnTo>
                <a:lnTo>
                  <a:pt x="3375" y="366484"/>
                </a:lnTo>
                <a:lnTo>
                  <a:pt x="13192" y="412374"/>
                </a:lnTo>
                <a:lnTo>
                  <a:pt x="28990" y="455722"/>
                </a:lnTo>
                <a:lnTo>
                  <a:pt x="50305" y="496073"/>
                </a:lnTo>
                <a:lnTo>
                  <a:pt x="76676" y="532973"/>
                </a:lnTo>
                <a:lnTo>
                  <a:pt x="107640" y="565970"/>
                </a:lnTo>
                <a:lnTo>
                  <a:pt x="142735" y="594610"/>
                </a:lnTo>
                <a:lnTo>
                  <a:pt x="181499" y="618440"/>
                </a:lnTo>
                <a:lnTo>
                  <a:pt x="223469" y="637006"/>
                </a:lnTo>
                <a:lnTo>
                  <a:pt x="223469" y="0"/>
                </a:lnTo>
                <a:close/>
              </a:path>
            </a:pathLst>
          </a:custGeom>
          <a:solidFill>
            <a:srgbClr val="354083"/>
          </a:solidFill>
        </p:spPr>
        <p:txBody>
          <a:bodyPr wrap="square" lIns="0" tIns="0" rIns="0" bIns="0" rtlCol="0"/>
          <a:lstStyle/>
          <a:p>
            <a:endParaRPr/>
          </a:p>
        </p:txBody>
      </p:sp>
      <p:sp>
        <p:nvSpPr>
          <p:cNvPr id="7" name="object 7"/>
          <p:cNvSpPr/>
          <p:nvPr/>
        </p:nvSpPr>
        <p:spPr>
          <a:xfrm>
            <a:off x="4469424" y="1465662"/>
            <a:ext cx="105419" cy="308726"/>
          </a:xfrm>
          <a:custGeom>
            <a:avLst/>
            <a:gdLst/>
            <a:ahLst/>
            <a:cxnLst/>
            <a:rect l="l" t="t" r="r" b="b"/>
            <a:pathLst>
              <a:path w="231775" h="678814">
                <a:moveTo>
                  <a:pt x="115724" y="0"/>
                </a:moveTo>
                <a:lnTo>
                  <a:pt x="85551" y="1383"/>
                </a:lnTo>
                <a:lnTo>
                  <a:pt x="56154" y="5413"/>
                </a:lnTo>
                <a:lnTo>
                  <a:pt x="27610" y="11909"/>
                </a:lnTo>
                <a:lnTo>
                  <a:pt x="0" y="20690"/>
                </a:lnTo>
                <a:lnTo>
                  <a:pt x="0" y="657697"/>
                </a:lnTo>
                <a:lnTo>
                  <a:pt x="27610" y="666472"/>
                </a:lnTo>
                <a:lnTo>
                  <a:pt x="56154" y="672965"/>
                </a:lnTo>
                <a:lnTo>
                  <a:pt x="85551" y="676993"/>
                </a:lnTo>
                <a:lnTo>
                  <a:pt x="115724" y="678377"/>
                </a:lnTo>
                <a:lnTo>
                  <a:pt x="145895" y="676993"/>
                </a:lnTo>
                <a:lnTo>
                  <a:pt x="175290" y="672965"/>
                </a:lnTo>
                <a:lnTo>
                  <a:pt x="203833" y="666472"/>
                </a:lnTo>
                <a:lnTo>
                  <a:pt x="231448" y="657697"/>
                </a:lnTo>
                <a:lnTo>
                  <a:pt x="231448" y="20690"/>
                </a:lnTo>
                <a:lnTo>
                  <a:pt x="203833" y="11909"/>
                </a:lnTo>
                <a:lnTo>
                  <a:pt x="175290" y="5413"/>
                </a:lnTo>
                <a:lnTo>
                  <a:pt x="145895" y="1383"/>
                </a:lnTo>
                <a:lnTo>
                  <a:pt x="115724" y="0"/>
                </a:lnTo>
                <a:close/>
              </a:path>
            </a:pathLst>
          </a:custGeom>
          <a:solidFill>
            <a:srgbClr val="FFFFFF"/>
          </a:solidFill>
        </p:spPr>
        <p:txBody>
          <a:bodyPr wrap="square" lIns="0" tIns="0" rIns="0" bIns="0" rtlCol="0"/>
          <a:lstStyle/>
          <a:p>
            <a:endParaRPr/>
          </a:p>
        </p:txBody>
      </p:sp>
      <p:sp>
        <p:nvSpPr>
          <p:cNvPr id="8" name="object 8"/>
          <p:cNvSpPr/>
          <p:nvPr/>
        </p:nvSpPr>
        <p:spPr>
          <a:xfrm>
            <a:off x="6826463" y="1466114"/>
            <a:ext cx="307638" cy="307626"/>
          </a:xfrm>
          <a:prstGeom prst="rect">
            <a:avLst/>
          </a:prstGeom>
          <a:blipFill>
            <a:blip r:embed="rId2" cstate="print"/>
            <a:stretch>
              <a:fillRect/>
            </a:stretch>
          </a:blipFill>
        </p:spPr>
        <p:txBody>
          <a:bodyPr wrap="square" lIns="0" tIns="0" rIns="0" bIns="0" rtlCol="0"/>
          <a:lstStyle/>
          <a:p>
            <a:endParaRPr/>
          </a:p>
        </p:txBody>
      </p:sp>
      <p:sp>
        <p:nvSpPr>
          <p:cNvPr id="9" name="object 9"/>
          <p:cNvSpPr txBox="1"/>
          <p:nvPr/>
        </p:nvSpPr>
        <p:spPr>
          <a:xfrm>
            <a:off x="816913" y="3041073"/>
            <a:ext cx="1911402" cy="851926"/>
          </a:xfrm>
          <a:prstGeom prst="rect">
            <a:avLst/>
          </a:prstGeom>
        </p:spPr>
        <p:txBody>
          <a:bodyPr vert="horz" wrap="square" lIns="0" tIns="5487" rIns="0" bIns="0" rtlCol="0">
            <a:spAutoFit/>
          </a:bodyPr>
          <a:lstStyle/>
          <a:p>
            <a:pPr marL="5776">
              <a:lnSpc>
                <a:spcPts val="2595"/>
              </a:lnSpc>
              <a:spcBef>
                <a:spcPts val="43"/>
              </a:spcBef>
            </a:pPr>
            <a:r>
              <a:rPr sz="2300" b="1" spc="-2" dirty="0">
                <a:latin typeface="Helvetica Neue"/>
                <a:cs typeface="Helvetica Neue"/>
              </a:rPr>
              <a:t>30€</a:t>
            </a:r>
            <a:endParaRPr sz="2300">
              <a:latin typeface="Helvetica Neue"/>
              <a:cs typeface="Helvetica Neue"/>
            </a:endParaRPr>
          </a:p>
          <a:p>
            <a:pPr marL="5776">
              <a:lnSpc>
                <a:spcPts val="1230"/>
              </a:lnSpc>
            </a:pPr>
            <a:r>
              <a:rPr sz="1100" b="1" spc="5" dirty="0">
                <a:latin typeface="Helvetica Neue"/>
                <a:cs typeface="Helvetica Neue"/>
              </a:rPr>
              <a:t>Plafond autorisé en</a:t>
            </a:r>
            <a:r>
              <a:rPr sz="1100" b="1" spc="-18" dirty="0">
                <a:latin typeface="Helvetica Neue"/>
                <a:cs typeface="Helvetica Neue"/>
              </a:rPr>
              <a:t> </a:t>
            </a:r>
            <a:r>
              <a:rPr sz="1100" b="1" spc="5" dirty="0">
                <a:latin typeface="Helvetica Neue"/>
                <a:cs typeface="Helvetica Neue"/>
              </a:rPr>
              <a:t>France</a:t>
            </a:r>
            <a:endParaRPr sz="1100">
              <a:latin typeface="Helvetica Neue"/>
              <a:cs typeface="Helvetica Neue"/>
            </a:endParaRPr>
          </a:p>
          <a:p>
            <a:pPr marL="5776" marR="2310">
              <a:lnSpc>
                <a:spcPts val="1351"/>
              </a:lnSpc>
              <a:spcBef>
                <a:spcPts val="45"/>
              </a:spcBef>
            </a:pPr>
            <a:r>
              <a:rPr sz="1100" b="1" spc="5" dirty="0">
                <a:latin typeface="Helvetica Neue"/>
                <a:cs typeface="Helvetica Neue"/>
              </a:rPr>
              <a:t>pour chaque règlement par  carte </a:t>
            </a:r>
            <a:r>
              <a:rPr sz="1100" b="1" spc="2" dirty="0">
                <a:latin typeface="Helvetica Neue"/>
                <a:cs typeface="Helvetica Neue"/>
              </a:rPr>
              <a:t>bancaire </a:t>
            </a:r>
            <a:r>
              <a:rPr sz="1100" b="1" spc="5" dirty="0">
                <a:latin typeface="Helvetica Neue"/>
                <a:cs typeface="Helvetica Neue"/>
              </a:rPr>
              <a:t>sans</a:t>
            </a:r>
            <a:r>
              <a:rPr sz="1100" b="1" spc="-25" dirty="0">
                <a:latin typeface="Helvetica Neue"/>
                <a:cs typeface="Helvetica Neue"/>
              </a:rPr>
              <a:t> </a:t>
            </a:r>
            <a:r>
              <a:rPr sz="1100" b="1" spc="5" dirty="0">
                <a:latin typeface="Helvetica Neue"/>
                <a:cs typeface="Helvetica Neue"/>
              </a:rPr>
              <a:t>contact</a:t>
            </a:r>
            <a:endParaRPr sz="1100">
              <a:latin typeface="Helvetica Neue"/>
              <a:cs typeface="Helvetica Neue"/>
            </a:endParaRPr>
          </a:p>
        </p:txBody>
      </p:sp>
      <p:sp>
        <p:nvSpPr>
          <p:cNvPr id="10" name="object 10"/>
          <p:cNvSpPr txBox="1"/>
          <p:nvPr/>
        </p:nvSpPr>
        <p:spPr>
          <a:xfrm>
            <a:off x="4030632" y="1845508"/>
            <a:ext cx="3925793" cy="651451"/>
          </a:xfrm>
          <a:prstGeom prst="rect">
            <a:avLst/>
          </a:prstGeom>
        </p:spPr>
        <p:txBody>
          <a:bodyPr vert="horz" wrap="square" lIns="0" tIns="47362" rIns="0" bIns="0" rtlCol="0">
            <a:spAutoFit/>
          </a:bodyPr>
          <a:lstStyle/>
          <a:p>
            <a:pPr marL="5776" indent="4621">
              <a:spcBef>
                <a:spcPts val="372"/>
              </a:spcBef>
              <a:tabLst>
                <a:tab pos="2377963" algn="l"/>
              </a:tabLst>
            </a:pPr>
            <a:r>
              <a:rPr sz="1100" b="1" spc="5" dirty="0">
                <a:latin typeface="Helvetica Neue"/>
                <a:cs typeface="Helvetica Neue"/>
              </a:rPr>
              <a:t>Les Français	Les</a:t>
            </a:r>
            <a:r>
              <a:rPr sz="1100" b="1" spc="-23" dirty="0">
                <a:solidFill>
                  <a:srgbClr val="FF0000"/>
                </a:solidFill>
                <a:latin typeface="Helvetica Neue"/>
                <a:cs typeface="Helvetica Neue"/>
              </a:rPr>
              <a:t> </a:t>
            </a:r>
            <a:r>
              <a:rPr sz="1100" b="1" spc="5" dirty="0">
                <a:latin typeface="Helvetica Neue"/>
                <a:cs typeface="Helvetica Neue"/>
              </a:rPr>
              <a:t>Espagnols</a:t>
            </a:r>
            <a:endParaRPr sz="1100" dirty="0">
              <a:latin typeface="Helvetica Neue"/>
              <a:cs typeface="Helvetica Neue"/>
            </a:endParaRPr>
          </a:p>
          <a:p>
            <a:pPr marL="5776" marR="10108">
              <a:lnSpc>
                <a:spcPct val="101000"/>
              </a:lnSpc>
              <a:spcBef>
                <a:spcPts val="318"/>
              </a:spcBef>
            </a:pPr>
            <a:endParaRPr lang="fr-FR" sz="100" b="1" spc="5" dirty="0">
              <a:latin typeface="Helvetica Neue"/>
              <a:cs typeface="Helvetica Neue"/>
            </a:endParaRPr>
          </a:p>
          <a:p>
            <a:pPr marL="5776" marR="10108">
              <a:lnSpc>
                <a:spcPct val="101000"/>
              </a:lnSpc>
              <a:spcBef>
                <a:spcPts val="318"/>
              </a:spcBef>
            </a:pPr>
            <a:r>
              <a:rPr sz="1100" b="1" spc="5" dirty="0" err="1">
                <a:latin typeface="Helvetica Neue"/>
                <a:cs typeface="Helvetica Neue"/>
              </a:rPr>
              <a:t>seraient</a:t>
            </a:r>
            <a:r>
              <a:rPr sz="1100" b="1" spc="5" dirty="0">
                <a:latin typeface="Helvetica Neue"/>
                <a:cs typeface="Helvetica Neue"/>
              </a:rPr>
              <a:t> prêts à dépenser en </a:t>
            </a:r>
            <a:r>
              <a:rPr sz="1100" b="1" spc="2" dirty="0">
                <a:latin typeface="Helvetica Neue"/>
                <a:cs typeface="Helvetica Neue"/>
              </a:rPr>
              <a:t>utilisant le </a:t>
            </a:r>
            <a:r>
              <a:rPr sz="1100" b="1" spc="5" dirty="0">
                <a:latin typeface="Helvetica Neue"/>
                <a:cs typeface="Helvetica Neue"/>
              </a:rPr>
              <a:t>paiement  sans contact avec </a:t>
            </a:r>
            <a:r>
              <a:rPr sz="1100" b="1" spc="2" dirty="0">
                <a:latin typeface="Helvetica Neue"/>
                <a:cs typeface="Helvetica Neue"/>
              </a:rPr>
              <a:t>le </a:t>
            </a:r>
            <a:r>
              <a:rPr sz="1100" b="1" spc="5" dirty="0">
                <a:latin typeface="Helvetica Neue"/>
                <a:cs typeface="Helvetica Neue"/>
              </a:rPr>
              <a:t>smartphone en</a:t>
            </a:r>
            <a:r>
              <a:rPr sz="1100" b="1" spc="-5" dirty="0">
                <a:latin typeface="Helvetica Neue"/>
                <a:cs typeface="Helvetica Neue"/>
              </a:rPr>
              <a:t> </a:t>
            </a:r>
            <a:r>
              <a:rPr sz="1100" b="1" spc="5" dirty="0">
                <a:latin typeface="Helvetica Neue"/>
                <a:cs typeface="Helvetica Neue"/>
              </a:rPr>
              <a:t>magasin</a:t>
            </a:r>
            <a:endParaRPr sz="1100" dirty="0">
              <a:latin typeface="Helvetica Neue"/>
              <a:cs typeface="Helvetica Neue"/>
            </a:endParaRPr>
          </a:p>
        </p:txBody>
      </p:sp>
      <p:sp>
        <p:nvSpPr>
          <p:cNvPr id="11" name="object 11"/>
          <p:cNvSpPr/>
          <p:nvPr/>
        </p:nvSpPr>
        <p:spPr>
          <a:xfrm>
            <a:off x="4065866" y="3191612"/>
            <a:ext cx="902558" cy="651818"/>
          </a:xfrm>
          <a:custGeom>
            <a:avLst/>
            <a:gdLst/>
            <a:ahLst/>
            <a:cxnLst/>
            <a:rect l="l" t="t" r="r" b="b"/>
            <a:pathLst>
              <a:path w="1984375" h="1433195">
                <a:moveTo>
                  <a:pt x="1751164" y="0"/>
                </a:moveTo>
                <a:lnTo>
                  <a:pt x="1701902" y="7095"/>
                </a:lnTo>
                <a:lnTo>
                  <a:pt x="1652806" y="23197"/>
                </a:lnTo>
                <a:lnTo>
                  <a:pt x="1605269" y="48484"/>
                </a:lnTo>
                <a:lnTo>
                  <a:pt x="131366" y="1001701"/>
                </a:lnTo>
                <a:lnTo>
                  <a:pt x="88802" y="1034684"/>
                </a:lnTo>
                <a:lnTo>
                  <a:pt x="53977" y="1072856"/>
                </a:lnTo>
                <a:lnTo>
                  <a:pt x="27297" y="1114876"/>
                </a:lnTo>
                <a:lnTo>
                  <a:pt x="9169" y="1159398"/>
                </a:lnTo>
                <a:lnTo>
                  <a:pt x="0" y="1205081"/>
                </a:lnTo>
                <a:lnTo>
                  <a:pt x="194" y="1250581"/>
                </a:lnTo>
                <a:lnTo>
                  <a:pt x="10159" y="1294555"/>
                </a:lnTo>
                <a:lnTo>
                  <a:pt x="30301" y="1335660"/>
                </a:lnTo>
                <a:lnTo>
                  <a:pt x="61993" y="1374708"/>
                </a:lnTo>
                <a:lnTo>
                  <a:pt x="98006" y="1401831"/>
                </a:lnTo>
                <a:lnTo>
                  <a:pt x="139419" y="1420669"/>
                </a:lnTo>
                <a:lnTo>
                  <a:pt x="184841" y="1431043"/>
                </a:lnTo>
                <a:lnTo>
                  <a:pt x="232879" y="1432772"/>
                </a:lnTo>
                <a:lnTo>
                  <a:pt x="282143" y="1425675"/>
                </a:lnTo>
                <a:lnTo>
                  <a:pt x="331242" y="1409574"/>
                </a:lnTo>
                <a:lnTo>
                  <a:pt x="378782" y="1384286"/>
                </a:lnTo>
                <a:lnTo>
                  <a:pt x="1852685" y="431069"/>
                </a:lnTo>
                <a:lnTo>
                  <a:pt x="1895249" y="398087"/>
                </a:lnTo>
                <a:lnTo>
                  <a:pt x="1930075" y="359916"/>
                </a:lnTo>
                <a:lnTo>
                  <a:pt x="1956754" y="317899"/>
                </a:lnTo>
                <a:lnTo>
                  <a:pt x="1974883" y="273379"/>
                </a:lnTo>
                <a:lnTo>
                  <a:pt x="1984054" y="227700"/>
                </a:lnTo>
                <a:lnTo>
                  <a:pt x="1983861" y="182203"/>
                </a:lnTo>
                <a:lnTo>
                  <a:pt x="1973899" y="138233"/>
                </a:lnTo>
                <a:lnTo>
                  <a:pt x="1953761" y="97132"/>
                </a:lnTo>
                <a:lnTo>
                  <a:pt x="1922054" y="58069"/>
                </a:lnTo>
                <a:lnTo>
                  <a:pt x="1886039" y="30944"/>
                </a:lnTo>
                <a:lnTo>
                  <a:pt x="1844624" y="12104"/>
                </a:lnTo>
                <a:lnTo>
                  <a:pt x="1799203" y="1729"/>
                </a:lnTo>
                <a:lnTo>
                  <a:pt x="1751164" y="0"/>
                </a:lnTo>
                <a:close/>
              </a:path>
            </a:pathLst>
          </a:custGeom>
          <a:solidFill>
            <a:srgbClr val="DEB89C"/>
          </a:solidFill>
        </p:spPr>
        <p:txBody>
          <a:bodyPr wrap="square" lIns="0" tIns="0" rIns="0" bIns="0" rtlCol="0"/>
          <a:lstStyle/>
          <a:p>
            <a:endParaRPr/>
          </a:p>
        </p:txBody>
      </p:sp>
      <p:sp>
        <p:nvSpPr>
          <p:cNvPr id="12" name="object 12"/>
          <p:cNvSpPr/>
          <p:nvPr/>
        </p:nvSpPr>
        <p:spPr>
          <a:xfrm>
            <a:off x="3731080" y="3426607"/>
            <a:ext cx="1103287" cy="1195625"/>
          </a:xfrm>
          <a:custGeom>
            <a:avLst/>
            <a:gdLst/>
            <a:ahLst/>
            <a:cxnLst/>
            <a:rect l="l" t="t" r="r" b="b"/>
            <a:pathLst>
              <a:path w="2425700" h="2628900">
                <a:moveTo>
                  <a:pt x="1299943" y="0"/>
                </a:moveTo>
                <a:lnTo>
                  <a:pt x="1235086" y="7378"/>
                </a:lnTo>
                <a:lnTo>
                  <a:pt x="1166290" y="30623"/>
                </a:lnTo>
                <a:lnTo>
                  <a:pt x="1129862" y="48473"/>
                </a:lnTo>
                <a:lnTo>
                  <a:pt x="1091785" y="70623"/>
                </a:lnTo>
                <a:lnTo>
                  <a:pt x="1051838" y="97183"/>
                </a:lnTo>
                <a:lnTo>
                  <a:pt x="1009799" y="128264"/>
                </a:lnTo>
                <a:lnTo>
                  <a:pt x="965448" y="163979"/>
                </a:lnTo>
                <a:lnTo>
                  <a:pt x="918563" y="204437"/>
                </a:lnTo>
                <a:lnTo>
                  <a:pt x="80609" y="1108681"/>
                </a:lnTo>
                <a:lnTo>
                  <a:pt x="58659" y="1174322"/>
                </a:lnTo>
                <a:lnTo>
                  <a:pt x="40340" y="1237305"/>
                </a:lnTo>
                <a:lnTo>
                  <a:pt x="25560" y="1297662"/>
                </a:lnTo>
                <a:lnTo>
                  <a:pt x="14228" y="1355427"/>
                </a:lnTo>
                <a:lnTo>
                  <a:pt x="6251" y="1410633"/>
                </a:lnTo>
                <a:lnTo>
                  <a:pt x="1539" y="1463310"/>
                </a:lnTo>
                <a:lnTo>
                  <a:pt x="0" y="1513493"/>
                </a:lnTo>
                <a:lnTo>
                  <a:pt x="1541" y="1561214"/>
                </a:lnTo>
                <a:lnTo>
                  <a:pt x="6073" y="1606505"/>
                </a:lnTo>
                <a:lnTo>
                  <a:pt x="13502" y="1649399"/>
                </a:lnTo>
                <a:lnTo>
                  <a:pt x="23738" y="1689928"/>
                </a:lnTo>
                <a:lnTo>
                  <a:pt x="36689" y="1728125"/>
                </a:lnTo>
                <a:lnTo>
                  <a:pt x="52262" y="1764022"/>
                </a:lnTo>
                <a:lnTo>
                  <a:pt x="70368" y="1797652"/>
                </a:lnTo>
                <a:lnTo>
                  <a:pt x="113807" y="1858243"/>
                </a:lnTo>
                <a:lnTo>
                  <a:pt x="166274" y="1910155"/>
                </a:lnTo>
                <a:lnTo>
                  <a:pt x="227494" y="1956143"/>
                </a:lnTo>
                <a:lnTo>
                  <a:pt x="260222" y="1980712"/>
                </a:lnTo>
                <a:lnTo>
                  <a:pt x="403316" y="2090691"/>
                </a:lnTo>
                <a:lnTo>
                  <a:pt x="442940" y="2120625"/>
                </a:lnTo>
                <a:lnTo>
                  <a:pt x="484426" y="2151339"/>
                </a:lnTo>
                <a:lnTo>
                  <a:pt x="527936" y="2182737"/>
                </a:lnTo>
                <a:lnTo>
                  <a:pt x="573630" y="2214722"/>
                </a:lnTo>
                <a:lnTo>
                  <a:pt x="621669" y="2247195"/>
                </a:lnTo>
                <a:lnTo>
                  <a:pt x="672214" y="2280059"/>
                </a:lnTo>
                <a:lnTo>
                  <a:pt x="894681" y="2420949"/>
                </a:lnTo>
                <a:lnTo>
                  <a:pt x="942847" y="2450344"/>
                </a:lnTo>
                <a:lnTo>
                  <a:pt x="989792" y="2478129"/>
                </a:lnTo>
                <a:lnTo>
                  <a:pt x="1035553" y="2504125"/>
                </a:lnTo>
                <a:lnTo>
                  <a:pt x="1080167" y="2528156"/>
                </a:lnTo>
                <a:lnTo>
                  <a:pt x="1123669" y="2550043"/>
                </a:lnTo>
                <a:lnTo>
                  <a:pt x="1166096" y="2569610"/>
                </a:lnTo>
                <a:lnTo>
                  <a:pt x="1207484" y="2586680"/>
                </a:lnTo>
                <a:lnTo>
                  <a:pt x="1247870" y="2601073"/>
                </a:lnTo>
                <a:lnTo>
                  <a:pt x="1287288" y="2612615"/>
                </a:lnTo>
                <a:lnTo>
                  <a:pt x="1325777" y="2621126"/>
                </a:lnTo>
                <a:lnTo>
                  <a:pt x="1400108" y="2628350"/>
                </a:lnTo>
                <a:lnTo>
                  <a:pt x="1436023" y="2626708"/>
                </a:lnTo>
                <a:lnTo>
                  <a:pt x="1507608" y="2611651"/>
                </a:lnTo>
                <a:lnTo>
                  <a:pt x="1543350" y="2598280"/>
                </a:lnTo>
                <a:lnTo>
                  <a:pt x="1578471" y="2581458"/>
                </a:lnTo>
                <a:lnTo>
                  <a:pt x="1613063" y="2561429"/>
                </a:lnTo>
                <a:lnTo>
                  <a:pt x="1647217" y="2538435"/>
                </a:lnTo>
                <a:lnTo>
                  <a:pt x="1681025" y="2512722"/>
                </a:lnTo>
                <a:lnTo>
                  <a:pt x="1714579" y="2484533"/>
                </a:lnTo>
                <a:lnTo>
                  <a:pt x="1747970" y="2454111"/>
                </a:lnTo>
                <a:lnTo>
                  <a:pt x="1781290" y="2421701"/>
                </a:lnTo>
                <a:lnTo>
                  <a:pt x="1814631" y="2387546"/>
                </a:lnTo>
                <a:lnTo>
                  <a:pt x="1848085" y="2351891"/>
                </a:lnTo>
                <a:lnTo>
                  <a:pt x="1881742" y="2314978"/>
                </a:lnTo>
                <a:lnTo>
                  <a:pt x="2020248" y="2159633"/>
                </a:lnTo>
                <a:lnTo>
                  <a:pt x="2056302" y="2120092"/>
                </a:lnTo>
                <a:lnTo>
                  <a:pt x="2093110" y="2080758"/>
                </a:lnTo>
                <a:lnTo>
                  <a:pt x="2130764" y="2041872"/>
                </a:lnTo>
                <a:lnTo>
                  <a:pt x="2169356" y="2003681"/>
                </a:lnTo>
                <a:lnTo>
                  <a:pt x="2208977" y="1966426"/>
                </a:lnTo>
                <a:lnTo>
                  <a:pt x="2249718" y="1930353"/>
                </a:lnTo>
                <a:lnTo>
                  <a:pt x="2291673" y="1895705"/>
                </a:lnTo>
                <a:lnTo>
                  <a:pt x="2333436" y="1854472"/>
                </a:lnTo>
                <a:lnTo>
                  <a:pt x="2365512" y="1807167"/>
                </a:lnTo>
                <a:lnTo>
                  <a:pt x="2389172" y="1756237"/>
                </a:lnTo>
                <a:lnTo>
                  <a:pt x="2405684" y="1704131"/>
                </a:lnTo>
                <a:lnTo>
                  <a:pt x="2416317" y="1653295"/>
                </a:lnTo>
                <a:lnTo>
                  <a:pt x="2422341" y="1606178"/>
                </a:lnTo>
                <a:lnTo>
                  <a:pt x="2425025" y="1565226"/>
                </a:lnTo>
                <a:lnTo>
                  <a:pt x="2425637" y="1532888"/>
                </a:lnTo>
                <a:lnTo>
                  <a:pt x="2424504" y="1511739"/>
                </a:lnTo>
                <a:lnTo>
                  <a:pt x="2420753" y="1457885"/>
                </a:lnTo>
                <a:lnTo>
                  <a:pt x="2413861" y="1385718"/>
                </a:lnTo>
                <a:lnTo>
                  <a:pt x="2403303" y="1309628"/>
                </a:lnTo>
                <a:lnTo>
                  <a:pt x="2399752" y="1287466"/>
                </a:lnTo>
                <a:lnTo>
                  <a:pt x="2395926" y="1261968"/>
                </a:lnTo>
                <a:lnTo>
                  <a:pt x="2386423" y="1201840"/>
                </a:lnTo>
                <a:lnTo>
                  <a:pt x="2372736" y="1130984"/>
                </a:lnTo>
                <a:lnTo>
                  <a:pt x="2363679" y="1092077"/>
                </a:lnTo>
                <a:lnTo>
                  <a:pt x="2352804" y="1051140"/>
                </a:lnTo>
                <a:lnTo>
                  <a:pt x="2339854" y="1008392"/>
                </a:lnTo>
                <a:lnTo>
                  <a:pt x="2324570" y="964050"/>
                </a:lnTo>
                <a:lnTo>
                  <a:pt x="2306696" y="918331"/>
                </a:lnTo>
                <a:lnTo>
                  <a:pt x="2285974" y="871453"/>
                </a:lnTo>
                <a:lnTo>
                  <a:pt x="2262147" y="823634"/>
                </a:lnTo>
                <a:lnTo>
                  <a:pt x="2234958" y="775091"/>
                </a:lnTo>
                <a:lnTo>
                  <a:pt x="2204148" y="726042"/>
                </a:lnTo>
                <a:lnTo>
                  <a:pt x="2169461" y="676704"/>
                </a:lnTo>
                <a:lnTo>
                  <a:pt x="2130639" y="627295"/>
                </a:lnTo>
                <a:lnTo>
                  <a:pt x="2087425" y="578032"/>
                </a:lnTo>
                <a:lnTo>
                  <a:pt x="2039562" y="529134"/>
                </a:lnTo>
                <a:lnTo>
                  <a:pt x="1986791" y="480817"/>
                </a:lnTo>
                <a:lnTo>
                  <a:pt x="1839551" y="360736"/>
                </a:lnTo>
                <a:lnTo>
                  <a:pt x="1705529" y="239174"/>
                </a:lnTo>
                <a:lnTo>
                  <a:pt x="1665379" y="203330"/>
                </a:lnTo>
                <a:lnTo>
                  <a:pt x="1627121" y="170009"/>
                </a:lnTo>
                <a:lnTo>
                  <a:pt x="1590534" y="139322"/>
                </a:lnTo>
                <a:lnTo>
                  <a:pt x="1555398" y="111381"/>
                </a:lnTo>
                <a:lnTo>
                  <a:pt x="1521489" y="86295"/>
                </a:lnTo>
                <a:lnTo>
                  <a:pt x="1488589" y="64177"/>
                </a:lnTo>
                <a:lnTo>
                  <a:pt x="1424924" y="29287"/>
                </a:lnTo>
                <a:lnTo>
                  <a:pt x="1362632" y="7599"/>
                </a:lnTo>
                <a:lnTo>
                  <a:pt x="1331448" y="1982"/>
                </a:lnTo>
                <a:lnTo>
                  <a:pt x="1299943" y="0"/>
                </a:lnTo>
                <a:close/>
              </a:path>
            </a:pathLst>
          </a:custGeom>
          <a:solidFill>
            <a:srgbClr val="DEB89C"/>
          </a:solidFill>
        </p:spPr>
        <p:txBody>
          <a:bodyPr wrap="square" lIns="0" tIns="0" rIns="0" bIns="0" rtlCol="0"/>
          <a:lstStyle/>
          <a:p>
            <a:endParaRPr/>
          </a:p>
        </p:txBody>
      </p:sp>
      <p:sp>
        <p:nvSpPr>
          <p:cNvPr id="13" name="object 13"/>
          <p:cNvSpPr/>
          <p:nvPr/>
        </p:nvSpPr>
        <p:spPr>
          <a:xfrm>
            <a:off x="3445717" y="4143236"/>
            <a:ext cx="958012" cy="1003575"/>
          </a:xfrm>
          <a:custGeom>
            <a:avLst/>
            <a:gdLst/>
            <a:ahLst/>
            <a:cxnLst/>
            <a:rect l="l" t="t" r="r" b="b"/>
            <a:pathLst>
              <a:path w="2106295" h="2206625">
                <a:moveTo>
                  <a:pt x="926914" y="0"/>
                </a:moveTo>
                <a:lnTo>
                  <a:pt x="0" y="1455369"/>
                </a:lnTo>
                <a:lnTo>
                  <a:pt x="1179346" y="2206477"/>
                </a:lnTo>
                <a:lnTo>
                  <a:pt x="2106250" y="751118"/>
                </a:lnTo>
                <a:lnTo>
                  <a:pt x="926914" y="0"/>
                </a:lnTo>
                <a:close/>
              </a:path>
            </a:pathLst>
          </a:custGeom>
          <a:solidFill>
            <a:srgbClr val="DEB89C"/>
          </a:solidFill>
        </p:spPr>
        <p:txBody>
          <a:bodyPr wrap="square" lIns="0" tIns="0" rIns="0" bIns="0" rtlCol="0"/>
          <a:lstStyle/>
          <a:p>
            <a:endParaRPr/>
          </a:p>
        </p:txBody>
      </p:sp>
      <p:sp>
        <p:nvSpPr>
          <p:cNvPr id="14" name="object 14"/>
          <p:cNvSpPr/>
          <p:nvPr/>
        </p:nvSpPr>
        <p:spPr>
          <a:xfrm>
            <a:off x="4008488" y="2603250"/>
            <a:ext cx="831509" cy="1760226"/>
          </a:xfrm>
          <a:custGeom>
            <a:avLst/>
            <a:gdLst/>
            <a:ahLst/>
            <a:cxnLst/>
            <a:rect l="l" t="t" r="r" b="b"/>
            <a:pathLst>
              <a:path w="1828165" h="3870325">
                <a:moveTo>
                  <a:pt x="1550340" y="0"/>
                </a:moveTo>
                <a:lnTo>
                  <a:pt x="277761" y="0"/>
                </a:lnTo>
                <a:lnTo>
                  <a:pt x="232769" y="3642"/>
                </a:lnTo>
                <a:lnTo>
                  <a:pt x="190065" y="14187"/>
                </a:lnTo>
                <a:lnTo>
                  <a:pt x="150226" y="31057"/>
                </a:lnTo>
                <a:lnTo>
                  <a:pt x="113829" y="53676"/>
                </a:lnTo>
                <a:lnTo>
                  <a:pt x="81450" y="81468"/>
                </a:lnTo>
                <a:lnTo>
                  <a:pt x="53665" y="113856"/>
                </a:lnTo>
                <a:lnTo>
                  <a:pt x="31051" y="150264"/>
                </a:lnTo>
                <a:lnTo>
                  <a:pt x="14185" y="190116"/>
                </a:lnTo>
                <a:lnTo>
                  <a:pt x="3642" y="232835"/>
                </a:lnTo>
                <a:lnTo>
                  <a:pt x="0" y="277844"/>
                </a:lnTo>
                <a:lnTo>
                  <a:pt x="0" y="3592215"/>
                </a:lnTo>
                <a:lnTo>
                  <a:pt x="4483" y="3642081"/>
                </a:lnTo>
                <a:lnTo>
                  <a:pt x="17406" y="3689042"/>
                </a:lnTo>
                <a:lnTo>
                  <a:pt x="37979" y="3732307"/>
                </a:lnTo>
                <a:lnTo>
                  <a:pt x="65410" y="3771085"/>
                </a:lnTo>
                <a:lnTo>
                  <a:pt x="98908" y="3804585"/>
                </a:lnTo>
                <a:lnTo>
                  <a:pt x="137683" y="3832017"/>
                </a:lnTo>
                <a:lnTo>
                  <a:pt x="180944" y="3852590"/>
                </a:lnTo>
                <a:lnTo>
                  <a:pt x="227900" y="3865513"/>
                </a:lnTo>
                <a:lnTo>
                  <a:pt x="277761" y="3869997"/>
                </a:lnTo>
                <a:lnTo>
                  <a:pt x="1550340" y="3869997"/>
                </a:lnTo>
                <a:lnTo>
                  <a:pt x="1600199" y="3865513"/>
                </a:lnTo>
                <a:lnTo>
                  <a:pt x="1647154" y="3852590"/>
                </a:lnTo>
                <a:lnTo>
                  <a:pt x="1690412" y="3832017"/>
                </a:lnTo>
                <a:lnTo>
                  <a:pt x="1729184" y="3804585"/>
                </a:lnTo>
                <a:lnTo>
                  <a:pt x="1762678" y="3771085"/>
                </a:lnTo>
                <a:lnTo>
                  <a:pt x="1790106" y="3732307"/>
                </a:lnTo>
                <a:lnTo>
                  <a:pt x="1810676" y="3689042"/>
                </a:lnTo>
                <a:lnTo>
                  <a:pt x="1823597" y="3642081"/>
                </a:lnTo>
                <a:lnTo>
                  <a:pt x="1828080" y="3592215"/>
                </a:lnTo>
                <a:lnTo>
                  <a:pt x="1828080" y="277844"/>
                </a:lnTo>
                <a:lnTo>
                  <a:pt x="1823597" y="227965"/>
                </a:lnTo>
                <a:lnTo>
                  <a:pt x="1810676" y="180992"/>
                </a:lnTo>
                <a:lnTo>
                  <a:pt x="1790106" y="137717"/>
                </a:lnTo>
                <a:lnTo>
                  <a:pt x="1762678" y="98931"/>
                </a:lnTo>
                <a:lnTo>
                  <a:pt x="1729184" y="65424"/>
                </a:lnTo>
                <a:lnTo>
                  <a:pt x="1690412" y="37987"/>
                </a:lnTo>
                <a:lnTo>
                  <a:pt x="1647154" y="17410"/>
                </a:lnTo>
                <a:lnTo>
                  <a:pt x="1600199" y="4484"/>
                </a:lnTo>
                <a:lnTo>
                  <a:pt x="1550340" y="0"/>
                </a:lnTo>
                <a:close/>
              </a:path>
            </a:pathLst>
          </a:custGeom>
          <a:solidFill>
            <a:srgbClr val="313333"/>
          </a:solidFill>
        </p:spPr>
        <p:txBody>
          <a:bodyPr wrap="square" lIns="0" tIns="0" rIns="0" bIns="0" rtlCol="0"/>
          <a:lstStyle/>
          <a:p>
            <a:endParaRPr/>
          </a:p>
        </p:txBody>
      </p:sp>
      <p:sp>
        <p:nvSpPr>
          <p:cNvPr id="15" name="object 15"/>
          <p:cNvSpPr/>
          <p:nvPr/>
        </p:nvSpPr>
        <p:spPr>
          <a:xfrm>
            <a:off x="4061735" y="2843700"/>
            <a:ext cx="725224" cy="1286886"/>
          </a:xfrm>
          <a:custGeom>
            <a:avLst/>
            <a:gdLst/>
            <a:ahLst/>
            <a:cxnLst/>
            <a:rect l="l" t="t" r="r" b="b"/>
            <a:pathLst>
              <a:path w="1594484" h="2829559">
                <a:moveTo>
                  <a:pt x="0" y="2829275"/>
                </a:moveTo>
                <a:lnTo>
                  <a:pt x="1593951" y="2829275"/>
                </a:lnTo>
                <a:lnTo>
                  <a:pt x="1593951" y="0"/>
                </a:lnTo>
                <a:lnTo>
                  <a:pt x="0" y="0"/>
                </a:lnTo>
                <a:lnTo>
                  <a:pt x="0" y="2829275"/>
                </a:lnTo>
                <a:close/>
              </a:path>
            </a:pathLst>
          </a:custGeom>
          <a:solidFill>
            <a:srgbClr val="5A5A5A"/>
          </a:solidFill>
        </p:spPr>
        <p:txBody>
          <a:bodyPr wrap="square" lIns="0" tIns="0" rIns="0" bIns="0" rtlCol="0"/>
          <a:lstStyle/>
          <a:p>
            <a:endParaRPr/>
          </a:p>
        </p:txBody>
      </p:sp>
      <p:sp>
        <p:nvSpPr>
          <p:cNvPr id="16" name="object 16"/>
          <p:cNvSpPr/>
          <p:nvPr/>
        </p:nvSpPr>
        <p:spPr>
          <a:xfrm>
            <a:off x="4351511" y="2724806"/>
            <a:ext cx="145565" cy="35522"/>
          </a:xfrm>
          <a:custGeom>
            <a:avLst/>
            <a:gdLst/>
            <a:ahLst/>
            <a:cxnLst/>
            <a:rect l="l" t="t" r="r" b="b"/>
            <a:pathLst>
              <a:path w="320040" h="78104">
                <a:moveTo>
                  <a:pt x="280839" y="0"/>
                </a:moveTo>
                <a:lnTo>
                  <a:pt x="38909" y="0"/>
                </a:lnTo>
                <a:lnTo>
                  <a:pt x="23823" y="3052"/>
                </a:lnTo>
                <a:lnTo>
                  <a:pt x="11448" y="11364"/>
                </a:lnTo>
                <a:lnTo>
                  <a:pt x="3077" y="23672"/>
                </a:lnTo>
                <a:lnTo>
                  <a:pt x="0" y="38710"/>
                </a:lnTo>
                <a:lnTo>
                  <a:pt x="3077" y="53758"/>
                </a:lnTo>
                <a:lnTo>
                  <a:pt x="11448" y="66106"/>
                </a:lnTo>
                <a:lnTo>
                  <a:pt x="23823" y="74463"/>
                </a:lnTo>
                <a:lnTo>
                  <a:pt x="38909" y="77536"/>
                </a:lnTo>
                <a:lnTo>
                  <a:pt x="280839" y="77536"/>
                </a:lnTo>
                <a:lnTo>
                  <a:pt x="295933" y="74463"/>
                </a:lnTo>
                <a:lnTo>
                  <a:pt x="308303" y="66106"/>
                </a:lnTo>
                <a:lnTo>
                  <a:pt x="316666" y="53758"/>
                </a:lnTo>
                <a:lnTo>
                  <a:pt x="319738" y="38710"/>
                </a:lnTo>
                <a:lnTo>
                  <a:pt x="316666" y="23672"/>
                </a:lnTo>
                <a:lnTo>
                  <a:pt x="308303" y="11364"/>
                </a:lnTo>
                <a:lnTo>
                  <a:pt x="295933" y="3052"/>
                </a:lnTo>
                <a:lnTo>
                  <a:pt x="280839" y="0"/>
                </a:lnTo>
                <a:close/>
              </a:path>
            </a:pathLst>
          </a:custGeom>
          <a:solidFill>
            <a:srgbClr val="626A76"/>
          </a:solidFill>
        </p:spPr>
        <p:txBody>
          <a:bodyPr wrap="square" lIns="0" tIns="0" rIns="0" bIns="0" rtlCol="0"/>
          <a:lstStyle/>
          <a:p>
            <a:endParaRPr/>
          </a:p>
        </p:txBody>
      </p:sp>
      <p:sp>
        <p:nvSpPr>
          <p:cNvPr id="17" name="object 17"/>
          <p:cNvSpPr/>
          <p:nvPr/>
        </p:nvSpPr>
        <p:spPr>
          <a:xfrm>
            <a:off x="4331376" y="4223265"/>
            <a:ext cx="185710" cy="52273"/>
          </a:xfrm>
          <a:custGeom>
            <a:avLst/>
            <a:gdLst/>
            <a:ahLst/>
            <a:cxnLst/>
            <a:rect l="l" t="t" r="r" b="b"/>
            <a:pathLst>
              <a:path w="408304" h="114934">
                <a:moveTo>
                  <a:pt x="358606" y="0"/>
                </a:moveTo>
                <a:lnTo>
                  <a:pt x="49684" y="0"/>
                </a:lnTo>
                <a:lnTo>
                  <a:pt x="30422" y="4500"/>
                </a:lnTo>
                <a:lnTo>
                  <a:pt x="14621" y="16758"/>
                </a:lnTo>
                <a:lnTo>
                  <a:pt x="3930" y="34906"/>
                </a:lnTo>
                <a:lnTo>
                  <a:pt x="0" y="57076"/>
                </a:lnTo>
                <a:lnTo>
                  <a:pt x="3930" y="79264"/>
                </a:lnTo>
                <a:lnTo>
                  <a:pt x="14621" y="97470"/>
                </a:lnTo>
                <a:lnTo>
                  <a:pt x="30422" y="109791"/>
                </a:lnTo>
                <a:lnTo>
                  <a:pt x="49684" y="114321"/>
                </a:lnTo>
                <a:lnTo>
                  <a:pt x="358606" y="114321"/>
                </a:lnTo>
                <a:lnTo>
                  <a:pt x="377874" y="109791"/>
                </a:lnTo>
                <a:lnTo>
                  <a:pt x="393667" y="97470"/>
                </a:lnTo>
                <a:lnTo>
                  <a:pt x="404346" y="79264"/>
                </a:lnTo>
                <a:lnTo>
                  <a:pt x="408270" y="57076"/>
                </a:lnTo>
                <a:lnTo>
                  <a:pt x="404346" y="34906"/>
                </a:lnTo>
                <a:lnTo>
                  <a:pt x="393667" y="16758"/>
                </a:lnTo>
                <a:lnTo>
                  <a:pt x="377874" y="4500"/>
                </a:lnTo>
                <a:lnTo>
                  <a:pt x="358606" y="0"/>
                </a:lnTo>
                <a:close/>
              </a:path>
            </a:pathLst>
          </a:custGeom>
          <a:solidFill>
            <a:srgbClr val="FF7900"/>
          </a:solidFill>
        </p:spPr>
        <p:txBody>
          <a:bodyPr wrap="square" lIns="0" tIns="0" rIns="0" bIns="0" rtlCol="0"/>
          <a:lstStyle/>
          <a:p>
            <a:endParaRPr/>
          </a:p>
        </p:txBody>
      </p:sp>
      <p:sp>
        <p:nvSpPr>
          <p:cNvPr id="18" name="object 18"/>
          <p:cNvSpPr txBox="1"/>
          <p:nvPr/>
        </p:nvSpPr>
        <p:spPr>
          <a:xfrm>
            <a:off x="4190757" y="3180990"/>
            <a:ext cx="488392" cy="713427"/>
          </a:xfrm>
          <a:prstGeom prst="rect">
            <a:avLst/>
          </a:prstGeom>
        </p:spPr>
        <p:txBody>
          <a:bodyPr vert="horz" wrap="square" lIns="0" tIns="5487" rIns="0" bIns="0" rtlCol="0">
            <a:spAutoFit/>
          </a:bodyPr>
          <a:lstStyle/>
          <a:p>
            <a:pPr marL="5776">
              <a:spcBef>
                <a:spcPts val="43"/>
              </a:spcBef>
            </a:pPr>
            <a:r>
              <a:rPr sz="2300" b="1" spc="-2" dirty="0">
                <a:solidFill>
                  <a:srgbClr val="FF7900"/>
                </a:solidFill>
                <a:latin typeface="Helvetica Neue"/>
                <a:cs typeface="Helvetica Neue"/>
              </a:rPr>
              <a:t>62€</a:t>
            </a:r>
            <a:endParaRPr sz="2300">
              <a:latin typeface="Helvetica Neue"/>
              <a:cs typeface="Helvetica Neue"/>
            </a:endParaRPr>
          </a:p>
        </p:txBody>
      </p:sp>
      <p:sp>
        <p:nvSpPr>
          <p:cNvPr id="19" name="object 19"/>
          <p:cNvSpPr/>
          <p:nvPr/>
        </p:nvSpPr>
        <p:spPr>
          <a:xfrm>
            <a:off x="3508588" y="4435838"/>
            <a:ext cx="731289" cy="563735"/>
          </a:xfrm>
          <a:custGeom>
            <a:avLst/>
            <a:gdLst/>
            <a:ahLst/>
            <a:cxnLst/>
            <a:rect l="l" t="t" r="r" b="b"/>
            <a:pathLst>
              <a:path w="1607820" h="1239520">
                <a:moveTo>
                  <a:pt x="228043" y="0"/>
                </a:moveTo>
                <a:lnTo>
                  <a:pt x="2641" y="327667"/>
                </a:lnTo>
                <a:lnTo>
                  <a:pt x="0" y="334368"/>
                </a:lnTo>
                <a:lnTo>
                  <a:pt x="127" y="341321"/>
                </a:lnTo>
                <a:lnTo>
                  <a:pt x="2852" y="347716"/>
                </a:lnTo>
                <a:lnTo>
                  <a:pt x="8002" y="352744"/>
                </a:lnTo>
                <a:lnTo>
                  <a:pt x="1372924" y="1236717"/>
                </a:lnTo>
                <a:lnTo>
                  <a:pt x="1379624" y="1239358"/>
                </a:lnTo>
                <a:lnTo>
                  <a:pt x="1386574" y="1239226"/>
                </a:lnTo>
                <a:lnTo>
                  <a:pt x="1392969" y="1236498"/>
                </a:lnTo>
                <a:lnTo>
                  <a:pt x="1398002" y="1231346"/>
                </a:lnTo>
                <a:lnTo>
                  <a:pt x="1605032" y="911680"/>
                </a:lnTo>
                <a:lnTo>
                  <a:pt x="1607674" y="904980"/>
                </a:lnTo>
                <a:lnTo>
                  <a:pt x="1607545" y="898030"/>
                </a:lnTo>
                <a:lnTo>
                  <a:pt x="1604817" y="891635"/>
                </a:lnTo>
                <a:lnTo>
                  <a:pt x="1599661" y="886602"/>
                </a:lnTo>
                <a:lnTo>
                  <a:pt x="234739" y="2640"/>
                </a:lnTo>
                <a:lnTo>
                  <a:pt x="228043" y="0"/>
                </a:lnTo>
                <a:close/>
              </a:path>
            </a:pathLst>
          </a:custGeom>
          <a:solidFill>
            <a:srgbClr val="E4E3E3"/>
          </a:solidFill>
        </p:spPr>
        <p:txBody>
          <a:bodyPr wrap="square" lIns="0" tIns="0" rIns="0" bIns="0" rtlCol="0"/>
          <a:lstStyle/>
          <a:p>
            <a:endParaRPr/>
          </a:p>
        </p:txBody>
      </p:sp>
      <p:sp>
        <p:nvSpPr>
          <p:cNvPr id="20" name="object 20"/>
          <p:cNvSpPr/>
          <p:nvPr/>
        </p:nvSpPr>
        <p:spPr>
          <a:xfrm>
            <a:off x="3598057" y="4510176"/>
            <a:ext cx="58877" cy="58873"/>
          </a:xfrm>
          <a:prstGeom prst="rect">
            <a:avLst/>
          </a:prstGeom>
          <a:blipFill>
            <a:blip r:embed="rId3" cstate="print"/>
            <a:stretch>
              <a:fillRect/>
            </a:stretch>
          </a:blipFill>
        </p:spPr>
        <p:txBody>
          <a:bodyPr wrap="square" lIns="0" tIns="0" rIns="0" bIns="0" rtlCol="0"/>
          <a:lstStyle/>
          <a:p>
            <a:endParaRPr/>
          </a:p>
        </p:txBody>
      </p:sp>
      <p:sp>
        <p:nvSpPr>
          <p:cNvPr id="21" name="object 21"/>
          <p:cNvSpPr/>
          <p:nvPr/>
        </p:nvSpPr>
        <p:spPr>
          <a:xfrm>
            <a:off x="2980634" y="4544460"/>
            <a:ext cx="1206973" cy="693116"/>
          </a:xfrm>
          <a:custGeom>
            <a:avLst/>
            <a:gdLst/>
            <a:ahLst/>
            <a:cxnLst/>
            <a:rect l="l" t="t" r="r" b="b"/>
            <a:pathLst>
              <a:path w="2653665" h="1524000">
                <a:moveTo>
                  <a:pt x="1152627" y="0"/>
                </a:moveTo>
                <a:lnTo>
                  <a:pt x="1139573" y="293"/>
                </a:lnTo>
                <a:lnTo>
                  <a:pt x="1127542" y="5477"/>
                </a:lnTo>
                <a:lnTo>
                  <a:pt x="1118049" y="15220"/>
                </a:lnTo>
                <a:lnTo>
                  <a:pt x="0" y="1523639"/>
                </a:lnTo>
                <a:lnTo>
                  <a:pt x="2275403" y="1523639"/>
                </a:lnTo>
                <a:lnTo>
                  <a:pt x="2648327" y="1006279"/>
                </a:lnTo>
                <a:lnTo>
                  <a:pt x="2653338" y="993629"/>
                </a:lnTo>
                <a:lnTo>
                  <a:pt x="2653145" y="980530"/>
                </a:lnTo>
                <a:lnTo>
                  <a:pt x="2648069" y="968497"/>
                </a:lnTo>
                <a:lnTo>
                  <a:pt x="2638432" y="959045"/>
                </a:lnTo>
                <a:lnTo>
                  <a:pt x="1165189" y="4928"/>
                </a:lnTo>
                <a:lnTo>
                  <a:pt x="1152627" y="0"/>
                </a:lnTo>
                <a:close/>
              </a:path>
            </a:pathLst>
          </a:custGeom>
          <a:solidFill>
            <a:srgbClr val="4AB4E6"/>
          </a:solidFill>
        </p:spPr>
        <p:txBody>
          <a:bodyPr wrap="square" lIns="0" tIns="0" rIns="0" bIns="0" rtlCol="0"/>
          <a:lstStyle/>
          <a:p>
            <a:endParaRPr/>
          </a:p>
        </p:txBody>
      </p:sp>
      <p:sp>
        <p:nvSpPr>
          <p:cNvPr id="22" name="object 22"/>
          <p:cNvSpPr/>
          <p:nvPr/>
        </p:nvSpPr>
        <p:spPr>
          <a:xfrm>
            <a:off x="3758442" y="3384450"/>
            <a:ext cx="280443" cy="787553"/>
          </a:xfrm>
          <a:custGeom>
            <a:avLst/>
            <a:gdLst/>
            <a:ahLst/>
            <a:cxnLst/>
            <a:rect l="l" t="t" r="r" b="b"/>
            <a:pathLst>
              <a:path w="616584" h="1731645">
                <a:moveTo>
                  <a:pt x="397854" y="0"/>
                </a:moveTo>
                <a:lnTo>
                  <a:pt x="353858" y="2"/>
                </a:lnTo>
                <a:lnTo>
                  <a:pt x="313007" y="5688"/>
                </a:lnTo>
                <a:lnTo>
                  <a:pt x="275889" y="19004"/>
                </a:lnTo>
                <a:lnTo>
                  <a:pt x="243092" y="41892"/>
                </a:lnTo>
                <a:lnTo>
                  <a:pt x="215203" y="76297"/>
                </a:lnTo>
                <a:lnTo>
                  <a:pt x="192810" y="124165"/>
                </a:lnTo>
                <a:lnTo>
                  <a:pt x="176501" y="187438"/>
                </a:lnTo>
                <a:lnTo>
                  <a:pt x="1679" y="1478519"/>
                </a:lnTo>
                <a:lnTo>
                  <a:pt x="0" y="1523059"/>
                </a:lnTo>
                <a:lnTo>
                  <a:pt x="6694" y="1566434"/>
                </a:lnTo>
                <a:lnTo>
                  <a:pt x="21209" y="1607376"/>
                </a:lnTo>
                <a:lnTo>
                  <a:pt x="42989" y="1644618"/>
                </a:lnTo>
                <a:lnTo>
                  <a:pt x="71481" y="1676892"/>
                </a:lnTo>
                <a:lnTo>
                  <a:pt x="106130" y="1702931"/>
                </a:lnTo>
                <a:lnTo>
                  <a:pt x="146382" y="1721467"/>
                </a:lnTo>
                <a:lnTo>
                  <a:pt x="191683" y="1731234"/>
                </a:lnTo>
                <a:lnTo>
                  <a:pt x="205882" y="1731182"/>
                </a:lnTo>
                <a:lnTo>
                  <a:pt x="253329" y="1729983"/>
                </a:lnTo>
                <a:lnTo>
                  <a:pt x="299512" y="1717573"/>
                </a:lnTo>
                <a:lnTo>
                  <a:pt x="343120" y="1695620"/>
                </a:lnTo>
                <a:lnTo>
                  <a:pt x="382841" y="1665790"/>
                </a:lnTo>
                <a:lnTo>
                  <a:pt x="417364" y="1629752"/>
                </a:lnTo>
                <a:lnTo>
                  <a:pt x="445377" y="1589173"/>
                </a:lnTo>
                <a:lnTo>
                  <a:pt x="465569" y="1545720"/>
                </a:lnTo>
                <a:lnTo>
                  <a:pt x="476628" y="1501063"/>
                </a:lnTo>
                <a:lnTo>
                  <a:pt x="613346" y="415484"/>
                </a:lnTo>
                <a:lnTo>
                  <a:pt x="616351" y="368407"/>
                </a:lnTo>
                <a:lnTo>
                  <a:pt x="615403" y="319025"/>
                </a:lnTo>
                <a:lnTo>
                  <a:pt x="612520" y="270198"/>
                </a:lnTo>
                <a:lnTo>
                  <a:pt x="607111" y="222797"/>
                </a:lnTo>
                <a:lnTo>
                  <a:pt x="598588" y="177696"/>
                </a:lnTo>
                <a:lnTo>
                  <a:pt x="586362" y="135766"/>
                </a:lnTo>
                <a:lnTo>
                  <a:pt x="569844" y="97879"/>
                </a:lnTo>
                <a:lnTo>
                  <a:pt x="548445" y="64909"/>
                </a:lnTo>
                <a:lnTo>
                  <a:pt x="521575" y="37728"/>
                </a:lnTo>
                <a:lnTo>
                  <a:pt x="488646" y="17207"/>
                </a:lnTo>
                <a:lnTo>
                  <a:pt x="449068" y="4219"/>
                </a:lnTo>
                <a:lnTo>
                  <a:pt x="397854" y="0"/>
                </a:lnTo>
                <a:close/>
              </a:path>
            </a:pathLst>
          </a:custGeom>
          <a:solidFill>
            <a:srgbClr val="CF9F82"/>
          </a:solidFill>
        </p:spPr>
        <p:txBody>
          <a:bodyPr wrap="square" lIns="0" tIns="0" rIns="0" bIns="0" rtlCol="0"/>
          <a:lstStyle/>
          <a:p>
            <a:endParaRPr/>
          </a:p>
        </p:txBody>
      </p:sp>
      <p:sp>
        <p:nvSpPr>
          <p:cNvPr id="23" name="object 23"/>
          <p:cNvSpPr/>
          <p:nvPr/>
        </p:nvSpPr>
        <p:spPr>
          <a:xfrm>
            <a:off x="3733704" y="3376259"/>
            <a:ext cx="305281" cy="802570"/>
          </a:xfrm>
          <a:custGeom>
            <a:avLst/>
            <a:gdLst/>
            <a:ahLst/>
            <a:cxnLst/>
            <a:rect l="l" t="t" r="r" b="b"/>
            <a:pathLst>
              <a:path w="671195" h="1764665">
                <a:moveTo>
                  <a:pt x="408680" y="0"/>
                </a:moveTo>
                <a:lnTo>
                  <a:pt x="365071" y="4057"/>
                </a:lnTo>
                <a:lnTo>
                  <a:pt x="324099" y="13845"/>
                </a:lnTo>
                <a:lnTo>
                  <a:pt x="287535" y="30478"/>
                </a:lnTo>
                <a:lnTo>
                  <a:pt x="257151" y="55066"/>
                </a:lnTo>
                <a:lnTo>
                  <a:pt x="234716" y="88725"/>
                </a:lnTo>
                <a:lnTo>
                  <a:pt x="222004" y="132565"/>
                </a:lnTo>
                <a:lnTo>
                  <a:pt x="220784" y="187700"/>
                </a:lnTo>
                <a:lnTo>
                  <a:pt x="226729" y="320099"/>
                </a:lnTo>
                <a:lnTo>
                  <a:pt x="205988" y="502096"/>
                </a:lnTo>
                <a:lnTo>
                  <a:pt x="138113" y="857770"/>
                </a:lnTo>
                <a:lnTo>
                  <a:pt x="2654" y="1511199"/>
                </a:lnTo>
                <a:lnTo>
                  <a:pt x="0" y="1556391"/>
                </a:lnTo>
                <a:lnTo>
                  <a:pt x="6616" y="1599647"/>
                </a:lnTo>
                <a:lnTo>
                  <a:pt x="21720" y="1639959"/>
                </a:lnTo>
                <a:lnTo>
                  <a:pt x="44531" y="1676318"/>
                </a:lnTo>
                <a:lnTo>
                  <a:pt x="74266" y="1707716"/>
                </a:lnTo>
                <a:lnTo>
                  <a:pt x="110143" y="1733143"/>
                </a:lnTo>
                <a:lnTo>
                  <a:pt x="151379" y="1751590"/>
                </a:lnTo>
                <a:lnTo>
                  <a:pt x="197193" y="1762050"/>
                </a:lnTo>
                <a:lnTo>
                  <a:pt x="249158" y="1764119"/>
                </a:lnTo>
                <a:lnTo>
                  <a:pt x="294643" y="1756784"/>
                </a:lnTo>
                <a:lnTo>
                  <a:pt x="337243" y="1741412"/>
                </a:lnTo>
                <a:lnTo>
                  <a:pt x="375882" y="1718774"/>
                </a:lnTo>
                <a:lnTo>
                  <a:pt x="409485" y="1689641"/>
                </a:lnTo>
                <a:lnTo>
                  <a:pt x="436976" y="1654785"/>
                </a:lnTo>
                <a:lnTo>
                  <a:pt x="457280" y="1614977"/>
                </a:lnTo>
                <a:lnTo>
                  <a:pt x="469321" y="1570988"/>
                </a:lnTo>
                <a:lnTo>
                  <a:pt x="663828" y="412646"/>
                </a:lnTo>
                <a:lnTo>
                  <a:pt x="669277" y="369157"/>
                </a:lnTo>
                <a:lnTo>
                  <a:pt x="670770" y="321461"/>
                </a:lnTo>
                <a:lnTo>
                  <a:pt x="667982" y="271365"/>
                </a:lnTo>
                <a:lnTo>
                  <a:pt x="660590" y="220674"/>
                </a:lnTo>
                <a:lnTo>
                  <a:pt x="648269" y="171196"/>
                </a:lnTo>
                <a:lnTo>
                  <a:pt x="630695" y="124738"/>
                </a:lnTo>
                <a:lnTo>
                  <a:pt x="607544" y="83104"/>
                </a:lnTo>
                <a:lnTo>
                  <a:pt x="578491" y="48103"/>
                </a:lnTo>
                <a:lnTo>
                  <a:pt x="543212" y="21541"/>
                </a:lnTo>
                <a:lnTo>
                  <a:pt x="501382" y="5224"/>
                </a:lnTo>
                <a:lnTo>
                  <a:pt x="453154" y="560"/>
                </a:lnTo>
                <a:lnTo>
                  <a:pt x="408680" y="0"/>
                </a:lnTo>
                <a:close/>
              </a:path>
            </a:pathLst>
          </a:custGeom>
          <a:solidFill>
            <a:srgbClr val="DEB89C"/>
          </a:solidFill>
        </p:spPr>
        <p:txBody>
          <a:bodyPr wrap="square" lIns="0" tIns="0" rIns="0" bIns="0" rtlCol="0"/>
          <a:lstStyle/>
          <a:p>
            <a:endParaRPr/>
          </a:p>
        </p:txBody>
      </p:sp>
      <p:sp>
        <p:nvSpPr>
          <p:cNvPr id="24" name="object 24"/>
          <p:cNvSpPr/>
          <p:nvPr/>
        </p:nvSpPr>
        <p:spPr>
          <a:xfrm>
            <a:off x="3828067" y="3379688"/>
            <a:ext cx="95599" cy="172990"/>
          </a:xfrm>
          <a:custGeom>
            <a:avLst/>
            <a:gdLst/>
            <a:ahLst/>
            <a:cxnLst/>
            <a:rect l="l" t="t" r="r" b="b"/>
            <a:pathLst>
              <a:path w="210184" h="380365">
                <a:moveTo>
                  <a:pt x="125196" y="0"/>
                </a:moveTo>
                <a:lnTo>
                  <a:pt x="85699" y="9993"/>
                </a:lnTo>
                <a:lnTo>
                  <a:pt x="42323" y="42839"/>
                </a:lnTo>
                <a:lnTo>
                  <a:pt x="15565" y="108378"/>
                </a:lnTo>
                <a:lnTo>
                  <a:pt x="9441" y="168621"/>
                </a:lnTo>
                <a:lnTo>
                  <a:pt x="3980" y="232524"/>
                </a:lnTo>
                <a:lnTo>
                  <a:pt x="421" y="291493"/>
                </a:lnTo>
                <a:lnTo>
                  <a:pt x="0" y="336938"/>
                </a:lnTo>
                <a:lnTo>
                  <a:pt x="3953" y="360265"/>
                </a:lnTo>
                <a:lnTo>
                  <a:pt x="18438" y="371412"/>
                </a:lnTo>
                <a:lnTo>
                  <a:pt x="43950" y="379081"/>
                </a:lnTo>
                <a:lnTo>
                  <a:pt x="78122" y="379887"/>
                </a:lnTo>
                <a:lnTo>
                  <a:pt x="118588" y="370443"/>
                </a:lnTo>
                <a:lnTo>
                  <a:pt x="176242" y="341586"/>
                </a:lnTo>
                <a:lnTo>
                  <a:pt x="201517" y="294424"/>
                </a:lnTo>
                <a:lnTo>
                  <a:pt x="207653" y="254331"/>
                </a:lnTo>
                <a:lnTo>
                  <a:pt x="210060" y="197448"/>
                </a:lnTo>
                <a:lnTo>
                  <a:pt x="209767" y="137259"/>
                </a:lnTo>
                <a:lnTo>
                  <a:pt x="207802" y="87250"/>
                </a:lnTo>
                <a:lnTo>
                  <a:pt x="200891" y="45595"/>
                </a:lnTo>
                <a:lnTo>
                  <a:pt x="171807" y="9413"/>
                </a:lnTo>
                <a:lnTo>
                  <a:pt x="125196" y="0"/>
                </a:lnTo>
                <a:close/>
              </a:path>
            </a:pathLst>
          </a:custGeom>
          <a:solidFill>
            <a:srgbClr val="D6CFC5"/>
          </a:solidFill>
        </p:spPr>
        <p:txBody>
          <a:bodyPr wrap="square" lIns="0" tIns="0" rIns="0" bIns="0" rtlCol="0"/>
          <a:lstStyle/>
          <a:p>
            <a:endParaRPr/>
          </a:p>
        </p:txBody>
      </p:sp>
      <p:sp>
        <p:nvSpPr>
          <p:cNvPr id="25" name="object 25"/>
          <p:cNvSpPr/>
          <p:nvPr/>
        </p:nvSpPr>
        <p:spPr>
          <a:xfrm>
            <a:off x="4635670" y="3546107"/>
            <a:ext cx="321744" cy="250388"/>
          </a:xfrm>
          <a:custGeom>
            <a:avLst/>
            <a:gdLst/>
            <a:ahLst/>
            <a:cxnLst/>
            <a:rect l="l" t="t" r="r" b="b"/>
            <a:pathLst>
              <a:path w="707390" h="550545">
                <a:moveTo>
                  <a:pt x="509174" y="0"/>
                </a:moveTo>
                <a:lnTo>
                  <a:pt x="462948" y="2181"/>
                </a:lnTo>
                <a:lnTo>
                  <a:pt x="417119" y="15507"/>
                </a:lnTo>
                <a:lnTo>
                  <a:pt x="125453" y="136509"/>
                </a:lnTo>
                <a:lnTo>
                  <a:pt x="83933" y="160247"/>
                </a:lnTo>
                <a:lnTo>
                  <a:pt x="49973" y="192090"/>
                </a:lnTo>
                <a:lnTo>
                  <a:pt x="24228" y="230368"/>
                </a:lnTo>
                <a:lnTo>
                  <a:pt x="7352" y="273413"/>
                </a:lnTo>
                <a:lnTo>
                  <a:pt x="0" y="319558"/>
                </a:lnTo>
                <a:lnTo>
                  <a:pt x="2825" y="367132"/>
                </a:lnTo>
                <a:lnTo>
                  <a:pt x="16482" y="414469"/>
                </a:lnTo>
                <a:lnTo>
                  <a:pt x="41845" y="461511"/>
                </a:lnTo>
                <a:lnTo>
                  <a:pt x="73330" y="496923"/>
                </a:lnTo>
                <a:lnTo>
                  <a:pt x="110948" y="523985"/>
                </a:lnTo>
                <a:lnTo>
                  <a:pt x="153067" y="541998"/>
                </a:lnTo>
                <a:lnTo>
                  <a:pt x="198055" y="550264"/>
                </a:lnTo>
                <a:lnTo>
                  <a:pt x="244279" y="548083"/>
                </a:lnTo>
                <a:lnTo>
                  <a:pt x="290107" y="534758"/>
                </a:lnTo>
                <a:lnTo>
                  <a:pt x="581784" y="413757"/>
                </a:lnTo>
                <a:lnTo>
                  <a:pt x="623307" y="390014"/>
                </a:lnTo>
                <a:lnTo>
                  <a:pt x="657268" y="358169"/>
                </a:lnTo>
                <a:lnTo>
                  <a:pt x="683013" y="319890"/>
                </a:lnTo>
                <a:lnTo>
                  <a:pt x="699888" y="276844"/>
                </a:lnTo>
                <a:lnTo>
                  <a:pt x="707240" y="230701"/>
                </a:lnTo>
                <a:lnTo>
                  <a:pt x="704413" y="183129"/>
                </a:lnTo>
                <a:lnTo>
                  <a:pt x="690755" y="135797"/>
                </a:lnTo>
                <a:lnTo>
                  <a:pt x="665392" y="88750"/>
                </a:lnTo>
                <a:lnTo>
                  <a:pt x="633905" y="53337"/>
                </a:lnTo>
                <a:lnTo>
                  <a:pt x="596285" y="26275"/>
                </a:lnTo>
                <a:lnTo>
                  <a:pt x="554164" y="8264"/>
                </a:lnTo>
                <a:lnTo>
                  <a:pt x="509174" y="0"/>
                </a:lnTo>
                <a:close/>
              </a:path>
            </a:pathLst>
          </a:custGeom>
          <a:solidFill>
            <a:srgbClr val="DEB89C"/>
          </a:solidFill>
        </p:spPr>
        <p:txBody>
          <a:bodyPr wrap="square" lIns="0" tIns="0" rIns="0" bIns="0" rtlCol="0"/>
          <a:lstStyle/>
          <a:p>
            <a:endParaRPr/>
          </a:p>
        </p:txBody>
      </p:sp>
      <p:sp>
        <p:nvSpPr>
          <p:cNvPr id="26" name="object 26"/>
          <p:cNvSpPr/>
          <p:nvPr/>
        </p:nvSpPr>
        <p:spPr>
          <a:xfrm>
            <a:off x="4638893" y="3629084"/>
            <a:ext cx="157117" cy="150464"/>
          </a:xfrm>
          <a:custGeom>
            <a:avLst/>
            <a:gdLst/>
            <a:ahLst/>
            <a:cxnLst/>
            <a:rect l="l" t="t" r="r" b="b"/>
            <a:pathLst>
              <a:path w="345440" h="330834">
                <a:moveTo>
                  <a:pt x="208124" y="0"/>
                </a:moveTo>
                <a:lnTo>
                  <a:pt x="159722" y="11967"/>
                </a:lnTo>
                <a:lnTo>
                  <a:pt x="83442" y="43548"/>
                </a:lnTo>
                <a:lnTo>
                  <a:pt x="39424" y="69823"/>
                </a:lnTo>
                <a:lnTo>
                  <a:pt x="12188" y="103539"/>
                </a:lnTo>
                <a:lnTo>
                  <a:pt x="0" y="142813"/>
                </a:lnTo>
                <a:lnTo>
                  <a:pt x="1125" y="185759"/>
                </a:lnTo>
                <a:lnTo>
                  <a:pt x="13831" y="230495"/>
                </a:lnTo>
                <a:lnTo>
                  <a:pt x="36398" y="274348"/>
                </a:lnTo>
                <a:lnTo>
                  <a:pt x="64963" y="305958"/>
                </a:lnTo>
                <a:lnTo>
                  <a:pt x="100566" y="325478"/>
                </a:lnTo>
                <a:lnTo>
                  <a:pt x="143156" y="330318"/>
                </a:lnTo>
                <a:lnTo>
                  <a:pt x="192684" y="317885"/>
                </a:lnTo>
                <a:lnTo>
                  <a:pt x="268965" y="286315"/>
                </a:lnTo>
                <a:lnTo>
                  <a:pt x="311854" y="260497"/>
                </a:lnTo>
                <a:lnTo>
                  <a:pt x="336407" y="227878"/>
                </a:lnTo>
                <a:lnTo>
                  <a:pt x="345395" y="189917"/>
                </a:lnTo>
                <a:lnTo>
                  <a:pt x="341588" y="148071"/>
                </a:lnTo>
                <a:lnTo>
                  <a:pt x="327759" y="103797"/>
                </a:lnTo>
                <a:lnTo>
                  <a:pt x="306313" y="59479"/>
                </a:lnTo>
                <a:lnTo>
                  <a:pt x="280429" y="26770"/>
                </a:lnTo>
                <a:lnTo>
                  <a:pt x="248030" y="5938"/>
                </a:lnTo>
                <a:lnTo>
                  <a:pt x="208124" y="0"/>
                </a:lnTo>
                <a:close/>
              </a:path>
            </a:pathLst>
          </a:custGeom>
          <a:solidFill>
            <a:srgbClr val="D6CFC5"/>
          </a:solidFill>
        </p:spPr>
        <p:txBody>
          <a:bodyPr wrap="square" lIns="0" tIns="0" rIns="0" bIns="0" rtlCol="0"/>
          <a:lstStyle/>
          <a:p>
            <a:endParaRPr/>
          </a:p>
        </p:txBody>
      </p:sp>
      <p:sp>
        <p:nvSpPr>
          <p:cNvPr id="27" name="object 27"/>
          <p:cNvSpPr/>
          <p:nvPr/>
        </p:nvSpPr>
        <p:spPr>
          <a:xfrm>
            <a:off x="4633526" y="3776900"/>
            <a:ext cx="326943" cy="251543"/>
          </a:xfrm>
          <a:custGeom>
            <a:avLst/>
            <a:gdLst/>
            <a:ahLst/>
            <a:cxnLst/>
            <a:rect l="l" t="t" r="r" b="b"/>
            <a:pathLst>
              <a:path w="718820" h="553084">
                <a:moveTo>
                  <a:pt x="517212" y="0"/>
                </a:moveTo>
                <a:lnTo>
                  <a:pt x="470259" y="2191"/>
                </a:lnTo>
                <a:lnTo>
                  <a:pt x="423710" y="15582"/>
                </a:lnTo>
                <a:lnTo>
                  <a:pt x="127436" y="137212"/>
                </a:lnTo>
                <a:lnTo>
                  <a:pt x="85259" y="161072"/>
                </a:lnTo>
                <a:lnTo>
                  <a:pt x="50763" y="193075"/>
                </a:lnTo>
                <a:lnTo>
                  <a:pt x="24612" y="231546"/>
                </a:lnTo>
                <a:lnTo>
                  <a:pt x="7469" y="274807"/>
                </a:lnTo>
                <a:lnTo>
                  <a:pt x="0" y="321184"/>
                </a:lnTo>
                <a:lnTo>
                  <a:pt x="2868" y="368998"/>
                </a:lnTo>
                <a:lnTo>
                  <a:pt x="16738" y="416575"/>
                </a:lnTo>
                <a:lnTo>
                  <a:pt x="42507" y="463858"/>
                </a:lnTo>
                <a:lnTo>
                  <a:pt x="74490" y="499450"/>
                </a:lnTo>
                <a:lnTo>
                  <a:pt x="112702" y="526649"/>
                </a:lnTo>
                <a:lnTo>
                  <a:pt x="155487" y="544753"/>
                </a:lnTo>
                <a:lnTo>
                  <a:pt x="201185" y="553059"/>
                </a:lnTo>
                <a:lnTo>
                  <a:pt x="248138" y="550866"/>
                </a:lnTo>
                <a:lnTo>
                  <a:pt x="294687" y="537472"/>
                </a:lnTo>
                <a:lnTo>
                  <a:pt x="590951" y="415853"/>
                </a:lnTo>
                <a:lnTo>
                  <a:pt x="633131" y="391992"/>
                </a:lnTo>
                <a:lnTo>
                  <a:pt x="667630" y="359988"/>
                </a:lnTo>
                <a:lnTo>
                  <a:pt x="693783" y="321516"/>
                </a:lnTo>
                <a:lnTo>
                  <a:pt x="710925" y="278253"/>
                </a:lnTo>
                <a:lnTo>
                  <a:pt x="718394" y="231876"/>
                </a:lnTo>
                <a:lnTo>
                  <a:pt x="715523" y="184063"/>
                </a:lnTo>
                <a:lnTo>
                  <a:pt x="701649" y="136489"/>
                </a:lnTo>
                <a:lnTo>
                  <a:pt x="675883" y="89197"/>
                </a:lnTo>
                <a:lnTo>
                  <a:pt x="643904" y="53606"/>
                </a:lnTo>
                <a:lnTo>
                  <a:pt x="605693" y="26408"/>
                </a:lnTo>
                <a:lnTo>
                  <a:pt x="562909" y="8306"/>
                </a:lnTo>
                <a:lnTo>
                  <a:pt x="517212" y="0"/>
                </a:lnTo>
                <a:close/>
              </a:path>
            </a:pathLst>
          </a:custGeom>
          <a:solidFill>
            <a:srgbClr val="DEB89C"/>
          </a:solidFill>
        </p:spPr>
        <p:txBody>
          <a:bodyPr wrap="square" lIns="0" tIns="0" rIns="0" bIns="0" rtlCol="0"/>
          <a:lstStyle/>
          <a:p>
            <a:endParaRPr/>
          </a:p>
        </p:txBody>
      </p:sp>
      <p:sp>
        <p:nvSpPr>
          <p:cNvPr id="28" name="object 28"/>
          <p:cNvSpPr/>
          <p:nvPr/>
        </p:nvSpPr>
        <p:spPr>
          <a:xfrm>
            <a:off x="4636520" y="3862366"/>
            <a:ext cx="154807" cy="146710"/>
          </a:xfrm>
          <a:custGeom>
            <a:avLst/>
            <a:gdLst/>
            <a:ahLst/>
            <a:cxnLst/>
            <a:rect l="l" t="t" r="r" b="b"/>
            <a:pathLst>
              <a:path w="340359" h="322579">
                <a:moveTo>
                  <a:pt x="205075" y="0"/>
                </a:moveTo>
                <a:lnTo>
                  <a:pt x="157380" y="11669"/>
                </a:lnTo>
                <a:lnTo>
                  <a:pt x="82219" y="42453"/>
                </a:lnTo>
                <a:lnTo>
                  <a:pt x="38848" y="68071"/>
                </a:lnTo>
                <a:lnTo>
                  <a:pt x="12011" y="100943"/>
                </a:lnTo>
                <a:lnTo>
                  <a:pt x="0" y="139233"/>
                </a:lnTo>
                <a:lnTo>
                  <a:pt x="1107" y="181103"/>
                </a:lnTo>
                <a:lnTo>
                  <a:pt x="13625" y="224720"/>
                </a:lnTo>
                <a:lnTo>
                  <a:pt x="35869" y="267470"/>
                </a:lnTo>
                <a:lnTo>
                  <a:pt x="64014" y="298287"/>
                </a:lnTo>
                <a:lnTo>
                  <a:pt x="99092" y="317317"/>
                </a:lnTo>
                <a:lnTo>
                  <a:pt x="141056" y="322036"/>
                </a:lnTo>
                <a:lnTo>
                  <a:pt x="189860" y="309921"/>
                </a:lnTo>
                <a:lnTo>
                  <a:pt x="265020" y="279127"/>
                </a:lnTo>
                <a:lnTo>
                  <a:pt x="307279" y="253962"/>
                </a:lnTo>
                <a:lnTo>
                  <a:pt x="331472" y="222164"/>
                </a:lnTo>
                <a:lnTo>
                  <a:pt x="340328" y="185155"/>
                </a:lnTo>
                <a:lnTo>
                  <a:pt x="336576" y="144357"/>
                </a:lnTo>
                <a:lnTo>
                  <a:pt x="322945" y="101195"/>
                </a:lnTo>
                <a:lnTo>
                  <a:pt x="301815" y="57988"/>
                </a:lnTo>
                <a:lnTo>
                  <a:pt x="276316" y="26100"/>
                </a:lnTo>
                <a:lnTo>
                  <a:pt x="205075" y="0"/>
                </a:lnTo>
                <a:close/>
              </a:path>
            </a:pathLst>
          </a:custGeom>
          <a:solidFill>
            <a:srgbClr val="D6CFC5"/>
          </a:solidFill>
        </p:spPr>
        <p:txBody>
          <a:bodyPr wrap="square" lIns="0" tIns="0" rIns="0" bIns="0" rtlCol="0"/>
          <a:lstStyle/>
          <a:p>
            <a:endParaRPr/>
          </a:p>
        </p:txBody>
      </p:sp>
      <p:sp>
        <p:nvSpPr>
          <p:cNvPr id="29" name="object 29"/>
          <p:cNvSpPr/>
          <p:nvPr/>
        </p:nvSpPr>
        <p:spPr>
          <a:xfrm>
            <a:off x="4646805" y="4006815"/>
            <a:ext cx="328098" cy="238836"/>
          </a:xfrm>
          <a:custGeom>
            <a:avLst/>
            <a:gdLst/>
            <a:ahLst/>
            <a:cxnLst/>
            <a:rect l="l" t="t" r="r" b="b"/>
            <a:pathLst>
              <a:path w="721359" h="525145">
                <a:moveTo>
                  <a:pt x="526412" y="0"/>
                </a:moveTo>
                <a:lnTo>
                  <a:pt x="479394" y="3374"/>
                </a:lnTo>
                <a:lnTo>
                  <a:pt x="432459" y="17180"/>
                </a:lnTo>
                <a:lnTo>
                  <a:pt x="132698" y="138957"/>
                </a:lnTo>
                <a:lnTo>
                  <a:pt x="89837" y="162392"/>
                </a:lnTo>
                <a:lnTo>
                  <a:pt x="54425" y="193202"/>
                </a:lnTo>
                <a:lnTo>
                  <a:pt x="27172" y="229805"/>
                </a:lnTo>
                <a:lnTo>
                  <a:pt x="8793" y="270619"/>
                </a:lnTo>
                <a:lnTo>
                  <a:pt x="0" y="314063"/>
                </a:lnTo>
                <a:lnTo>
                  <a:pt x="1505" y="358553"/>
                </a:lnTo>
                <a:lnTo>
                  <a:pt x="14021" y="402509"/>
                </a:lnTo>
                <a:lnTo>
                  <a:pt x="38438" y="445861"/>
                </a:lnTo>
                <a:lnTo>
                  <a:pt x="69403" y="478134"/>
                </a:lnTo>
                <a:lnTo>
                  <a:pt x="106840" y="502406"/>
                </a:lnTo>
                <a:lnTo>
                  <a:pt x="149110" y="518071"/>
                </a:lnTo>
                <a:lnTo>
                  <a:pt x="194573" y="524520"/>
                </a:lnTo>
                <a:lnTo>
                  <a:pt x="241591" y="521146"/>
                </a:lnTo>
                <a:lnTo>
                  <a:pt x="288526" y="507343"/>
                </a:lnTo>
                <a:lnTo>
                  <a:pt x="588287" y="385567"/>
                </a:lnTo>
                <a:lnTo>
                  <a:pt x="631147" y="362132"/>
                </a:lnTo>
                <a:lnTo>
                  <a:pt x="666558" y="331322"/>
                </a:lnTo>
                <a:lnTo>
                  <a:pt x="693809" y="294718"/>
                </a:lnTo>
                <a:lnTo>
                  <a:pt x="712188" y="253903"/>
                </a:lnTo>
                <a:lnTo>
                  <a:pt x="720981" y="210457"/>
                </a:lnTo>
                <a:lnTo>
                  <a:pt x="719477" y="165964"/>
                </a:lnTo>
                <a:lnTo>
                  <a:pt x="706964" y="122004"/>
                </a:lnTo>
                <a:lnTo>
                  <a:pt x="682547" y="78662"/>
                </a:lnTo>
                <a:lnTo>
                  <a:pt x="651581" y="46388"/>
                </a:lnTo>
                <a:lnTo>
                  <a:pt x="614144" y="22114"/>
                </a:lnTo>
                <a:lnTo>
                  <a:pt x="571875" y="6449"/>
                </a:lnTo>
                <a:lnTo>
                  <a:pt x="526412" y="0"/>
                </a:lnTo>
                <a:close/>
              </a:path>
            </a:pathLst>
          </a:custGeom>
          <a:solidFill>
            <a:srgbClr val="DEB89C"/>
          </a:solidFill>
        </p:spPr>
        <p:txBody>
          <a:bodyPr wrap="square" lIns="0" tIns="0" rIns="0" bIns="0" rtlCol="0"/>
          <a:lstStyle/>
          <a:p>
            <a:endParaRPr/>
          </a:p>
        </p:txBody>
      </p:sp>
      <p:sp>
        <p:nvSpPr>
          <p:cNvPr id="30" name="object 30"/>
          <p:cNvSpPr/>
          <p:nvPr/>
        </p:nvSpPr>
        <p:spPr>
          <a:xfrm>
            <a:off x="4650684" y="4097497"/>
            <a:ext cx="140366" cy="131692"/>
          </a:xfrm>
          <a:custGeom>
            <a:avLst/>
            <a:gdLst/>
            <a:ahLst/>
            <a:cxnLst/>
            <a:rect l="l" t="t" r="r" b="b"/>
            <a:pathLst>
              <a:path w="308609" h="289559">
                <a:moveTo>
                  <a:pt x="196344" y="0"/>
                </a:moveTo>
                <a:lnTo>
                  <a:pt x="143365" y="10546"/>
                </a:lnTo>
                <a:lnTo>
                  <a:pt x="75032" y="38189"/>
                </a:lnTo>
                <a:lnTo>
                  <a:pt x="28148" y="68036"/>
                </a:lnTo>
                <a:lnTo>
                  <a:pt x="4148" y="107416"/>
                </a:lnTo>
                <a:lnTo>
                  <a:pt x="0" y="153108"/>
                </a:lnTo>
                <a:lnTo>
                  <a:pt x="12667" y="201891"/>
                </a:lnTo>
                <a:lnTo>
                  <a:pt x="13652" y="204288"/>
                </a:lnTo>
                <a:lnTo>
                  <a:pt x="38695" y="248076"/>
                </a:lnTo>
                <a:lnTo>
                  <a:pt x="73639" y="277976"/>
                </a:lnTo>
                <a:lnTo>
                  <a:pt x="118400" y="289561"/>
                </a:lnTo>
                <a:lnTo>
                  <a:pt x="172893" y="278401"/>
                </a:lnTo>
                <a:lnTo>
                  <a:pt x="241226" y="250769"/>
                </a:lnTo>
                <a:lnTo>
                  <a:pt x="286591" y="221527"/>
                </a:lnTo>
                <a:lnTo>
                  <a:pt x="307258" y="183480"/>
                </a:lnTo>
                <a:lnTo>
                  <a:pt x="308076" y="139123"/>
                </a:lnTo>
                <a:lnTo>
                  <a:pt x="293895" y="90952"/>
                </a:lnTo>
                <a:lnTo>
                  <a:pt x="292921" y="88554"/>
                </a:lnTo>
                <a:lnTo>
                  <a:pt x="269391" y="44159"/>
                </a:lnTo>
                <a:lnTo>
                  <a:pt x="237776" y="12923"/>
                </a:lnTo>
                <a:lnTo>
                  <a:pt x="196344" y="0"/>
                </a:lnTo>
                <a:close/>
              </a:path>
            </a:pathLst>
          </a:custGeom>
          <a:solidFill>
            <a:srgbClr val="D6CFC5"/>
          </a:solidFill>
        </p:spPr>
        <p:txBody>
          <a:bodyPr wrap="square" lIns="0" tIns="0" rIns="0" bIns="0" rtlCol="0"/>
          <a:lstStyle/>
          <a:p>
            <a:endParaRPr/>
          </a:p>
        </p:txBody>
      </p:sp>
      <p:sp>
        <p:nvSpPr>
          <p:cNvPr id="31" name="object 31"/>
          <p:cNvSpPr/>
          <p:nvPr/>
        </p:nvSpPr>
        <p:spPr>
          <a:xfrm>
            <a:off x="6365604" y="3205898"/>
            <a:ext cx="902558" cy="651818"/>
          </a:xfrm>
          <a:custGeom>
            <a:avLst/>
            <a:gdLst/>
            <a:ahLst/>
            <a:cxnLst/>
            <a:rect l="l" t="t" r="r" b="b"/>
            <a:pathLst>
              <a:path w="1984375" h="1433195">
                <a:moveTo>
                  <a:pt x="1751171" y="0"/>
                </a:moveTo>
                <a:lnTo>
                  <a:pt x="1701907" y="7095"/>
                </a:lnTo>
                <a:lnTo>
                  <a:pt x="1652809" y="23197"/>
                </a:lnTo>
                <a:lnTo>
                  <a:pt x="1605268" y="48484"/>
                </a:lnTo>
                <a:lnTo>
                  <a:pt x="131376" y="1001701"/>
                </a:lnTo>
                <a:lnTo>
                  <a:pt x="88808" y="1034684"/>
                </a:lnTo>
                <a:lnTo>
                  <a:pt x="53981" y="1072856"/>
                </a:lnTo>
                <a:lnTo>
                  <a:pt x="27299" y="1114876"/>
                </a:lnTo>
                <a:lnTo>
                  <a:pt x="9170" y="1159398"/>
                </a:lnTo>
                <a:lnTo>
                  <a:pt x="0" y="1205081"/>
                </a:lnTo>
                <a:lnTo>
                  <a:pt x="194" y="1250581"/>
                </a:lnTo>
                <a:lnTo>
                  <a:pt x="10158" y="1294555"/>
                </a:lnTo>
                <a:lnTo>
                  <a:pt x="30300" y="1335660"/>
                </a:lnTo>
                <a:lnTo>
                  <a:pt x="61996" y="1374708"/>
                </a:lnTo>
                <a:lnTo>
                  <a:pt x="98012" y="1401831"/>
                </a:lnTo>
                <a:lnTo>
                  <a:pt x="139427" y="1420669"/>
                </a:lnTo>
                <a:lnTo>
                  <a:pt x="184849" y="1431043"/>
                </a:lnTo>
                <a:lnTo>
                  <a:pt x="232889" y="1432772"/>
                </a:lnTo>
                <a:lnTo>
                  <a:pt x="282153" y="1425675"/>
                </a:lnTo>
                <a:lnTo>
                  <a:pt x="331251" y="1409574"/>
                </a:lnTo>
                <a:lnTo>
                  <a:pt x="378792" y="1384286"/>
                </a:lnTo>
                <a:lnTo>
                  <a:pt x="1852695" y="431069"/>
                </a:lnTo>
                <a:lnTo>
                  <a:pt x="1895256" y="398087"/>
                </a:lnTo>
                <a:lnTo>
                  <a:pt x="1930078" y="359916"/>
                </a:lnTo>
                <a:lnTo>
                  <a:pt x="1956756" y="317899"/>
                </a:lnTo>
                <a:lnTo>
                  <a:pt x="1974884" y="273379"/>
                </a:lnTo>
                <a:lnTo>
                  <a:pt x="1984054" y="227700"/>
                </a:lnTo>
                <a:lnTo>
                  <a:pt x="1983861" y="182203"/>
                </a:lnTo>
                <a:lnTo>
                  <a:pt x="1973899" y="138233"/>
                </a:lnTo>
                <a:lnTo>
                  <a:pt x="1953760" y="97132"/>
                </a:lnTo>
                <a:lnTo>
                  <a:pt x="1922057" y="58069"/>
                </a:lnTo>
                <a:lnTo>
                  <a:pt x="1886044" y="30944"/>
                </a:lnTo>
                <a:lnTo>
                  <a:pt x="1844631" y="12104"/>
                </a:lnTo>
                <a:lnTo>
                  <a:pt x="1799210" y="1729"/>
                </a:lnTo>
                <a:lnTo>
                  <a:pt x="1751171" y="0"/>
                </a:lnTo>
                <a:close/>
              </a:path>
            </a:pathLst>
          </a:custGeom>
          <a:solidFill>
            <a:srgbClr val="DEB89C"/>
          </a:solidFill>
        </p:spPr>
        <p:txBody>
          <a:bodyPr wrap="square" lIns="0" tIns="0" rIns="0" bIns="0" rtlCol="0"/>
          <a:lstStyle/>
          <a:p>
            <a:endParaRPr/>
          </a:p>
        </p:txBody>
      </p:sp>
      <p:sp>
        <p:nvSpPr>
          <p:cNvPr id="32" name="object 32"/>
          <p:cNvSpPr/>
          <p:nvPr/>
        </p:nvSpPr>
        <p:spPr>
          <a:xfrm>
            <a:off x="6030818" y="3440893"/>
            <a:ext cx="1103287" cy="1195625"/>
          </a:xfrm>
          <a:custGeom>
            <a:avLst/>
            <a:gdLst/>
            <a:ahLst/>
            <a:cxnLst/>
            <a:rect l="l" t="t" r="r" b="b"/>
            <a:pathLst>
              <a:path w="2425700" h="2628900">
                <a:moveTo>
                  <a:pt x="1299946" y="0"/>
                </a:moveTo>
                <a:lnTo>
                  <a:pt x="1235089" y="7378"/>
                </a:lnTo>
                <a:lnTo>
                  <a:pt x="1166293" y="30623"/>
                </a:lnTo>
                <a:lnTo>
                  <a:pt x="1129865" y="48473"/>
                </a:lnTo>
                <a:lnTo>
                  <a:pt x="1091788" y="70623"/>
                </a:lnTo>
                <a:lnTo>
                  <a:pt x="1051841" y="97183"/>
                </a:lnTo>
                <a:lnTo>
                  <a:pt x="1009802" y="128264"/>
                </a:lnTo>
                <a:lnTo>
                  <a:pt x="965451" y="163979"/>
                </a:lnTo>
                <a:lnTo>
                  <a:pt x="918566" y="204437"/>
                </a:lnTo>
                <a:lnTo>
                  <a:pt x="80602" y="1108681"/>
                </a:lnTo>
                <a:lnTo>
                  <a:pt x="58654" y="1174322"/>
                </a:lnTo>
                <a:lnTo>
                  <a:pt x="40336" y="1237305"/>
                </a:lnTo>
                <a:lnTo>
                  <a:pt x="25557" y="1297662"/>
                </a:lnTo>
                <a:lnTo>
                  <a:pt x="14225" y="1355427"/>
                </a:lnTo>
                <a:lnTo>
                  <a:pt x="6250" y="1410633"/>
                </a:lnTo>
                <a:lnTo>
                  <a:pt x="1538" y="1463310"/>
                </a:lnTo>
                <a:lnTo>
                  <a:pt x="0" y="1513493"/>
                </a:lnTo>
                <a:lnTo>
                  <a:pt x="1542" y="1561214"/>
                </a:lnTo>
                <a:lnTo>
                  <a:pt x="6073" y="1606505"/>
                </a:lnTo>
                <a:lnTo>
                  <a:pt x="13503" y="1649399"/>
                </a:lnTo>
                <a:lnTo>
                  <a:pt x="23738" y="1689928"/>
                </a:lnTo>
                <a:lnTo>
                  <a:pt x="36689" y="1728125"/>
                </a:lnTo>
                <a:lnTo>
                  <a:pt x="52262" y="1764022"/>
                </a:lnTo>
                <a:lnTo>
                  <a:pt x="70367" y="1797652"/>
                </a:lnTo>
                <a:lnTo>
                  <a:pt x="113804" y="1858243"/>
                </a:lnTo>
                <a:lnTo>
                  <a:pt x="166268" y="1910155"/>
                </a:lnTo>
                <a:lnTo>
                  <a:pt x="227489" y="1956143"/>
                </a:lnTo>
                <a:lnTo>
                  <a:pt x="260218" y="1980712"/>
                </a:lnTo>
                <a:lnTo>
                  <a:pt x="403313" y="2090691"/>
                </a:lnTo>
                <a:lnTo>
                  <a:pt x="442938" y="2120625"/>
                </a:lnTo>
                <a:lnTo>
                  <a:pt x="484425" y="2151339"/>
                </a:lnTo>
                <a:lnTo>
                  <a:pt x="527935" y="2182737"/>
                </a:lnTo>
                <a:lnTo>
                  <a:pt x="573630" y="2214722"/>
                </a:lnTo>
                <a:lnTo>
                  <a:pt x="621670" y="2247195"/>
                </a:lnTo>
                <a:lnTo>
                  <a:pt x="672218" y="2280059"/>
                </a:lnTo>
                <a:lnTo>
                  <a:pt x="894685" y="2420949"/>
                </a:lnTo>
                <a:lnTo>
                  <a:pt x="942850" y="2450344"/>
                </a:lnTo>
                <a:lnTo>
                  <a:pt x="989795" y="2478129"/>
                </a:lnTo>
                <a:lnTo>
                  <a:pt x="1035557" y="2504125"/>
                </a:lnTo>
                <a:lnTo>
                  <a:pt x="1080170" y="2528156"/>
                </a:lnTo>
                <a:lnTo>
                  <a:pt x="1123672" y="2550043"/>
                </a:lnTo>
                <a:lnTo>
                  <a:pt x="1166099" y="2569610"/>
                </a:lnTo>
                <a:lnTo>
                  <a:pt x="1207487" y="2586680"/>
                </a:lnTo>
                <a:lnTo>
                  <a:pt x="1247873" y="2601073"/>
                </a:lnTo>
                <a:lnTo>
                  <a:pt x="1287292" y="2612615"/>
                </a:lnTo>
                <a:lnTo>
                  <a:pt x="1325780" y="2621126"/>
                </a:lnTo>
                <a:lnTo>
                  <a:pt x="1400111" y="2628350"/>
                </a:lnTo>
                <a:lnTo>
                  <a:pt x="1436027" y="2626708"/>
                </a:lnTo>
                <a:lnTo>
                  <a:pt x="1507611" y="2611651"/>
                </a:lnTo>
                <a:lnTo>
                  <a:pt x="1543353" y="2598280"/>
                </a:lnTo>
                <a:lnTo>
                  <a:pt x="1578474" y="2581458"/>
                </a:lnTo>
                <a:lnTo>
                  <a:pt x="1613066" y="2561429"/>
                </a:lnTo>
                <a:lnTo>
                  <a:pt x="1647220" y="2538435"/>
                </a:lnTo>
                <a:lnTo>
                  <a:pt x="1681028" y="2512722"/>
                </a:lnTo>
                <a:lnTo>
                  <a:pt x="1714582" y="2484533"/>
                </a:lnTo>
                <a:lnTo>
                  <a:pt x="1747973" y="2454111"/>
                </a:lnTo>
                <a:lnTo>
                  <a:pt x="1781293" y="2421701"/>
                </a:lnTo>
                <a:lnTo>
                  <a:pt x="1814634" y="2387546"/>
                </a:lnTo>
                <a:lnTo>
                  <a:pt x="1848088" y="2351891"/>
                </a:lnTo>
                <a:lnTo>
                  <a:pt x="1881746" y="2314978"/>
                </a:lnTo>
                <a:lnTo>
                  <a:pt x="2020252" y="2159633"/>
                </a:lnTo>
                <a:lnTo>
                  <a:pt x="2056305" y="2120092"/>
                </a:lnTo>
                <a:lnTo>
                  <a:pt x="2093113" y="2080758"/>
                </a:lnTo>
                <a:lnTo>
                  <a:pt x="2130767" y="2041872"/>
                </a:lnTo>
                <a:lnTo>
                  <a:pt x="2169359" y="2003681"/>
                </a:lnTo>
                <a:lnTo>
                  <a:pt x="2208980" y="1966426"/>
                </a:lnTo>
                <a:lnTo>
                  <a:pt x="2249722" y="1930353"/>
                </a:lnTo>
                <a:lnTo>
                  <a:pt x="2291676" y="1895705"/>
                </a:lnTo>
                <a:lnTo>
                  <a:pt x="2333438" y="1854472"/>
                </a:lnTo>
                <a:lnTo>
                  <a:pt x="2365514" y="1807167"/>
                </a:lnTo>
                <a:lnTo>
                  <a:pt x="2389172" y="1756237"/>
                </a:lnTo>
                <a:lnTo>
                  <a:pt x="2405682" y="1704131"/>
                </a:lnTo>
                <a:lnTo>
                  <a:pt x="2416313" y="1653295"/>
                </a:lnTo>
                <a:lnTo>
                  <a:pt x="2422336" y="1606178"/>
                </a:lnTo>
                <a:lnTo>
                  <a:pt x="2425018" y="1565226"/>
                </a:lnTo>
                <a:lnTo>
                  <a:pt x="2425630" y="1532888"/>
                </a:lnTo>
                <a:lnTo>
                  <a:pt x="2424498" y="1511739"/>
                </a:lnTo>
                <a:lnTo>
                  <a:pt x="2420751" y="1457885"/>
                </a:lnTo>
                <a:lnTo>
                  <a:pt x="2413862" y="1385718"/>
                </a:lnTo>
                <a:lnTo>
                  <a:pt x="2403306" y="1309628"/>
                </a:lnTo>
                <a:lnTo>
                  <a:pt x="2399755" y="1287466"/>
                </a:lnTo>
                <a:lnTo>
                  <a:pt x="2395929" y="1261968"/>
                </a:lnTo>
                <a:lnTo>
                  <a:pt x="2386426" y="1201840"/>
                </a:lnTo>
                <a:lnTo>
                  <a:pt x="2372739" y="1130984"/>
                </a:lnTo>
                <a:lnTo>
                  <a:pt x="2363682" y="1092077"/>
                </a:lnTo>
                <a:lnTo>
                  <a:pt x="2352808" y="1051140"/>
                </a:lnTo>
                <a:lnTo>
                  <a:pt x="2339857" y="1008392"/>
                </a:lnTo>
                <a:lnTo>
                  <a:pt x="2324574" y="964050"/>
                </a:lnTo>
                <a:lnTo>
                  <a:pt x="2306699" y="918331"/>
                </a:lnTo>
                <a:lnTo>
                  <a:pt x="2285978" y="871453"/>
                </a:lnTo>
                <a:lnTo>
                  <a:pt x="2262150" y="823634"/>
                </a:lnTo>
                <a:lnTo>
                  <a:pt x="2234961" y="775091"/>
                </a:lnTo>
                <a:lnTo>
                  <a:pt x="2204151" y="726042"/>
                </a:lnTo>
                <a:lnTo>
                  <a:pt x="2169464" y="676704"/>
                </a:lnTo>
                <a:lnTo>
                  <a:pt x="2130642" y="627295"/>
                </a:lnTo>
                <a:lnTo>
                  <a:pt x="2087428" y="578032"/>
                </a:lnTo>
                <a:lnTo>
                  <a:pt x="2039565" y="529134"/>
                </a:lnTo>
                <a:lnTo>
                  <a:pt x="1986794" y="480817"/>
                </a:lnTo>
                <a:lnTo>
                  <a:pt x="1839554" y="360736"/>
                </a:lnTo>
                <a:lnTo>
                  <a:pt x="1705533" y="239174"/>
                </a:lnTo>
                <a:lnTo>
                  <a:pt x="1665382" y="203330"/>
                </a:lnTo>
                <a:lnTo>
                  <a:pt x="1627124" y="170009"/>
                </a:lnTo>
                <a:lnTo>
                  <a:pt x="1590537" y="139322"/>
                </a:lnTo>
                <a:lnTo>
                  <a:pt x="1555401" y="111381"/>
                </a:lnTo>
                <a:lnTo>
                  <a:pt x="1521493" y="86295"/>
                </a:lnTo>
                <a:lnTo>
                  <a:pt x="1488592" y="64177"/>
                </a:lnTo>
                <a:lnTo>
                  <a:pt x="1424927" y="29287"/>
                </a:lnTo>
                <a:lnTo>
                  <a:pt x="1362635" y="7599"/>
                </a:lnTo>
                <a:lnTo>
                  <a:pt x="1331451" y="1982"/>
                </a:lnTo>
                <a:lnTo>
                  <a:pt x="1299946" y="0"/>
                </a:lnTo>
                <a:close/>
              </a:path>
            </a:pathLst>
          </a:custGeom>
          <a:solidFill>
            <a:srgbClr val="DEB89C"/>
          </a:solidFill>
        </p:spPr>
        <p:txBody>
          <a:bodyPr wrap="square" lIns="0" tIns="0" rIns="0" bIns="0" rtlCol="0"/>
          <a:lstStyle/>
          <a:p>
            <a:endParaRPr/>
          </a:p>
        </p:txBody>
      </p:sp>
      <p:sp>
        <p:nvSpPr>
          <p:cNvPr id="33" name="object 33"/>
          <p:cNvSpPr/>
          <p:nvPr/>
        </p:nvSpPr>
        <p:spPr>
          <a:xfrm>
            <a:off x="5745454" y="4157523"/>
            <a:ext cx="958012" cy="1003575"/>
          </a:xfrm>
          <a:custGeom>
            <a:avLst/>
            <a:gdLst/>
            <a:ahLst/>
            <a:cxnLst/>
            <a:rect l="l" t="t" r="r" b="b"/>
            <a:pathLst>
              <a:path w="2106294" h="2206625">
                <a:moveTo>
                  <a:pt x="926914" y="0"/>
                </a:moveTo>
                <a:lnTo>
                  <a:pt x="0" y="1455369"/>
                </a:lnTo>
                <a:lnTo>
                  <a:pt x="1179346" y="2206477"/>
                </a:lnTo>
                <a:lnTo>
                  <a:pt x="2106260" y="751118"/>
                </a:lnTo>
                <a:lnTo>
                  <a:pt x="926914" y="0"/>
                </a:lnTo>
                <a:close/>
              </a:path>
            </a:pathLst>
          </a:custGeom>
          <a:solidFill>
            <a:srgbClr val="DEB89C"/>
          </a:solidFill>
        </p:spPr>
        <p:txBody>
          <a:bodyPr wrap="square" lIns="0" tIns="0" rIns="0" bIns="0" rtlCol="0"/>
          <a:lstStyle/>
          <a:p>
            <a:endParaRPr/>
          </a:p>
        </p:txBody>
      </p:sp>
      <p:sp>
        <p:nvSpPr>
          <p:cNvPr id="34" name="object 34"/>
          <p:cNvSpPr/>
          <p:nvPr/>
        </p:nvSpPr>
        <p:spPr>
          <a:xfrm>
            <a:off x="6308230" y="2617537"/>
            <a:ext cx="831509" cy="1760226"/>
          </a:xfrm>
          <a:custGeom>
            <a:avLst/>
            <a:gdLst/>
            <a:ahLst/>
            <a:cxnLst/>
            <a:rect l="l" t="t" r="r" b="b"/>
            <a:pathLst>
              <a:path w="1828165" h="3870325">
                <a:moveTo>
                  <a:pt x="1550329" y="0"/>
                </a:moveTo>
                <a:lnTo>
                  <a:pt x="277750" y="0"/>
                </a:lnTo>
                <a:lnTo>
                  <a:pt x="227890" y="4484"/>
                </a:lnTo>
                <a:lnTo>
                  <a:pt x="180935" y="17410"/>
                </a:lnTo>
                <a:lnTo>
                  <a:pt x="137675" y="37987"/>
                </a:lnTo>
                <a:lnTo>
                  <a:pt x="98902" y="65424"/>
                </a:lnTo>
                <a:lnTo>
                  <a:pt x="65405" y="98931"/>
                </a:lnTo>
                <a:lnTo>
                  <a:pt x="37976" y="137717"/>
                </a:lnTo>
                <a:lnTo>
                  <a:pt x="17405" y="180992"/>
                </a:lnTo>
                <a:lnTo>
                  <a:pt x="4483" y="227965"/>
                </a:lnTo>
                <a:lnTo>
                  <a:pt x="0" y="277844"/>
                </a:lnTo>
                <a:lnTo>
                  <a:pt x="0" y="3592215"/>
                </a:lnTo>
                <a:lnTo>
                  <a:pt x="4483" y="3642081"/>
                </a:lnTo>
                <a:lnTo>
                  <a:pt x="17405" y="3689042"/>
                </a:lnTo>
                <a:lnTo>
                  <a:pt x="37976" y="3732307"/>
                </a:lnTo>
                <a:lnTo>
                  <a:pt x="65405" y="3771085"/>
                </a:lnTo>
                <a:lnTo>
                  <a:pt x="98902" y="3804585"/>
                </a:lnTo>
                <a:lnTo>
                  <a:pt x="137675" y="3832017"/>
                </a:lnTo>
                <a:lnTo>
                  <a:pt x="180935" y="3852590"/>
                </a:lnTo>
                <a:lnTo>
                  <a:pt x="227890" y="3865513"/>
                </a:lnTo>
                <a:lnTo>
                  <a:pt x="277750" y="3869997"/>
                </a:lnTo>
                <a:lnTo>
                  <a:pt x="1550329" y="3869997"/>
                </a:lnTo>
                <a:lnTo>
                  <a:pt x="1600189" y="3865513"/>
                </a:lnTo>
                <a:lnTo>
                  <a:pt x="1647145" y="3852590"/>
                </a:lnTo>
                <a:lnTo>
                  <a:pt x="1690404" y="3832017"/>
                </a:lnTo>
                <a:lnTo>
                  <a:pt x="1729177" y="3804585"/>
                </a:lnTo>
                <a:lnTo>
                  <a:pt x="1762674" y="3771085"/>
                </a:lnTo>
                <a:lnTo>
                  <a:pt x="1790103" y="3732307"/>
                </a:lnTo>
                <a:lnTo>
                  <a:pt x="1810674" y="3689042"/>
                </a:lnTo>
                <a:lnTo>
                  <a:pt x="1823597" y="3642081"/>
                </a:lnTo>
                <a:lnTo>
                  <a:pt x="1828080" y="3592215"/>
                </a:lnTo>
                <a:lnTo>
                  <a:pt x="1828080" y="277844"/>
                </a:lnTo>
                <a:lnTo>
                  <a:pt x="1823597" y="227965"/>
                </a:lnTo>
                <a:lnTo>
                  <a:pt x="1810674" y="180992"/>
                </a:lnTo>
                <a:lnTo>
                  <a:pt x="1790103" y="137717"/>
                </a:lnTo>
                <a:lnTo>
                  <a:pt x="1762674" y="98931"/>
                </a:lnTo>
                <a:lnTo>
                  <a:pt x="1729177" y="65424"/>
                </a:lnTo>
                <a:lnTo>
                  <a:pt x="1690404" y="37987"/>
                </a:lnTo>
                <a:lnTo>
                  <a:pt x="1647145" y="17410"/>
                </a:lnTo>
                <a:lnTo>
                  <a:pt x="1600189" y="4484"/>
                </a:lnTo>
                <a:lnTo>
                  <a:pt x="1550329" y="0"/>
                </a:lnTo>
                <a:close/>
              </a:path>
            </a:pathLst>
          </a:custGeom>
          <a:solidFill>
            <a:srgbClr val="313333"/>
          </a:solidFill>
        </p:spPr>
        <p:txBody>
          <a:bodyPr wrap="square" lIns="0" tIns="0" rIns="0" bIns="0" rtlCol="0"/>
          <a:lstStyle/>
          <a:p>
            <a:endParaRPr/>
          </a:p>
        </p:txBody>
      </p:sp>
      <p:sp>
        <p:nvSpPr>
          <p:cNvPr id="35" name="object 35"/>
          <p:cNvSpPr/>
          <p:nvPr/>
        </p:nvSpPr>
        <p:spPr>
          <a:xfrm>
            <a:off x="6361475" y="2857987"/>
            <a:ext cx="725224" cy="1286886"/>
          </a:xfrm>
          <a:custGeom>
            <a:avLst/>
            <a:gdLst/>
            <a:ahLst/>
            <a:cxnLst/>
            <a:rect l="l" t="t" r="r" b="b"/>
            <a:pathLst>
              <a:path w="1594484" h="2829559">
                <a:moveTo>
                  <a:pt x="0" y="2829275"/>
                </a:moveTo>
                <a:lnTo>
                  <a:pt x="1593951" y="2829275"/>
                </a:lnTo>
                <a:lnTo>
                  <a:pt x="1593951" y="0"/>
                </a:lnTo>
                <a:lnTo>
                  <a:pt x="0" y="0"/>
                </a:lnTo>
                <a:lnTo>
                  <a:pt x="0" y="2829275"/>
                </a:lnTo>
                <a:close/>
              </a:path>
            </a:pathLst>
          </a:custGeom>
          <a:solidFill>
            <a:srgbClr val="5A5A5A"/>
          </a:solidFill>
        </p:spPr>
        <p:txBody>
          <a:bodyPr wrap="square" lIns="0" tIns="0" rIns="0" bIns="0" rtlCol="0"/>
          <a:lstStyle/>
          <a:p>
            <a:endParaRPr/>
          </a:p>
        </p:txBody>
      </p:sp>
      <p:sp>
        <p:nvSpPr>
          <p:cNvPr id="36" name="object 36"/>
          <p:cNvSpPr/>
          <p:nvPr/>
        </p:nvSpPr>
        <p:spPr>
          <a:xfrm>
            <a:off x="6651249" y="2739093"/>
            <a:ext cx="145565" cy="35522"/>
          </a:xfrm>
          <a:custGeom>
            <a:avLst/>
            <a:gdLst/>
            <a:ahLst/>
            <a:cxnLst/>
            <a:rect l="l" t="t" r="r" b="b"/>
            <a:pathLst>
              <a:path w="320040" h="78104">
                <a:moveTo>
                  <a:pt x="280839" y="0"/>
                </a:moveTo>
                <a:lnTo>
                  <a:pt x="38909" y="0"/>
                </a:lnTo>
                <a:lnTo>
                  <a:pt x="23823" y="3052"/>
                </a:lnTo>
                <a:lnTo>
                  <a:pt x="11448" y="11364"/>
                </a:lnTo>
                <a:lnTo>
                  <a:pt x="3077" y="23672"/>
                </a:lnTo>
                <a:lnTo>
                  <a:pt x="0" y="38710"/>
                </a:lnTo>
                <a:lnTo>
                  <a:pt x="3077" y="53758"/>
                </a:lnTo>
                <a:lnTo>
                  <a:pt x="11448" y="66106"/>
                </a:lnTo>
                <a:lnTo>
                  <a:pt x="23823" y="74463"/>
                </a:lnTo>
                <a:lnTo>
                  <a:pt x="38909" y="77536"/>
                </a:lnTo>
                <a:lnTo>
                  <a:pt x="280839" y="77536"/>
                </a:lnTo>
                <a:lnTo>
                  <a:pt x="295929" y="74463"/>
                </a:lnTo>
                <a:lnTo>
                  <a:pt x="308299" y="66106"/>
                </a:lnTo>
                <a:lnTo>
                  <a:pt x="316664" y="53758"/>
                </a:lnTo>
                <a:lnTo>
                  <a:pt x="319738" y="38710"/>
                </a:lnTo>
                <a:lnTo>
                  <a:pt x="316664" y="23672"/>
                </a:lnTo>
                <a:lnTo>
                  <a:pt x="308299" y="11364"/>
                </a:lnTo>
                <a:lnTo>
                  <a:pt x="295929" y="3052"/>
                </a:lnTo>
                <a:lnTo>
                  <a:pt x="280839" y="0"/>
                </a:lnTo>
                <a:close/>
              </a:path>
            </a:pathLst>
          </a:custGeom>
          <a:solidFill>
            <a:srgbClr val="626A76"/>
          </a:solidFill>
        </p:spPr>
        <p:txBody>
          <a:bodyPr wrap="square" lIns="0" tIns="0" rIns="0" bIns="0" rtlCol="0"/>
          <a:lstStyle/>
          <a:p>
            <a:endParaRPr/>
          </a:p>
        </p:txBody>
      </p:sp>
      <p:sp>
        <p:nvSpPr>
          <p:cNvPr id="37" name="object 37"/>
          <p:cNvSpPr/>
          <p:nvPr/>
        </p:nvSpPr>
        <p:spPr>
          <a:xfrm>
            <a:off x="6631117" y="4237552"/>
            <a:ext cx="185710" cy="52273"/>
          </a:xfrm>
          <a:custGeom>
            <a:avLst/>
            <a:gdLst/>
            <a:ahLst/>
            <a:cxnLst/>
            <a:rect l="l" t="t" r="r" b="b"/>
            <a:pathLst>
              <a:path w="408305" h="114934">
                <a:moveTo>
                  <a:pt x="358596" y="0"/>
                </a:moveTo>
                <a:lnTo>
                  <a:pt x="49673" y="0"/>
                </a:lnTo>
                <a:lnTo>
                  <a:pt x="30413" y="4500"/>
                </a:lnTo>
                <a:lnTo>
                  <a:pt x="14616" y="16758"/>
                </a:lnTo>
                <a:lnTo>
                  <a:pt x="3928" y="34906"/>
                </a:lnTo>
                <a:lnTo>
                  <a:pt x="0" y="57076"/>
                </a:lnTo>
                <a:lnTo>
                  <a:pt x="3928" y="79264"/>
                </a:lnTo>
                <a:lnTo>
                  <a:pt x="14616" y="97470"/>
                </a:lnTo>
                <a:lnTo>
                  <a:pt x="30413" y="109791"/>
                </a:lnTo>
                <a:lnTo>
                  <a:pt x="49673" y="114321"/>
                </a:lnTo>
                <a:lnTo>
                  <a:pt x="358596" y="114321"/>
                </a:lnTo>
                <a:lnTo>
                  <a:pt x="377865" y="109791"/>
                </a:lnTo>
                <a:lnTo>
                  <a:pt x="393662" y="97470"/>
                </a:lnTo>
                <a:lnTo>
                  <a:pt x="404344" y="79264"/>
                </a:lnTo>
                <a:lnTo>
                  <a:pt x="408270" y="57076"/>
                </a:lnTo>
                <a:lnTo>
                  <a:pt x="404344" y="34906"/>
                </a:lnTo>
                <a:lnTo>
                  <a:pt x="393662" y="16758"/>
                </a:lnTo>
                <a:lnTo>
                  <a:pt x="377865" y="4500"/>
                </a:lnTo>
                <a:lnTo>
                  <a:pt x="358596" y="0"/>
                </a:lnTo>
                <a:close/>
              </a:path>
            </a:pathLst>
          </a:custGeom>
          <a:solidFill>
            <a:srgbClr val="FF7900"/>
          </a:solidFill>
        </p:spPr>
        <p:txBody>
          <a:bodyPr wrap="square" lIns="0" tIns="0" rIns="0" bIns="0" rtlCol="0"/>
          <a:lstStyle/>
          <a:p>
            <a:endParaRPr/>
          </a:p>
        </p:txBody>
      </p:sp>
      <p:sp>
        <p:nvSpPr>
          <p:cNvPr id="38" name="object 38"/>
          <p:cNvSpPr txBox="1"/>
          <p:nvPr/>
        </p:nvSpPr>
        <p:spPr>
          <a:xfrm>
            <a:off x="6400009" y="3195276"/>
            <a:ext cx="647243" cy="713427"/>
          </a:xfrm>
          <a:prstGeom prst="rect">
            <a:avLst/>
          </a:prstGeom>
        </p:spPr>
        <p:txBody>
          <a:bodyPr vert="horz" wrap="square" lIns="0" tIns="5487" rIns="0" bIns="0" rtlCol="0">
            <a:spAutoFit/>
          </a:bodyPr>
          <a:lstStyle/>
          <a:p>
            <a:pPr marL="5776">
              <a:spcBef>
                <a:spcPts val="43"/>
              </a:spcBef>
            </a:pPr>
            <a:r>
              <a:rPr sz="2300" b="1" spc="-2" dirty="0">
                <a:solidFill>
                  <a:srgbClr val="FF7900"/>
                </a:solidFill>
                <a:latin typeface="Helvetica Neue"/>
                <a:cs typeface="Helvetica Neue"/>
              </a:rPr>
              <a:t>218€</a:t>
            </a:r>
            <a:endParaRPr sz="2300">
              <a:latin typeface="Helvetica Neue"/>
              <a:cs typeface="Helvetica Neue"/>
            </a:endParaRPr>
          </a:p>
        </p:txBody>
      </p:sp>
      <p:sp>
        <p:nvSpPr>
          <p:cNvPr id="39" name="object 39"/>
          <p:cNvSpPr/>
          <p:nvPr/>
        </p:nvSpPr>
        <p:spPr>
          <a:xfrm>
            <a:off x="5808325" y="4450124"/>
            <a:ext cx="731289" cy="563735"/>
          </a:xfrm>
          <a:custGeom>
            <a:avLst/>
            <a:gdLst/>
            <a:ahLst/>
            <a:cxnLst/>
            <a:rect l="l" t="t" r="r" b="b"/>
            <a:pathLst>
              <a:path w="1607819" h="1239520">
                <a:moveTo>
                  <a:pt x="228048" y="0"/>
                </a:moveTo>
                <a:lnTo>
                  <a:pt x="2641" y="327667"/>
                </a:lnTo>
                <a:lnTo>
                  <a:pt x="0" y="334368"/>
                </a:lnTo>
                <a:lnTo>
                  <a:pt x="127" y="341321"/>
                </a:lnTo>
                <a:lnTo>
                  <a:pt x="2852" y="347716"/>
                </a:lnTo>
                <a:lnTo>
                  <a:pt x="8002" y="352744"/>
                </a:lnTo>
                <a:lnTo>
                  <a:pt x="1372924" y="1236717"/>
                </a:lnTo>
                <a:lnTo>
                  <a:pt x="1379624" y="1239358"/>
                </a:lnTo>
                <a:lnTo>
                  <a:pt x="1386574" y="1239226"/>
                </a:lnTo>
                <a:lnTo>
                  <a:pt x="1392969" y="1236498"/>
                </a:lnTo>
                <a:lnTo>
                  <a:pt x="1398002" y="1231346"/>
                </a:lnTo>
                <a:lnTo>
                  <a:pt x="1605032" y="911680"/>
                </a:lnTo>
                <a:lnTo>
                  <a:pt x="1607674" y="904980"/>
                </a:lnTo>
                <a:lnTo>
                  <a:pt x="1607547" y="898030"/>
                </a:lnTo>
                <a:lnTo>
                  <a:pt x="1604822" y="891635"/>
                </a:lnTo>
                <a:lnTo>
                  <a:pt x="1599671" y="886602"/>
                </a:lnTo>
                <a:lnTo>
                  <a:pt x="234749" y="2640"/>
                </a:lnTo>
                <a:lnTo>
                  <a:pt x="228048" y="0"/>
                </a:lnTo>
                <a:close/>
              </a:path>
            </a:pathLst>
          </a:custGeom>
          <a:solidFill>
            <a:srgbClr val="E4E3E3"/>
          </a:solidFill>
        </p:spPr>
        <p:txBody>
          <a:bodyPr wrap="square" lIns="0" tIns="0" rIns="0" bIns="0" rtlCol="0"/>
          <a:lstStyle/>
          <a:p>
            <a:endParaRPr/>
          </a:p>
        </p:txBody>
      </p:sp>
      <p:sp>
        <p:nvSpPr>
          <p:cNvPr id="40" name="object 40"/>
          <p:cNvSpPr/>
          <p:nvPr/>
        </p:nvSpPr>
        <p:spPr>
          <a:xfrm>
            <a:off x="5897796" y="4524463"/>
            <a:ext cx="58878" cy="58873"/>
          </a:xfrm>
          <a:prstGeom prst="rect">
            <a:avLst/>
          </a:prstGeom>
          <a:blipFill>
            <a:blip r:embed="rId4" cstate="print"/>
            <a:stretch>
              <a:fillRect/>
            </a:stretch>
          </a:blipFill>
        </p:spPr>
        <p:txBody>
          <a:bodyPr wrap="square" lIns="0" tIns="0" rIns="0" bIns="0" rtlCol="0"/>
          <a:lstStyle/>
          <a:p>
            <a:endParaRPr/>
          </a:p>
        </p:txBody>
      </p:sp>
      <p:sp>
        <p:nvSpPr>
          <p:cNvPr id="41" name="object 41"/>
          <p:cNvSpPr/>
          <p:nvPr/>
        </p:nvSpPr>
        <p:spPr>
          <a:xfrm>
            <a:off x="5290963" y="4558747"/>
            <a:ext cx="1196287" cy="678676"/>
          </a:xfrm>
          <a:custGeom>
            <a:avLst/>
            <a:gdLst/>
            <a:ahLst/>
            <a:cxnLst/>
            <a:rect l="l" t="t" r="r" b="b"/>
            <a:pathLst>
              <a:path w="2630169" h="1492250">
                <a:moveTo>
                  <a:pt x="1129338" y="0"/>
                </a:moveTo>
                <a:lnTo>
                  <a:pt x="1116285" y="293"/>
                </a:lnTo>
                <a:lnTo>
                  <a:pt x="1104258" y="5477"/>
                </a:lnTo>
                <a:lnTo>
                  <a:pt x="1094770" y="15220"/>
                </a:lnTo>
                <a:lnTo>
                  <a:pt x="0" y="1492227"/>
                </a:lnTo>
                <a:lnTo>
                  <a:pt x="2274757" y="1492227"/>
                </a:lnTo>
                <a:lnTo>
                  <a:pt x="2625038" y="1006279"/>
                </a:lnTo>
                <a:lnTo>
                  <a:pt x="2630046" y="993629"/>
                </a:lnTo>
                <a:lnTo>
                  <a:pt x="2629857" y="980530"/>
                </a:lnTo>
                <a:lnTo>
                  <a:pt x="2624788" y="968497"/>
                </a:lnTo>
                <a:lnTo>
                  <a:pt x="2615153" y="959045"/>
                </a:lnTo>
                <a:lnTo>
                  <a:pt x="1141900" y="4928"/>
                </a:lnTo>
                <a:lnTo>
                  <a:pt x="1129338" y="0"/>
                </a:lnTo>
                <a:close/>
              </a:path>
            </a:pathLst>
          </a:custGeom>
          <a:solidFill>
            <a:srgbClr val="FFD200"/>
          </a:solidFill>
        </p:spPr>
        <p:txBody>
          <a:bodyPr wrap="square" lIns="0" tIns="0" rIns="0" bIns="0" rtlCol="0"/>
          <a:lstStyle/>
          <a:p>
            <a:endParaRPr/>
          </a:p>
        </p:txBody>
      </p:sp>
      <p:sp>
        <p:nvSpPr>
          <p:cNvPr id="42" name="object 42"/>
          <p:cNvSpPr/>
          <p:nvPr/>
        </p:nvSpPr>
        <p:spPr>
          <a:xfrm>
            <a:off x="6058181" y="3398737"/>
            <a:ext cx="280443" cy="787553"/>
          </a:xfrm>
          <a:custGeom>
            <a:avLst/>
            <a:gdLst/>
            <a:ahLst/>
            <a:cxnLst/>
            <a:rect l="l" t="t" r="r" b="b"/>
            <a:pathLst>
              <a:path w="616584" h="1731645">
                <a:moveTo>
                  <a:pt x="397854" y="0"/>
                </a:moveTo>
                <a:lnTo>
                  <a:pt x="353858" y="2"/>
                </a:lnTo>
                <a:lnTo>
                  <a:pt x="313007" y="5688"/>
                </a:lnTo>
                <a:lnTo>
                  <a:pt x="275889" y="19004"/>
                </a:lnTo>
                <a:lnTo>
                  <a:pt x="243092" y="41892"/>
                </a:lnTo>
                <a:lnTo>
                  <a:pt x="215203" y="76297"/>
                </a:lnTo>
                <a:lnTo>
                  <a:pt x="192810" y="124165"/>
                </a:lnTo>
                <a:lnTo>
                  <a:pt x="176501" y="187438"/>
                </a:lnTo>
                <a:lnTo>
                  <a:pt x="1679" y="1478519"/>
                </a:lnTo>
                <a:lnTo>
                  <a:pt x="0" y="1523059"/>
                </a:lnTo>
                <a:lnTo>
                  <a:pt x="6694" y="1566434"/>
                </a:lnTo>
                <a:lnTo>
                  <a:pt x="21209" y="1607376"/>
                </a:lnTo>
                <a:lnTo>
                  <a:pt x="42989" y="1644618"/>
                </a:lnTo>
                <a:lnTo>
                  <a:pt x="71481" y="1676892"/>
                </a:lnTo>
                <a:lnTo>
                  <a:pt x="106130" y="1702931"/>
                </a:lnTo>
                <a:lnTo>
                  <a:pt x="146382" y="1721467"/>
                </a:lnTo>
                <a:lnTo>
                  <a:pt x="191683" y="1731234"/>
                </a:lnTo>
                <a:lnTo>
                  <a:pt x="205882" y="1731182"/>
                </a:lnTo>
                <a:lnTo>
                  <a:pt x="253326" y="1729983"/>
                </a:lnTo>
                <a:lnTo>
                  <a:pt x="299507" y="1717573"/>
                </a:lnTo>
                <a:lnTo>
                  <a:pt x="343115" y="1695620"/>
                </a:lnTo>
                <a:lnTo>
                  <a:pt x="382837" y="1665790"/>
                </a:lnTo>
                <a:lnTo>
                  <a:pt x="417361" y="1629752"/>
                </a:lnTo>
                <a:lnTo>
                  <a:pt x="445376" y="1589173"/>
                </a:lnTo>
                <a:lnTo>
                  <a:pt x="465569" y="1545720"/>
                </a:lnTo>
                <a:lnTo>
                  <a:pt x="476628" y="1501063"/>
                </a:lnTo>
                <a:lnTo>
                  <a:pt x="613335" y="415484"/>
                </a:lnTo>
                <a:lnTo>
                  <a:pt x="616351" y="368407"/>
                </a:lnTo>
                <a:lnTo>
                  <a:pt x="615403" y="319025"/>
                </a:lnTo>
                <a:lnTo>
                  <a:pt x="612520" y="270198"/>
                </a:lnTo>
                <a:lnTo>
                  <a:pt x="607111" y="222797"/>
                </a:lnTo>
                <a:lnTo>
                  <a:pt x="598588" y="177696"/>
                </a:lnTo>
                <a:lnTo>
                  <a:pt x="586361" y="135766"/>
                </a:lnTo>
                <a:lnTo>
                  <a:pt x="569842" y="97879"/>
                </a:lnTo>
                <a:lnTo>
                  <a:pt x="548441" y="64909"/>
                </a:lnTo>
                <a:lnTo>
                  <a:pt x="521570" y="37728"/>
                </a:lnTo>
                <a:lnTo>
                  <a:pt x="488638" y="17207"/>
                </a:lnTo>
                <a:lnTo>
                  <a:pt x="449058" y="4219"/>
                </a:lnTo>
                <a:lnTo>
                  <a:pt x="397854" y="0"/>
                </a:lnTo>
                <a:close/>
              </a:path>
            </a:pathLst>
          </a:custGeom>
          <a:solidFill>
            <a:srgbClr val="CF9F82"/>
          </a:solidFill>
        </p:spPr>
        <p:txBody>
          <a:bodyPr wrap="square" lIns="0" tIns="0" rIns="0" bIns="0" rtlCol="0"/>
          <a:lstStyle/>
          <a:p>
            <a:endParaRPr/>
          </a:p>
        </p:txBody>
      </p:sp>
      <p:sp>
        <p:nvSpPr>
          <p:cNvPr id="43" name="object 43"/>
          <p:cNvSpPr/>
          <p:nvPr/>
        </p:nvSpPr>
        <p:spPr>
          <a:xfrm>
            <a:off x="6033444" y="3390546"/>
            <a:ext cx="305281" cy="802570"/>
          </a:xfrm>
          <a:custGeom>
            <a:avLst/>
            <a:gdLst/>
            <a:ahLst/>
            <a:cxnLst/>
            <a:rect l="l" t="t" r="r" b="b"/>
            <a:pathLst>
              <a:path w="671194" h="1764665">
                <a:moveTo>
                  <a:pt x="408674" y="0"/>
                </a:moveTo>
                <a:lnTo>
                  <a:pt x="365067" y="4057"/>
                </a:lnTo>
                <a:lnTo>
                  <a:pt x="324096" y="13845"/>
                </a:lnTo>
                <a:lnTo>
                  <a:pt x="287534" y="30478"/>
                </a:lnTo>
                <a:lnTo>
                  <a:pt x="257151" y="55066"/>
                </a:lnTo>
                <a:lnTo>
                  <a:pt x="234718" y="88725"/>
                </a:lnTo>
                <a:lnTo>
                  <a:pt x="222007" y="132565"/>
                </a:lnTo>
                <a:lnTo>
                  <a:pt x="220787" y="187700"/>
                </a:lnTo>
                <a:lnTo>
                  <a:pt x="226726" y="320099"/>
                </a:lnTo>
                <a:lnTo>
                  <a:pt x="205984" y="502096"/>
                </a:lnTo>
                <a:lnTo>
                  <a:pt x="138111" y="857770"/>
                </a:lnTo>
                <a:lnTo>
                  <a:pt x="2658" y="1511199"/>
                </a:lnTo>
                <a:lnTo>
                  <a:pt x="0" y="1556391"/>
                </a:lnTo>
                <a:lnTo>
                  <a:pt x="6613" y="1599647"/>
                </a:lnTo>
                <a:lnTo>
                  <a:pt x="21716" y="1639959"/>
                </a:lnTo>
                <a:lnTo>
                  <a:pt x="44525" y="1676318"/>
                </a:lnTo>
                <a:lnTo>
                  <a:pt x="74260" y="1707716"/>
                </a:lnTo>
                <a:lnTo>
                  <a:pt x="110136" y="1733143"/>
                </a:lnTo>
                <a:lnTo>
                  <a:pt x="151372" y="1751590"/>
                </a:lnTo>
                <a:lnTo>
                  <a:pt x="197186" y="1762050"/>
                </a:lnTo>
                <a:lnTo>
                  <a:pt x="249151" y="1764119"/>
                </a:lnTo>
                <a:lnTo>
                  <a:pt x="294638" y="1756784"/>
                </a:lnTo>
                <a:lnTo>
                  <a:pt x="337239" y="1741412"/>
                </a:lnTo>
                <a:lnTo>
                  <a:pt x="375881" y="1718774"/>
                </a:lnTo>
                <a:lnTo>
                  <a:pt x="409485" y="1689641"/>
                </a:lnTo>
                <a:lnTo>
                  <a:pt x="436978" y="1654785"/>
                </a:lnTo>
                <a:lnTo>
                  <a:pt x="457283" y="1614977"/>
                </a:lnTo>
                <a:lnTo>
                  <a:pt x="469324" y="1570988"/>
                </a:lnTo>
                <a:lnTo>
                  <a:pt x="663821" y="412646"/>
                </a:lnTo>
                <a:lnTo>
                  <a:pt x="669270" y="369157"/>
                </a:lnTo>
                <a:lnTo>
                  <a:pt x="670763" y="321461"/>
                </a:lnTo>
                <a:lnTo>
                  <a:pt x="667976" y="271365"/>
                </a:lnTo>
                <a:lnTo>
                  <a:pt x="660584" y="220674"/>
                </a:lnTo>
                <a:lnTo>
                  <a:pt x="648264" y="171196"/>
                </a:lnTo>
                <a:lnTo>
                  <a:pt x="630690" y="124738"/>
                </a:lnTo>
                <a:lnTo>
                  <a:pt x="607540" y="83104"/>
                </a:lnTo>
                <a:lnTo>
                  <a:pt x="578489" y="48103"/>
                </a:lnTo>
                <a:lnTo>
                  <a:pt x="543212" y="21541"/>
                </a:lnTo>
                <a:lnTo>
                  <a:pt x="501386" y="5224"/>
                </a:lnTo>
                <a:lnTo>
                  <a:pt x="453147" y="560"/>
                </a:lnTo>
                <a:lnTo>
                  <a:pt x="408674" y="0"/>
                </a:lnTo>
                <a:close/>
              </a:path>
            </a:pathLst>
          </a:custGeom>
          <a:solidFill>
            <a:srgbClr val="DEB89C"/>
          </a:solidFill>
        </p:spPr>
        <p:txBody>
          <a:bodyPr wrap="square" lIns="0" tIns="0" rIns="0" bIns="0" rtlCol="0"/>
          <a:lstStyle/>
          <a:p>
            <a:endParaRPr/>
          </a:p>
        </p:txBody>
      </p:sp>
      <p:sp>
        <p:nvSpPr>
          <p:cNvPr id="44" name="object 44"/>
          <p:cNvSpPr/>
          <p:nvPr/>
        </p:nvSpPr>
        <p:spPr>
          <a:xfrm>
            <a:off x="6127803" y="3393975"/>
            <a:ext cx="95599" cy="172990"/>
          </a:xfrm>
          <a:custGeom>
            <a:avLst/>
            <a:gdLst/>
            <a:ahLst/>
            <a:cxnLst/>
            <a:rect l="l" t="t" r="r" b="b"/>
            <a:pathLst>
              <a:path w="210184" h="380365">
                <a:moveTo>
                  <a:pt x="125202" y="0"/>
                </a:moveTo>
                <a:lnTo>
                  <a:pt x="85704" y="9993"/>
                </a:lnTo>
                <a:lnTo>
                  <a:pt x="42328" y="42839"/>
                </a:lnTo>
                <a:lnTo>
                  <a:pt x="15570" y="108378"/>
                </a:lnTo>
                <a:lnTo>
                  <a:pt x="9446" y="168621"/>
                </a:lnTo>
                <a:lnTo>
                  <a:pt x="3985" y="232524"/>
                </a:lnTo>
                <a:lnTo>
                  <a:pt x="424" y="291493"/>
                </a:lnTo>
                <a:lnTo>
                  <a:pt x="0" y="336938"/>
                </a:lnTo>
                <a:lnTo>
                  <a:pt x="3947" y="360265"/>
                </a:lnTo>
                <a:lnTo>
                  <a:pt x="18439" y="371412"/>
                </a:lnTo>
                <a:lnTo>
                  <a:pt x="43953" y="379081"/>
                </a:lnTo>
                <a:lnTo>
                  <a:pt x="78123" y="379887"/>
                </a:lnTo>
                <a:lnTo>
                  <a:pt x="118583" y="370443"/>
                </a:lnTo>
                <a:lnTo>
                  <a:pt x="176245" y="341586"/>
                </a:lnTo>
                <a:lnTo>
                  <a:pt x="201512" y="294424"/>
                </a:lnTo>
                <a:lnTo>
                  <a:pt x="207653" y="254331"/>
                </a:lnTo>
                <a:lnTo>
                  <a:pt x="210064" y="197448"/>
                </a:lnTo>
                <a:lnTo>
                  <a:pt x="209772" y="137259"/>
                </a:lnTo>
                <a:lnTo>
                  <a:pt x="207807" y="87250"/>
                </a:lnTo>
                <a:lnTo>
                  <a:pt x="200896" y="45595"/>
                </a:lnTo>
                <a:lnTo>
                  <a:pt x="171813" y="9413"/>
                </a:lnTo>
                <a:lnTo>
                  <a:pt x="125202" y="0"/>
                </a:lnTo>
                <a:close/>
              </a:path>
            </a:pathLst>
          </a:custGeom>
          <a:solidFill>
            <a:srgbClr val="D6CFC5"/>
          </a:solidFill>
        </p:spPr>
        <p:txBody>
          <a:bodyPr wrap="square" lIns="0" tIns="0" rIns="0" bIns="0" rtlCol="0"/>
          <a:lstStyle/>
          <a:p>
            <a:endParaRPr/>
          </a:p>
        </p:txBody>
      </p:sp>
      <p:sp>
        <p:nvSpPr>
          <p:cNvPr id="45" name="object 45"/>
          <p:cNvSpPr/>
          <p:nvPr/>
        </p:nvSpPr>
        <p:spPr>
          <a:xfrm>
            <a:off x="6935408" y="3560394"/>
            <a:ext cx="321744" cy="250388"/>
          </a:xfrm>
          <a:custGeom>
            <a:avLst/>
            <a:gdLst/>
            <a:ahLst/>
            <a:cxnLst/>
            <a:rect l="l" t="t" r="r" b="b"/>
            <a:pathLst>
              <a:path w="707390" h="550545">
                <a:moveTo>
                  <a:pt x="509176" y="0"/>
                </a:moveTo>
                <a:lnTo>
                  <a:pt x="462950" y="2181"/>
                </a:lnTo>
                <a:lnTo>
                  <a:pt x="417121" y="15507"/>
                </a:lnTo>
                <a:lnTo>
                  <a:pt x="125455" y="136509"/>
                </a:lnTo>
                <a:lnTo>
                  <a:pt x="83932" y="160247"/>
                </a:lnTo>
                <a:lnTo>
                  <a:pt x="49971" y="192090"/>
                </a:lnTo>
                <a:lnTo>
                  <a:pt x="24226" y="230368"/>
                </a:lnTo>
                <a:lnTo>
                  <a:pt x="7351" y="273413"/>
                </a:lnTo>
                <a:lnTo>
                  <a:pt x="0" y="319558"/>
                </a:lnTo>
                <a:lnTo>
                  <a:pt x="2826" y="367132"/>
                </a:lnTo>
                <a:lnTo>
                  <a:pt x="16484" y="414469"/>
                </a:lnTo>
                <a:lnTo>
                  <a:pt x="41847" y="461511"/>
                </a:lnTo>
                <a:lnTo>
                  <a:pt x="73332" y="496923"/>
                </a:lnTo>
                <a:lnTo>
                  <a:pt x="110950" y="523985"/>
                </a:lnTo>
                <a:lnTo>
                  <a:pt x="153069" y="541998"/>
                </a:lnTo>
                <a:lnTo>
                  <a:pt x="198057" y="550264"/>
                </a:lnTo>
                <a:lnTo>
                  <a:pt x="244281" y="548083"/>
                </a:lnTo>
                <a:lnTo>
                  <a:pt x="290109" y="534758"/>
                </a:lnTo>
                <a:lnTo>
                  <a:pt x="581776" y="413757"/>
                </a:lnTo>
                <a:lnTo>
                  <a:pt x="623299" y="390014"/>
                </a:lnTo>
                <a:lnTo>
                  <a:pt x="657262" y="358169"/>
                </a:lnTo>
                <a:lnTo>
                  <a:pt x="683009" y="319890"/>
                </a:lnTo>
                <a:lnTo>
                  <a:pt x="699886" y="276844"/>
                </a:lnTo>
                <a:lnTo>
                  <a:pt x="707239" y="230701"/>
                </a:lnTo>
                <a:lnTo>
                  <a:pt x="704414" y="183129"/>
                </a:lnTo>
                <a:lnTo>
                  <a:pt x="690757" y="135797"/>
                </a:lnTo>
                <a:lnTo>
                  <a:pt x="665393" y="88750"/>
                </a:lnTo>
                <a:lnTo>
                  <a:pt x="633907" y="53337"/>
                </a:lnTo>
                <a:lnTo>
                  <a:pt x="596287" y="26275"/>
                </a:lnTo>
                <a:lnTo>
                  <a:pt x="554166" y="8264"/>
                </a:lnTo>
                <a:lnTo>
                  <a:pt x="509176" y="0"/>
                </a:lnTo>
                <a:close/>
              </a:path>
            </a:pathLst>
          </a:custGeom>
          <a:solidFill>
            <a:srgbClr val="DEB89C"/>
          </a:solidFill>
        </p:spPr>
        <p:txBody>
          <a:bodyPr wrap="square" lIns="0" tIns="0" rIns="0" bIns="0" rtlCol="0"/>
          <a:lstStyle/>
          <a:p>
            <a:endParaRPr/>
          </a:p>
        </p:txBody>
      </p:sp>
      <p:sp>
        <p:nvSpPr>
          <p:cNvPr id="46" name="object 46"/>
          <p:cNvSpPr/>
          <p:nvPr/>
        </p:nvSpPr>
        <p:spPr>
          <a:xfrm>
            <a:off x="6938631" y="3643370"/>
            <a:ext cx="157117" cy="150464"/>
          </a:xfrm>
          <a:custGeom>
            <a:avLst/>
            <a:gdLst/>
            <a:ahLst/>
            <a:cxnLst/>
            <a:rect l="l" t="t" r="r" b="b"/>
            <a:pathLst>
              <a:path w="345440" h="330834">
                <a:moveTo>
                  <a:pt x="208132" y="0"/>
                </a:moveTo>
                <a:lnTo>
                  <a:pt x="159729" y="11967"/>
                </a:lnTo>
                <a:lnTo>
                  <a:pt x="83439" y="43548"/>
                </a:lnTo>
                <a:lnTo>
                  <a:pt x="39425" y="69823"/>
                </a:lnTo>
                <a:lnTo>
                  <a:pt x="12189" y="103539"/>
                </a:lnTo>
                <a:lnTo>
                  <a:pt x="0" y="142813"/>
                </a:lnTo>
                <a:lnTo>
                  <a:pt x="1123" y="185759"/>
                </a:lnTo>
                <a:lnTo>
                  <a:pt x="13828" y="230495"/>
                </a:lnTo>
                <a:lnTo>
                  <a:pt x="36404" y="274348"/>
                </a:lnTo>
                <a:lnTo>
                  <a:pt x="64967" y="305958"/>
                </a:lnTo>
                <a:lnTo>
                  <a:pt x="100566" y="325478"/>
                </a:lnTo>
                <a:lnTo>
                  <a:pt x="143154" y="330318"/>
                </a:lnTo>
                <a:lnTo>
                  <a:pt x="192681" y="317885"/>
                </a:lnTo>
                <a:lnTo>
                  <a:pt x="268962" y="286315"/>
                </a:lnTo>
                <a:lnTo>
                  <a:pt x="311856" y="260497"/>
                </a:lnTo>
                <a:lnTo>
                  <a:pt x="336411" y="227878"/>
                </a:lnTo>
                <a:lnTo>
                  <a:pt x="345399" y="189917"/>
                </a:lnTo>
                <a:lnTo>
                  <a:pt x="341590" y="148071"/>
                </a:lnTo>
                <a:lnTo>
                  <a:pt x="327756" y="103797"/>
                </a:lnTo>
                <a:lnTo>
                  <a:pt x="306315" y="59479"/>
                </a:lnTo>
                <a:lnTo>
                  <a:pt x="280435" y="26770"/>
                </a:lnTo>
                <a:lnTo>
                  <a:pt x="248037" y="5938"/>
                </a:lnTo>
                <a:lnTo>
                  <a:pt x="208132" y="0"/>
                </a:lnTo>
                <a:close/>
              </a:path>
            </a:pathLst>
          </a:custGeom>
          <a:solidFill>
            <a:srgbClr val="D6CFC5"/>
          </a:solidFill>
        </p:spPr>
        <p:txBody>
          <a:bodyPr wrap="square" lIns="0" tIns="0" rIns="0" bIns="0" rtlCol="0"/>
          <a:lstStyle/>
          <a:p>
            <a:endParaRPr/>
          </a:p>
        </p:txBody>
      </p:sp>
      <p:sp>
        <p:nvSpPr>
          <p:cNvPr id="47" name="object 47"/>
          <p:cNvSpPr/>
          <p:nvPr/>
        </p:nvSpPr>
        <p:spPr>
          <a:xfrm>
            <a:off x="6933265" y="3791187"/>
            <a:ext cx="326943" cy="251543"/>
          </a:xfrm>
          <a:custGeom>
            <a:avLst/>
            <a:gdLst/>
            <a:ahLst/>
            <a:cxnLst/>
            <a:rect l="l" t="t" r="r" b="b"/>
            <a:pathLst>
              <a:path w="718819" h="553084">
                <a:moveTo>
                  <a:pt x="517210" y="0"/>
                </a:moveTo>
                <a:lnTo>
                  <a:pt x="470259" y="2191"/>
                </a:lnTo>
                <a:lnTo>
                  <a:pt x="423710" y="15582"/>
                </a:lnTo>
                <a:lnTo>
                  <a:pt x="127436" y="137212"/>
                </a:lnTo>
                <a:lnTo>
                  <a:pt x="85259" y="161072"/>
                </a:lnTo>
                <a:lnTo>
                  <a:pt x="50763" y="193075"/>
                </a:lnTo>
                <a:lnTo>
                  <a:pt x="24612" y="231546"/>
                </a:lnTo>
                <a:lnTo>
                  <a:pt x="7469" y="274807"/>
                </a:lnTo>
                <a:lnTo>
                  <a:pt x="0" y="321184"/>
                </a:lnTo>
                <a:lnTo>
                  <a:pt x="2868" y="368998"/>
                </a:lnTo>
                <a:lnTo>
                  <a:pt x="16738" y="416575"/>
                </a:lnTo>
                <a:lnTo>
                  <a:pt x="42507" y="463858"/>
                </a:lnTo>
                <a:lnTo>
                  <a:pt x="74488" y="499450"/>
                </a:lnTo>
                <a:lnTo>
                  <a:pt x="112699" y="526649"/>
                </a:lnTo>
                <a:lnTo>
                  <a:pt x="155483" y="544753"/>
                </a:lnTo>
                <a:lnTo>
                  <a:pt x="201180" y="553059"/>
                </a:lnTo>
                <a:lnTo>
                  <a:pt x="248135" y="550866"/>
                </a:lnTo>
                <a:lnTo>
                  <a:pt x="294687" y="537472"/>
                </a:lnTo>
                <a:lnTo>
                  <a:pt x="590951" y="415853"/>
                </a:lnTo>
                <a:lnTo>
                  <a:pt x="633131" y="391992"/>
                </a:lnTo>
                <a:lnTo>
                  <a:pt x="667630" y="359988"/>
                </a:lnTo>
                <a:lnTo>
                  <a:pt x="693783" y="321516"/>
                </a:lnTo>
                <a:lnTo>
                  <a:pt x="710925" y="278253"/>
                </a:lnTo>
                <a:lnTo>
                  <a:pt x="718394" y="231876"/>
                </a:lnTo>
                <a:lnTo>
                  <a:pt x="715523" y="184063"/>
                </a:lnTo>
                <a:lnTo>
                  <a:pt x="701649" y="136489"/>
                </a:lnTo>
                <a:lnTo>
                  <a:pt x="675880" y="89197"/>
                </a:lnTo>
                <a:lnTo>
                  <a:pt x="643899" y="53606"/>
                </a:lnTo>
                <a:lnTo>
                  <a:pt x="605688" y="26408"/>
                </a:lnTo>
                <a:lnTo>
                  <a:pt x="562906" y="8306"/>
                </a:lnTo>
                <a:lnTo>
                  <a:pt x="517210" y="0"/>
                </a:lnTo>
                <a:close/>
              </a:path>
            </a:pathLst>
          </a:custGeom>
          <a:solidFill>
            <a:srgbClr val="DEB89C"/>
          </a:solidFill>
        </p:spPr>
        <p:txBody>
          <a:bodyPr wrap="square" lIns="0" tIns="0" rIns="0" bIns="0" rtlCol="0"/>
          <a:lstStyle/>
          <a:p>
            <a:endParaRPr/>
          </a:p>
        </p:txBody>
      </p:sp>
      <p:sp>
        <p:nvSpPr>
          <p:cNvPr id="48" name="object 48"/>
          <p:cNvSpPr/>
          <p:nvPr/>
        </p:nvSpPr>
        <p:spPr>
          <a:xfrm>
            <a:off x="6936258" y="3876653"/>
            <a:ext cx="154807" cy="146710"/>
          </a:xfrm>
          <a:custGeom>
            <a:avLst/>
            <a:gdLst/>
            <a:ahLst/>
            <a:cxnLst/>
            <a:rect l="l" t="t" r="r" b="b"/>
            <a:pathLst>
              <a:path w="340359" h="322579">
                <a:moveTo>
                  <a:pt x="205075" y="0"/>
                </a:moveTo>
                <a:lnTo>
                  <a:pt x="157380" y="11669"/>
                </a:lnTo>
                <a:lnTo>
                  <a:pt x="82219" y="42453"/>
                </a:lnTo>
                <a:lnTo>
                  <a:pt x="38848" y="68071"/>
                </a:lnTo>
                <a:lnTo>
                  <a:pt x="12011" y="100943"/>
                </a:lnTo>
                <a:lnTo>
                  <a:pt x="0" y="139233"/>
                </a:lnTo>
                <a:lnTo>
                  <a:pt x="1107" y="181103"/>
                </a:lnTo>
                <a:lnTo>
                  <a:pt x="13625" y="224720"/>
                </a:lnTo>
                <a:lnTo>
                  <a:pt x="35869" y="267470"/>
                </a:lnTo>
                <a:lnTo>
                  <a:pt x="64014" y="298287"/>
                </a:lnTo>
                <a:lnTo>
                  <a:pt x="99092" y="317317"/>
                </a:lnTo>
                <a:lnTo>
                  <a:pt x="141056" y="322036"/>
                </a:lnTo>
                <a:lnTo>
                  <a:pt x="189860" y="309921"/>
                </a:lnTo>
                <a:lnTo>
                  <a:pt x="265020" y="279127"/>
                </a:lnTo>
                <a:lnTo>
                  <a:pt x="307278" y="253962"/>
                </a:lnTo>
                <a:lnTo>
                  <a:pt x="331469" y="222164"/>
                </a:lnTo>
                <a:lnTo>
                  <a:pt x="340323" y="185155"/>
                </a:lnTo>
                <a:lnTo>
                  <a:pt x="336572" y="144357"/>
                </a:lnTo>
                <a:lnTo>
                  <a:pt x="322945" y="101195"/>
                </a:lnTo>
                <a:lnTo>
                  <a:pt x="301815" y="57988"/>
                </a:lnTo>
                <a:lnTo>
                  <a:pt x="276316" y="26100"/>
                </a:lnTo>
                <a:lnTo>
                  <a:pt x="205075" y="0"/>
                </a:lnTo>
                <a:close/>
              </a:path>
            </a:pathLst>
          </a:custGeom>
          <a:solidFill>
            <a:srgbClr val="D6CFC5"/>
          </a:solidFill>
        </p:spPr>
        <p:txBody>
          <a:bodyPr wrap="square" lIns="0" tIns="0" rIns="0" bIns="0" rtlCol="0"/>
          <a:lstStyle/>
          <a:p>
            <a:endParaRPr/>
          </a:p>
        </p:txBody>
      </p:sp>
      <p:sp>
        <p:nvSpPr>
          <p:cNvPr id="49" name="object 49"/>
          <p:cNvSpPr/>
          <p:nvPr/>
        </p:nvSpPr>
        <p:spPr>
          <a:xfrm>
            <a:off x="6946545" y="4021102"/>
            <a:ext cx="328098" cy="238836"/>
          </a:xfrm>
          <a:custGeom>
            <a:avLst/>
            <a:gdLst/>
            <a:ahLst/>
            <a:cxnLst/>
            <a:rect l="l" t="t" r="r" b="b"/>
            <a:pathLst>
              <a:path w="721359" h="525145">
                <a:moveTo>
                  <a:pt x="526408" y="0"/>
                </a:moveTo>
                <a:lnTo>
                  <a:pt x="479389" y="3374"/>
                </a:lnTo>
                <a:lnTo>
                  <a:pt x="432454" y="17180"/>
                </a:lnTo>
                <a:lnTo>
                  <a:pt x="132694" y="138957"/>
                </a:lnTo>
                <a:lnTo>
                  <a:pt x="89833" y="162392"/>
                </a:lnTo>
                <a:lnTo>
                  <a:pt x="54422" y="193202"/>
                </a:lnTo>
                <a:lnTo>
                  <a:pt x="27171" y="229805"/>
                </a:lnTo>
                <a:lnTo>
                  <a:pt x="8793" y="270619"/>
                </a:lnTo>
                <a:lnTo>
                  <a:pt x="0" y="314063"/>
                </a:lnTo>
                <a:lnTo>
                  <a:pt x="1503" y="358553"/>
                </a:lnTo>
                <a:lnTo>
                  <a:pt x="14017" y="402509"/>
                </a:lnTo>
                <a:lnTo>
                  <a:pt x="38433" y="445861"/>
                </a:lnTo>
                <a:lnTo>
                  <a:pt x="69399" y="478134"/>
                </a:lnTo>
                <a:lnTo>
                  <a:pt x="106836" y="502406"/>
                </a:lnTo>
                <a:lnTo>
                  <a:pt x="149105" y="518071"/>
                </a:lnTo>
                <a:lnTo>
                  <a:pt x="194568" y="524520"/>
                </a:lnTo>
                <a:lnTo>
                  <a:pt x="241586" y="521146"/>
                </a:lnTo>
                <a:lnTo>
                  <a:pt x="288521" y="507343"/>
                </a:lnTo>
                <a:lnTo>
                  <a:pt x="588282" y="385567"/>
                </a:lnTo>
                <a:lnTo>
                  <a:pt x="631143" y="362132"/>
                </a:lnTo>
                <a:lnTo>
                  <a:pt x="666556" y="331322"/>
                </a:lnTo>
                <a:lnTo>
                  <a:pt x="693808" y="294718"/>
                </a:lnTo>
                <a:lnTo>
                  <a:pt x="712187" y="253903"/>
                </a:lnTo>
                <a:lnTo>
                  <a:pt x="720981" y="210457"/>
                </a:lnTo>
                <a:lnTo>
                  <a:pt x="719475" y="165964"/>
                </a:lnTo>
                <a:lnTo>
                  <a:pt x="706959" y="122004"/>
                </a:lnTo>
                <a:lnTo>
                  <a:pt x="682543" y="78662"/>
                </a:lnTo>
                <a:lnTo>
                  <a:pt x="651577" y="46388"/>
                </a:lnTo>
                <a:lnTo>
                  <a:pt x="614140" y="22114"/>
                </a:lnTo>
                <a:lnTo>
                  <a:pt x="571871" y="6449"/>
                </a:lnTo>
                <a:lnTo>
                  <a:pt x="526408" y="0"/>
                </a:lnTo>
                <a:close/>
              </a:path>
            </a:pathLst>
          </a:custGeom>
          <a:solidFill>
            <a:srgbClr val="DEB89C"/>
          </a:solidFill>
        </p:spPr>
        <p:txBody>
          <a:bodyPr wrap="square" lIns="0" tIns="0" rIns="0" bIns="0" rtlCol="0"/>
          <a:lstStyle/>
          <a:p>
            <a:endParaRPr/>
          </a:p>
        </p:txBody>
      </p:sp>
      <p:sp>
        <p:nvSpPr>
          <p:cNvPr id="50" name="object 50"/>
          <p:cNvSpPr/>
          <p:nvPr/>
        </p:nvSpPr>
        <p:spPr>
          <a:xfrm>
            <a:off x="6950423" y="4111783"/>
            <a:ext cx="140366" cy="131692"/>
          </a:xfrm>
          <a:custGeom>
            <a:avLst/>
            <a:gdLst/>
            <a:ahLst/>
            <a:cxnLst/>
            <a:rect l="l" t="t" r="r" b="b"/>
            <a:pathLst>
              <a:path w="308609" h="289559">
                <a:moveTo>
                  <a:pt x="196344" y="0"/>
                </a:moveTo>
                <a:lnTo>
                  <a:pt x="143365" y="10546"/>
                </a:lnTo>
                <a:lnTo>
                  <a:pt x="75032" y="38189"/>
                </a:lnTo>
                <a:lnTo>
                  <a:pt x="28148" y="68036"/>
                </a:lnTo>
                <a:lnTo>
                  <a:pt x="4148" y="107416"/>
                </a:lnTo>
                <a:lnTo>
                  <a:pt x="0" y="153108"/>
                </a:lnTo>
                <a:lnTo>
                  <a:pt x="12667" y="201891"/>
                </a:lnTo>
                <a:lnTo>
                  <a:pt x="13641" y="204288"/>
                </a:lnTo>
                <a:lnTo>
                  <a:pt x="38691" y="248076"/>
                </a:lnTo>
                <a:lnTo>
                  <a:pt x="73638" y="277976"/>
                </a:lnTo>
                <a:lnTo>
                  <a:pt x="118400" y="289561"/>
                </a:lnTo>
                <a:lnTo>
                  <a:pt x="172893" y="278401"/>
                </a:lnTo>
                <a:lnTo>
                  <a:pt x="241226" y="250769"/>
                </a:lnTo>
                <a:lnTo>
                  <a:pt x="286591" y="221527"/>
                </a:lnTo>
                <a:lnTo>
                  <a:pt x="307258" y="183480"/>
                </a:lnTo>
                <a:lnTo>
                  <a:pt x="308076" y="139123"/>
                </a:lnTo>
                <a:lnTo>
                  <a:pt x="293895" y="90952"/>
                </a:lnTo>
                <a:lnTo>
                  <a:pt x="292921" y="88554"/>
                </a:lnTo>
                <a:lnTo>
                  <a:pt x="269391" y="44159"/>
                </a:lnTo>
                <a:lnTo>
                  <a:pt x="237776" y="12923"/>
                </a:lnTo>
                <a:lnTo>
                  <a:pt x="196344" y="0"/>
                </a:lnTo>
                <a:close/>
              </a:path>
            </a:pathLst>
          </a:custGeom>
          <a:solidFill>
            <a:srgbClr val="D6CFC5"/>
          </a:solidFill>
        </p:spPr>
        <p:txBody>
          <a:bodyPr wrap="square" lIns="0" tIns="0" rIns="0" bIns="0" rtlCol="0"/>
          <a:lstStyle/>
          <a:p>
            <a:endParaRPr/>
          </a:p>
        </p:txBody>
      </p:sp>
      <p:sp>
        <p:nvSpPr>
          <p:cNvPr id="59" name="object 59"/>
          <p:cNvSpPr/>
          <p:nvPr/>
        </p:nvSpPr>
        <p:spPr>
          <a:xfrm>
            <a:off x="853486" y="1869989"/>
            <a:ext cx="1205776" cy="846439"/>
          </a:xfrm>
          <a:prstGeom prst="rect">
            <a:avLst/>
          </a:prstGeom>
          <a:blipFill>
            <a:blip r:embed="rId5" cstate="print"/>
            <a:stretch>
              <a:fillRect/>
            </a:stretch>
          </a:blipFill>
        </p:spPr>
        <p:txBody>
          <a:bodyPr wrap="square" lIns="0" tIns="0" rIns="0" bIns="0" rtlCol="0"/>
          <a:lstStyle/>
          <a:p>
            <a:endParaRPr/>
          </a:p>
        </p:txBody>
      </p:sp>
      <p:pic>
        <p:nvPicPr>
          <p:cNvPr id="61" name="Image 60">
            <a:extLst>
              <a:ext uri="{FF2B5EF4-FFF2-40B4-BE49-F238E27FC236}">
                <a16:creationId xmlns:a16="http://schemas.microsoft.com/office/drawing/2014/main" id="{2209360A-0D24-6D4D-894D-5B599CD834BF}"/>
              </a:ext>
            </a:extLst>
          </p:cNvPr>
          <p:cNvPicPr>
            <a:picLocks noChangeAspect="1"/>
          </p:cNvPicPr>
          <p:nvPr/>
        </p:nvPicPr>
        <p:blipFill>
          <a:blip r:embed="rId6"/>
          <a:stretch>
            <a:fillRect/>
          </a:stretch>
        </p:blipFill>
        <p:spPr>
          <a:xfrm>
            <a:off x="190893" y="197053"/>
            <a:ext cx="422542" cy="422512"/>
          </a:xfrm>
          <a:prstGeom prst="rect">
            <a:avLst/>
          </a:prstGeom>
        </p:spPr>
      </p:pic>
      <p:sp>
        <p:nvSpPr>
          <p:cNvPr id="53" name="object 10"/>
          <p:cNvSpPr txBox="1"/>
          <p:nvPr/>
        </p:nvSpPr>
        <p:spPr>
          <a:xfrm>
            <a:off x="4367782" y="1798995"/>
            <a:ext cx="334741" cy="95309"/>
          </a:xfrm>
          <a:prstGeom prst="rect">
            <a:avLst/>
          </a:prstGeom>
        </p:spPr>
        <p:txBody>
          <a:bodyPr vert="horz" wrap="square" lIns="0" tIns="5487" rIns="0" bIns="0" rtlCol="0">
            <a:spAutoFit/>
          </a:bodyPr>
          <a:lstStyle/>
          <a:p>
            <a:pPr marL="5776">
              <a:lnSpc>
                <a:spcPts val="696"/>
              </a:lnSpc>
            </a:pPr>
            <a:r>
              <a:rPr sz="600" spc="5" dirty="0">
                <a:latin typeface="Helvetica Neue"/>
                <a:cs typeface="Helvetica Neue"/>
              </a:rPr>
              <a:t>N =</a:t>
            </a:r>
            <a:r>
              <a:rPr sz="600" spc="-43" dirty="0">
                <a:latin typeface="Helvetica Neue"/>
                <a:cs typeface="Helvetica Neue"/>
              </a:rPr>
              <a:t> </a:t>
            </a:r>
            <a:r>
              <a:rPr sz="600" spc="5" dirty="0">
                <a:latin typeface="Helvetica Neue"/>
                <a:cs typeface="Helvetica Neue"/>
              </a:rPr>
              <a:t>2024</a:t>
            </a:r>
            <a:endParaRPr sz="600" dirty="0">
              <a:latin typeface="Helvetica Neue"/>
              <a:cs typeface="Helvetica Neue"/>
            </a:endParaRPr>
          </a:p>
        </p:txBody>
      </p:sp>
      <p:sp>
        <p:nvSpPr>
          <p:cNvPr id="54" name="object 14"/>
          <p:cNvSpPr txBox="1"/>
          <p:nvPr/>
        </p:nvSpPr>
        <p:spPr>
          <a:xfrm>
            <a:off x="6796814" y="1798994"/>
            <a:ext cx="418209" cy="95309"/>
          </a:xfrm>
          <a:prstGeom prst="rect">
            <a:avLst/>
          </a:prstGeom>
        </p:spPr>
        <p:txBody>
          <a:bodyPr vert="horz" wrap="square" lIns="0" tIns="5487" rIns="0" bIns="0" rtlCol="0">
            <a:spAutoFit/>
          </a:bodyPr>
          <a:lstStyle/>
          <a:p>
            <a:pPr marL="5776">
              <a:lnSpc>
                <a:spcPts val="696"/>
              </a:lnSpc>
            </a:pPr>
            <a:r>
              <a:rPr sz="600" spc="5" dirty="0">
                <a:latin typeface="Helvetica Neue"/>
                <a:cs typeface="Helvetica Neue"/>
              </a:rPr>
              <a:t>N =</a:t>
            </a:r>
            <a:r>
              <a:rPr sz="600" spc="-14" dirty="0">
                <a:latin typeface="Helvetica Neue"/>
                <a:cs typeface="Helvetica Neue"/>
              </a:rPr>
              <a:t> </a:t>
            </a:r>
            <a:r>
              <a:rPr sz="600" spc="5" dirty="0">
                <a:latin typeface="Helvetica Neue"/>
                <a:cs typeface="Helvetica Neue"/>
              </a:rPr>
              <a:t>2015</a:t>
            </a:r>
            <a:endParaRPr sz="600" dirty="0">
              <a:latin typeface="Helvetica Neue"/>
              <a:cs typeface="Helvetica Neue"/>
            </a:endParaRPr>
          </a:p>
        </p:txBody>
      </p:sp>
    </p:spTree>
    <p:extLst>
      <p:ext uri="{BB962C8B-B14F-4D97-AF65-F5344CB8AC3E}">
        <p14:creationId xmlns:p14="http://schemas.microsoft.com/office/powerpoint/2010/main" val="39408136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TKwBqawIIeUGVppzAIHj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69Iw4qhqx.at2AvDhRI1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Z3t3qhEN1.rAVfnpx4RB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1bG7NiV_7j0Mp6EfIbQq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iatW5n6cIjgLEWxR8dqNj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cgnV06u5C3T9Tc0lvzP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LNGGblyKeWevw6vLp.ZX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4KYueKI196YkvOopI_dXA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t3F0GfyQWL_LpO4WUToE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64SnyJV56cJ7xQX0ddQJ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xPzDGUa0s6rq.UDtx_XC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Wa.oFZ9wsMj1RltCCCI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wlD2aiXTqB6MF27Qm5SP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6IeFcJBjSlN0KLRyD5U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soy.ui_ezDl4ukEbub0f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IyOm.hy6_dUfgvm2EnsM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uFReKVAXuTITYD7nstT4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D_8EVBRzYo42pt4dKOVv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A8pj3915f1DtMHKfcmMK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pMwdGyOtaWgO0_9ZiG01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GNPOkZuCk8.SPKFa6Hr1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0pPTQ078sdyzFsv8sWQWM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khyfRYm0BCYe8ZB.FQyE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qU2LhMJHid_lfzYcJdfz1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isMZm.zq62qO0sz9oUK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2BN09uXAfpacRawY09qG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9.P9JC6zBRAjtwF9NMZZ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nIoRYlayl9GWXZXz5XM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3BPcU4D6RsJFjogtWcG23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R03MmG7blNMMagrsU3Zk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jKcwTrUGD4HdA0yzQ7B7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Gjxxe6zr6Lrb4ZU0rY.Z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mzUw.2IxJf.gXgNafoSq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UXlzpwpukQ6SZrSruec1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m3jZDtiRwC43DhG4hi3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QV.9lVVn597cZMPcNaP_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2BbE6teqWAJ6fO1_Q4xt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7fa3q65y3E4O227_vx1M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koLqDQScSiIJTKE_ci84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rmGpzkb1o0rvWPcInjIm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b97NT1jJf.Qu7PoCGwUj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YIcrxJG4RZI5k1b.kSLeT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RTM8pYs266PpOBv2bMPe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Zu_tInHAGk3U9SPpxp7zw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AxollQiApSfGlviKLxl1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pIUu3luJAUMQ9nDj7Q3EM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mFdpjlGkTJHtH_xmMiGj5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ey9TVnbJhI3ELh5yQh3b1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frWGAgzIXIL94PHl9X_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PGaxpXdn7WiicOZN3c7wI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FmrRaoPa_PDjnQVYmBPT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SaXcHawz1Pw.2s6t6g9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XD9KNuXr96pCQ.cf08FM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mueMhgoCnT87CSJqMFGz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G5NzQ4o_ggr5FF.KyB6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CTNRiBIVcXw40d2QUDYHP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iyaLcv3WGTr9pfXWJ_Dl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q93GvVfEtp7mVmphuJ7X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2WsDPQE6.qYLIcyJxcxV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H7ihgOQChxTXbQFNNEX4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Xt263gkRgko11jUwgmv25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YmTdXNvsFCKJ9Wn9E6N8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4zkkfgAFht6t6LZPHfZy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2QFjrhl3UGzFJB9mtVIRU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NFc4yJuL6el9ZAOPOYl4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pIlvIf31HMdNm4NhTC0i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M.1lPCtkFR7VC2BvM59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ZjB4APUOjJ7Qi8wAbZ2M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BhiRwrS8eVQDvIVpE67JD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McKLwrlD1mYnjItCElPTd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VUTo47pIfFLUqdV2bndT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SOvvUVYO90n8iBYUoJWw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rHWVgPnr3y4pfbBLtqDoE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_7hnizThIy_BqZEOTHP9I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uBN1eBpv.Z0K0eFAW9h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MqTWjv0BtfdGTwUaiUUyF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TrDzoLMwnt_tjblJBX8Gf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65n5SZ9qZJtlSJ5cxgy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WiZ5qJA2pdU6DQVVQntDf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5HakWy3aTFKLUxhrfFW8yw"/>
</p:tagLst>
</file>

<file path=ppt/tags/tag183.xml><?xml version="1.0" encoding="utf-8"?>
<p:tagLst xmlns:a="http://schemas.openxmlformats.org/drawingml/2006/main" xmlns:r="http://schemas.openxmlformats.org/officeDocument/2006/relationships" xmlns:p="http://schemas.openxmlformats.org/presentationml/2006/main">
  <p:tag name="NUM" val="11"/>
</p:tagLst>
</file>

<file path=ppt/tags/tag184.xml><?xml version="1.0" encoding="utf-8"?>
<p:tagLst xmlns:a="http://schemas.openxmlformats.org/drawingml/2006/main" xmlns:r="http://schemas.openxmlformats.org/officeDocument/2006/relationships" xmlns:p="http://schemas.openxmlformats.org/presentationml/2006/main">
  <p:tag name="NUM" val="12"/>
</p:tagLst>
</file>

<file path=ppt/tags/tag185.xml><?xml version="1.0" encoding="utf-8"?>
<p:tagLst xmlns:a="http://schemas.openxmlformats.org/drawingml/2006/main" xmlns:r="http://schemas.openxmlformats.org/officeDocument/2006/relationships" xmlns:p="http://schemas.openxmlformats.org/presentationml/2006/main">
  <p:tag name="NUM" val="13"/>
</p:tagLst>
</file>

<file path=ppt/tags/tag186.xml><?xml version="1.0" encoding="utf-8"?>
<p:tagLst xmlns:a="http://schemas.openxmlformats.org/drawingml/2006/main" xmlns:r="http://schemas.openxmlformats.org/officeDocument/2006/relationships" xmlns:p="http://schemas.openxmlformats.org/presentationml/2006/main">
  <p:tag name="NUM" val="14"/>
</p:tagLst>
</file>

<file path=ppt/tags/tag187.xml><?xml version="1.0" encoding="utf-8"?>
<p:tagLst xmlns:a="http://schemas.openxmlformats.org/drawingml/2006/main" xmlns:r="http://schemas.openxmlformats.org/officeDocument/2006/relationships" xmlns:p="http://schemas.openxmlformats.org/presentationml/2006/main">
  <p:tag name="NUM" val="16"/>
</p:tagLst>
</file>

<file path=ppt/tags/tag188.xml><?xml version="1.0" encoding="utf-8"?>
<p:tagLst xmlns:a="http://schemas.openxmlformats.org/drawingml/2006/main" xmlns:r="http://schemas.openxmlformats.org/officeDocument/2006/relationships" xmlns:p="http://schemas.openxmlformats.org/presentationml/2006/main">
  <p:tag name="NAME" val="DividerH"/>
</p:tagLst>
</file>

<file path=ppt/tags/tag189.xml><?xml version="1.0" encoding="utf-8"?>
<p:tagLst xmlns:a="http://schemas.openxmlformats.org/drawingml/2006/main" xmlns:r="http://schemas.openxmlformats.org/officeDocument/2006/relationships" xmlns:p="http://schemas.openxmlformats.org/presentationml/2006/main">
  <p:tag name="NAME" val="DividerH"/>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AME" val="DividerH"/>
</p:tagLst>
</file>

<file path=ppt/tags/tag191.xml><?xml version="1.0" encoding="utf-8"?>
<p:tagLst xmlns:a="http://schemas.openxmlformats.org/drawingml/2006/main" xmlns:r="http://schemas.openxmlformats.org/officeDocument/2006/relationships" xmlns:p="http://schemas.openxmlformats.org/presentationml/2006/main">
  <p:tag name="NAME" val="DividerH"/>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193.xml><?xml version="1.0" encoding="utf-8"?>
<p:tagLst xmlns:a="http://schemas.openxmlformats.org/drawingml/2006/main" xmlns:r="http://schemas.openxmlformats.org/officeDocument/2006/relationships" xmlns:p="http://schemas.openxmlformats.org/presentationml/2006/main">
  <p:tag name="NUM" val="6"/>
</p:tagLst>
</file>

<file path=ppt/tags/tag194.xml><?xml version="1.0" encoding="utf-8"?>
<p:tagLst xmlns:a="http://schemas.openxmlformats.org/drawingml/2006/main" xmlns:r="http://schemas.openxmlformats.org/officeDocument/2006/relationships" xmlns:p="http://schemas.openxmlformats.org/presentationml/2006/main">
  <p:tag name="NUM" val="7"/>
</p:tagLst>
</file>

<file path=ppt/tags/tag195.xml><?xml version="1.0" encoding="utf-8"?>
<p:tagLst xmlns:a="http://schemas.openxmlformats.org/drawingml/2006/main" xmlns:r="http://schemas.openxmlformats.org/officeDocument/2006/relationships" xmlns:p="http://schemas.openxmlformats.org/presentationml/2006/main">
  <p:tag name="NUM" val="19"/>
</p:tagLst>
</file>

<file path=ppt/tags/tag196.xml><?xml version="1.0" encoding="utf-8"?>
<p:tagLst xmlns:a="http://schemas.openxmlformats.org/drawingml/2006/main" xmlns:r="http://schemas.openxmlformats.org/officeDocument/2006/relationships" xmlns:p="http://schemas.openxmlformats.org/presentationml/2006/main">
  <p:tag name="NUM" val="10"/>
</p:tagLst>
</file>

<file path=ppt/tags/tag197.xml><?xml version="1.0" encoding="utf-8"?>
<p:tagLst xmlns:a="http://schemas.openxmlformats.org/drawingml/2006/main" xmlns:r="http://schemas.openxmlformats.org/officeDocument/2006/relationships" xmlns:p="http://schemas.openxmlformats.org/presentationml/2006/main">
  <p:tag name="NUM" val="15"/>
</p:tagLst>
</file>

<file path=ppt/tags/tag198.xml><?xml version="1.0" encoding="utf-8"?>
<p:tagLst xmlns:a="http://schemas.openxmlformats.org/drawingml/2006/main" xmlns:r="http://schemas.openxmlformats.org/officeDocument/2006/relationships" xmlns:p="http://schemas.openxmlformats.org/presentationml/2006/main">
  <p:tag name="NUM" val="16"/>
</p:tagLst>
</file>

<file path=ppt/tags/tag199.xml><?xml version="1.0" encoding="utf-8"?>
<p:tagLst xmlns:a="http://schemas.openxmlformats.org/drawingml/2006/main" xmlns:r="http://schemas.openxmlformats.org/officeDocument/2006/relationships" xmlns:p="http://schemas.openxmlformats.org/presentationml/2006/main">
  <p:tag name="NUM" val="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UM" val="14"/>
</p:tagLst>
</file>

<file path=ppt/tags/tag201.xml><?xml version="1.0" encoding="utf-8"?>
<p:tagLst xmlns:a="http://schemas.openxmlformats.org/drawingml/2006/main" xmlns:r="http://schemas.openxmlformats.org/officeDocument/2006/relationships" xmlns:p="http://schemas.openxmlformats.org/presentationml/2006/main">
  <p:tag name="NUM" val="18"/>
</p:tagLst>
</file>

<file path=ppt/tags/tag202.xml><?xml version="1.0" encoding="utf-8"?>
<p:tagLst xmlns:a="http://schemas.openxmlformats.org/drawingml/2006/main" xmlns:r="http://schemas.openxmlformats.org/officeDocument/2006/relationships" xmlns:p="http://schemas.openxmlformats.org/presentationml/2006/main">
  <p:tag name="NUM" val="11"/>
</p:tagLst>
</file>

<file path=ppt/tags/tag203.xml><?xml version="1.0" encoding="utf-8"?>
<p:tagLst xmlns:a="http://schemas.openxmlformats.org/drawingml/2006/main" xmlns:r="http://schemas.openxmlformats.org/officeDocument/2006/relationships" xmlns:p="http://schemas.openxmlformats.org/presentationml/2006/main">
  <p:tag name="NUM" val="13"/>
</p:tagLst>
</file>

<file path=ppt/tags/tag204.xml><?xml version="1.0" encoding="utf-8"?>
<p:tagLst xmlns:a="http://schemas.openxmlformats.org/drawingml/2006/main" xmlns:r="http://schemas.openxmlformats.org/officeDocument/2006/relationships" xmlns:p="http://schemas.openxmlformats.org/presentationml/2006/main">
  <p:tag name="NUM" val="17"/>
</p:tagLst>
</file>

<file path=ppt/tags/tag205.xml><?xml version="1.0" encoding="utf-8"?>
<p:tagLst xmlns:a="http://schemas.openxmlformats.org/drawingml/2006/main" xmlns:r="http://schemas.openxmlformats.org/officeDocument/2006/relationships" xmlns:p="http://schemas.openxmlformats.org/presentationml/2006/main">
  <p:tag name="NUM" val="4"/>
</p:tagLst>
</file>

<file path=ppt/tags/tag206.xml><?xml version="1.0" encoding="utf-8"?>
<p:tagLst xmlns:a="http://schemas.openxmlformats.org/drawingml/2006/main" xmlns:r="http://schemas.openxmlformats.org/officeDocument/2006/relationships" xmlns:p="http://schemas.openxmlformats.org/presentationml/2006/main">
  <p:tag name="NUM" val="4"/>
</p:tagLst>
</file>

<file path=ppt/tags/tag207.xml><?xml version="1.0" encoding="utf-8"?>
<p:tagLst xmlns:a="http://schemas.openxmlformats.org/drawingml/2006/main" xmlns:r="http://schemas.openxmlformats.org/officeDocument/2006/relationships" xmlns:p="http://schemas.openxmlformats.org/presentationml/2006/main">
  <p:tag name="NUM" val="4"/>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7Yk5uIURRFWkW0Nf5gHikA"/>
  <p:tag name="NUM"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UM" val="3"/>
</p:tagLst>
</file>

<file path=ppt/tags/tag211.xml><?xml version="1.0" encoding="utf-8"?>
<p:tagLst xmlns:a="http://schemas.openxmlformats.org/drawingml/2006/main" xmlns:r="http://schemas.openxmlformats.org/officeDocument/2006/relationships" xmlns:p="http://schemas.openxmlformats.org/presentationml/2006/main">
  <p:tag name="NUM" val="8"/>
</p:tagLst>
</file>

<file path=ppt/tags/tag212.xml><?xml version="1.0" encoding="utf-8"?>
<p:tagLst xmlns:a="http://schemas.openxmlformats.org/drawingml/2006/main" xmlns:r="http://schemas.openxmlformats.org/officeDocument/2006/relationships" xmlns:p="http://schemas.openxmlformats.org/presentationml/2006/main">
  <p:tag name="NUM" val="9"/>
</p:tagLst>
</file>

<file path=ppt/tags/tag213.xml><?xml version="1.0" encoding="utf-8"?>
<p:tagLst xmlns:a="http://schemas.openxmlformats.org/drawingml/2006/main" xmlns:r="http://schemas.openxmlformats.org/officeDocument/2006/relationships" xmlns:p="http://schemas.openxmlformats.org/presentationml/2006/main">
  <p:tag name="NUM" val="10"/>
</p:tagLst>
</file>

<file path=ppt/tags/tag214.xml><?xml version="1.0" encoding="utf-8"?>
<p:tagLst xmlns:a="http://schemas.openxmlformats.org/drawingml/2006/main" xmlns:r="http://schemas.openxmlformats.org/officeDocument/2006/relationships" xmlns:p="http://schemas.openxmlformats.org/presentationml/2006/main">
  <p:tag name="NUM" val="11"/>
</p:tagLst>
</file>

<file path=ppt/tags/tag215.xml><?xml version="1.0" encoding="utf-8"?>
<p:tagLst xmlns:a="http://schemas.openxmlformats.org/drawingml/2006/main" xmlns:r="http://schemas.openxmlformats.org/officeDocument/2006/relationships" xmlns:p="http://schemas.openxmlformats.org/presentationml/2006/main">
  <p:tag name="NUM" val="12"/>
</p:tagLst>
</file>

<file path=ppt/tags/tag216.xml><?xml version="1.0" encoding="utf-8"?>
<p:tagLst xmlns:a="http://schemas.openxmlformats.org/drawingml/2006/main" xmlns:r="http://schemas.openxmlformats.org/officeDocument/2006/relationships" xmlns:p="http://schemas.openxmlformats.org/presentationml/2006/main">
  <p:tag name="NUM" val="13"/>
</p:tagLst>
</file>

<file path=ppt/tags/tag217.xml><?xml version="1.0" encoding="utf-8"?>
<p:tagLst xmlns:a="http://schemas.openxmlformats.org/drawingml/2006/main" xmlns:r="http://schemas.openxmlformats.org/officeDocument/2006/relationships" xmlns:p="http://schemas.openxmlformats.org/presentationml/2006/main">
  <p:tag name="NUM" val="14"/>
</p:tagLst>
</file>

<file path=ppt/tags/tag218.xml><?xml version="1.0" encoding="utf-8"?>
<p:tagLst xmlns:a="http://schemas.openxmlformats.org/drawingml/2006/main" xmlns:r="http://schemas.openxmlformats.org/officeDocument/2006/relationships" xmlns:p="http://schemas.openxmlformats.org/presentationml/2006/main">
  <p:tag name="NUM" val="15"/>
</p:tagLst>
</file>

<file path=ppt/tags/tag219.xml><?xml version="1.0" encoding="utf-8"?>
<p:tagLst xmlns:a="http://schemas.openxmlformats.org/drawingml/2006/main" xmlns:r="http://schemas.openxmlformats.org/officeDocument/2006/relationships" xmlns:p="http://schemas.openxmlformats.org/presentationml/2006/main">
  <p:tag name="NUM" val="16"/>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UM" val="17"/>
</p:tagLst>
</file>

<file path=ppt/tags/tag221.xml><?xml version="1.0" encoding="utf-8"?>
<p:tagLst xmlns:a="http://schemas.openxmlformats.org/drawingml/2006/main" xmlns:r="http://schemas.openxmlformats.org/officeDocument/2006/relationships" xmlns:p="http://schemas.openxmlformats.org/presentationml/2006/main">
  <p:tag name="NUM" val="18"/>
</p:tagLst>
</file>

<file path=ppt/tags/tag222.xml><?xml version="1.0" encoding="utf-8"?>
<p:tagLst xmlns:a="http://schemas.openxmlformats.org/drawingml/2006/main" xmlns:r="http://schemas.openxmlformats.org/officeDocument/2006/relationships" xmlns:p="http://schemas.openxmlformats.org/presentationml/2006/main">
  <p:tag name="NUM" val="19"/>
</p:tagLst>
</file>

<file path=ppt/tags/tag223.xml><?xml version="1.0" encoding="utf-8"?>
<p:tagLst xmlns:a="http://schemas.openxmlformats.org/drawingml/2006/main" xmlns:r="http://schemas.openxmlformats.org/officeDocument/2006/relationships" xmlns:p="http://schemas.openxmlformats.org/presentationml/2006/main">
  <p:tag name="NUM" val="20"/>
</p:tagLst>
</file>

<file path=ppt/tags/tag224.xml><?xml version="1.0" encoding="utf-8"?>
<p:tagLst xmlns:a="http://schemas.openxmlformats.org/drawingml/2006/main" xmlns:r="http://schemas.openxmlformats.org/officeDocument/2006/relationships" xmlns:p="http://schemas.openxmlformats.org/presentationml/2006/main">
  <p:tag name="NUM" val="23"/>
</p:tagLst>
</file>

<file path=ppt/tags/tag225.xml><?xml version="1.0" encoding="utf-8"?>
<p:tagLst xmlns:a="http://schemas.openxmlformats.org/drawingml/2006/main" xmlns:r="http://schemas.openxmlformats.org/officeDocument/2006/relationships" xmlns:p="http://schemas.openxmlformats.org/presentationml/2006/main">
  <p:tag name="NUM" val="24"/>
</p:tagLst>
</file>

<file path=ppt/tags/tag226.xml><?xml version="1.0" encoding="utf-8"?>
<p:tagLst xmlns:a="http://schemas.openxmlformats.org/drawingml/2006/main" xmlns:r="http://schemas.openxmlformats.org/officeDocument/2006/relationships" xmlns:p="http://schemas.openxmlformats.org/presentationml/2006/main">
  <p:tag name="NUM" val="25"/>
</p:tagLst>
</file>

<file path=ppt/tags/tag227.xml><?xml version="1.0" encoding="utf-8"?>
<p:tagLst xmlns:a="http://schemas.openxmlformats.org/drawingml/2006/main" xmlns:r="http://schemas.openxmlformats.org/officeDocument/2006/relationships" xmlns:p="http://schemas.openxmlformats.org/presentationml/2006/main">
  <p:tag name="NUM" val="27"/>
</p:tagLst>
</file>

<file path=ppt/tags/tag228.xml><?xml version="1.0" encoding="utf-8"?>
<p:tagLst xmlns:a="http://schemas.openxmlformats.org/drawingml/2006/main" xmlns:r="http://schemas.openxmlformats.org/officeDocument/2006/relationships" xmlns:p="http://schemas.openxmlformats.org/presentationml/2006/main">
  <p:tag name="NAME" val="Rectangle"/>
</p:tagLst>
</file>

<file path=ppt/tags/tag229.xml><?xml version="1.0" encoding="utf-8"?>
<p:tagLst xmlns:a="http://schemas.openxmlformats.org/drawingml/2006/main" xmlns:r="http://schemas.openxmlformats.org/officeDocument/2006/relationships" xmlns:p="http://schemas.openxmlformats.org/presentationml/2006/main">
  <p:tag name="NAME" val="Rectangl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TmKGNF5TUQfrRHlMjFBZT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Za9nfij.rJdLHY7sJCOP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S4Th5RI1E0um0zu3DG4n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I85gOqqnAHeFrJcfsPaXh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TmKGNF5TUQfrRHlMjFBZ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qZa9nfij.rJdLHY7sJCOP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rS4Th5RI1E0um0zu3DG4n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I85gOqqnAHeFrJcfsPaX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mKGNF5TUQfrRHlMjFBZT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qZa9nfij.rJdLHY7sJCOP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S4Th5RI1E0um0zu3DG4n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I85gOqqnAHeFrJcfsPaX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s9gwix0YE3WMZYYGH2N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fa3q65y3E4O227_vx1M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kG61u85ZET6lngxQcn_U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El11E7npwF0P8rpdCV6l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7HkMbEGTrKuISaktBZmG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blank">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ppt/theme/theme11.xml><?xml version="1.0" encoding="utf-8"?>
<a:theme xmlns:a="http://schemas.openxmlformats.org/drawingml/2006/main" name="Office Theme">
  <a:themeElements>
    <a:clrScheme name="OAB">
      <a:dk1>
        <a:srgbClr val="000000"/>
      </a:dk1>
      <a:lt1>
        <a:srgbClr val="FFFFFF"/>
      </a:lt1>
      <a:dk2>
        <a:srgbClr val="595959"/>
      </a:dk2>
      <a:lt2>
        <a:srgbClr val="FFFFFF"/>
      </a:lt2>
      <a:accent1>
        <a:srgbClr val="FF7900"/>
      </a:accent1>
      <a:accent2>
        <a:srgbClr val="4BB4E6"/>
      </a:accent2>
      <a:accent3>
        <a:srgbClr val="9164CD"/>
      </a:accent3>
      <a:accent4>
        <a:srgbClr val="50BE87"/>
      </a:accent4>
      <a:accent5>
        <a:srgbClr val="FFB4E6"/>
      </a:accent5>
      <a:accent6>
        <a:srgbClr val="FFDC00"/>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RA_template_confidential">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RA_Template_Beta_external_110816.potx" id="{096397F8-02DF-40E4-AEB9-88A0052F30F0}" vid="{AA36791E-F7D8-46B6-BCF9-C51758B3B430}"/>
    </a:ext>
  </a:extLst>
</a:theme>
</file>

<file path=ppt/theme/theme13.xml><?xml version="1.0" encoding="utf-8"?>
<a:theme xmlns:a="http://schemas.openxmlformats.org/drawingml/2006/main" name="1_ORA_template_confidential">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RA_Template_Beta_external_110816.potx" id="{096397F8-02DF-40E4-AEB9-88A0052F30F0}" vid="{AA36791E-F7D8-46B6-BCF9-C51758B3B430}"/>
    </a:ext>
  </a:extLst>
</a:theme>
</file>

<file path=ppt/theme/theme14.xml><?xml version="1.0" encoding="utf-8"?>
<a:theme xmlns:a="http://schemas.openxmlformats.org/drawingml/2006/main" name="6_OFR_template_interne">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Orange Bank.potx" id="{EFBA573C-0CA0-48FE-AB65-AA10A149C2FF}" vid="{BBCFE728-81AA-42FA-8E98-3A1C0D1BFA86}"/>
    </a:ext>
  </a:extLst>
</a:theme>
</file>

<file path=ppt/theme/theme15.xml><?xml version="1.0" encoding="utf-8"?>
<a:theme xmlns:a="http://schemas.openxmlformats.org/drawingml/2006/main" name="7_OFR_template_interne">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Orange Bank.potx" id="{EFBA573C-0CA0-48FE-AB65-AA10A149C2FF}" vid="{BBCFE728-81AA-42FA-8E98-3A1C0D1BFA86}"/>
    </a:ext>
  </a:extLst>
</a:theme>
</file>

<file path=ppt/theme/theme16.xml><?xml version="1.0" encoding="utf-8"?>
<a:theme xmlns:a="http://schemas.openxmlformats.org/drawingml/2006/main" name="8_OFR_template_interne">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Orange Bank.potx" id="{EFBA573C-0CA0-48FE-AB65-AA10A149C2FF}" vid="{BBCFE728-81AA-42FA-8E98-3A1C0D1BFA86}"/>
    </a:ext>
  </a:extLst>
</a:theme>
</file>

<file path=ppt/theme/theme17.xml><?xml version="1.0" encoding="utf-8"?>
<a:theme xmlns:a="http://schemas.openxmlformats.org/drawingml/2006/main" name="9_OFR_template_interne">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Orange Bank.potx" id="{EFBA573C-0CA0-48FE-AB65-AA10A149C2FF}" vid="{BBCFE728-81AA-42FA-8E98-3A1C0D1BFA86}"/>
    </a:ext>
  </a:extLst>
</a:theme>
</file>

<file path=ppt/theme/theme18.xml><?xml version="1.0" encoding="utf-8"?>
<a:theme xmlns:a="http://schemas.openxmlformats.org/drawingml/2006/main" name="10_OFR_template_interne">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Orange Bank.potx" id="{EFBA573C-0CA0-48FE-AB65-AA10A149C2FF}" vid="{BBCFE728-81AA-42FA-8E98-3A1C0D1BFA86}"/>
    </a:ext>
  </a:extLst>
</a:theme>
</file>

<file path=ppt/theme/theme19.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R_template_interne">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Orange Bank.potx" id="{EFBA573C-0CA0-48FE-AB65-AA10A149C2FF}" vid="{BBCFE728-81AA-42FA-8E98-3A1C0D1BFA86}"/>
    </a:ext>
  </a:extLst>
</a:theme>
</file>

<file path=ppt/theme/theme3.xml><?xml version="1.0" encoding="utf-8"?>
<a:theme xmlns:a="http://schemas.openxmlformats.org/drawingml/2006/main" name="1_OFR_template_interne">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ppt/theme/theme4.xml><?xml version="1.0" encoding="utf-8"?>
<a:theme xmlns:a="http://schemas.openxmlformats.org/drawingml/2006/main" name="2_Thème Office">
  <a:themeElements>
    <a:clrScheme name="OAB">
      <a:dk1>
        <a:srgbClr val="000000"/>
      </a:dk1>
      <a:lt1>
        <a:srgbClr val="FFFFFF"/>
      </a:lt1>
      <a:dk2>
        <a:srgbClr val="595959"/>
      </a:dk2>
      <a:lt2>
        <a:srgbClr val="FFFFFF"/>
      </a:lt2>
      <a:accent1>
        <a:srgbClr val="FF7900"/>
      </a:accent1>
      <a:accent2>
        <a:srgbClr val="4BB4E6"/>
      </a:accent2>
      <a:accent3>
        <a:srgbClr val="9164CD"/>
      </a:accent3>
      <a:accent4>
        <a:srgbClr val="50BE87"/>
      </a:accent4>
      <a:accent5>
        <a:srgbClr val="FFB4E6"/>
      </a:accent5>
      <a:accent6>
        <a:srgbClr val="FFDC00"/>
      </a:accent6>
      <a:hlink>
        <a:srgbClr val="5F5F5F"/>
      </a:hlink>
      <a:folHlink>
        <a:srgbClr val="919191"/>
      </a:folHlink>
    </a:clrScheme>
    <a:fontScheme name="Thème Office">
      <a:majorFont>
        <a:latin typeface="Calibri"/>
        <a:ea typeface="Calibri"/>
        <a:cs typeface="Calibri"/>
      </a:majorFont>
      <a:minorFont>
        <a:latin typeface="Helvetica"/>
        <a:ea typeface="Helvetica"/>
        <a:cs typeface="Helvetica"/>
      </a:minorFont>
    </a:fontScheme>
    <a:fmtScheme name="Thème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miter lim="800000"/>
        </a:ln>
        <a:effectLst/>
        <a:sp3d/>
      </a:spPr>
      <a:bodyPr rot="0" spcFirstLastPara="1" vertOverflow="overflow" horzOverflow="overflow" vert="horz" wrap="square" lIns="91439" tIns="91439" rIns="91439" bIns="91439" numCol="1" spcCol="38100" rtlCol="0" anchor="ctr">
        <a:spAutoFit/>
      </a:bodyPr>
      <a:lstStyle>
        <a:defPPr marL="0" marR="0" indent="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25400" cap="flat">
          <a:noFill/>
          <a:miter lim="400000"/>
        </a:ln>
        <a:effectLst/>
        <a:sp3d/>
      </a:spPr>
      <a:bodyPr rot="0" spcFirstLastPara="1" vertOverflow="overflow" horzOverflow="overflow" vert="horz" wrap="square" lIns="91439" tIns="91439" rIns="91439" bIns="91439" numCol="1" spcCol="38100" rtlCol="0" anchor="t">
        <a:spAutoFit/>
      </a:bodyPr>
      <a:lstStyle>
        <a:defPPr marL="0" marR="0" indent="0" algn="l" defTabSz="18288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2_OFR_template_interne">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Orange Bank.potx" id="{EFBA573C-0CA0-48FE-AB65-AA10A149C2FF}" vid="{BBCFE728-81AA-42FA-8E98-3A1C0D1BFA86}"/>
    </a:ext>
  </a:extLst>
</a:theme>
</file>

<file path=ppt/theme/theme6.xml><?xml version="1.0" encoding="utf-8"?>
<a:theme xmlns:a="http://schemas.openxmlformats.org/drawingml/2006/main" name="3_OFR_template_interne">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Orange Bank.potx" id="{EFBA573C-0CA0-48FE-AB65-AA10A149C2FF}" vid="{BBCFE728-81AA-42FA-8E98-3A1C0D1BFA86}"/>
    </a:ext>
  </a:extLst>
</a:theme>
</file>

<file path=ppt/theme/theme7.xml><?xml version="1.0" encoding="utf-8"?>
<a:theme xmlns:a="http://schemas.openxmlformats.org/drawingml/2006/main" name="4_OFR_template_interne">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Orange Bank.potx" id="{EFBA573C-0CA0-48FE-AB65-AA10A149C2FF}" vid="{BBCFE728-81AA-42FA-8E98-3A1C0D1BFA86}"/>
    </a:ext>
  </a:extLst>
</a:theme>
</file>

<file path=ppt/theme/theme8.xml><?xml version="1.0" encoding="utf-8"?>
<a:theme xmlns:a="http://schemas.openxmlformats.org/drawingml/2006/main" name="12_Orange Template - Black">
  <a:themeElements>
    <a:clrScheme name="Personnalisé 10">
      <a:dk1>
        <a:srgbClr val="FFFFFF"/>
      </a:dk1>
      <a:lt1>
        <a:srgbClr val="000000"/>
      </a:lt1>
      <a:dk2>
        <a:srgbClr val="DFDFDF"/>
      </a:dk2>
      <a:lt2>
        <a:srgbClr val="FF6600"/>
      </a:lt2>
      <a:accent1>
        <a:srgbClr val="FF6600"/>
      </a:accent1>
      <a:accent2>
        <a:srgbClr val="4BB4E6"/>
      </a:accent2>
      <a:accent3>
        <a:srgbClr val="FFDC00"/>
      </a:accent3>
      <a:accent4>
        <a:srgbClr val="50BE87"/>
      </a:accent4>
      <a:accent5>
        <a:srgbClr val="9164CD"/>
      </a:accent5>
      <a:accent6>
        <a:srgbClr val="FFB4E6"/>
      </a:accent6>
      <a:hlink>
        <a:srgbClr val="000000"/>
      </a:hlink>
      <a:folHlink>
        <a:srgbClr val="000000"/>
      </a:folHlink>
    </a:clrScheme>
    <a:fontScheme name="Personnalisé 1">
      <a:majorFont>
        <a:latin typeface="Helvetica 75 Bold"/>
        <a:ea typeface=""/>
        <a:cs typeface=""/>
      </a:majorFont>
      <a:minorFont>
        <a:latin typeface="Helvetica 75 Bold"/>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40929_Orange_Development_v1.potx" id="{E980A715-FF38-4558-8D72-66138CF23052}" vid="{A6C4A5DA-B756-470A-B5E4-B31FF85387FF}"/>
    </a:ext>
  </a:extLst>
</a:theme>
</file>

<file path=ppt/theme/theme9.xml><?xml version="1.0" encoding="utf-8"?>
<a:theme xmlns:a="http://schemas.openxmlformats.org/drawingml/2006/main" name="blank">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docProps/app.xml><?xml version="1.0" encoding="utf-8"?>
<Properties xmlns="http://schemas.openxmlformats.org/officeDocument/2006/extended-properties" xmlns:vt="http://schemas.openxmlformats.org/officeDocument/2006/docPropsVTypes">
  <TotalTime>6335</TotalTime>
  <Words>5056</Words>
  <Application>Microsoft Office PowerPoint</Application>
  <PresentationFormat>Affichage à l'écran (16:9)</PresentationFormat>
  <Paragraphs>805</Paragraphs>
  <Slides>47</Slides>
  <Notes>18</Notes>
  <HiddenSlides>0</HiddenSlides>
  <MMClips>0</MMClips>
  <ScaleCrop>false</ScaleCrop>
  <HeadingPairs>
    <vt:vector size="8" baseType="variant">
      <vt:variant>
        <vt:lpstr>Polices utilisées</vt:lpstr>
      </vt:variant>
      <vt:variant>
        <vt:i4>11</vt:i4>
      </vt:variant>
      <vt:variant>
        <vt:lpstr>Thème</vt:lpstr>
      </vt:variant>
      <vt:variant>
        <vt:i4>18</vt:i4>
      </vt:variant>
      <vt:variant>
        <vt:lpstr>Serveurs OLE incorporés</vt:lpstr>
      </vt:variant>
      <vt:variant>
        <vt:i4>3</vt:i4>
      </vt:variant>
      <vt:variant>
        <vt:lpstr>Titres des diapositives</vt:lpstr>
      </vt:variant>
      <vt:variant>
        <vt:i4>47</vt:i4>
      </vt:variant>
    </vt:vector>
  </HeadingPairs>
  <TitlesOfParts>
    <vt:vector size="79" baseType="lpstr">
      <vt:lpstr>Arial</vt:lpstr>
      <vt:lpstr>Calibri</vt:lpstr>
      <vt:lpstr>Helvetica</vt:lpstr>
      <vt:lpstr>Helvetica 35 Thin</vt:lpstr>
      <vt:lpstr>Helvetica 55 Roman</vt:lpstr>
      <vt:lpstr>Helvetica 65 Medium</vt:lpstr>
      <vt:lpstr>Helvetica 75</vt:lpstr>
      <vt:lpstr>Helvetica 75 Bold</vt:lpstr>
      <vt:lpstr>Helvetica Neue</vt:lpstr>
      <vt:lpstr>Times New Roman</vt:lpstr>
      <vt:lpstr>Wingdings</vt:lpstr>
      <vt:lpstr>Thème Office</vt:lpstr>
      <vt:lpstr>OFR_template_interne</vt:lpstr>
      <vt:lpstr>1_OFR_template_interne</vt:lpstr>
      <vt:lpstr>2_Thème Office</vt:lpstr>
      <vt:lpstr>2_OFR_template_interne</vt:lpstr>
      <vt:lpstr>3_OFR_template_interne</vt:lpstr>
      <vt:lpstr>4_OFR_template_interne</vt:lpstr>
      <vt:lpstr>12_Orange Template - Black</vt:lpstr>
      <vt:lpstr>blank</vt:lpstr>
      <vt:lpstr>1_blank</vt:lpstr>
      <vt:lpstr>Office Theme</vt:lpstr>
      <vt:lpstr>ORA_template_confidential</vt:lpstr>
      <vt:lpstr>1_ORA_template_confidential</vt:lpstr>
      <vt:lpstr>6_OFR_template_interne</vt:lpstr>
      <vt:lpstr>7_OFR_template_interne</vt:lpstr>
      <vt:lpstr>8_OFR_template_interne</vt:lpstr>
      <vt:lpstr>9_OFR_template_interne</vt:lpstr>
      <vt:lpstr>10_OFR_template_interne</vt:lpstr>
      <vt:lpstr>think-cell Slide</vt:lpstr>
      <vt:lpstr>Diapositive think-cell</vt:lpstr>
      <vt:lpstr>Microsoft Excel Chart</vt:lpstr>
      <vt:lpstr>Les nouveaux entrants à l’ère du digital by Orange Bank</vt:lpstr>
      <vt:lpstr>Agenda</vt:lpstr>
      <vt:lpstr>La méthodologie</vt:lpstr>
      <vt:lpstr>Présentation PowerPoint</vt:lpstr>
      <vt:lpstr>Le mobile est le nouvel allié du parcours d’achat</vt:lpstr>
      <vt:lpstr>Présentation PowerPoint</vt:lpstr>
      <vt:lpstr>Le paiement mobile s’inscrit dans le paysage des moyens de paiement</vt:lpstr>
      <vt:lpstr>Dans 5 ans, le mobile sera le moyen de paiement le plus courant</vt:lpstr>
      <vt:lpstr>Le smartphone libère le montant du paiement sans contact</vt:lpstr>
      <vt:lpstr>Dans 5 ans, les chèques sont amenés à disparaître</vt:lpstr>
      <vt:lpstr>Présentation PowerPoint</vt:lpstr>
      <vt:lpstr>La relation à la  banque évolue vers  plus d’autonomie</vt:lpstr>
      <vt:lpstr>Un Français sur deux utilise une application bancaire</vt:lpstr>
      <vt:lpstr>Internet est la source principale d’information sur les services  bancaires</vt:lpstr>
      <vt:lpstr>Le contact à distance est privilégié par rapport à la visite en agence</vt:lpstr>
      <vt:lpstr>Près de la moitié des Français n’ont jamais rencontré leur  conseiller bancaire</vt:lpstr>
      <vt:lpstr>Une relation ambivalente vis-à-vis de la banque</vt:lpstr>
      <vt:lpstr>Le conseiller bancaire n’est plus jugé indispensable</vt:lpstr>
      <vt:lpstr>Un désir d’autonomie sur de nombreuses opérations</vt:lpstr>
      <vt:lpstr>Un Français sur deux prêt à utiliser l’intelligence artificielle pour  communiquer avec sa banque</vt:lpstr>
      <vt:lpstr>Une maturité et un rapport décomplexé à l’argent</vt:lpstr>
      <vt:lpstr>Présentation PowerPoint</vt:lpstr>
      <vt:lpstr>Vers une  démocratisation de  la banque mobile</vt:lpstr>
      <vt:lpstr>Une tendance à la multi bancarisation</vt:lpstr>
      <vt:lpstr>La mobilité bancaire en plein essor</vt:lpstr>
      <vt:lpstr>Les raisons de vouloir changer de banque principale sont dominées  par la question des tarifs</vt:lpstr>
      <vt:lpstr>La banque en ligne ou mobile en passe de devenir la banque  principale</vt:lpstr>
      <vt:lpstr>En France, quatre profils se distinguent</vt:lpstr>
      <vt:lpstr>La banque en ligne ou mobile se démocratise</vt:lpstr>
      <vt:lpstr>Présentation PowerPoint</vt:lpstr>
      <vt:lpstr>Agenda</vt:lpstr>
      <vt:lpstr>Acquisition clients des banques en ligne et mobiles</vt:lpstr>
      <vt:lpstr>Acquisition clients à iso-années de lancement</vt:lpstr>
      <vt:lpstr>Des investissements toujours soutenus</vt:lpstr>
      <vt:lpstr>Néobanques continuent d’investir le marché français</vt:lpstr>
      <vt:lpstr>Orange Bank a été élue la meilleure banque en terme  de parcours et d’expérience client digitale</vt:lpstr>
      <vt:lpstr>Présentation PowerPoint</vt:lpstr>
      <vt:lpstr>Présentation PowerPoint</vt:lpstr>
      <vt:lpstr>Présentation PowerPoint</vt:lpstr>
      <vt:lpstr>… que ce soit en crédit  consommation </vt:lpstr>
      <vt:lpstr>… mais également grâce à la carte premium</vt:lpstr>
      <vt:lpstr>N26, Revolut, Ma French Bank</vt:lpstr>
      <vt:lpstr>Ma French Bank à l’assaut du phygital</vt:lpstr>
      <vt:lpstr>Des fonctionnalités différenciantes</vt:lpstr>
      <vt:lpstr>Une communication sur les réseaux sociaux décalée et ciblée, partenariat avec Topito</vt:lpstr>
      <vt:lpstr>Quelques sources d’inspirations…</vt:lpstr>
      <vt:lpstr>En 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ck off</dc:title>
  <dc:creator>FREKH Nadia</dc:creator>
  <cp:lastModifiedBy>sylvie</cp:lastModifiedBy>
  <cp:revision>154</cp:revision>
  <cp:lastPrinted>2018-02-08T10:30:17Z</cp:lastPrinted>
  <dcterms:created xsi:type="dcterms:W3CDTF">2018-01-26T09:07:46Z</dcterms:created>
  <dcterms:modified xsi:type="dcterms:W3CDTF">2020-02-12T07:58:44Z</dcterms:modified>
</cp:coreProperties>
</file>